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3.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notesSlides/notesSlide7.xml" ContentType="application/vnd.openxmlformats-officedocument.presentationml.notesSlide+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141"/>
  </p:notesMasterIdLst>
  <p:handoutMasterIdLst>
    <p:handoutMasterId r:id="rId142"/>
  </p:handoutMasterIdLst>
  <p:sldIdLst>
    <p:sldId id="356" r:id="rId2"/>
    <p:sldId id="357" r:id="rId3"/>
    <p:sldId id="359" r:id="rId4"/>
    <p:sldId id="570" r:id="rId5"/>
    <p:sldId id="644" r:id="rId6"/>
    <p:sldId id="360" r:id="rId7"/>
    <p:sldId id="361" r:id="rId8"/>
    <p:sldId id="362" r:id="rId9"/>
    <p:sldId id="376" r:id="rId10"/>
    <p:sldId id="377" r:id="rId11"/>
    <p:sldId id="569" r:id="rId12"/>
    <p:sldId id="363" r:id="rId13"/>
    <p:sldId id="387" r:id="rId14"/>
    <p:sldId id="368" r:id="rId15"/>
    <p:sldId id="386" r:id="rId16"/>
    <p:sldId id="369" r:id="rId17"/>
    <p:sldId id="364" r:id="rId18"/>
    <p:sldId id="365" r:id="rId19"/>
    <p:sldId id="366" r:id="rId20"/>
    <p:sldId id="367" r:id="rId21"/>
    <p:sldId id="374" r:id="rId22"/>
    <p:sldId id="380" r:id="rId23"/>
    <p:sldId id="641" r:id="rId24"/>
    <p:sldId id="645" r:id="rId25"/>
    <p:sldId id="383" r:id="rId26"/>
    <p:sldId id="384" r:id="rId27"/>
    <p:sldId id="385" r:id="rId28"/>
    <p:sldId id="391" r:id="rId29"/>
    <p:sldId id="421" r:id="rId30"/>
    <p:sldId id="395" r:id="rId31"/>
    <p:sldId id="392" r:id="rId32"/>
    <p:sldId id="393" r:id="rId33"/>
    <p:sldId id="394" r:id="rId34"/>
    <p:sldId id="396" r:id="rId35"/>
    <p:sldId id="397" r:id="rId36"/>
    <p:sldId id="398" r:id="rId37"/>
    <p:sldId id="399" r:id="rId38"/>
    <p:sldId id="400" r:id="rId39"/>
    <p:sldId id="401" r:id="rId40"/>
    <p:sldId id="402" r:id="rId41"/>
    <p:sldId id="403" r:id="rId42"/>
    <p:sldId id="409" r:id="rId43"/>
    <p:sldId id="411" r:id="rId44"/>
    <p:sldId id="412" r:id="rId45"/>
    <p:sldId id="413" r:id="rId46"/>
    <p:sldId id="410" r:id="rId47"/>
    <p:sldId id="414" r:id="rId48"/>
    <p:sldId id="415" r:id="rId49"/>
    <p:sldId id="416" r:id="rId50"/>
    <p:sldId id="417" r:id="rId51"/>
    <p:sldId id="418" r:id="rId52"/>
    <p:sldId id="419" r:id="rId53"/>
    <p:sldId id="420" r:id="rId54"/>
    <p:sldId id="422" r:id="rId55"/>
    <p:sldId id="423" r:id="rId56"/>
    <p:sldId id="424" r:id="rId57"/>
    <p:sldId id="425" r:id="rId58"/>
    <p:sldId id="426" r:id="rId59"/>
    <p:sldId id="427" r:id="rId60"/>
    <p:sldId id="428" r:id="rId61"/>
    <p:sldId id="429" r:id="rId62"/>
    <p:sldId id="430" r:id="rId63"/>
    <p:sldId id="431" r:id="rId64"/>
    <p:sldId id="432" r:id="rId65"/>
    <p:sldId id="433" r:id="rId66"/>
    <p:sldId id="434" r:id="rId67"/>
    <p:sldId id="435" r:id="rId68"/>
    <p:sldId id="436" r:id="rId69"/>
    <p:sldId id="438" r:id="rId70"/>
    <p:sldId id="439" r:id="rId71"/>
    <p:sldId id="440" r:id="rId72"/>
    <p:sldId id="441" r:id="rId73"/>
    <p:sldId id="442" r:id="rId74"/>
    <p:sldId id="443" r:id="rId75"/>
    <p:sldId id="444" r:id="rId76"/>
    <p:sldId id="445" r:id="rId77"/>
    <p:sldId id="446" r:id="rId78"/>
    <p:sldId id="447" r:id="rId79"/>
    <p:sldId id="448" r:id="rId80"/>
    <p:sldId id="449" r:id="rId81"/>
    <p:sldId id="450" r:id="rId82"/>
    <p:sldId id="451" r:id="rId83"/>
    <p:sldId id="452" r:id="rId84"/>
    <p:sldId id="453" r:id="rId85"/>
    <p:sldId id="454" r:id="rId86"/>
    <p:sldId id="455" r:id="rId87"/>
    <p:sldId id="456" r:id="rId88"/>
    <p:sldId id="459" r:id="rId89"/>
    <p:sldId id="460" r:id="rId90"/>
    <p:sldId id="458" r:id="rId91"/>
    <p:sldId id="572" r:id="rId92"/>
    <p:sldId id="573" r:id="rId93"/>
    <p:sldId id="457" r:id="rId94"/>
    <p:sldId id="462" r:id="rId95"/>
    <p:sldId id="463" r:id="rId96"/>
    <p:sldId id="464" r:id="rId97"/>
    <p:sldId id="465" r:id="rId98"/>
    <p:sldId id="466" r:id="rId99"/>
    <p:sldId id="467" r:id="rId100"/>
    <p:sldId id="582" r:id="rId101"/>
    <p:sldId id="642" r:id="rId102"/>
    <p:sldId id="643" r:id="rId103"/>
    <p:sldId id="468" r:id="rId104"/>
    <p:sldId id="469" r:id="rId105"/>
    <p:sldId id="470" r:id="rId106"/>
    <p:sldId id="471" r:id="rId107"/>
    <p:sldId id="473" r:id="rId108"/>
    <p:sldId id="474" r:id="rId109"/>
    <p:sldId id="475" r:id="rId110"/>
    <p:sldId id="476" r:id="rId111"/>
    <p:sldId id="477" r:id="rId112"/>
    <p:sldId id="478" r:id="rId113"/>
    <p:sldId id="479" r:id="rId114"/>
    <p:sldId id="574" r:id="rId115"/>
    <p:sldId id="575" r:id="rId116"/>
    <p:sldId id="576" r:id="rId117"/>
    <p:sldId id="578" r:id="rId118"/>
    <p:sldId id="579" r:id="rId119"/>
    <p:sldId id="580" r:id="rId120"/>
    <p:sldId id="480" r:id="rId121"/>
    <p:sldId id="481" r:id="rId122"/>
    <p:sldId id="482" r:id="rId123"/>
    <p:sldId id="483" r:id="rId124"/>
    <p:sldId id="484" r:id="rId125"/>
    <p:sldId id="485" r:id="rId126"/>
    <p:sldId id="486" r:id="rId127"/>
    <p:sldId id="487" r:id="rId128"/>
    <p:sldId id="488" r:id="rId129"/>
    <p:sldId id="489" r:id="rId130"/>
    <p:sldId id="490" r:id="rId131"/>
    <p:sldId id="491" r:id="rId132"/>
    <p:sldId id="492" r:id="rId133"/>
    <p:sldId id="493" r:id="rId134"/>
    <p:sldId id="494" r:id="rId135"/>
    <p:sldId id="495" r:id="rId136"/>
    <p:sldId id="496" r:id="rId137"/>
    <p:sldId id="497" r:id="rId138"/>
    <p:sldId id="498" r:id="rId139"/>
    <p:sldId id="499" r:id="rId140"/>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853" autoAdjust="0"/>
    <p:restoredTop sz="94434" autoAdjust="0"/>
  </p:normalViewPr>
  <p:slideViewPr>
    <p:cSldViewPr snapToGrid="0">
      <p:cViewPr varScale="1">
        <p:scale>
          <a:sx n="103" d="100"/>
          <a:sy n="103" d="100"/>
        </p:scale>
        <p:origin x="912" y="62"/>
      </p:cViewPr>
      <p:guideLst>
        <p:guide orient="horz" pos="3072"/>
        <p:guide pos="5577"/>
        <p:guide pos="180"/>
        <p:guide orient="horz" pos="167"/>
        <p:guide pos="168"/>
      </p:guideLst>
    </p:cSldViewPr>
  </p:slideViewPr>
  <p:notesTextViewPr>
    <p:cViewPr>
      <p:scale>
        <a:sx n="3" d="2"/>
        <a:sy n="3" d="2"/>
      </p:scale>
      <p:origin x="0" y="0"/>
    </p:cViewPr>
  </p:notesTextViewPr>
  <p:sorterViewPr>
    <p:cViewPr varScale="1">
      <p:scale>
        <a:sx n="1" d="1"/>
        <a:sy n="1" d="1"/>
      </p:scale>
      <p:origin x="0" y="-22254"/>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notesMaster" Target="notesMasters/notesMaster1.xml"/><Relationship Id="rId14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handoutMaster" Target="handoutMasters/handoutMaster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5/12/2023</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1T15:55:40.344"/>
    </inkml:context>
    <inkml:brush xml:id="br0">
      <inkml:brushProperty name="width" value="0.05292" units="cm"/>
      <inkml:brushProperty name="height" value="0.05292" units="cm"/>
      <inkml:brushProperty name="color" value="#0070C0"/>
    </inkml:brush>
  </inkml:definitions>
  <inkml:trace contextRef="#ctx0" brushRef="#br0">5698 671 880 0,'0'0'182'0,"-3"4"-8"16,3-4-8-16,0 0-7 0,0 0 10 16,0 0-3-16,0 0-12 0,0 0 17 0,0 0-40 15,0 0-11-15,0 0 67 0,0 0-3 16,0 0-22-16,1-13 4 0,-1 13-38 0,5-6-8 16,0 1-5-16,0 2-20 0,0-2 10 0,3 1-123 15,-3-1 39-15,3 2-9 0,1 1-14 16,2 0 17-16,-1 1 6 0,0 0-24 0,0 2 16 15,1 0-8-15,-1 3 0 16,3-1-7-16,-5 2 12 0,2 2-10 0,-2 0-3 0,-1 2 16 16,-4-1 2-16,2 1-20 0,-4 1-2 0,1 0 4 15,-4 0-7-15,1 3 7 0,-4-1 8 16,2 0-5-16,-2-1 8 0,0-1-5 0,-3 1-8 0,4-1 15 16,-2 0-13-16,1-2 3 0,0-2-7 15,0 0 24-15,2 0-29 0,0-2 17 16,1-2-18-16,0 1-28 0,2-3 15 0,-3 2-12 15,3-2 12-15,0 0 26 0,0 0-28 16,0 0 15-16,0 0-25 0,0 0 30 0,24-2 3 16,-17 1-13-16,0 2 16 0,2 1 10 0,1-2-32 15,0 2 35-15,2 1-11 0,4-1 0 0,-5 4-8 16,3-3 13-16,0 3-23 0,-4-2 41 16,2 1-7-16,-1 1-9 0,-3-1 4 15,2 2 22-15,-5-1-28 0,0 0 23 0,-3 1 5 0,-1 0-15 16,-1 0 26-16,-3 5-21 15,-3-3 5-15,-1 1-8 0,-3 1 9 0,0-1-11 0,-3 1-8 16,0 0 31-16,0 0-21 0,-2-3 16 16,0 2 5-16,1-3-8 15,2 0-15-15,-4 0-15 0,3-2 20 0,1 1 2 0,-1-2 19 16,0 0-44-16,2 0 10 0,-1-2-20 0,2-1-26 16,-1 2 0-16,1-3-25 0,2 0-3 0,1 0-21 15,-1 0-4-15,8 0-42 0,-10 0-33 16,3-1-35-16,7 1-29 0,-6-3-72 0,3 0-84 15,1 0-342-15,4-1 27 0,-2 4 161 0</inkml:trace>
  <inkml:trace contextRef="#ctx0" brushRef="#br0" timeOffset="663.56">6008 578 716 0,'0'0'284'0,"0"0"31"0,0 0-51 0,0 0-6 16,0 0 44-16,8 15-35 0,-6-5 12 0,1 1-18 15,-2 2-44-15,1 2-4 0,0 4 2 0,-2 0-16 16,2 1-37-16,-2 1-6 0,0-1-44 16,0-1 9-16,-2 0-9 15,2 1-12-15,0-3 23 0,0-3-33 0,0 1-72 0,2-1-1 0,-2-1 47 16,1-1-56-16,2-1 10 0,1-2 13 15,-1-1-8-15,2 0-10 0,3-2 12 16,0 0-4-16,2-2-9 0,0-2 6 0,1-1 26 16,2-2-24-16,4-1 14 0,1-1-11 15,3-2 5 1,-1 0-28-16,3-4 33 0,0 1-17 0,3-1 19 0,-3 1-22 0,0 0-18 0,0-1 20 16,-5 1-20-16,0 1 15 0,-3 0 3 0,0 1-8 15,-1 0 16-15,-4 1-13 0,3 1-6 31,-3-1 13-31,-2 1-9 0,-1 1 9 0,1 0 3 0,-2 0-8 0,1 0 18 0,-2 1-2 0,0 0 7 16,-2 0-17-16,1 1 14 0,-4 1 21 0,8-3 8 16,-8 3 10-16,3-3-56 0,-3 3 13 15,6-2 86-15,-6 2-17 0,0 0 5 0,4-2-5 16,-4 2-19-16,0 0 1 0,0 0 3 16,0 0-9-16,5-2-17 0,-5 2-18 0,0 0-8 15,0 0-38-15,0 0-21 0,0 0-20 16,0 0-23-16,0 0-13 0,0 0-34 0,0 0-25 15,0 0-15-15,0 0-28 0,0 0-34 0,0 0-35 16,0 0-83-16,-8-5-132 0,8 5-65 31,0 0-302-31,-7 1 44 0,7-1 72 0,0 0 38 0,-8 4 107 0</inkml:trace>
  <inkml:trace contextRef="#ctx0" brushRef="#br0" timeOffset="2070.44">6565 2803 1054 0,'0'0'292'0,"-2"-3"41"15,2 3-21-15,0 0-46 0,0 0-7 0,0 0-42 16,0 0-4-16,0 0-1 0,4 12-40 0,-1-5-11 16,2 3-5-16,0 2-28 0,0 4-10 15,0 2-6-15,0 1-7 0,3 1-12 0,-3 3 1 16,0-1-17-16,-2-2-26 0,2 3-35 0,0 0-19 15,-2-4 6-15,0-2-42 0,1 0-12 0,-3 1-34 16,1-4-22-16,1 1-57 0,-1-2-46 16,0-5-76-16,-2 0-216 0,3 1-284 15,-3-3 49-15,5-3 105 0,-5 2 22 16</inkml:trace>
  <inkml:trace contextRef="#ctx0" brushRef="#br0" timeOffset="2401.4">6728 2884 1062 0,'0'0'358'0,"0"0"-28"0,0 0-94 16,-4 10-24-16,4-4-27 0,2 3-19 0,-2 1-12 16,2 2-16-16,2 2 13 0,0 1-57 15,2 0 1-15,-2 1-21 0,4-3-12 0,0 2-21 16,0-2-3-16,2-5-10 0,-3 2-15 0,2-3 13 15,0 0-13-15,2-2 15 0,-1-3-5 16,3-1 20-16,-5-1-22 0,4-2 7 0,-1-2 26 16,-1 1-16-16,-2-4 21 0,0 1 10 0,-1 0 77 15,-2-3 0-15,0 1-3 0,-4 0-30 0,1-1 35 16,-4-1-27-16,1-1 9 0,-1 1-20 16,-4 0 13-16,2-1-38 0,-4 1-14 0,2 2 3 15,-1-1-20-15,-1 3 10 0,-2 0-51 0,0 0-5 16,2 1-42-16,0 1-17 31,-2 3-26-31,0-2-22 0,2 3-40 0,1 0-22 0,-1 1-69 0,2 1-101 0,-1-2-70 0,2 3-485 16,0-3 80-16,5 0 61 0,0 0 102 15,0 0 106-15</inkml:trace>
  <inkml:trace contextRef="#ctx0" brushRef="#br0" timeOffset="2711.15">6905 2719 993 0,'3'0'294'0,"-3"0"-20"0,10 3-13 0,-4 0 59 16,-2 4-23-16,2-1-18 0,-1 4-39 0,0 3-7 16,0 1-5-16,3 2-18 0,-3 1-41 15,3 0 10-15,-3 2-30 0,0-1-9 0,2-3-4 0,1 2-82 16,0-3-8-16,0 0-2 16,2 1 25-16,-2-2-16 0,2-5 22 0,0 1-19 15,3-2-13-15,0-3 4 0,0 1-14 0,2-4-18 16,0 1 21-16,3-4-10 15,0 0-6-15,3-2-38 0,-3 1-18 0,2-2 6 0,-2 0-27 16,-2-1-25-16,0 1-10 0,-2 1-15 0,-1-2-11 16,-2 1-25-16,1 1-8 0,-4-2-52 15,-1 3-63-15,1-2-13 0,0 2-320 16,0-1-176-16,-3 1 60 0,0 0 47 0,0-1 144 16</inkml:trace>
  <inkml:trace contextRef="#ctx0" brushRef="#br0" timeOffset="4176.99">6739 532 908 0,'7'-11'312'0,"1"-1"-38"0,2 1-7 16,-1 2-19-16,3-1-8 0,-2 2-50 0,1-1 15 15,4 1-34-15,-5 1-20 0,1 1-10 16,1 1-80-16,-3 4 11 0,0 0-11 0,-1 3 16 16,2 3 82-16,-2 4-44 0,2 10 16 0,-2 1-6 15,0 16-12-15,0 3-3 0,-4 4-21 16,2 1 14-16,-2 3-47 0,-1 0 29 16,0 1-32-16,0 0 11 15,4 0-2-15,-2-3-19 0,1 0 3 0,1-5-12 0,0 1-1 16,7-7 26-16,-2 0-36 0,1-4 5 0,0-7 0 0,2-4-7 15,-2-3-14-15,3 0-2 0,2-4 6 16,-3-3-6-16,1-2 20 0,-1-3-22 16,1-2 10-16,1-4-8 0,-2-1-8 0,3-3 26 15,-2-1-18-15,1-2-10 16,0-3 16-16,0-2 9 0,-7 0-33 0,1 0 23 0,-4-2-4 0,-1-1-1 16,-2 0-10-16,-1 2 20 0,0-1-5 15,-3 1 3-15,-3 2-16 16,3-1 14-16,-5 3 1 0,2 0 6 0,-2 2-15 0,0 1 20 0,-2 3-20 15,1 0 22-15,-1 2-9 0,-1 3-22 16,8 0 29-16,-16 6-12 0,6 0-6 0,3 1 15 16,-1 3-33-16,2 1 3 0,2 5 36 15,1 1-19 1,0 2-7-16,1 4 16 0,7 4-24 0,-2 12 13 0,4-3 13 16,4 1-8-16,2 3-22 0,2-1 12 15,0-2 30-15,5 10-7 0,1-2-15 0,2 2 15 0,1-4-8 0,-1 0-17 16,2 4 15-16,1-3 23 0,2-2-19 15,-2 1 7-15,1-1 1 0,4-3 1 0,-2 0-52 16,-3-8-20-16,6 6 8 0,-5-8 33 0,3 1 2 16,-5 0 0-16,2-2-2 0,-2-1 16 15,-2-1-22-15,-2-1 37 0,-6-3 15 16,-5-3-33-16,0-1 4 0,-4 0 27 0,1 1-21 16,-7 0 23-16,0-1 10 0,-5 6-28 0,0-1-8 0,-3 0 77 15,-2-1 3-15,-6 5-23 16,2-3-39-16,3-5 8 0,-2 0-5 0,0-2-52 15,1-2-35-15,1-2-8 0,-1-2-58 0,1 0-34 16,-2-2-31-16,3-3-28 0,-3-1-26 31,3-1-112-31,0-3-135 0,-3 0-447 0,3-1 124 0,0-1 30 0,0 1 98 0,-1-1 61 0</inkml:trace>
  <inkml:trace contextRef="#ctx0" brushRef="#br0" timeOffset="5248.48">5154 944 506 0,'3'0'223'0,"-3"0"-36"16,8 2 77-16,-8-2-3 0,10 3-16 15,-5 1-30-15,2 1-2 0,1 3 2 0,0 2-44 16,2 1 11-16,1 3-10 0,1 4-21 16,-1-1 7-16,2 3-25 0,2 8-10 0,-3-3 18 15,-3-4-16-15,3 10-4 0,-2-5-3 16,-2-3 12-16,0-1 3 0,-3-1-23 0,0-2-64 16,-3 1 13-16,1-1-10 0,-3 0 12 15,0-3 3-15,0-2 21 0,-2 2-16 0,0-1-10 16,1-3-3-16,-1-1-15 0,-1-1 72 15,3-1-1 1,-2-1 9-16,2-1-45 0,-1-2 19 0,1 1-39 0,0-3-2 0,1 1 2 0,1-1-2 16,3 0-18-16,0-3 18 0,3 2-1 15,5 2-22-15,2-1 2 0,1 5-22 0,5 2 14 0,9 11-27 16,-2 4 12-16,6 15 13 0,-1 4-10 16,-2 10 0-16,2 4 7 15,-5 5-76-15,3 2 10 0,-3 2 15 0,8 17-13 0,-8-13 11 16,5 16 5-16,-4 0-8 0,1 3 29 15,1 0-6-15,-5-20 2 0,-1-1-1 0,1-3 17 16,0-2 15-16,2-6-9 0,0-5-1 0,1-3 3 16,2-9-1-1,1-2-9-15,4-6 5 0,-3-11-8 0,4-4-23 0,-2-2 53 0,4-4-19 0,-8-5-19 16,-1-2-36-16,1-3-4 16,-3-1-39-16,-1-1 5 0,0 0-31 0,-3-2-17 15,1-1-29-15,-2 0-20 0,-2-2-39 0,0 0-186 16,-7 2-29-16,4 2-440 0,-5-1 54 0,-3-1 125 15,1 3 11-15,-1-2 92 16</inkml:trace>
  <inkml:trace contextRef="#ctx0" brushRef="#br0" timeOffset="7462.69">3934 1888 729 0,'10'-7'212'0,"6"0"6"0,1-3-23 0,4-1-14 15,8-7-2-15,1 3-35 0,1-2 4 16,-1 1-35-16,-1 0 5 0,-3 3 63 0,-4 0-32 16,-1 3-24-16,-1 0-20 0,1-1-13 15,-5 3-12-15,-4 1-50 0,-1 2-9 0,1-2-24 16,-2 3-27-16,-2 0-37 0,2 1-33 0,-4 2-97 16,-3 1-5-16,1-2-512 0,-4 2 56 15,0 0 13 1</inkml:trace>
  <inkml:trace contextRef="#ctx0" brushRef="#br0" timeOffset="7769.46">4053 1922 711 0,'7'-7'307'0,"3"0"52"15,0-3-14-15,5 0-45 0,2-3-21 0,0 0-11 16,3-1-37-16,1 0-11 0,5-4-28 16,-3 3-26-16,-3 1-4 0,8-3-101 0,-7 1-12 15,2 4 4-15,-5 1-14 0,2 0 2 0,-4 2-54 16,-3 1-8-16,2-1 19 0,-4 3-39 0,-1 1-3 16,-3 1-12-16,1 0-18 0,-1-1-11 0,-4 2-12 15,2 0-54-15,-2 1-74 0,-1 0-46 16,1 0-257-16,-3 2-188 0,0 0 83 0,2-4 39 15</inkml:trace>
  <inkml:trace contextRef="#ctx0" brushRef="#br0" timeOffset="8189.65">4170 1539 765 0,'0'0'215'15,"0"0"-31"-15,0 0-10 0,0 0-36 0,0 0 29 16,15-5-47-16,-7 5-25 0,0-2 15 0,2 0-18 15,0 1-2-15,1 0-8 16,3-1 7-16,0 1-25 0,1 1-13 0,1-2 3 0,-1 0 23 16,-2 1 38-16,4 1 0 0,-1-1 3 0,-1-1-13 15,1 4 2-15,-3-1 9 16,2 2-32-16,-2 0 24 0,0 3-1 0,2 1-97 16,-4 2 44-16,1 1-23 0,-4 2 10 0,2 1 7 15,-5 4 4-15,-2 0-19 0,-1 2-5 16,-1 1 10-16,-2 6-27 0,-4-1-24 0,2 3-33 15,-7 6-23-15,0 0-64 0,2-5-44 0,-2 3-123 16,-5 0-89-16,7-6-384 0,-2-5 49 16,0 0 84-16,0-1 85 15</inkml:trace>
  <inkml:trace contextRef="#ctx0" brushRef="#br0" timeOffset="14027.76">434 675 721 0,'0'0'331'0,"3"-6"-32"0,0 3-15 0,-3 3-18 0,4-4-5 0,-1 2-17 0,0 0-119 0,-3 2-12 16,7-1 7-16,-7 1-13 0,0 0-12 0,10 4 0 15,-6 1-21-15,0 1 11 16,-1 1-11-16,2 4 13 0,0 3-23 15,-2 2-5-15,0 1-8 0,-1 2 13 0,-2 0-13 0,0 3-10 16,0-1 5-16,0 0 3 0,0 1-8 16,0-2-8-16,0-1-2 0,0 1-11 0,0-5-10 0,0 1-17 15,0-3 17-15,0 0 13 0,5-2-8 16,-5-1 1 0,1-3-1-16,0-1-25 0,0 2 7 0,1-4 19 0,1 1-11 0,4-1 10 15,-1-2-23-15,-1 0 1 0,2-2 7 0,1-1-10 16,0 0-6-16,2-1-15 0,-2-1-38 15,2 0-30-15,3-1-19 0,-3-1-54 32,0 0-35-32,1 0-62 0,-1-1-35 0,0 1-365 0,0-1-37 0,1 1 30 0,-4-1 118 0</inkml:trace>
  <inkml:trace contextRef="#ctx0" brushRef="#br0" timeOffset="14228.94">575 893 726 0,'0'0'305'0,"0"-3"-21"0,0 3-10 0,3-6-49 0,2 3-12 0,0-2-3 16,5 1-29-16,-2-2-32 0,3-1-37 0,1 2-30 0,1-4-92 15,0 1-79-15,0 0-83 16,0 1-307-16,-3 1-207 0,0 1 62 0,-2-2 79 15</inkml:trace>
  <inkml:trace contextRef="#ctx0" brushRef="#br0" timeOffset="14443.8">529 712 668 0,'5'-8'238'0,"1"2"-21"0,-1-1-20 0,5 1-12 0,0-1-63 16,3-2-42-16,0 1-85 0,2 1-75 0,-4 1-201 0,6-3-331 15,-1 3-2-15</inkml:trace>
  <inkml:trace contextRef="#ctx0" brushRef="#br0" timeOffset="14615.73">855 594 737 0,'2'10'276'0,"-2"1"3"15,0-1-38-15,3 3-16 0,-3 1-13 16,3 1-20-16,-1 0 0 0,0 3-28 16,1-1-49-16,0 2-51 0,-1-1-51 0,-1-3-46 15,1 2-67-15,1-2-120 0,-1 0-118 0,1-2-348 16,-1-1 31-16,1-3 79 0</inkml:trace>
  <inkml:trace contextRef="#ctx0" brushRef="#br0" timeOffset="14941.72">983 805 778 0,'0'0'335'0,"0"0"-56"0,-7 12 0 16,8-7-38-16,-1 1-14 0,1-1-12 15,2 3-130-15,-1-1-13 0,1-1-3 16,4 0-3-16,-2 1-15 0,0-1 8 0,3-2-18 16,0 0 3-16,2-1 33 0,1-2-16 0,-1 0 85 15,0-2-13-15,-2 0 10 0,2 0-61 16,-2-1 21-16,0-1-1 0,0 1 93 0,-1-2-9 16,-2-1 19-16,0 0-64 0,-2 1-18 0,-6-1-3 15,3 0-12-15,-2-1 9 16,-1 2-4-16,-2-2-41 0,0 2 15 0,-1 0-26 0,1 0 16 15,-3 0-21-15,1 2-22 0,0-1-4 16,1 2-2-16,-2 0-43 0,1 1 20 16,7 0-69-16,-13 2-15 15,8-1-34-15,-1 2-38 0,-1-1-41 0,2 1-43 0,0-1-26 0,2 1-41 16,3-3-126-16,-4 4-450 0,4-2 113 16,0-2 43-16,0 0 128 0,6 7 21 0</inkml:trace>
  <inkml:trace contextRef="#ctx0" brushRef="#br0" timeOffset="15594.73">1283 690 760 0,'0'0'274'0,"-2"13"-31"0,4-8-31 16,-2 2-15-16,2 0-15 0,-1 0-10 0,1 1-14 16,1 0-25-16,-1 0-23 0,1-1 3 15,-1-1-23-15,1 1-14 0,-2-2 4 0,1 0 7 16,0-2 2-16,0 1-4 0,-2-1 71 0,0-3 16 16,3 5-24-16,-3-5 26 0,0 0-36 15,0 0-10-15,0 0 26 0,0 0-21 0,0 0-97 16,0 0 5-16,1-15 0 0,-1 8-8 15,0 1 10-15,2 0 4 0,-2-2-17 0,2 2-9 16,1 0 2-16,0 1-13 0,1 0 3 16,-1 0 7-16,2 2-12 0,0 0 12 0,3 3-17 15,0-1 7-15,-1 2-2 0,2-1 12 16,1 3-9-16,0-2-1 0,0 1-10 16,0 0 18-16,1 1-16 0,-4-1 11 0,6-1 38 0,-5 2-25 15,2-2 25 1,-5-1 49-16,3 1-18 0,-3-1 102 0,-5 0-2 0,13-1-77 15,-9 1-10-15,2-2 27 0,-3-1 27 0,1 1-36 16,-1-2-29-16,0 0 24 0,-1 1-32 0,-2-2 19 16,1 0-39-16,-1 0-12 0,0-1-6 15,0 0-17-15,0 0-14 0,-1-1-37 0,1 2-39 0,0-2-39 16,-2 2-56-16,2-2-30 16,0 1-62-16,0 1-51 0,0 1-80 0,0-6-69 15,2 7-498-15,1-1 73 0,4 0 116 0,-4 1 30 16,3-1 116-16,1 2 25 0</inkml:trace>
  <inkml:trace contextRef="#ctx0" brushRef="#br0" timeOffset="16457.58">1996 593 1082 0,'0'0'330'0,"-2"-17"-17"16,2 13-4-16,-1-3 81 0,-1 0-45 15,-1-2-109-15,1-1 17 0,-1-1-18 0,1-2-40 16,-4-4-18-16,1 1-16 0,2-1-2 0,-1-1-37 15,1 2-11-15,0 2 19 16,1 1-35-16,-1 3-13 0,1 1-16 0,2 1-15 16,0 2 11-16,0 1-21 0,0 3 0 0,0 2-11 15,0 0 6-15,0 0 16 0,0 0-14 0,13 8-33 16,-9-2 21-16,2 1-21 0,-2-1-33 16,2 2 5-16,2 0 15 0,-3-1-2 0,0 0-16 15,2-2 23-15,-3 0-7 0,3 0 26 0,-4-2-9 16,1 0 11-16,-1-1 0 0,2 0 28 15,-5-2-10-15,0 0 2 0,13-5 8 0,-8 0 18 16,0 1-51-16,-2-2 8 0,4-3 17 16,-4 1 8-16,2-3-28 0,1 3 0 15,-2 0 0-15,2 1 5 0,-3 0 23 0,1 1-38 0,-1 3-8 16,2-1 36-16,0 2-13 0,0 1-3 16,-5 1 6-16,11 6-13 0,-3-2-1 15,-1 2 1-15,-2 1-10 0,3 3 12 0,-3-1-33 0,0 0-5 16,0 0-5-16,1 2-36 0,-1 0-8 15,0-2-33-15,0 1-20 16,-2-3-34-16,1 2-35 0,-1-2 9 0,2-1-25 0,-2-2-51 0,2 0-36 16,0-1 67-16,-2-1 10 0,-3-2 28 15,10 0-5-15,-10 0 48 0,10-6 14 16,-5 2 14 15,0-2-1-31,0 0 37 0,0 0 42 0,0-1 50 0,-2 1 16 0,2-1 39 0,-3 1-16 0,2 0 51 0,-2 1-20 0,1 2 10 16,-1 0 2-16,-2 3 22 0,5-1-9 0,-5 1-2 0,0 0 2 15,8 6-46-15,-8-1 29 0,3 0-24 16,-1 0-12-16,0 1 15 0,2 1-5 16,0 0-18-16,1-2 28 0,0 1-18 0,1 0 23 15,1-3 6-15,1 1 30 0,-2-1 15 0,1-1-2 16,0 0 43-16,-1-2-71 0,2-2 66 0,-3-1 34 16,2 0-85-16,-2 0 3 0,1-2-14 15,-2-1 22-15,0-1-9 0,0 1-37 16,-1 0 40-16,0-1-28 0,1 0-23 0,-4-2-10 0,1 1-8 15,1 0-16-15,-2 0-35 0,0-1-20 16,3 1-37-16,-3 1-84 0,0 1-30 0,0-1-73 16,2 1-37-16,0 1-34 0,1 0-28 15,-3 0-149-15,3 1-430 0,2 0 93 0,-2-1 81 16,1 3 103-16,-1-3 105 0</inkml:trace>
  <inkml:trace contextRef="#ctx0" brushRef="#br0" timeOffset="16656.93">2475 323 947 0,'0'0'284'0,"0"0"-21"0,0 0-27 15,0 0 76-15,-10 9-33 0,10-9 3 16,0 5-31-16,2 0-13 0,-1-1-36 0,4 1-3 0,-1 0-42 16,2 0-9-16,2 2-22 0,-3 0 32 15,3 0-32-15,0 2-11 0,-1-2 20 16,0-1-14-16,1 1 14 0,-3-1-42 0,0 1 6 16,-2 0-14-16,2-1-6 0,-5 2-10 0,1 0 0 15,-2-1-30-15,-1 0 22 0,-1 1-43 16,-2 0 0-16,0-1-23 0,0 0-56 0,-1-1-19 15,1 0-35-15,-2 0-72 0,2-3-69 0,2-2-166 16,0 1-510-16,1-1 128 0,2-1 29 0,0 0 191 16,0 0-51-16</inkml:trace>
  <inkml:trace contextRef="#ctx0" brushRef="#br0" timeOffset="16873.55">2645 205 1034 0,'2'-4'491'0,"1"1"-48"0,-3 3-39 0,2-1-35 0,-2 1-24 16,0 0-35-16,5 7 10 0,-2 0-59 0,0 0-2 16,1 3-29-16,-1 1-40 0,2 3-11 0,-2 2-87 15,2 1-31-15,-3 1-22 0,-1 1-65 16,1 0-46 0,1-1-12-16,-1-3-70 0,-2 1-22 0,2-4-37 0,1 1-89 0,2-2-5 15,-2-2-133-15,2-1-384 0,3-2 99 0,-3-3 3 16,3-2 108-16</inkml:trace>
  <inkml:trace contextRef="#ctx0" brushRef="#br0" timeOffset="17114.5">2781 289 847 0,'-21'8'394'0,"6"3"-15"0,-1-3-116 0,6 0 11 0,-1 0-20 16,4-2-39-16,-1 3-3 0,3-2 29 15,0 0 15-15,3 0-28 0,-1 0 5 0,3-1-21 16,3 2-38-16,1-2 8 0,-1-1-21 0,3-1-13 16,4 2-27-16,0-2-6 0,2-1 10 15,1 0-22-15,2-1-42 0,1-1-12 16,2-1-47-16,-3 0-27 0,1 0-16 0,0 0-28 16,1-2-21-16,-4 2-35 0,-3-1-49 0,1 0-36 15,1-1-67-15,-4 2-119 0,0 0-500 16,-1 0 74-16,-2-1 118 0,-5 1 54 0,8 1 95 15</inkml:trace>
  <inkml:trace contextRef="#ctx0" brushRef="#br0" timeOffset="18199">912 728 801 0,'0'0'261'0,"0"0"-3"0,0 0-38 16,0 0-15-16,0 0-3 0,-4 13-38 15,4-7-20-15,0 2-1 0,1 1 0 16,1 1-30-16,1 1-26 0,-3 2 8 0,2 0-34 0,-1 1-10 16,1 5-46-16,-2-4-97 0,0 2-77 0,-3 0-110 15,3 0-448-15,1-2 52 0,-2 4 76 16</inkml:trace>
  <inkml:trace contextRef="#ctx0" brushRef="#br0" timeOffset="19862.38">501 2101 913 0,'0'0'328'15,"0"0"-29"-15,-7-4-86 0,7 4-19 0,0 0 1 16,-11 2-18-16,11-2-6 0,-13 3-17 16,6-2-16-16,-1 3-18 0,0 0 16 0,1 0-6 15,-4 1-7-15,4 1-13 0,1 1-2 0,-1-1-29 16,0 2-7-16,1-2 10 15,3 0-18-15,1 2-23 0,-1 0 7 0,3 0 21 0,3 0-25 16,-3 1-11-16,5-1 8 0,3-1-2 0,-1 4-19 16,1-3 26-16,5 0-28 15,-1 2 61-15,2-2 6 0,1 1-19 0,0-2-14 16,1 0 1-16,-3-1-4 0,-1 0 7 0,1-2 6 0,-2 1-32 16,1 0 17-16,-4 0 6 15,0-2 4-15,-3 1-9 0,0 0-9 0,0-1 27 16,0 1-25-16,-5 0 28 0,0 1-25 0,-3 0 22 15,-1 0-14-15,-4 3-14 0,0-2-5 16,-3 2 3-16,-1 0 2 0,-1 0-4 0,-2-1 7 16,0 0-39-16,-1 0 34 0,-2-1-15 0,3-1-21 15,-1-1-8-15,3 0-5 0,1-1-33 0,-1-1-15 16,2 1-16-16,1-1-49 0,3-1-27 16,-1 1-55-16,3 0-45 0,5-2-57 0,-8 0-107 15,8 0-16-15,0 0-393 0,0-4 101 0,0 4 1 16,7-6 102-16,-1 2 79 15</inkml:trace>
  <inkml:trace contextRef="#ctx0" brushRef="#br0" timeOffset="20481.74">750 2159 921 0,'0'0'422'0,"-8"2"-135"0,8-2-16 0,-8 3-30 0,1-1-21 0,4 1-2 0,-4 0-42 0,2 3-9 16,2-1-19-16,-3 0-12 15,4 1-29-15,-3 0-9 0,2-1-14 0,1 2 6 0,2 0-16 16,-3-3-8-16,3 2-7 0,3-1-20 31,-3 0-1-31,3-3-2 0,1 2-16 0,-1-2 19 0,-3-2-1 0,8 3-12 0,-3-3 12 16,-5 0-10-16,10-5 3 0,-5 3-3 0,0 0 29 15,1-3-9-15,-3 1 26 0,1 0 6 0,-1-1-1 16,2 3-15-16,-3 0 97 0,1-2-35 16,-3 4-11-16,5-3-20 0,-5 3-13 0,5-2 7 15,-5 2-33-15,0 0 16 0,11 4-5 16,-9-1-11-16,1 0-5 0,2 0-12 0,-2 0-14 16,1 2-12-16,0-2 0 0,0 0-3 15,1-1-25-15,0 1 25 0,-2-1-8 0,2-1-12 0,0 1 15 16,-5-2 8-16,0 0 15 0,13-3-28 15,-8 0 39-15,-2-1-3 0,2 0 10 16,0-3 15-16,-5 0 18 0,3 0-86 0,-1-3 22 16,-2 2 0-16,-2-4 1 0,1-1 48 0,-1 0 10 15,-3-5-28-15,2 0-2 0,-2 0 25 16,0 0-31-16,0 1 18 0,0 1 6 16,2 3-8-16,-1 2-11 0,3 0 1 0,-1 1-11 0,-1 2-25 15,0 4-8-15,3 0 41 16,0 4-8-16,0 0-5 0,0 0-23 15,0 0 3-15,6 14 15 0,-2-6-5 0,2 2-8 0,-3 3-20 0,4 3-11 16,1 0-30-16,2 3-18 0,-3-1-41 31,2-2 5-31,1 2-31 0,0-2-12 0,0-2-65 0,0 0 9 0,0-1-40 0,-2-1-29 16,2 0-60 0,-2-3-87-16,0 0-54 0,2-4-404 0,-2 0 72 0,0-2 107 0,0-1 13 0,0-1 77 15</inkml:trace>
  <inkml:trace contextRef="#ctx0" brushRef="#br0" timeOffset="20920.7">1104 2057 1156 0,'-3'-2'379'0,"3"2"-46"0,-8 0-36 0,8 0-5 15,-10 4-26-15,5-1-110 0,0 2-15 0,-1 0-8 16,1 1-13-16,3-1-30 0,-5 1-6 15,4 1 9-15,0 0-19 0,-1 0-15 0,3-1 0 16,-1 3-1-16,-2-4-6 0,3 2 1 0,0 0-22 16,1-4 7-16,0 3-7 0,0-2-18 15,0 0 0-15,0-4 5 0,0 6-16 0,0-6 8 16,1 4 6-16,-1-4 25 0,5 1-31 0,-5-1 3 16,0 0 12-16,0 0 6 15,0 0 66-15,0 0-7 0,10-5 7 0,-10 5-30 0,2-5 25 16,1 2-28-16,-3 3 38 0,2-5-9 15,-2 2-9-15,0 3 8 0,3-4 5 16,-3 4 13-16,2-3-38 0,-2 3 13 0,1-5-24 16,-1 5 6-16,0 0-19 0,0 0-22 0,2-5 20 15,-2 5-10-15,0 0-8 0,0 0-13 0,0 0 13 16,0 0-7-16,0 0 4 0,0 0-1 16,0 0-19-16,10 10 5 0,-8-8 8 0,2 0-21 15,-2 1-22-15,-2-3-14 0,3 6-9 0,-1-2-16 16,3-1 20-16,-5-3-46 15,5 4-20-15,-2-2-5 0,0 0-2 0,-3-2-35 0,5 3-19 16,-5-3-52-16,7 0-48 0,-7 0-67 0,8-3-13 16,-5 2-501-16,-3 1 28 0,8-1 135 15,-8 1 57-15,8-2 54 16</inkml:trace>
  <inkml:trace contextRef="#ctx0" brushRef="#br0" timeOffset="21377.29">1175 2057 1036 0,'0'0'328'0,"0"-5"-18"0,0 5-34 0,0 0-17 0,0 0-24 16,0 0-7-16,16 8-26 0,-13-5-7 16,1 1-29-16,2 1-15 0,-1 1-8 0,2 0-15 15,-1 1 5-15,-2-1-48 0,2 1 12 0,-4-1 11 16,3 0-14-16,-2-1-30 0,0 0 13 16,-1-1-13-16,1 0 3 0,-1 0 58 15,1-2 24-15,-1 3-44 0,-2-5-1 0,3 3-6 16,-3-3-4-16,0 0 14 0,0 0-29 0,0 0 34 15,0 0-29-15,0 0 3 0,0 0-23 16,0 0-18-16,0-15 8 0,-3 10-33 0,3 2-16 16,0-2-3-16,0 0-27 0,0 0-21 0,3 1-39 15,-3-1-25-15,0 1-8 16,2 0-40-16,-2 4-24 0,3-6-13 0,-1 5-66 0,-2 1-89 16,4-6 27-16,-2 5-542 0,1 0 18 0,-3 1 133 15,7-2 43-15,-7 2 54 0</inkml:trace>
  <inkml:trace contextRef="#ctx0" brushRef="#br0" timeOffset="21803.16">1335 2025 1087 0,'-1'4'392'0,"1"2"-5"0,0-2-80 0,-2 1-16 0,4-2-14 16,-2 2-47-16,0-2-10 0,1 1-48 16,0 0-1-16,0 0-30 0,1-1 15 15,-2-3-17-15,5 2-14 0,-5-2-17 0,6 0 14 16,-6 0-60-16,10-2-6 0,-5 1-17 0,0-3 22 15,0 0-23-15,3 2-2 0,-5-2 28 16,4 3-28-16,-5-1 23 0,-2 2 7 0,11 0 4 31,-3 3 6-31,-3 1-22 0,2 0 8 0,2 4 68 0,-1 0-28 0,-1 4 21 0,0 1-20 16,-1 3-3-16,1-2-13 0,-2 3-3 0,1-2 3 16,-2 2-43-16,-1-3 25 15,0 1-13-15,-1 1 3 0,-4-3 10 0,2 2-10 0,-3-1-39 0,1-1 34 16,-1-1-62-16,-4 0-2 15,4-3-18-15,-5 1-44 0,3-3-43 0,0-2-21 16,0 1-91-16,-3-5-83 0,1 1-128 0,1-3-532 16,1 0 64-16,-3-3 110 0,3-1 33 15,-2-2 80 1,1-2 79-16</inkml:trace>
  <inkml:trace contextRef="#ctx0" brushRef="#br0" timeOffset="23189.37">1755 1534 988 0,'2'4'360'0,"1"3"-55"0,-1 2-21 0,-1 3-94 15,1 1-37-15,-2 3-4 0,0 5-16 16,-2 5 5-16,-1 2-13 16,3-1-2-16,-7 9-5 0,4-4-28 0,-3-6 7 0,1-1-38 15,0-1 10-15,-3-2-15 0,4-5-11 16,-2 0-7-16,-2-2 18 0,1-4-6 0,2 1 14 0,0-3 7 16,-3 0-8-16,0-3-4 0,3 0-4 15,-2-4-4-15,1-1 7 0,-1-1 29 0,7 0-42 16,-11-5-7-16,4-1-8 0,1-1 11 0,-1-3-11 15,4-3-10-15,-2-4-28 0,0 0 7 0,2 1 6 16,1-2-9-16,2 2 1 16,0 1 3-16,1 0-11 0,3 2-5 0,-2 1 3 31,2 1 10-31,0 4 15 0,2-2-10 0,-2 3-13 0,4 2 5 0,-3 2 3 0,6 0-2 16,-6 2 19-16,5 4-19 0,0-2 9 0,-1 3 6 15,3-1-21-15,-2 2 8 0,3 1 18 0,-3 0 5 16,4 1-11-16,0-1 27 31,-1 1-16-31,0-2-11 0,0 1-7 0,-1 1 10 0,-1-4 21 0,2 1-28 0,-2 0 15 0,1 0 2 0,0-2-5 16,-3-1 26-16,0 2-20 0,0-1 2 15,0-1 0-15,0 1 0 0,-2-2 10 0,0 3-25 16,-1-3 48-16,-1 0-15 0,0 0-18 0,-5-1 26 16,10 1-13-16,-10-1 23 15,8-2-16-15,-3 1-15 0,-5 1-7 16,8-1 17-16,-5-1 24 0,-3 2-29 0,7-2 13 15,-7 2-13-15,5-1 24 0,-5 1-22 0,0 0 6 16,0 0 11-16,7-2-1 0,-7 2-3 0,0 0-2 16,6-1-28-16,-6 1 18 0,0 0 3 0,0 0 2 31,0 0 7-31,0 0-25 0,0 0-7 0,0 0 89 0,5-2-1 0,-5 2-17 0,0 0 16 16,0 0-8-16,0 0-8 0,0 0-41 15,0 0 30-15,0 0-12 0,0 0 3 0,0 0-18 0,0 0 2 16,0 0-13-16,0 0 29 15,0 0-19-15,0 0-35 0,2-3 31 0,-2 3-1 0,0 0-27 16,0 0-1-16,0 0 8 0,0 0 10 16,0 0-10-16,0 0-33 0,0 0 5 0,0 0 8 15,0 0 4-15,0 0 14 0,0 0-1 16,0 0-7-16,0 0-8 16,0 0 3-16,0 0-8 0,0 0 7 0,0 0 9 0,0 0-6 0,0 0-18 15,0 0 13-15,0 0-7 0,0 0 7 16,0 0-5-16,0 0-3 0,0 0 29 15,0 0 7-15,0 0-22 0,0 0-11 0,0 0-8 0,0 0 18 16,0 0-23-16,0 0 21 0,0 0-5 16,0 0-1-16,0 0 14 0,0 0 7 0,0 0-29 15,0 0 40-15,0 0-16 0,0 0-26 0,0 0 28 16,0 0 11-16,0 0-18 0,0 0 5 16,0 0-51-16,0 0 53 15,0 0-28-15,0 0 19 0,0 0-19 0,0 0 18 0,0 0-15 16,0 0-13-16,0 0-18 0,-13-2-23 0,13 2-22 15,0 0-35-15,0 0-19 0,0 0-21 16,0 0-13-16,-2-4-13 0,2 4-23 0,0 0-46 16,-5-2-87-16,5 2-97 0,-3-5-532 0,3 5 40 15,-2 0 110-15,2 0 103 0,-6-4 31 16,6 4 38-16</inkml:trace>
  <inkml:trace contextRef="#ctx0" brushRef="#br0" timeOffset="25252.93">2296 1256 775 0,'0'0'315'0,"0"0"-23"0,0 0-11 0,-3 11-17 0,1-2 35 15,2 0-27-15,-3 6-16 0,1 0 0 0,1 2-41 16,1 3-26-16,0 1-15 0,-2 4-28 16,2-1-67-16,2-4-27 0,-2 0-11 0,1 0-6 15,1-2-6-15,3-3-6 16,-3-2 23-16,4 0-23 0,-3-1 5 0,2-3 10 0,0-2-22 15,0-1 14-15,2-3 16 0,-1-2-20 16,-1-1 20-16,-5 0-13 0,15-7 6 0,-10 4-16 0,1-2 28 16,-1-2-31-16,2 1 11 0,-5 1 18 15,4-2-11 1,-1 2-10-16,-2 0 3 0,0 1-13 0,-1 2-15 0,3-1 12 0,-5 3-13 16,5-1 29-16,-5 1-13 0,10 4-8 0,-5-1 65 15,0 0-11-15,3 2 2 0,-3-1-45 16,3 2 14-16,2-3-1 0,-2-1-14 0,0 2-15 15,2-2 16 1,-2-1-26-16,2-1 2 0,-3-2 26 0,1 1-2 0,2-4 2 0,-4 1-8 0,1-1 31 16,-1 0-15-16,1-1 20 0,-5-1 10 15,1 1 1-15,0-2-3 0,-3 2-5 0,0-2-8 16,-3 1 2-16,-1-1 1 0,3 2-6 16,-4-1-20-16,0 1-7 0,0 1 27 15,2 1-30-15,-2 2-3 0,0 0-10 0,0 1 5 16,5 1-25-16,-11 1 12 0,6 1-10 0,0 1 13 15,0 0-28-15,0 0 15 0,2 0-20 0,-1 0-3 16,0 1 18-16,2-1-21 0,2-3 24 16,-2 4-3-16,2-4-11 0,0 0 22 0,4 5-17 15,-4-5 40-15,0 0-24 0,9-1 10 0,-9 1 16 32,12-2-21-32,-7-1 6 0,0 2 12 0,3-1-15 0,-2 1 2 0,-1-1 24 0,2 0-21 15,-2 1 2-15,0 0-9 0,1-1 27 0,-1 1-33 16,-5 1 24-16,12-1 19 0,-9 0-30 15,4 0 21-15,-7 1-11 16,11 1 3-16,-11-1-23 0,8 1 20 0,-3-1 10 0,0 2-15 0,0-1 11 16,-5-1-6-16,8 3 21 0,-5-1-16 15,-3-2-2-15,5 3 10 0,0-2 3 0,-5-1-6 16,0 0 21-16,5 2 10 0,-5-2 3 16,5 1 41-16,-5-1-16 15,0 0 8-15,0 0 18 0,0 0-44 0,0 0 24 0,8-3-19 0,-8 3-17 16,3-5 18-16,-2 0-8 0,2 2-21 15,-3-2 18-15,3 0-22 0,-1-2 12 0,-1 1-23 16,1 0 5-16,0 2 0 0,1 0-36 0,0-1 18 16,-1 1-2-16,1 2 15 0,0-1-10 15,1 1-5-15,-4 2-13 0,9-1 25 0,-9 1-17 16,10 0-3-16,-10 0-6 0,10 2 4 16,-5 0-16-16,0 0 23 0,-5-2 21 0,8 2-31 15,-5 0 10-15,-3-2-5 0,7 2 7 0,-7-2-1 16,8 1 34-16,-8-1 17 15,5 1 4-15,-5-1 3 0,0 0-107 0,8-4 32 0,-4 0 11 16,-1 0 0-16,0 0 6 0,1-1 6 0,0 1-1 16,-2 0 1-16,3-1-22 0,0 0 26 15,-2 1-1-15,2 0-23 0,0 0 6 0,3 1-26 16,-3 1 30-16,3 0-2 0,-1 2-33 16,1-2-11-16,0 2-17 0,-1 0-24 15,1 0-37-15,-8 0-53 0,12 2-47 0,-6-2-24 0,-1 3-53 16,0-1-42-16,0-1-143 0,-2 0-381 15,2 2-74-15,0-3 66 0,-5 0 154 0,0 0 33 16,0 0 61-16</inkml:trace>
  <inkml:trace contextRef="#ctx0" brushRef="#br0" timeOffset="25736.12">2875 1066 1292 0,'-2'-6'494'0,"2"2"-20"0,-3 1-75 0,3 3-51 0,-3-2-23 15,3 2-25-15,0 0-6 16,0 0-48-16,3 12-6 0,2-4-7 0,-2 3-38 16,4 2-3-16,1 2-23 0,0 4-13 0,3 2-18 15,3 9-12-15,-3 0-47 0,4 1-10 16,-2-2-15-16,0 2-47 0,0 0-4 0,-1-6-36 16,-1-3-24-16,-1 0-27 0,0-2 10 0,0-1-13 15,-4-2 30-15,1-4 16 16,-2-1-15-16,0-2 18 0,-2 1 48 0,2-4 26 0,-2-1 12 15,2-1 29 1,-5-1 0-16,2-2 0 0,-2-2 23 0,0 0 5 0,0 0-80 0,0 0 11 16,6-13 10-16,-6 3 28 0,-3-3-15 0,3-4 10 0,0-3 0 15,-2-6-12-15,-1 0 25 16,3-1-6-16,0-1-27 0,0 8-5 0,0 0 2 0,2 0-8 16,1 3 70-16,-3 5-29 0,3 0-15 15,0 3 5-15,1 1-8 0,-1 5-2 0,2 0 8 16,-5 3-6-16,6 1-20 0,-6-1 3 15,7 8-11-15,-2-3 13 0,-3 3-10 0,-1 1-28 16,1 1 7-16,-2 0 3 0,0 1-10 0,0 2-26 16,0-1 0-16,0 0-28 0,-2 0-11 0,2-1-37 15,-1-1-47-15,-1 0 8 0,2-1-23 16,-2-1-18-16,-1-3-36 0,3-1-33 16,0-1-62-16,0-3-181 0,0 0 9 0,-8 0-93 0,8 0-395 15,-3-10 171-15,3 2 26 0,-2-3 131 16,-1-3 25-16</inkml:trace>
  <inkml:trace contextRef="#ctx0" brushRef="#br0" timeOffset="25911.21">3070 1110 547 0,'-3'-23'354'0,"3"6"-17"0,0 4-6 0,-2 1-55 0,2 3 3 0,0 1-13 15,0 0 64-15,0 2-22 0,0 1-37 16,0 0 11-16,0 1-32 0,2 2 29 0,-2 2-12 0,3-3-40 16,-3 3-37-16,0 0-8 0,11 5-98 15,-7-1-12-15,2 1-11 0,-2 2-5 16,2 0-27-16,-1 3-14 0,1-1-28 0,1 2-35 0,0 0-52 15,-1 1-39-15,-1 1-45 0,2 2-39 16,-1-1-20-16,-1 1-146 16,0-4 13-16,0 3-466 0,3 0 43 0,-4-3 118 0,2 1 18 15</inkml:trace>
  <inkml:trace contextRef="#ctx0" brushRef="#br0" timeOffset="26347.22">3275 1204 1226 0,'3'-10'320'0,"2"-2"20"0,-3 1-20 0,-2-1 51 0,2 1 8 0,-2-2-16 0,-1 4-114 0,1-3 19 0,0 1-29 0,-1 2 4 16,1-1-13-16,0 2-10 0,0 2-23 15,-2 0-41-15,2 2-12 0,0 0-11 16,0 4-26-16,-2-3-2 0,2 3-15 0,0 0 2 16,0 0-23-16,0 0 5 0,-4 16-30 0,4-10-3 15,0 3 18-15,0-1 28 0,1-1-44 16,2 3-12-16,-1-1-16 0,-2 0 6 0,3-1-29 15,-1 1-53-15,3-2-3 0,-2-1-36 0,2-1-38 16,0 0-16-16,0-2-7 0,3-1-46 0,-3-1 25 16,3-1-46-16,-1-1-51 0,4-2-59 15,-1-1 64 1,-2-2-94-16,2 0 76 0,0-1 10 0,3-4 24 0,-3 1 102 0,1 0 69 16,-1-2 89-16,0-1 52 0,-2 0 20 0,-1 0 72 15,1 2-8-15,-3 0 41 0,2 1 21 0,-3 0 25 16,0 3 1-16,2 0 101 31,-4 0-32-31,0 4-109 0,1-4-17 0,0 5-23 0,-1 0-5 0,-2 2-16 0,0 0-12 0,0 0 2 0,8 5-25 16,-8 1-3-16,3 0 5 0,-1 2-43 0,-2 2-3 15,2 0-54-15,-2 3-30 0,0 2-65 16,0-2-50-16,-2 2-50 0,2-1-50 0,-2 1-57 16,2-3 1-16,-2 0-121 0,1-1-277 15,1-3-91-15,0 1 22 0,0-2 103 0,0-4 74 16</inkml:trace>
  <inkml:trace contextRef="#ctx0" brushRef="#br0" timeOffset="26649.89">3473 1093 1072 0,'-3'-8'381'0,"3"2"57"0,0 1 5 0,-3 1-51 0,3 4-42 16,0-4-35-16,0 4-41 0,0 0-23 16,0 0-18-16,3-2-28 0,-3 2-16 0,0 0-59 15,11 1-76-15,-11-1-41 0,10 2-36 0,-6 0-69 16,2-1-103-16,-6-1-91 0,13-1-103 15,-8-2-77-15,3 3-248 0,1-3 255 0,2 0 180 16,-3-3 126-16,2 1 32 0,0-2 88 0,-2 0 77 16,0 1 76-16,-3 0 49 0,2 1 97 0,-2-1 5 15,1 2 14-15,-2-1-75 0,2 0 17 16,-3 2-35 0,2 0 16-16,-3 2-4 0,-2 1 42 0,5-3-13 0,-5 3-38 0,0 0 2 15,13 3-3 1,-12 1-33-16,3-1-9 0,-1 2-53 0,-1 1-27 0,1-2-59 0,-1 1-57 15,1-1-43-15,-3 2-51 0,3-1-136 0,-6 2-230 16,6-3-418-16,-1-1 57 0,-2 1 154 0,0-4 37 16,2 3 134-16</inkml:trace>
  <inkml:trace contextRef="#ctx0" brushRef="#br0" timeOffset="26757.93">3686 877 696 0,'-1'-4'210'0,"-1"1"-85"0,-3-1-191 0,4 2-518 16</inkml:trace>
  <inkml:trace contextRef="#ctx0" brushRef="#br0" timeOffset="26974.72">3747 694 1725 0,'-3'-4'507'0,"3"4"-67"15,0 0-38-15,0 0-39 0,0 0-28 0,0 0-2 16,0 0-36-16,9 16 44 0,-2-8-34 0,-2 1-72 16,0 3 14-16,2-2-34 0,1 3-39 0,0 2-58 15,0-3-49-15,-3 1-25 0,2 1-70 16,-2-2-30-16,1-1-54 0,-1 2-6 0,-2-4-47 16,1-1-32-16,-1 0-61 0,0-1-113 0,-1-3-148 15,1 3-442-15,-1-3 152 0,2 0 32 16,-2-3 107-16,-2-1 30 0</inkml:trace>
  <inkml:trace contextRef="#ctx0" brushRef="#br0" timeOffset="27246.84">3798 832 1249 0,'0'0'338'0,"0"0"-26"0,0 0-51 16,-2-3 0-16,2 3-23 0,0 0-43 0,0 0 2 15,8-5-36-15,-4 3-36 0,1-1-25 0,0 1-51 0,1 1-29 16,-1-1-25-16,2-2-56 0,-1 0-49 16,1 0-62-16,-1 0-61 0,2 0-61 15,-1 0-18-15,0 0-433 0,-1 0 112 0,-1 1 70 16</inkml:trace>
  <inkml:trace contextRef="#ctx0" brushRef="#br0" timeOffset="28147.47">3942 757 458 0,'0'0'258'15,"0"0"-9"-15,0 0-11 0,0 0-21 0,0 0 11 16,5-2 7-16,-5 2-99 0,0 0-16 0,5-2-12 15,-5 2 20 1,0 0-31-16,2-4-5 0,-2 4-7 0,0 0-11 0,3-3-2 0,-3 3-11 16,0 0 6-16,3-3-19 0,-3 3 24 15,0 0 0-15,5-2-8 0,-5 2-13 32,0 0 10-17,5-1-7-15,-5 1-23 0,0 0 35 0,5-3-20 0,-5 3 3 0,0 0 12 0,2-1 78 0,-2 1-14 0,0 0 3 0,6-2 21 16,-6 2-6-16,0 0-71 0,0 0 25 0,0 0 3 15,0 0-1-15,4-3 14 0,-4 3 15 16,0 0-26-16,0 0 9 0,4-3 57 0,-4 3-9 16,0 0-18-16,0 0 2 0,0 0-28 15,0 0-40-15,0 0 22 0,0 0 0 0,0 0-28 16,0 0-2-16,0 0 17 0,2-2-9 0,-2 2 1 16,0 0-9-16,0 0 5 0,3-3 7 15,-3 3 8 1,2-3-13-16,-2 3-28 0,5-3 57 0,-5 3-27 0,0 0-73 0,1-5 18 0,-1 5 25 15,2-3-31-15,-2 3 34 16,0 0-8-16,0 0 5 0,0 0 15 0,-2-5-2 0,2 5-21 16,0 0 19-16,0 0-29 0,0 0-10 15,0 0-16-15,0 0 24 0,-1-5-16 0,1 5-15 16,0 0 5-16,0 0-13 0,0 0-5 0,0 0 0 16,0 0 3-16,0 0 5 0,0 0-8 15,0 0 18-15,0 0 5 0,0 0-10 0,0 0-5 16,0 0 10-16,0 0 0 0,0 0-26 0,0 0 23 15,0 0-9-15,3 12 12 0,-1-8-16 16,1 0 16-16,-2 0 3 0,3-1-8 0,-2 1 0 16,2 0 2-16,0-2 6 0,-1 3-6 0,0-3-5 15,1 0-10-15,2 0-15 0,-3 0 10 0,1-1 8 16,-4-1-16-16,11-1 13 0,-6-1 5 16,0 0 6-1,2-1-6-15,-1 0 18 0,-2-2-20 0,2 0 4 0,-1-1 24 0,0 0-18 16,-2 0 26-16,3-1-6 0,-2-2 0 0,-2 2-2 0,2-1 13 15,0 2-6-15,-1-1-15 0,0 1 31 0,-1 1-8 16,0 0 3-16,-2 2-13 16,3 0-21-16,-3 3 11 0,5-2 10 0,-5 2 20 15,0 0-15-15,10 8-5 0,-4 0-15 0,-1 1 35 16,0 3-28-16,0 2-27 0,0 3 52 0,0 1-30 16,1 0 11-16,-3 2-21 15,1 0 7-15,-1 1-7 0,-1 0 26 16,-2-1-34-16,0 1 13 0,-2-1-5 0,-1-2 23 0,3-3-18 0,-3-1 7 15,1-3 1-15,0-1 7 0,-1-2-25 0,0-2 8 16,1-2-4-16,-1-2-35 0,3-2 16 16,0 0-1-16,0 0-2 0,0-19-5 15,5 6-26-15,-3-5-31 16,5-7 8-16,2-12-12 0,2-2-1 0,1-1-23 0,1-1-33 0,8-7-30 16,-6 9-52-16,1 1-3 0,4 3-4 15,-5 3-73-15,1 5-89 0,-4 3-115 0,-3 7-468 16,-2 5 99-16,0 3 88 0,-4 1 114 31,0 1 54-31,-3 4 60 0</inkml:trace>
  <inkml:trace contextRef="#ctx0" brushRef="#br0" timeOffset="29222.91">2911 1726 1292 0,'0'0'428'0,"0"0"-44"0,-10 5-31 0,4-1-31 0,4 2-38 0,-3 3-43 0,3-1-21 0,-1 5-12 0,3 0-9 16,-2 0-17-16,2 0-39 0,0 4-25 0,0-4-21 16,2 2 16-16,0-1-34 0,-1-2-17 0,4 1-6 15,-1-4-5-15,2-1-2 0,1 0-21 16,-1-4 0-16,1-1 11 0,1-1 12 0,0-2-8 16,2-4-22-16,-3 0 2 0,2-2 18 15,1-3-11-15,-2 1 11 0,-3-1 21 0,0-2-75 16,-1 0 8-16,-1-2-5 0,-3 0 12 15,0 0 1-15,0 1 10 0,-3 1 10 0,1 3 20 16,2-1-28-16,-2 2-15 0,-1 3 6 0,0 0-17 16,3 4 22-16,-7 0-24 15,7 0 8-15,-8 9 2 0,5-3-30 0,-4 4 5 0,4-1-11 16,0 1-17-16,1 1-21 0,0-1 11 0,-1 0 9 16,3-2 1-16,0-1 0 0,3-2-16 15,-1 0 5-15,0-1 3 0,4-2 18 16,-6-2 13-16,8-1-5 0,1-4 20 0,-1 1 8 15,0-2-6-15,0-1 1 0,-1-1 17 0,1 0 9 16,0-1 9-16,-3 0 24 16,0 1-16-16,0-2 13 0,0 3-5 0,-2 0 7 0,0 0 1 15,1 1 15-15,-1-1-16 0,0 1-2 0,-3 2 0 16,5-1 0-16,-3 2-5 0,-2 0-3 16,0 3 3-16,3-3-11 0,-3 3 6 0,3-4-8 15,-3 4-5 1,0 0 18-16,0 0 5 0,4 10-26 0,-3-4 21 0,2-1-18 0,-1 4 0 15,-2 0 20-15,2 2 93 16,4 2-39-16,-2 3-8 0,2 0-7 0,-1 2-18 0,3 3 5 0,0 0-20 16,2 2-9-16,-3-3 24 15,4 1-41-15,-1 1-15 0,-2-1 2 16,1 0-46-16,0 0-8 0,-2-4-7 0,1 0-16 0,-5 0 6 16,1-1 25-16,0-3-28 0,0-2 18 0,-4 0 22 15,3-2 27-15,-3-3-19 0,-3-1 11 16,3 0 10-16,-2-1 5 0,0-2 21 15,2-2-16-15,0 0 13 0,0 0-10 0,-9-10 20 0,7 4-25 16,2-2 12-16,0-2-15 16,0-2 16-16,2-4 2 0,1-3-31 0,2-5 34 0,3-1-31 15,0-9 18-15,4 0-59 0,2 0-24 16,0 2-1-16,2 0-39 16,-1 1-41-16,1 3-31 0,-3 6-102 0,-1 2-133 0,-1 4-507 15,-1 5 43-15,-5 1 111 0,0 3 55 0,0 1 65 16</inkml:trace>
  <inkml:trace contextRef="#ctx0" brushRef="#br0" timeOffset="29682.28">2744 2236 1180 0,'0'0'373'0,"0"0"-2"0,0 0-33 15,0 0-36-15,0 0-56 0,3 14-21 0,0-8-7 16,2 4-39-16,0 2 5 0,2 0-4 0,-1 6-32 15,2-1-20-15,-1 3-49 0,0-3-15 16,-1 5-43-16,4-2-29 0,-2 1-20 0,-3-4-33 16,0-1-21-16,0 1-28 0,0-4 10 0,0-3-64 15,-2 1-43-15,2 0-90 0,-2-3-3 0,-1-2-150 16,1 1-290-16,0-4 105 0,1 0-10 16</inkml:trace>
  <inkml:trace contextRef="#ctx0" brushRef="#br0" timeOffset="30169.27">2893 2253 1139 0,'0'0'384'0,"0"0"-39"0,0 0-28 0,5 13-40 15,-2-9-21-15,-3 1-33 0,3 0-3 0,1 2-16 16,-1 0-32-16,0 0-47 0,2-1 24 0,-3 1 7 15,3-1-33-15,-2 0-21 0,0-1-7 16,0 2-21-16,1-1 11 0,-1-4-11 0,0 2 5 16,-1-1-12-16,-2-3 20 0,5 5 0 15,-2-4-3-15,-3-1 21 0,5 3-92 16,-5-3-5-16,5 0 2 0,-5 0 26 0,0 0-16 16,10 1 29-16,-10-1-44 0,6 2 26 0,-2-2-6 15,-4 0-14-15,8 4-4 0,-5-2-2 16,2-1-15-16,0 0-36 0,1 2-13 0,-2-3-28 15,2 2-54-15,-6-2-56 0,10 3-61 0,-6-3-154 16,-4 0-95-16,6 1-338 0,-6-1 116 16,0 0 35-16,11-1 72 0,-11 1 46 31</inkml:trace>
  <inkml:trace contextRef="#ctx0" brushRef="#br0" timeOffset="30395.1">2665 2469 847 0,'0'0'404'0,"0"0"-12"0,0 0-42 16,23-8-27-16,-10 3-26 0,-2 0-41 0,4-2 23 16,2-3-38-16,4 1-34 0,2-2-48 15,8-6 7-15,0 3-38 0,0 0-36 16,-6 0-48-16,-5 4-1 0,1 0-76 0,-3 2-49 15,0-1-84-15,-7 3-119 0,1 0-163 16,-2 1-394-16,1 1 105 0,-2 2 43 0,0 1 57 16</inkml:trace>
  <inkml:trace contextRef="#ctx0" brushRef="#br0" timeOffset="30911.19">3039 2364 967 0,'3'-5'376'15,"2"-2"-15"-15,2 0-41 0,-1-3-87 0,1 2-28 16,-1-2-5-16,-2 2-24 0,0 0 1 0,-2 1 10 16,0-2 74-16,-2 3-56 0,0 0 2 15,0 2-5-15,-2-2-10 0,2 3-33 0,0 3-8 16,-6-4-18-16,6 4-31 0,0 0 13 16,0 0-15-16,-10 8-33 0,6-2 22 0,3 1-14 15,-1 0-16-15,2 3-16 0,3-3 3 16,-1 1-31-16,1 1-30 0,4-1-5 0,1-1-60 0,2 0-14 15,0-2-75-15,1 0-64 0,2-3-100 0,-1 0-128 16,3-1-450-16,1-3 110 16,-1 1 38-16,1-1 121 0,2-2 96 15</inkml:trace>
  <inkml:trace contextRef="#ctx0" brushRef="#br0" timeOffset="31350.64">2570 2803 985 0,'0'0'363'0,"0"0"-9"16,3 11-22-16,-3-4-45 0,4 1-28 0,0 2-11 16,0 2-30-16,-1 1-19 0,4 2-7 0,-1 1-8 15,1 3-38-15,4 2-33 0,-4-2-31 16,2-1-26-16,-2-1-23 0,1 0-12 0,-1-2-39 16,1 1-46-16,0-3-33 0,0 1-62 0,-3-6-64 15,0 2-71-15,-3-2-49 16,3-2-453-16,-2 0 100 0,0-1 51 0,-1-3 82 0</inkml:trace>
  <inkml:trace contextRef="#ctx0" brushRef="#br0" timeOffset="31925.38">2573 2869 995 0,'-3'-7'400'0,"1"-2"-14"0,1 6 21 0,1-3-38 16,1 1 4-16,1 0-65 0,3 2-37 0,-2 0 0 16,2 0-15-16,3 0-38 0,-1 3 2 15,1-1-56-15,2 2-13 0,-2 2-11 0,2 0-1 16,-2 0-11-16,2 4-3 0,-2-1-15 0,0 2-15 0,1 0 0 16,-3 2 4-16,-3 2-14 15,-1-4 12-15,3 5-25 0,-5-2-34 0,1 0 8 16,-1-1-23-16,-1 0 5 0,1-1-4 0,-2 0-22 15,-1-1-28-15,0 0-17 0,1-1-1 0,0 1-30 16,-2-2 18-16,0-2-26 0,1 2-23 16,0-3-13-16,-1-1-15 0,1-1-8 15,3-1 6-15,0 0 7 0,0 0 30 0,0 0-19 0,-6-8 25 16,6 3 10-16,0 5-5 0,3-9 15 16,0 3 28-16,-1-1 11 0,1 0 8 15,-1 0 35-15,4 0-5 0,-2 1-2 0,2-1 20 16,-1 4-3-16,1-3 39 0,1 0-18 15,3 2-3-15,-2 2 1 0,-1 1 9 0,1-2-14 16,0 3 14-16,0 3 9 0,-1-1-22 16,1-1-6-16,-3 3-1 0,2-1-3 0,1 2-12 15,-2-1 33-15,-2-1-36 0,2 2-5 0,-4 0 6 16,1 0 19-16,-1-2-7 0,2 1-5 0,-2-1 23 16,0 0 8-16,-2-3 7 0,3 4-5 0,-3-4-10 15,0 0-2-15,0 0-24 0,0 0-7 16,0 0 28-16,0 0-26 0,0 0-15 0,0-10-26 15,0 3-41-15,0 2-27 0,0-4 6 0,2 1-42 16,1-1-34-16,-3-1-59 16,3 0-74-16,2-1-77 0,-1-5-15 0,2 5-458 0,2 1 99 15,-3 0 26-15,2-1 110 0,1 2 82 16</inkml:trace>
  <inkml:trace contextRef="#ctx0" brushRef="#br0" timeOffset="32177.89">2924 2807 496 0,'2'5'156'0,"-2"-2"64"0,1 4-12 0,1 0-11 15,-2 0-31-15,0-1-12 0,3 2-6 16,-1-5-27-16,1 4 30 0,-1-2-3 0,3-1 11 0,-2-1-24 16,0 0 1-16,0-2 2 15,-3-1-51-15,9 0 11 0,-9 0 14 16,8-4 85-16,-3 2-5 0,-3-2 0 0,2 1-61 0,-2-3-21 0,0 1 5 16,-2 0 0-16,1-1-20 15,1-1 20-15,-4 1-23 0,1 0-2 0,1 1-6 16,-2 0 1-16,0 0-8 0,-1 1-29 0,2-1-27 15,-3 2-42-15,1-1-12 16,3 4-41-16,-7-2-39 0,7 2-48 0,-9-1-85 16,9 1-99-16,-10 1-365 0,5-1-86 15,5 0 62-15,-7-1 73 0,7 1 50 0</inkml:trace>
  <inkml:trace contextRef="#ctx0" brushRef="#br0" timeOffset="32579.2">2934 2614 982 0,'0'0'402'0,"5"-1"-31"0,-5 1-22 0,0 0-27 0,11 7-107 0,-8-1-33 0,4 0 7 0,0 2-25 0,1 2-8 0,0-1-18 16,-3 4-17-16,5-1-4 0,-2 0-42 16,2 0-19-16,-2 0-18 0,-3 0 6 0,3-2-18 15,-1 1-21-15,-1-3-3 0,-1-2 8 0,0 2 44 16,0-2 23-1,0-2 2-15,-2 1 19 0,1-1 65 0,-3-3 1 0,-1-1-15 16,0 0-14-16,0 0 4 0,0 0-19 0,10-9-92 16,-7 4-5-16,-1-1 18 0,-1-3-13 0,3 2-10 0,-1 1 13 15,0-1 7-15,1 0-15 16,-1 3-2-16,0 1-11 0,2-2 16 0,0 3 2 16,-3-2-13-16,-2 4 13 0,9-1-12 0,-9 1-4 15,9 5 24-15,-6-3-13 0,0 1 16 16,0 1-21-16,-2 2 0 0,0 1-3 0,1-1-5 15,-2 2 26-15,-2 0-26 0,-1 0-15 0,-2 3-21 16,0-3-27-16,-2 3-11 0,1-1-21 16,1-2-32-16,0 1-34 0,-3-2-80 0,-2 2-89 15,3-3-161-15,1-2-461 0,-1 1 148 32,-1-1 21-32,0-2 105 0,0-1 62 0</inkml:trace>
  <inkml:trace contextRef="#ctx0" brushRef="#br0" timeOffset="33127.51">3291 2542 1328 0,'-3'5'376'0,"3"1"-38"16,-1-2-33-16,1 2-24 0,1 1-32 15,2-2-88-15,-1 3-15 0,-1-1-31 16,3-1-20-16,1-1-3 0,0 1-5 0,-1-2-16 16,3-1 9-16,-2-3-32 0,0 2 16 15,-5-2 16-15,13-2-16 0,-8 1 15 0,2-5-15 16,1 2 3-16,0-2 12 0,-1 1 0 0,-1-2 11 16,-2 4-11-16,2-4-2 15,-1 2 10-15,0 1-31 0,-2-1 3 0,2 2-5 0,0 1 18 16,-2 0-24-16,-3 2 6 0,0 0 10 0,15 4-2 15,-10 2-21-15,3 1 43 16,-1 4 41-16,1-1-12 0,0 4 12 0,0 1 1 0,2 4-42 16,3 0 3-16,-6-3-20 0,1 3-6 0,0-2-2 15,0-1-2-15,-4-1-6 0,2-1 0 16,-3-3-23-16,2 1 11 0,-2-2-14 0,1-2-27 16,-1 0-39-16,0-1-11 0,-1-2-50 15,0 0-26-15,-2-2-5 0,3 0-74 0,-3-3 4 16,0 4-76-16,0-4-166 15,0 0-267-15,0 0-204 0,0 0 87 0,0 0 56 0,3-13 117 16,-1 6 45-16</inkml:trace>
  <inkml:trace contextRef="#ctx0" brushRef="#br0" timeOffset="33892.68">3639 2519 1136 0,'-3'-5'433'0,"3"5"-37"0,0 0-60 0,0 0-4 0,0 0-47 0,-9 12-37 15,8-6 0-15,1 1-28 0,-2 1-82 16,2 3-40-16,0-3-1 0,0 5-28 16,2-2-2-16,-2 0-16 0,3 1 0 0,0-3-38 0,-1 0-3 15,1-2-7-15,2 0-3 0,-2-2 0 16,2-2 25-16,0 1-2 0,0-4 3 16,-5 0-13-16,13-5-8 0,-5 0 28 0,-2 2-2 0,2-5 10 15,-2 0 7-15,-1 0-7 16,-3 1 3-16,2-5 12 0,-2 1 36 0,0 3-7 0,-4-4 73 15,2 2-9-15,-3 1-29 0,0 0 3 16,-1 1 15-16,1 0-63 0,-3 2 1 0,4 1 17 16,-4 2-22-16,2 0-12 0,-1 2 15 15,5 1-51-15,0 0 0 0,-13 2 31 0,8 0-23 16,0 1-26-16,2 4-5 0,-2-3 5 16,0 3-25-16,2-1 12 0,1 0-36 0,1 0-27 15,1 0 25-15,0 0-11 0,0 0-9 0,1-3 9 16,1 3-12-16,1-2 10 0,-1-2-4 0,1 1 16 15,2-2 4-15,-5-1-6 0,10 0 26 16,-10 0 0 0,11-3 5-16,-6 2-2 0,2-3 12 0,1 0 3 0,-3-2-8 0,3 2 13 15,-3-2 21-15,2-1 9 0,-1-1-1 16,-1 1 6-16,2 0 24 0,-1-2-28 0,-2 2 28 16,2 1 33-16,-1-2-38 0,-2 1-11 0,2 1 3 15,0-1 11-15,-2 3-21 0,-1-2 22 0,0 1-22 16,1 2-5-16,0-1 18 0,-3 4-8 15,2-5-13 1,0 2-13-16,-2 3 0 0,4-3 3 0,-4 3 18 0,0 0-5 0,7 0-21 0,-7 0 21 16,0 0-8-16,8 5-15 0,-6-2 30 15,-2-3-25-15,5 5-6 0,-2-2 6 0,0-1-10 16,2 2-1-16,-2 1-20 0,2-2-12 0,-3-2-1 16,3 2 0-16,0 0-2 0,-5-3 15 15,5 1 3-15,-5-1-19 0,8 0 6 16,-8 0 18-16,10-1 10 0,-10 1-3 0,8-6 1 15,-5 3 15-15,2-1 5 0,-3 1-8 0,4-3 5 16,-4 2 8-16,0-1 16 0,1 2 30 16,0-1-5-16,-1 1-3 0,-2-1-15 0,0 4-10 15,5-2-31-15,-5 2 13 0,6-1-2 16,-6 1 14-16,0 0-9 0,10 3-14 0,-5 1-7 16,-2-2 21-16,1-1-11 0,-4-1-23 15,6 4-28-15,-4-2-23 0,-2-2-53 0,8 3-9 0,-8-3-58 16,5 0-54-16,-5 0-69 0,10 0-208 15,-7-2-434-15,4 1 19 16,-7 1 139 0,9-2 18-16,-2 2 82 0,1 0 87 0</inkml:trace>
  <inkml:trace contextRef="#ctx0" brushRef="#br0" timeOffset="34403.83">3957 2856 1210 0,'-5'1'356'16,"-2"2"-23"-16,-1 0-49 0,3 0 13 15,-3 2-51-15,2 0-24 0,2 1-17 0,1-1-23 0,0 0-29 16,3 0-27-16,0 1-14 0,3-1-7 15,-2 1 0-15,3 1-33 0,2 0 5 0,-1 3 2 16,2-3-5-16,1 1-22 16,-1 1 9-16,1-1-2 0,-2 1 0 0,1 0 7 0,0-2-25 15,1 1 5-15,-5 1 13 0,2-2 0 16,-3-1-8-16,1 1-2 0,-3 1-8 0,0-1-8 0,-3 2 5 16,1-2 6-16,-3 0-13 0,2 0-18 15,-4-1-19 1,2 1 19-1,-3-2-44-15,3 0-48 0,-2-1-31 0,1-1-41 0,1-1-38 0,5-2-49 0,-6-1-80 0,6 1-7 16,-4-12-79-16,6 5-413 16,0 0 88-16,-1 0 40 0,6-4 111 0</inkml:trace>
  <inkml:trace contextRef="#ctx0" brushRef="#br0" timeOffset="34665.61">4060 2913 990 0,'0'0'264'0,"7"9"-29"0,-7-6-15 0,3 3-35 0,0-2-16 0,1 1-26 15,-1 1-2-15,2-2-34 0,-2 3-4 0,3-5 2 16,1 2-36-16,0-2 7 0,1 0 12 0,0-4-27 16,0 2 39-16,-1-3-13 0,3-2 10 0,1 0 105 15,-1-1-38-15,-3-1 26 0,1-1 14 16,-2-1-71-16,1 3-2 0,-2-1 12 16,-4 1 100-16,1-2-38 0,-2 3 5 0,0-1-13 15,-2 1-18-15,1 1 1 0,-4 0-22 0,1 2-25 16,1-1 3-16,3 3-64 0,-13 0-31 15,13 0-11-15,-11 4-35 0,4-2-43 0,-1 2-24 16,0 2-38-16,1-3-23 0,2 2-41 0,-3 4-62 16,0-2-127-16,3 0-607 15,0-1 61-15,0 0 87 0,-1-3 72 0,4 1 75 16,0-1 65-16</inkml:trace>
  <inkml:trace contextRef="#ctx0" brushRef="#br0" timeOffset="34948.33">4204 2563 1377 0,'0'-6'404'0,"0"3"-25"0,2 1-31 16,-2 2-36-16,0 0-12 0,0 0 40 0,0 0-28 16,7 11-9-16,-4-4-35 0,0 5-7 0,2 0-10 15,0 3-110-15,0 2-16 0,3 3-14 0,-3 3-1 16,3-1-16-16,0 1-14 0,-1 0-6 15,-2-1-2-15,0 1-24 0,1-1-20 16,-1-3-35-16,-1 0-22 0,-1-1-29 0,3-1-45 0,-2 0-20 16,-1-5-38-16,0-2-13 15,1 0-44-15,-1-4-2 0,0 0-138 0,2-3-29 16,-2 0-470-16,1-1 40 0,-1-2 108 0,-3 0 49 16,0 0 76-16</inkml:trace>
  <inkml:trace contextRef="#ctx0" brushRef="#br0" timeOffset="35308.78">4419 2745 1325 0,'2'-5'402'0,"-2"5"-25"0,0 0-42 15,0 0-13-15,0 0-66 0,5 13 5 0,-2-9-20 16,-3 3-21-16,3 0-28 15,-1 0 0-15,0 3-31 0,1-3-30 0,2 1-16 0,-4-1-15 16,3 0 5-16,-1-1-5 0,-1 0-23 0,1-1 20 16,0 0 44-16,-1-2-6 0,-1 0-9 15,3-1-14-15,-4-2-78 0,0 0 35 0,0 0-13 16,16-8 18 0,-14 3 0-16,1-1-30 0,2-1 2 0,-5-2 67 0,2 1 2 0,1-1-23 15,0-4-18-15,-1 1-2 0,1-1-13 0,-1 0-13 31,-2 2-38-31,0 0-3 0,3 2-28 0,-3 0-39 0,0 2-35 0,3 1-11 0,-1 1-48 16,-2 1-36-16,2 1-2 0,2 2-62 16,-4 1-69-16,0 0-139 0,7-3 22 0,-7 3-416 15,3 4-5-15,1 1 129 0,-1-1 53 0,2-1 59 16</inkml:trace>
  <inkml:trace contextRef="#ctx0" brushRef="#br0" timeOffset="35525.87">4618 2671 1133 0,'8'-8'349'0,"-2"0"-24"0,-4 0-64 0,0 2-3 0,1 0 8 0,-3-1-20 0,0 1-3 16,3 0-10-16,-6-1 90 16,1 4-42-16,1-2-22 0,-1 1-42 0,-3 3 1 0,5 1-21 0,0 0-59 15,-13 5 21-15,8-2-16 32,2 6-22-32,-1 0-88 0,3 2-13 0,-1 1 11 0,2 2-8 0,0 0 3 0,2 1 5 0,1-3-6 15,2-1-30-15,2-1-33 0,1 1 22 16,0-3-25-16,2-1-38 0,-1-1-3 15,0-3-66-15,2-2-42 0,-1 0-71 0,0-3-169 0,0 0-522 16,0 1 97-16,3-5 74 0,-5 4 121 16,2-4 61-16</inkml:trace>
  <inkml:trace contextRef="#ctx0" brushRef="#br0" timeOffset="-209579.75">5762 5434 906 0,'-2'-2'376'16,"2"2"-20"-16,-3-5-24 0,3 5-32 15,0 0-13-15,0-5-42 0,0 5-9 0,0 0-19 16,0 0-7-16,0 0-15 0,0 0-26 16,0 0-18-16,5 16-13 0,-4-8-7 0,3 1-44 15,-1 1-8-15,-3 3 13 0,5-2-2 16,-3 2-47-16,1 0-20 0,2 0-18 0,-3 1-10 0,-1-3-10 15,4 2-16-15,-3-2-23 16,-1-1-12-16,4-1-19 0,-3 0-14 0,0-1-35 0,-1-2-27 16,4 0-72-16,-5-3-71 0,0 0-19 0,2 0-427 31,-2-3 28-31,0 0 57 0,0 0 38 0</inkml:trace>
  <inkml:trace contextRef="#ctx0" brushRef="#br0" timeOffset="-208897.88">5629 5232 888 0,'-5'6'266'0,"-1"1"-20"16,-1 4-11-16,-1 2 83 0,3 4-32 0,0 2-17 16,3 1-49-16,-2 1 10 15,4 4-40-15,-2 4-19 0,4 2 1 0,2 8-24 0,0 3-4 16,-1-1-1-16,4 0-28 0,1-4-5 0,3 0-5 16,1-4-79-16,1-2-8 0,5-4-3 0,-5-6 3 15,2-5-21-15,1 0 1 16,2-2 4-16,-1-1-4 0,4-2-1 0,-1-2 19 15,-2-2-16-15,1-2-16 0,1-3 9 0,-2-4 14 16,-2 2-2-16,4-2-7 0,0-4 2 16,1-1 20-16,-3 1-14 0,0-6 4 0,2 0-3 15,-4-2 9-15,1-2-19 0,-1 1 3 16,0-2-18-16,-4-1 3 0,1-1 18 0,-3 0-21 0,1 0 2 16,-1 0 3-16,-2-1-4 0,-3 3-4 15,2-6-7-15,-4 3-3 16,2 1 24-16,-3-2-27 0,-2 2 9 0,-2-4 17 0,2 2 13 0,-5-3-18 15,0 1-10-15,-1 1 23 16,0-2-5-16,-2 1-3 0,-2 2 11 0,-1 2 12 0,1 1 6 16,-3 1-1-16,0 1-9 0,-2 0 30 15,1 2-11-15,-1 2-4 0,0-1-1 16,0 3-7-16,-1 1 16 0,1-1 7 0,-3 2-3 16,2 1-10-16,-1 2 11 0,1-1 9 15,-2 3-9 1,-2-1 1-16,5 1-1 0,-1 1 12 0,1 0-10 0,-1 2-8 0,1-1-2 0,0 1 13 0,-1 1-3 15,3-1 17-15,-2 1-35 16,0 2 3-16,-1 0-13 16,3 1-6-16,0-1 14 0,-2 4-3 0,2-1-8 0,-2 2-5 0,2 0-25 15,0 1-21-15,1-2-3 0,2 3-25 0,1-3-15 0,0 3-8 16,1 0-39 15,3 1-23-31,-1 0-7 0,2-1-41 0,3 0-51 0,1 2-96 0,0-3 17 0,1 3-472 0,3-1 23 0,-1 1 141 16,4-1 46-16</inkml:trace>
  <inkml:trace contextRef="#ctx0" brushRef="#br0" timeOffset="-205877.48">6842 7999 757 0,'0'0'300'0,"0"0"-49"0,-3-3-62 15,3 3-30-15,0 0-8 0,0 0-13 16,-5-2 0-16,5 2 3 0,0 0-29 16,0 0 11-16,-10 7-20 0,7-4 17 0,-2 0-15 0,2 1-8 15,1-2 54-15,-1 3 5 0,0 0 1 16,1-2-24-16,0 2 15 0,-2 2-40 0,3-1 4 0,0 0 11 16,1 1-36-16,1-1-7 15,4 2 1-15,-3 1 6 0,3-1-97 0,1 2 8 16,1-2 2-16,3 3 28 0,1-1-21 0,-1 1 22 15,3-1-6-15,-1-1-26 0,-1 2 3 16,2-3 3-16,-3 2 9 0,0-2-22 0,-3-2 0 16,4 2 77-1,-4 2 2-15,-1-4 0 0,-1 0-39 0,0 1 19 0,-3-1 20 0,1 0-12 0,-3 0-9 16,0-1-7-16,0-1 8 0,-2 1-29 16,0 0-10-16,1-4 3 0,-4 5 33 15,2-5-35-15,-2 0-29 0,0 2 25 0,5-3-14 0,-8 0-9 16,8 0 4-1,-10-4 19-15,8 2-17 0,-4-3 5 0,4-1 0 0,-1 0-11 0,1-1 4 16,-1 0-6-16,3-4 2 0,-2 4 14 16,1-5 9-16,1 4 1 0,1-3 0 0,-2 0 7 15,1 1 0-15,0-2 1 0,0 2 7 0,1-3 5 16,-2 2 36-16,1 3 13 0,-2-3-16 16,0 1 8-16,-1 1 11 0,1-1-27 0,1 1 9 15,-1 0 20-15,-3-1-39 0,4 3 49 16,-3 1-12-16,-2-1-6 0,4 1-7 0,-3 0-47 0,0 1 18 15,2-2-9-15,-4 5-1 0,1-2-3 16,3 1-30-16,-1 0-33 0,-2 1-16 16,-1 2-15-16,7 0-26 0,-11-2-17 0,11 2-24 15,-10 0-35-15,10 0-21 0,-7 0-23 0,7 0-16 16,-8 0-35-16,8 0-126 0,-8-1 37 0,6-1-86 16,2 2-406-16,-6-2 102 0,6-2 46 31,0 4 177-16,-2-6 51-15</inkml:trace>
  <inkml:trace contextRef="#ctx0" brushRef="#br0" timeOffset="-205356.06">6742 7764 813 0,'-13'0'282'0,"8"3"-23"0,-3-1 58 0,3 0-30 0,-2 3-19 0,-2 1-37 15,1 4 20 1,4-1 2-16,-6 8-51 0,4-2 3 0,-2 7 2 0,6-2-22 0,-3 5-16 0,2 1 2 15,3 2-5-15,0 0-14 0,0 15-14 16,5-1-31-16,0-1-4 0,1 2 2 0,4-1-3 16,2-3-18-1,-1-2-20-15,2 1 11 0,2-6-6 0,1-2-28 0,-1-1-3 0,5-3 6 0,-2-6-11 16,-2-4-28-16,1-2 39 0,2-3-21 16,4-2-13-16,-6-3 33 0,4 1-25 15,-1-4-2-15,-2-2-1 0,1-1-10 16,3-4-2-16,-3 1-24 0,4-6 11 0,0 0 12 0,-3-2 4 15,-2-2 17-15,0-5-13 0,5-3-8 16,-5-6 29-16,3 2-15 0,-8 3-19 0,-1-1 16 16,-2 3-6-16,-2-4 1 0,0 0-5 0,-3 2 9 15,-3-3-14-15,-1 3 10 0,-2 0 12 16,-1-1-33-16,-3-2 29 0,0 1 2 0,-3 0 5 16,-3 2-69-16,-3-7 15 0,1 8 15 0,-3 2 19 15,1 0 43-15,0 3 16 0,-1 0-37 0,-2 0-7 16,0 3 33-16,-2 2-12 15,2 3 4 1,-3 0 31-16,3-1-28 0,0 5-10 0,-2 0 5 0,5-1-10 0,-1 5 5 0,1-2-16 16,-1 2 3-16,1 0 18 0,-2 2 5 0,3-2-2 0,1 4-26 15,1-2-11-15,1 3-24 16,1 0-32-16,2 1-10 0,0 1-36 0,4 1-22 16,1 1-6-16,-2-1-33 0,5 0-29 0,0 3-12 15,2 0-46-15,1-1-82 0,2 0-103 0,0 0-235 16,2-1-194-16,2-1 30 0,1 1 118 15,0-4 79-15,0 0 26 0</inkml:trace>
  <inkml:trace contextRef="#ctx0" brushRef="#br0" timeOffset="-205116.3">7383 7888 993 0,'0'0'430'0,"0"-6"-36"0,0 6-56 0,7-7 12 0,-2 2-63 0,3-2-26 0,0-2-10 0,2-1-46 16,1-1-23-16,1 1-21 0,1 0-26 0,2-2-30 0,-4 4-25 15,1-3-11-15,-2 5-56 0,1-3-18 16,-3 3-52-1,2 0-30-15,-5 1-84 0,2 3-119 0,-1-1-53 0,-3 3-437 0,1 0 27 16,-4 0 88-16,4 5 40 0</inkml:trace>
  <inkml:trace contextRef="#ctx0" brushRef="#br0" timeOffset="-204872.81">7395 7986 1003 0,'0'0'325'16,"0"0"8"-16,0 0-39 0,0 0-5 0,0 0 36 15,0 0-40-15,0 0-6 16,11-11-11-16,-4 6-42 0,1-1 14 0,2-2-22 0,-2 3-65 16,2-3 19-16,3-3-13 0,0 3-14 15,-3-2-22-15,2 1-105 0,-1 1-25 0,-1 0 4 16,0 0-35-16,1 3-8 16,-6-1-34-16,3 0-45 0,-3 3-11 0,0-2-25 0,0 0-87 15,0-2-116-15,-2 6-511 0,-1-4 130 0,1 5 28 16,-3 0 100-16,0-6 75 0</inkml:trace>
  <inkml:trace contextRef="#ctx0" brushRef="#br0" timeOffset="-204467.12">7424 7655 962 0,'-3'3'335'0,"-5"3"-45"0,0 0-1 0,0 5-28 0,-2 0-15 0,3 3-34 0,-6 1-12 16,1 4-13-16,1 2-16 0,1-2-25 0,0 2 51 16,2 3-2-16,-2-2-6 0,5 1-46 15,-3-3-7-15,2 3 5 0,4-5-6 0,0 0-9 16,-1-4-24-16,3 2 8 0,0-2-7 15,0 0-6-15,3-1-15 0,-1-2 28 0,3 1-97 16,0-1 10 0,1-2-8-16,1-1 6 0,3-2-11 0,-2 2 0 0,2-4 36 0,1 2-28 0,1-5-3 15,-1 2 11-15,-1-1-13 32,3-2-8-32,-1 0-5 0,-1 0 33 0,1 0-33 0,-1-2 28 0,2 1 3 0,-3-2-28 0,1 1-16 15,-1 0-15-15,0-1 12 0,0 2-37 0,-2-1-6 0,-1-1-28 16,1 2-18-16,0-3-10 15,-3 3-1-15,0 1-14 0,0-2-34 0,-5 2-66 16,10-3-72-16,-7 1-82 0,0 1-484 16,2 0 72-16,-5 1 89 0,0 0 78 0,0 0 50 0</inkml:trace>
  <inkml:trace contextRef="#ctx0" brushRef="#br0" timeOffset="-201827.91">7321 7893 806 0,'8'-11'281'0,"2"2"-40"0,0 0-18 0,-2 0-3 0,2-2-44 0,3-1-14 0,-3 0-16 0,3 0-26 0,-2 0-5 15,1 0-23-15,1 2-20 0,-3-1-21 16,3-3-23-16,-2 3 13 0,-1-1-43 0,0 2-42 15,0 1-20-15,-2 1-10 0,-1-1-52 0,1 2 1 16,-3-1-36-16,0 3-41 0,1 2-1 16,-2-1-347-16,-1-1-5 0,2 3-50 0</inkml:trace>
  <inkml:trace contextRef="#ctx0" brushRef="#br0" timeOffset="-201292.15">7372 8066 816 0,'0'0'292'0,"0"0"-29"0,0 0-12 15,3-9-31-15,2 6-20 0,0-3 5 0,0 1-8 16,1-3-31-16,4-2-12 0,2-2-18 16,2-4-16-16,1 1-20 0,2-3 15 0,6-3-15 15,-2-3 2-15,0-1-94 0,4 2-16 0,-2 1 3 16,1-3 84-16,-1 2-25 0,2 2-8 15,-7 2-13-15,-2 3 19 0,-1 2-47 0,-2 3 8 32,0-2-19-32,-3 3-22 0,-2 1 5 0,-1 2-7 0,1-1-32 0,-1 2-38 0,-4 1-58 15,2-1-32-15,-2 1-58 0,-1 2-77 0,1 0-394 16,-3 1 12-16,0 2 118 0</inkml:trace>
  <inkml:trace contextRef="#ctx0" brushRef="#br0" timeOffset="-200914.01">7349 7888 706 0,'0'0'330'0,"0"0"-20"15,13-13-31-15,-8 8-8 0,3-2-12 0,0-4-47 16,4 2-10-16,-2-4-4 0,6-2-109 15,-1 1-12-15,1-1 5 0,2-2 0 16,-3 3-18-16,3-3-18 0,-3 0 5 0,3 2-31 0,-2-2-30 16,-1 3 28-16,-2 1-33 0,0 1-16 15,-1 0-18-15,-3 3-22 0,1-1-34 0,-3 4 5 16,1-1-61-16,-3 1-34 0,0 0 16 16,0 4-41-16,0-2 18 0,-2 1-59 0,0 1-280 15,-3 2-78-15</inkml:trace>
  <inkml:trace contextRef="#ctx0" brushRef="#br0" timeOffset="-199733.69">7349 7779 803 0,'3'-5'282'16,"-1"-2"-6"-16,3-2-40 0,-2 1-19 15,2 0-9-15,1-3-24 0,1 0-13 0,0-2-7 0,-1-1-31 16,2 0 6-16,-1-1-24 0,1 2-18 15,-3 0 21-15,2-1-31 0,1 1-3 0,-2 0 3 16,-1 2-23-16,2 0-5 0,-4-1 5 0,3 4-20 16,-2 1-3-16,1-2 12 15,-2 2-17-15,-1 1 8 0,1 0-1 0,0 3-2 0,-3-2 8 16,2 2 5-16,0-1-6 0,-2 4-25 16,0-4 26-16,0 4-29 0,0 0 24 0,0 0-3 15,0 0-28-15,0 0 10 0,0 0-5 16,-7 12-3-16,4-7-2 0,1 1 17 0,-1 1-19 15,1-1-4-15,-3 0 9 0,2 4-3 0,-2-1-19 16,0 2 27-16,0-2-16 0,2 3 5 16,-2 0-79-16,0 0-5 0,0 1 20 0,0 0 11 15,2-2-14-15,-2 4 14 0,0 0 22 16,2-2-30-16,-2 1 26 0,0-1 12 0,2 0-18 16,-2 2 5-16,2-4 24 0,1 1-3 0,-3 2-18 15,2-4 5-15,1 2-21 0,-1-1 29 0,1 1 5 16,-1-4-5-16,-1 4 10 0,0-4 8 15,2 2-19-15,0-3 11 0,1 1-5 16,-1 0-3-16,-1-1 3 0,3-3 18 0,-3 2-31 16,3-1 8-16,-2 2 28 0,2-3-26 0,-2 1 11 0,2-2-13 15,0 2 10-15,-3-2-6 16,3 2-4-16,0-5-8 0,0 5 8 0,0-1 10 16,-3-1 21-16,3 2-16 0,0-5-10 15,-2 5-6-15,0-3 14 0,2-2-1 16,-1 7 1-16,1-7-16 0,0 4 8 0,0-4-5 0,-3 6 23 15,3-6-3-15,0 4 3 0,-2-1-8 0,2-3 5 16,0 5-15-16,0-5 5 0,-2 6 5 16,2-6-2-16,-3 3 7 0,3-3 5 0,0 5-20 15,0-5 18-15,0 3-21 0,0-3 11 16,-3 5 17-16,3-5-4 0,0 0-22 0,0 4-4 0,0-4 8 16,0 0-1-16,0 0-12 0,3 2 10 15,-3-2-11-15,3 5 24 0,-3-5-3 31,4 1 3-31,0 1 5 0,0 1-11 0,-4-3 6 0,8 1-1 0,-5 0 14 0,2 2 15 16,0-2-31-16,2 0-3 0,1-1-9 0,0 2 9 16,-1 1 19-16,1-2 2 0,2 0 2 15,-2-1-7-15,0 0-10 0,0 1-8 16,2 2 26 0,-3-3-26-16,1 0-6 0,0 2 17 0,0-2-1 0,-3 0-5 0,3 3-7 0,-3-2 4 15,2 0-20-15,-1 0-10 16,-6-1-36-16,10 0 10 0,-5 0-17 0,-5 0-65 0,8 0-43 15,-8 0-46-15,7 0-72 0,-7 0-39 0,8-2-416 16,-8 2 61-16,5-4 43 0</inkml:trace>
  <inkml:trace contextRef="#ctx0" brushRef="#br0" timeOffset="-197881.27">7449 7532 665 0,'0'0'259'0,"0"0"-47"0,0 0 0 15,0 0-91-15,0 0-11 16,6 12 2-16,-4-5-17 0,0-1 2 15,1 0 44-15,0 1 0 0,2 4-8 0,-2 2-13 0,1 0-4 0,2 1-19 16,-1 3 3-16,0 0-6 0,-1-1-14 16,2 5 7-16,-1-2-8 0,0 1-23 15,0 4-2-15,1-3-13 0,-1 2 10 0,0-3-15 16,0-1 5 0,-2 0-18-16,-1 0 23 0,3-1-18 0,-2 1-12 0,2-2 27 0,-3-2-17 15,2 1-6-15,0-3-4 0,-1 1 9 0,-1-3-7 16,1-3 13-16,-1-1-23 0,1 3-11 0,0-4 21 15,-3 0-15-15,2 0-3 16,0-1-21-16,-2-2-10 16,1 3 13-16,1-4-17 0,-2 3-9 0,0-5 1 0,3 3 20 0,-3-3-3 0,2 3-18 15,-2-3-4-15,0 0-16 0,0 0 13 0,0 0-19 16,0 0-17-16,0 0 6 16,0 0 11-16,0 0-19 0,0 0-47 0,0 0 34 15,2-12-16-15,-2 12-15 0,-1-5-18 16,1 5-28-16,-1-8-105 15,1 7-338-15,-2-4 25 0</inkml:trace>
  <inkml:trace contextRef="#ctx0" brushRef="#br0" timeOffset="-193906.32">7459 7682 847 0,'0'0'330'0,"0"0"-51"0,0 0-31 0,0 0-10 0,-2 12-38 0,4-5 0 16,-2 3-34-16,3-1-2 0,-2 2-29 15,0 2 14-15,2 0-24 0,0 6-25 16,-1-6 23-16,1 5-28 0,-1 0-26 0,1 0 5 16,-3-4-5-16,3 2-38 0,-1-2 5 0,0-1-3 15,1 0-30-15,0-2-9 0,-1-3 4 16,-2 2-16-16,1-2 3 15,0-3-31-15,0 1-3 0,2-2 8 0,-1 0 0 0,-2-4 10 16,2 1-20-16,-2-1 31 0,0 0-11 0,0 0-2 16,3-13-6-16,-3 7 11 0,3-3-26 15,-3-2 13-15,0-3 16 0,0-3-3 0,-3 0-13 0,1 0 20 16,1-3 11 0,-1 3-21-1,2 1 29-15,-2 1 9 0,-1-1 14 0,1 3-19 0,1 0 24 0,-1 1 10 0,-1 3 28 16,3 0 13-16,-3 3-3 0,1-2 3 0,0 2-29 0,-1 1 6 15,0 3 13-15,3 2-16 0,0 0-8 16,-13 5 1-16,8 2 2 0,1-1 0 0,-2 4-18 16,1 3-7-1,0 2 4-15,-3 1-15 0,3 1 8 0,0 0-5 0,0-1 10 0,2 2-15 16,1-3 15-16,-1 1-33 0,1-5 25 0,1 2 3 16,-1-2-33-16,2-3 30 0,-2 1-30 0,4-2 7 15,-2 0 5-15,0-5-9 16,2 3 17-16,-2-5-3 0,3 2-9 15,-3-2 1-15,0 0 9 0,10-13-18 0,-7 7 30 0,2-6-20 16,-3 2 10-16,2-4 23 0,0 0-33 0,-1 0 0 16,-3-2 15-16,3 2 8 0,-1 0-5 15,-2-2-39-15,2 2 34 0,-2 6-6 0,1-3 6 16,-1 3 36-16,0 2-16 0,-1 0-3 16,1 1-9-16,-2 1 7 0,2 4-18 0,0 0 13 15,0 0 5-15,0 0 15 0,-12 12-38 16,8-3 26-1,0 1-13-15,-2 5-3 0,-1 0 3 0,1 1 7 0,2-1-4 0,-2 4-4 0,-1-2-1 16,2 0-19-16,2-2 21 0,-2 2-3 16,2-4-13-16,1-1 11 15,-1-3-28-15,1 1 7 0,1-2 10 0,0-2-12 0,1 1-8 0,1-3 13 16,2-2-1-16,-3-2 9 0,0 0 7 16,0 0-8-16,13-13-4 0,-10 5-9 0,2-4 11 31,2-4 5-16,-1 3 5-15,-2-6-7 0,2 1 25 0,-1-3-36 0,0-3 13 0,0 3 5 0,0-2-15 0,0-1 15 0,-2 5 3 0,0 1-19 16,-1 2 22-16,0 0-4 0,-1 3-9 16,1 2 20-16,-2 2 23 0,0 0-18 15,0 1-3-15,-2 2-25 0,1 4 28 0,1 2-10 0,-4-1-21 16,4 1 16-16,-8 7 2 0,2 2-92 31,2 2 31-31,-4 3 13 0,0 4-8 0,1 1-11 0,-1 1 29 0,-2 3-13 0,2-1-10 16,0 1 15-16,0-1 11 0,1-1-4 0,1-3-9 15,2-3 12-15,-2 0 8 0,4-3-20 16,-1 0 18-16,1-3-24 0,1-1 24 0,1 0-21 16,0-4 12-16,0 1 4 0,3-1 4 0,-3-4 42 15,0 0-44-15,0 0-10 0,13-10 12 0,-8 3 3 16,0-5-10-16,3-2 10 0,-3-2-13 16,3-4 6-16,0 0 17 0,-3-4-17 0,3 1-1 15,-1 1 13-15,-2-1 11 0,3-1-1 16,-3 3-2-16,0 3 7 0,-2 1-7 15,2 3-13-15,0 1 18 0,-2 0 16 0,-1 2 4 16,0 3 14-16,-2-2-17 0,1 5 4 16,-1 1-3-16,0 4 25 0,0 0 6 0,0 0-26 15,0 0-8-15,-8 12-17 0,3-4 12 0,-3 6 11 16,3 3 12-16,-3 3-28 0,-2 4 8 16,2-1 5-16,-4 8-23 0,-1 1 2 0,2-1-5 0,1-6 8 15,3-4-13-15,-1 0 3 0,3-4 13 16,2 1 4-1,-2-5-4 1,5-1-11-16,-3 0 3 0,1-2 23 0,2-1-46 0,0-3-5 0,0-1 25 0,0-2 0 0,0-3-7 0,5 0 5 16,-5 0 25-16,10-8-20 15,-5 0 5-15,3-3-10 0,0-2 7 0,-3-3-10 0,2-1 8 16,2-4-23-16,-2 3 3 0,1-2 7 16,0 4 2-16,-1 0-2 0,-2 1 6 0,1 2-6 15,1 2 7-15,-4 0 19 0,1 4-8 0,-3 0 5 16,2 2 5-16,-1 0 13 0,0 4 11 15,-2 1-1-15,0 0-28 0,0 0 11 16,0 0-9-16,-2 13 21 0,-3-3-7 0,2 2-6 16,-2 3-5-16,-3 2-2 0,1-1-8 0,-1 5 8 15,0-1-1-15,3-2-1 0,-3-2 1 0,3 1 14 16,-2-1-19-16,1-2 9 0,4-2 4 0,-3-3 5 16,2 3-15-16,1-6-7 0,1 4-6 15,1-4-2-15,0 1-3 0,0-4-2 16,1 2 12-16,1 0 24 0,3-4-34 0,-2 3 23 15,4-2-17-15,-1-2 14 16,1 4-7-16,1-2-2 0,0-1-1 0,2-1-5 0,0 1-4 0,-2 2 17 16,2-1-18-16,-2-2-10 0,2 1 36 15,0 1-24-15,-2-1-12 0,0 0 29 0,0 0-14 16,-1-1-13-16,-1 0 6 16,1 0 12-16,-7 0 3 0,11 0 24 0,-7 2-17 0,-4-2-9 15,8 2 14-15,-8-2 4 0,0 0 9 16,6 1-12-16,-6-1-13 0,0 0 18 0,0 0-13 15,0 0 11-15,0 0 12 0,0 0 0 16,0 0-23 0,-19 2 0-16,19-2 13 0,-12-2-3 0,12 2 11 0,-11 0 10 0,11 0-16 0,-10-1-9 15,10 1 17-15,-7-2-8 16,7 2-7-16,-6-2-8 0,6 2-10 0,0 0 28 0,-4 0-15 16,4 0 2-16,0 0-15 0,0 0-5 0,0 0 20 15,12-6-18-15,-7 6 3 16,-5 0 18-16,10-2 5 0,-5 2-23 0,1-3 10 0,-6 3 8 15,10-1-16-15,-5 1 3 0,-5 0-5 16,10 0 20-16,-10 0 3 0,8 0-8 0,-8 0-5 16,0 0-2-16,5 1-16 0,-5-1 6 15,0 6 4-15,0-6 11 0,-7 10 2 0,1-5-13 16,1 1 21-16,-5 0 5 0,2-1-2 16,-2 3-19-16,0-2 37 0,-1-2-11 0,1 1 0 15,0-2 21-15,0 0-8 0,2-3-8 0,0 2-10 16,0-2 13-16,8 0-21 0,-10-2-10 0,7 0 16 15,3 2-6-15,-4-5-10 0,4 0 16 16,2-1-3-16,1 0 10 0,2 1-13 16,-2-2-12-16,1 0-16 0,4-1 8 0,-2 1 2 15,1-3-12-15,0 1 25 0,1-1-7 0,-3 2 2 16,3-2 18-16,-2 2-10 0,1-2-16 0,-2 4 6 16,-3-1-6-16,4 4 29 0,-4-1-8 15,0 1-16-15,-2 3 31 0,0 0-4 0,0 0-6 16,0 0-5-16,-1 15-13 0,0-8 18 15,-1 3-28-15,-3-1 20 0,2 2-2 0,-2 1 10 16,2-5 2-16,1 1-20 0,-1 1-2 0,3-2 0 16,-2 0-1-16,2-1-12 0,-3-2 10 31,3 0-3-15,0 1 8-16,0-5 8 0,3 5-18 0,-3-5 3 0,0 0 7 0,0 0-10 0,0 0-8 0,13-10 10 0,-11 3-4 0,3 1 9 0,-2-2-4 15,0 1-9-15,-1-3 16 0,3 1-12 16,-3 0 9-16,-2 1 6 0,3 0 0 15,-3 2-13-15,0 2 15 0,3-2 3 0,-3 3-19 16,-3 0-9-16,3 3 18 0,0 0-11 16,0 0-12-16,0 0 25 15,0 0-3-15,-10 9-9 0,8-6 17 0,1 4-10 0,-1-2 13 0,-1 0-8 16,1-2 5-16,2 2-23 0,-1 0 0 16,1-1 6-16,0-4 4 0,1 7 13 0,-1-4-12 15,0-3 9 1,5 4 6-16,-3-2-13 0,-2-2 5 0,0 0-5 0,0 0-5 0,11-6 10 0,-6 5 0 15,-3-5-7-15,1 4-3 0,-1-2 20 16,1-1-12-16,0 1 4 0,-3 0 6 16,2-1-15-16,-2 2 4 0,0 0 1 31,0 3 2-31,2-7-5 0,-2 5 13 0,0 2-21 0,0 0 18 0,0 0-15 0,0 0-5 0,0 0 20 16,0 0-5-1,1 14-18-15,-1-10 1 0,2-1 1 0,-2 3 6 0,1-1 8 0,1-1-16 0,-2-1 16 16,2 1-11-16,1-1 21 0,-3-3-24 15,3 6 9-15,-1-5 2 0,-2-1-13 16,2 4 11-16,-2-4 9 0,0 0 9 0,0 0-9 0,0 0-9 16,11-5-11-16,-9 0 8 0,-2 5 15 15,3-6 16-15,-3 4-1 0,1-3-25 0,-1 5-2 16,0-7 7 0,0 4-10-16,0 3 28 0,-1-6 2 15,1 6-20-15,-5-5 13 0,5 5-25 0,-3-3 22 0,3 3-2 16,0 0-21-16,0 0 13 0,0 0-2 0,-10 5 4 0,8 0-7 15,-1-1-2-15,0-1-11 0,1 2 0 16,0-3 8-16,-1 3 5 0,2 0 21 0,-1-3-19 16,0 2-2-16,2-4 3 0,-3 7 4 15,3-6-1 1,0-1-6-16,-3 5 12 0,3-5-1 0,-2 2 7 0,2-2-3 0,0 0-28 0,0 0 21 0,0 0-6 16,0 0-9-16,0 0 14 0,0 0 16 15,0 0-15-15,0 0-8 0,0 0 13 16,-3-12-8-16,1 9 3 0,-1-1 2 15,3 4 0-15,-3-8-2 0,1 3 20 0,0 0-31 16,-1 2-12-16,1-2 23 0,-1 0-11 16,0 2 6-16,1 0-11 0,1-3 8 0,-1 5-10 0,2 1 25 15,-5-7-20-15,5 5-8 0,0 2 3 16,-5-3 13-16,5 3-32 16,0 0 32-16,0 0-8 15,0 0-5-15,0 0-1 0,0 0 6 0,0 12-20 0,2-8 30 0,-2 0-8 0,3 1-7 31,-3-2 15-31,0 0-13 0,3 1-2 0,-1-2 3 0,-2-2-1 0,2 6-10 0,-2-3 26 16,0-3-8-16,1 3 7 0,-1-3 14 0,2 4-29 16,-2-4 0-1,0 0 14-15,0 0-14 0,0 0 18 0,0 0-10 0,0 0-8 0,0 0 26 16,0 0-15-16,-10-9-8 0,10 9-3 16,-5-3 23-16,0 0-30 0,2 1 28 0,-1 0-8 15,4 2-8-15,-6-4 21 0,3 3-13 0,3 1 3 16,-7-4 2-16,7 4-17 0,-3-3-11 15,3 3 36-15,0 0-36 0,-5-2 13 0,5 2-16 0,0 0 26 16,0 0-15-16,0 0-8 0,0 0 13 16,0 0 0-16,20 3-13 15,-15-2 21-15,-5-1-16 0,11-2 13 0,-11 2 7 0,10-3-14 16,-7 1-1-16,4 1 18 16,-5-3-10-16,4 3-5 0,-6 1 21 15,5-6-19-15,-2 2 3 0,-1 3 10 0,-2 1 21 0,0-7-31 0,0 4 38 16,0 3-27-1,-2-5-1-15,-3 1 10 0,2 3-7 0,-2-1 0 0,5 2-13 0,-8-4 5 16,3 4 21-16,5 0-21 0,-12 0-15 0,12 0 22 16,-11 4-1-16,6-1-19 0,0 1 16 15,0-1-3 1,2 2-8-16,-2 2 13 0,2-1 1 0,1 0-14 0,2-1 16 0,-2 1-29 16,2 0 29-16,2-1-26 0,-2-1-4 0,2 1 17 15,-2-1 5-15,3-2-8 0,0 4-7 16,-1-5 12-16,0 3-12 0,-2-4-3 0,8 0 21 0,-8 0 2 15,0 0-20-15,9-4-5 16,-5 3 22-16,1-5-9 16,-5 5 7-16,3-3-10 0,-1 1 23 0,-2-2-23 0,0-1 23 15,0 1-6-15,-2 0-4 0,-1 0-11 0,-2-1-7 0,1 1 15 16,0-1 13-16,-1 1-18 0,0 0-10 0,0 2 0 16,0-1 7-16,2 3 11 15,-2 0-16-15,5 1-2 0,-10 0 13 0,10 0-6 0,-8 2-17 16,3 2 9-16,2-1 34 15,1 2-28-15,0 0-13 0,-2 1 21 0,3-1 2 16,0-1-5-16,1 2-21 0,1 0 16 16,0-2 26-16,3 2-39 0,-2-3 20 0,0 2-17 0,1-1 18 15,0-2 4-15,-1 2-4 16,-2-4-8-16,5 3 2 0,-2-2 8 0,-3-1-10 0,5 3 13 16,-5-3-3-16,0 0-20 0,0 0 20 0,0 0-3 15,3-9 6-15,-3 9-3 0,-1-5 5 0,1 5-15 16,-4-8 23-16,1 6-20 15,0-2-9-15,1 1 22 0,-1-1 4 0,-2 3 0 16,5 1-4-16,-3-5-17 0,-1 3-9 0,4 2-10 0,0 0 14 16,0 0-2-16,0 0 24 15,0 0-14-15,0 0-12 0,-3 8 22 0,3-8-22 0,7 9 13 16,-4-6 4-16,0 3-10 0,0-2 8 0,4 0-2 16,-4 1-16-1,1-1 8 1,2-1 20-16,-1 2-13 0,0-3-9 0,-2 3 6 0,2-4-4 0,-3 2 0 0,1-1 15 15,2-2-23-15,-5 0 23 0,5 6 11 0,-2-6-24 0,-3 0-2 16,3 4 20-16,-3-4-18 16,4 3 8-16,-4-3-2 0,0 0 2 0,6 1-18 15,-6-1 33-15,0 0-10 0,7 0-7 0,-7 0 17 0,0 0-28 16,11-1 16 0,-7-1-3-16,-4 2-5 0,8-4 30 0,-8 4-35 0,8-1-3 0,-5-1 11 15,-1-2-11-15,3 4 8 16,-5 0 0-16,5-6 7 0,-2 6 9 0,-3 0 1 15,3-5-1-15,-1 3 1 0,-2 2-30 0,2-6 26 16,-2 6 2-16,1-5-22 0,-1 5 29 0,0-4 1 16,0 4-23-16,-1-7 13 0,1 4-8 0,-2-2 3 15,2 1 32 1,-2-1-32-16,2-2 5 0,-3-2-1 0,3 2-20 0,-5-1 6 0,3-3-1 16,-1-2 11-16,0 3-11 0,1 1 21 15,-1-2-11-15,3 2-14 0,-3 0 17 16,3 1-28-16,-2 2 0 0,2 0 0 15,0-1-16-15,0 7 29 0,0-5-23 0,2 4 25 0,-2 1-23 16,0 0 8-16,0 0 21 0,10 12-26 0,-4-5 28 16,-4-1-39-1,4 1 6-15,-4 3 7 0,3-3-28 0,0 1 19 0,-2-2 19 0,-1 1-12 16,2-1 5-16,0-1 21 0,-1 0-9 16,-1-3 6-16,-1 4 10 0,3-5-7 0,-4-1 7 15,3 4 10-15,-3-4-2 0,0 0-16 0,0 0 11 16,0 0 0-16,3-12 5 0,-3 6-1 0,0 0-1 15,-3 1-19-15,3-1 26 16,0 3-3-16,-3-3-20 16,3 2 31-16,-2-2-37 0,2 6-6 0,0-3 1 0,0 3-9 0,0 0-19 15,0 0-7-15,2 12-46 0,-2-5 2 0,3 3-59 16,0 0-107-16,-1 7-151 0,1 1-438 16,4 3 72-16,-1 4 95 0,-1-1 79 0,2 1 61 15</inkml:trace>
  <inkml:trace contextRef="#ctx0" brushRef="#br0" timeOffset="-189019.49">5955 10630 1092 0,'-1'11'359'0,"-1"0"-88"0,-1 1-15 0,0 5-18 0,1 1-38 0,-3-1 15 0,2 3-49 15,-1 0 1-15,1-2-21 0,-2 5 53 16,2-4-30-16,-2-1 18 0,2 0-36 0,1-1-3 16,-1-2-9-16,3-1-32 0,-2-2-20 0,2-2-10 15,-1 0-10-15,2 1 14 0,-1-3-22 0,2-1 21 16,1-1-14-16,-1 0-15 15,3-3-12-15,1 1 35 0,-1-3-20 0,2 1 0 0,3-2-6 16,-1-2 3-16,3 1-7 0,1-3-21 0,0 1 5 16,-1-3 8-1,1 1-26-15,1 1-17 0,-2-5-34 0,1 2-31 16,0 2-7-16,0-2-37 0,-3 1-60 0,0-1-93 0,0 1-74 16,-1 0-525-16,1-1 41 0,-3 0 90 0,0 2 74 15,-1-2 49-15</inkml:trace>
  <inkml:trace contextRef="#ctx0" brushRef="#br0" timeOffset="-188362.98">6203 10716 1282 0,'0'3'363'0,"0"1"-2"0,0 2-51 0,0-3-39 0,1 5-15 0,0-2-28 15,2 1-38-15,2 0 4 0,0-1-51 0,1 1-2 16,-1-2 13-16,3-1-116 0,1 1 26 0,-1-1-43 16,3-4 27-16,-3 2-27 15,2-2-14-15,0-2 16 0,0-2-7 0,-2 3 22 0,-1-5-15 16,1 3 18-16,-2-1 18 0,-2-1 74 0,-1-1-5 16,0 0 0-16,-1 0-2 15,-2 0-62-15,-2 2-21 0,-1-2 24 0,1 1-6 16,-1 0-12-16,-3-1 17 15,2 1-9-15,-2 3 1 0,2-2-14 0,-2 2-11 0,-1 0 3 0,1-1-15 16,2 2-1-16,-2 1-33 0,6 0-28 16,-10-2-20-16,10 2-42 0,-10 0-14 0,10 0-27 15,0 0-55-15,-8 1-32 0,8-1-43 0,0 0-48 16,0 0 66-16,0 0-92 0,0 0 5 16,8-12 38-16,-3 7 6 0,-2 0 17 0,4 0 62 15,-2 0 97-15,1-1 28 0,-1 0 98 0,0 1 38 16,2 0 64-16,-2-2 49 0,-2 5 9 0,2-3 14 15,-2 3 20 1,-1-1 23-16,-2 3-92 0,6-1 5 0,-6 1 16 16,7-1 48-16,-7 1 13 0,0 0-34 0,8 3-14 0,-3 1-19 15,0 0 3-15,0-1-3 0,0 3-48 16,0 0 12-16,3-1-14 0,-1-2-24 16,-1 2 2-16,2 0-4 0,-1-3-26 0,1 2 2 0,0-2-4 15,0-2-3-15,-1 0 15 0,1 0-10 0,0-2 10 16,0-2 13-1,-1 2 28-15,0-3 13 0,-1-1-15 0,-2 1-31 0,2-1 7 16,-3 2 29-16,-1-1 56 0,-2-1 23 0,0 1-110 16,0-1-5-1,0 2-8-15,-3-1 21 0,1 0-3 0,-3 1 7 0,2 1 19 0,-2-1-62 16,-2 3 19-16,1 1 19 0,6 0-35 0,-13 0-31 16,5 1 11-16,-1 1-50 0,0 2-35 0,3-1-33 15,-2 0-34-15,0 4-33 0,3-2-36 0,-1 1-58 0,-1 2-85 16,4-3-64-1,-2 2-277-15,5-2-240 0,-3 0 107 0,1-3 49 0,2-2 108 16,0 0 91-16</inkml:trace>
  <inkml:trace contextRef="#ctx0" brushRef="#br0" timeOffset="-187875.26">6434 10405 965 0,'0'-4'373'0,"0"4"-27"0,2-2-44 0,-2 2-10 0,0 0 56 0,0 0-10 16,16 8-54-16,-11-3-3 16,3 7-40-16,2 1-8 0,0 5 0 15,1 1-41-15,6 8-3 0,-2 2-45 0,1 2 7 0,-1-1-49 0,1 1-25 16,-1-2-26-16,0-1-36 0,-2-6-30 0,-2-2-18 16,2-4 25-16,-6 2-43 0,3-4 10 15,-2-1 8-15,-2-1 15 0,1-2 7 16,-2-2 16-16,0-2 52 0,0 1-16 0,-4-2 7 15,1-4 19-15,-2-1 10 0,0 0 2 0,0 0 8 16,0 0 5-16,0 0 34 0,-11-15-21 16,7 3-18-16,-4-1 20 0,0-3 8 0,-2-3-12 15,2-1-19-15,3 3 11 0,-3 2-16 0,4-1-4 16,-2 3-14-16,4 0 5 16,0 2-12-16,1 3-18 0,1-3 18 0,0 4 0 0,3 2 12 15,-3 0-12-15,4 1-26 0,-3-1 10 0,4 5 14 16,-2-3-4-16,-3 3-7 0,7 0 5 0,-7 0 16 15,0 0-21-15,10 4-3 0,-9 1 3 0,1-1 10 16,-2 0-10-16,2 1 3 16,-4 2-8-16,2-1-11 0,-3 3-15 0,1 0-2 0,-4 1-34 15,2-1-50-15,-2-2-73 0,-1 4-53 16,4-4-46-16,-2 0-75 0,0-2-104 0,0 1-321 16,0-1-306-16,2-2 109 0,-2 0 88 15,5-3 99-15,0 0 90 0,0 0 38 16</inkml:trace>
  <inkml:trace contextRef="#ctx0" brushRef="#br0" timeOffset="-187686.63">6824 10378 1274 0,'0'0'425'0,"0"0"-3"0,10 3-38 0,-8 2-12 0,4 1-24 0,-2 1-54 0,2 1-28 0,1 3 0 15,1-2-4-15,0 5-68 0,0 0-15 0,-1 0-38 16,1-1-56-16,2 0-70 0,-2 2-46 0,0-3-35 16,-1-2-47-16,-2 0-38 0,1-2-82 15,-2 1-92-15,-1-6-13 0,2 1-532 0,-2-1 74 16,-1 1 110-16,-2-4 66 16,0 0 57-16</inkml:trace>
  <inkml:trace contextRef="#ctx0" brushRef="#br0" timeOffset="-187552.44">6790 10293 1113 0,'0'0'264'0,"-7"-2"-14"0,7 2-68 0,-8 0-46 16,8 0-49-16,0 0-97 0,-8 3-103 16,3 3-110-16,2-3-455 0,3 0 66 0</inkml:trace>
  <inkml:trace contextRef="#ctx0" brushRef="#br0" timeOffset="-187164.01">6867 10306 1395 0,'5'4'483'0,"0"-1"-104"16,3 2-20-16,0 0-50 0,-3 1-9 15,3 2-21-15,0-2-34 0,-1 0 50 16,0-1-21-16,4 3-18 0,-4-1-18 0,-1-1-21 0,1 0-61 15,-1 1 13-15,1-1 3 0,-4-1 2 0,2 0-20 16,0-4-6-16,-3 3 41 16,4-1-66-16,-6-3-49 0,4 1 19 0,-4-1 22 0,0 0-69 15,0 0 38-15,0 0-53 0,8-8 71 16,-8 2-9-16,0 1 4 0,-2-1 5 0,2 0-17 0,0 2 2 16,0-2 0-16,0 2-21 0,0-2 34 15,0 6-38-15,0-6-14 0,2 4 6 16,-2 2 0-16,6-3 23 0,-6 3-26 0,5 0 28 15,-5 0-20-15,0 0-8 0,12 3-18 0,-6-1-4 16,-1 2-11-16,0-2-18 0,0 2 0 0,1-2 0 16,-2-1-8-16,1 3-56 0,1-2-39 15,-4 3-35-15,3-4-64 0,-2 0-44 16,0 2-28-16,-1 0-53 0,0-3-247 16,-2 0-542-16,3 3 69 0,-3-3 121 0,0 0 91 0,0 0 114 0,0 0 83 15,0 0 3-15</inkml:trace>
  <inkml:trace contextRef="#ctx0" brushRef="#br0" timeOffset="-186847.59">7116 9887 1430 0,'0'0'500'0,"0"0"-19"16,0 0-85-16,0 0-27 0,0 10-16 0,2-3-38 15,1 1-54-15,5 5 21 16,2 4-31-16,3 2-34 0,-3 1-2 0,8 5-33 0,-1 5-11 16,2-4-20-16,-1 0-2 0,0 2-29 15,-5-7-35-15,-1-3-55 0,1 1-32 0,0-2-47 16,-3-2-53-16,-2-2-41 0,0-1 7 16,-1-1-33-16,1-2-59 0,-3 2 67 0,0-4-162 15,-2 0-150-15,-1-2-421 0,1 1 88 0,-1-2 31 16,-1-2 112-16,-1-2 33 0</inkml:trace>
  <inkml:trace contextRef="#ctx0" brushRef="#br0" timeOffset="-186642.15">7270 10266 1123 0,'0'0'476'0,"-6"-4"-30"0,6 4-37 15,-2-5-45-15,2 2-42 16,0 3 16-16,1-7-38 0,1 2-3 0,3-1-49 15,-2-1-23-15,4 0-41 0,-2-3 3 0,3 2 8 16,0-2-26-16,2 0-13 0,0-2-15 31,1 0-36-31,1-1-18 0,-2 1-46 0,0-1-6 0,1 1-19 0,-1 1-67 0,-2 0 20 0,0 2-59 16,-4-1-25-16,4 1-33 0,-3 1-65 16,-2 1-58-16,4 0-98 0,-4 1-89 0,0 3-448 15,2-1 105-15,-2 2 58 0,-1-2 73 16,-2 4 25-16</inkml:trace>
  <inkml:trace contextRef="#ctx0" brushRef="#br0" timeOffset="-185875.56">7524 10085 1139 0,'0'-4'381'0,"0"-2"-12"0,0 3 58 16,0 3-17-16,0-10-55 0,-3 8-19 0,3-2-45 16,-3 0-9-16,1 2-11 0,-1-1-84 15,-2 0-18-15,5 3-15 0,-3-3-42 0,3 3 16 16,-7-3-20-16,7 3-11 0,0 0 3 16,0 0-23-16,-8 6 7 0,8-2-35 0,0-4 15 15,0 6-8-15,0-3-10 0,3 2-5 0,-3-1 10 16,2-1-38-16,0 3 18 0,2 0-21 15,0-2 26-15,-1 2-16 0,2 0 9 0,0-3-27 16,-2 4-4-16,2-2 20 0,0 1-6 31,0-1-22-31,-2 1 25 0,2-3-17 0,-2 2 7 0,2 2-8 0,-3-4 14 0,1 0-11 0,-1 1-13 16,1-2 10-16,-1 2 11 0,-2-4 15 0,3 5-15 16,0-3 7-16,-3-2 13 0,0 0-20 15,5 2 12-15,-5-2 9 0,0 0-24 16,0 0 15-16,5-9-2 0,-5 5-10 0,0-2-6 0,3 2 14 15,-3 0 4-15,2-2-2 0,0 1-10 32,-1 0 7-32,1 2-2 0,3-1 5 0,-3 1-16 0,4-1 3 0,-4 3 11 0,-2 1-1 15,11-2 6-15,-11 2-14 0,8 0 16 0,-8 0 29 16,7 2-47-16,-7-2 84 0,8 1 14 16,-5 3 4-16,-1-2-33 0,-2-2 1 0,5 2 1 15,-5-2 9-15,3 4 20 0,0-2-13 16,-3-2-5-16,4 3-28 0,-4-3-26 0,0 0-7 0,0 0 33 15,0 0-31-15,0 0 13 0,0 0-18 16,0 0-5-16,0 0 18 0,0-11-49 16,0 11 33-1,-5-8 1-15,3 1-11 0,-1-2-13 0,1 3-35 0,1-1-3 0,-3 1-8 0,1-1-35 16,3-1-21-16,-3 2-8 0,1 0-40 0,-1 1-39 16,3-1-39-16,-3 3-68 15,1-2-47-15,0 1-102 16,2-2-38-16,-3 6-515 0,3 0 72 0,0-3 113 0,0 3 55 0,0 0 111 0,0 0 69 15</inkml:trace>
  <inkml:trace contextRef="#ctx0" brushRef="#br0" timeOffset="-185544.5">7742 9931 1287 0,'0'0'384'0,"0"0"-15"15,0 0 30-15,-10 13-48 0,12-7-21 0,0 1-33 16,1 2-3-16,0-2-35 0,-1 1-34 16,0 2 0-16,1-1-46 0,0-2-2 0,-1 2-18 15,1-1-16-15,-1-1-18 0,3-1-9 0,-2-2-29 16,0 2-16-16,-1-2 9 0,-1-1 37 0,1-1-22 16,-2-2-8-16,0 0 44 0,0 0-37 0,0 0 4 15,0 0 1-15,12-6 19 16,-12 0-28-16,1 3-21 0,-1-6 15 0,0 2-7 0,0-1-3 15,-1-3-25-15,1 3-23 0,0-3-14 16,-2 3-7-16,2-2-61 0,-2 2-44 0,2-3-35 0,-3 5-32 16,3-2-12-16,0 3-102 31,0-1-132-31,0 0-152 0,0 1-441 0,0 0 95 0,3 0 84 0,-3 0 131 0,2-1 25 16,0 0 62-16</inkml:trace>
  <inkml:trace contextRef="#ctx0" brushRef="#br0" timeOffset="-185402.59">7852 9826 1077 0,'0'0'399'0,"5"0"49"0,-5 0 3 0,0 0-100 0,7 5 4 0,-4-4-1 0,2 4-24 0,-2 1 59 16,2-2-67-16,-2 3-9 0,1 0-29 0,-1 0-46 15,2 0-44-15,-3 1-20 0,2 1-46 0,-2 0-25 16,0-1-75-16,1 2-66 0,0-1-65 16,-3 1-79-16,0 0-91 0,0-3-237 15,0 1-478-15,-3 1 95 0,3-2 81 16,0-4 134-16,0 1 15 0,0-4 69 0</inkml:trace>
  <inkml:trace contextRef="#ctx0" brushRef="#br0" timeOffset="-185274.56">7849 9762 985 0,'-3'-8'343'0,"-1"4"-97"0,1-2-42 0,0 3-55 0,1-1-26 0,2 4-90 0,-3 0-71 0,3 0-154 15,0 0-492-15,0 0 80 16</inkml:trace>
  <inkml:trace contextRef="#ctx0" brushRef="#br0" timeOffset="-184632.86">8034 9844 1405 0,'2'-3'453'0,"1"-1"-33"0,0-2-36 0,-1 1-31 0,0 2-33 0,1-3-5 0,0 1-31 16,-3-2-31-16,2 1-28 0,-2 1-12 0,0-1-19 16,0 3 1-16,0-2-47 0,0 0 21 0,0 5-36 15,0-6-15-15,0 6 8 16,0 0-11-16,0 0-10 0,0 0-13 0,0 0-23 0,0 0 28 16,0 0-25-16,-2 13 10 0,2-7-16 0,0-2-17 15,0 1 25-15,2-2-40 0,-1 3-14 0,1-2 31 16,0-1-18-16,-2 2 11 0,3 0-8 15,0-2-31 1,-1 0 0-16,3-1 5 0,-5-2 18 0,8 0-30 0,-8 0 12 0,0 0 13 16,8-5-5-16,-3 2-10 0,-1-1-1 0,0-2-1 15,0 4 9-15,-1-2-7 0,2-2 17 16,-4 4 16-16,3-3-38 0,-1 4 20 0,-3 1-5 16,5-5-3-1,0 5-12-15,-5 0 12 0,8-3-20 0,-8 3 23 0,0 0-5 0,10 3-19 16,-4-3 6-1,-2 3 16-15,1-1-9 0,-5-2-91 0,8 1 17 0,-3 2 26 0,-2-1-7 0,-3-2-6 16,8 0 11-16,-8 0 9 0,9-1 9 47,-5-3-1-47,-4 4 31 0,7-6-35 0,-4 4 19 0,2-3 9 0,0 3 9 0,-2-2 60 0,1 2-41 0,-1-2-6 0,2 3 13 0,-2-1 11 16,-3 2 53-16,7-4 29 0,-4 3-24 15,-3 1 0-15,8-2 16 0,-3 0-28 16,-5 2-14-16,5-1-45 0,0-1 8 0,-5 2-19 0,8-3 6 0,-5 0-21 15,-1-1 23-15,1 1 23 16,2-1-10-16,-1-2-10 0,-3 0 2 0,4 0 3 16,-5 0-8-16,2-1-15 0,-2 1-34 0,0 0-30 15,0-2-59-15,-2-2-20 0,0 3-32 0,-1 0-60 16,0-1-45-16,1 3-50 0,-4-1 17 16,2 1-186-16,-2 5-586 0,2 0 71 0,-2 0 105 0,-2 1 113 15,1 4 76 1,-3 1 77-16,-1 1 34 0</inkml:trace>
  <inkml:trace contextRef="#ctx0" brushRef="#br0" timeOffset="-183872.25">6498 11421 1026 0,'0'0'356'0,"0"0"-16"16,0 0-5-16,0 0-20 0,0 19-43 0,0-10-4 0,0 2 11 0,0 1 3 0,3 3 25 0,-3 0-64 16,-3 1-30-16,3 0-16 0,0 1 3 0,0-1-49 15,-2 1-16-15,1-2 16 0,1-2-13 0,0 1-17 16,1-3 2-16,-2-1-44 15,2-1 44-15,-1-2-41 0,2 2 15 0,-2-4-7 0,0 0-3 32,3-1-13-32,-1 0 8 0,0-1-21 0,-2-3 3 0,9 1 16 0,-9-1-22 15,12-1-22-15,-4-3 5 0,0 0-23 0,-1-1-8 16,3-2-45-16,1-1-14 0,-1-1-25 0,5-1-44 16,-4 0-38-16,4 0-16 0,-2 2-48 15,-1-3-41-15,1 3-148 0,-5 2-173 0,5 0-403 16,-3 0 181-16,3 5 18 0,-5-4 85 0,2 3 64 15</inkml:trace>
  <inkml:trace contextRef="#ctx0" brushRef="#br0" timeOffset="-183329.4">6828 11494 1305 0,'0'-7'440'0,"-2"-1"-51"15,0 0 11-15,2-1-39 0,-3-1-26 16,-2 1-54-16,3 1 29 0,-1-2-13 15,0 3-49-15,0-1-94 0,-1 2 15 0,-1 0-18 0,2 2-10 16,-2 0-3-16,2 2-31 0,3 2-2 0,-8 0-13 16,8 0-12-16,-10 6-6 0,6-1-7 15,0 2 32-15,2-1 52 0,0 4-15 0,1-1-41 16,1-2 5 0,0 2-21-16,0-1 5 15,1-1-14-15,1 4-14 0,3-3-15 0,-2-2-8 0,2 0-25 0,0 1-29 16,3-4-7-16,-4 0-56 0,4-3-16 0,0 4-26 0,-3-3-4 15,-5-1-24-15,16-5-43 0,-8 2-8 0,2-2-81 16,0-1-52-16,0-1-97 0,0 0 38 16,1-2-38-16,-4 1 33 15,6-3 64-15,-5 2 18 0,-1-1 146 0,1 1 51 0,-2-1 69 0,1 1 44 16,-2-1 84-16,-3 2 31 0,1-2 62 16,0 4-1-16,-3-1 41 0,0 1 11 0,-3 0-21 15,3 2 16-15,-2 0 2 0,1-1 10 0,-3 3-31 16,4 2 4-16,-6-1-4 0,6 1-40 15,0 0 35-15,-12 6-130 0,9-3 13 0,-2 2-3 16,0 0 10-16,0-2-15 0,4 4 0 0,-3-1-15 16,1 0-1-16,0 1-12 0,3-2-18 0,-2 1-13 15,2-2 11-15,0 0-39 0,2-1-21 16,-2 0-10 0,0-3-10-16,3 5 16 0,-3-5-9 0,7 0-9 0,-7 0 32 0,0 0-14 15,9-3 25-15,-5 0-5 0,-1 1-8 16,2-3 23-16,-3 2 0 0,2 0-10 0,0-2-13 15,-1 4 3-15,2-2 23 0,-3-1-13 0,-2 4-57 16,8-2-30-16,-5-1-61 0,2 2-47 16,-5 1-91-16,10-5-68 0,-7 3-475 15,2-2 81-15,0 1 80 0,0-2 26 0,1-2 86 0</inkml:trace>
  <inkml:trace contextRef="#ctx0" brushRef="#br0" timeOffset="-182907.12">7070 11056 1131 0,'-3'-12'430'0,"-1"2"10"0,6 4-51 0,-3 0 11 0,-1 2-75 0,2-2-41 0,0 6-28 16,0-5-21-16,0 5-4 0,0 0-6 0,0 0-54 0,0 0 3 15,3 17-28-15,2-10-15 0,-3 3 5 0,3 0-34 16,-2 1-18 0,0 0-22-16,2 0-29 0,0-1 16 0,0 0-8 0,0-2-29 0,0-1 9 15,0-1-11-15,-4 0 3 0,3 0-23 16,-1-2 25-16,-3-1-10 0,3 1 0 0,-3-4 16 15,0 0-1-15,-3 5 3 0,3-5-25 16,-8 2 20 0,6 0-6-16,2-2 17 0,-8 3 9 0,3-1-12 0,2 2-11 0,-2-1 26 0,0 2-5 15,0 2-11-15,5-1 19 16,-3 1-8-16,1 0-6 0,0 2-14 0,1-2 27 0,1 0-22 16,0-1 7-16,0 1 8 0,1 0-16 0,1-2-4 31,0 2-4-31,1-3 9 0,0-2-8 0,-1 4-8 0,3-3 13 0,0-1-5 0,-2 0-3 15,2-1-15-15,-5-1-26 0,8 0-7 16,-8 0-32-16,10-3-17 0,-5-1-51 0,-2 3-15 0,2-2-57 16,0-2-36-16,0 1-117 0,-3-1-116 0,1 0-440 15,3-3 61-15,1 2 103 16,3-2 41-16,-2 0 69 16</inkml:trace>
  <inkml:trace contextRef="#ctx0" brushRef="#br0" timeOffset="-182295.96">7336 11122 860 0,'0'0'332'0,"0"0"63"15,0-11-19-15,0 11-38 0,3-7-36 0,-3 1-10 16,-3 2-116-16,3-3 14 0,0 2-9 0,-4-2-4 15,0 2-21-15,2 0 3 0,-3 0 10 0,0 0-21 16,0 0 11-16,0-1-31 0,2 5-21 16,-3-1-7-16,2-2 0 0,4 4 2 0,-8 0-20 0,8 0-10 15,0 0-18-15,-10 3-18 16,7-1 7-16,3-2-12 0,-5 4-8 0,5-4-21 16,-2 4-17-16,2-4 15 0,0 0-23 0,5 6 15 15,0-6-4-15,-5 0-6 0,12 3 15 16,-4-2 0-16,0-1-4 0,0 0 22 0,2 0-12 15,-3 0-24-15,4 1 26 0,-1 0 3 16,0 0-21-16,-2 2 23 0,2 0-27 0,-2 0 1 0,-3-1 29 16,2 2-10-16,-1 0 4 0,-1 1 6 15,0-1 10-15,-2-1-18 0,-1 2 54 16,1-1-28-16,0-1-6 0,-3 0 19 0,0-3 5 0,0 3 2 16,0-3-8-1,0 0-2-15,0 0-10 0,0 0-8 0,0 0 20 0,0 0-20 16,0 0 8-16,0 0 0 0,-8-8-13 0,8 3 7 15,0 0-14-15,2-1-11 0,-2 0 0 16,3-1-23-16,-3 1-21 0,3-1-48 0,-1 0-21 16,1-2-33-1,2-1-33-15,0 0-54 0,0 2-156 0,0-5-89 0,0 2-421 0,-2 2 106 16,3-3 68-16,-2 1 67 16,-1-2 54-16</inkml:trace>
  <inkml:trace contextRef="#ctx0" brushRef="#br0" timeOffset="-182065.53">7483 10825 1075 0,'-3'-4'332'0,"3"4"68"15,-3-3-1-15,3 3-28 0,0 0-33 0,-7 0-15 16,7 0-39-16,0 0-13 0,-3 7-7 0,3-7-16 16,0 6-20-16,3 0-21 0,-1 1-25 15,3-1-105-15,-2 3 2 0,4 0 26 16,-1 0 0-16,2 1 51 0,-1-1 0 0,1 4-13 0,0-4-20 16,0 1-25-16,2-1-17 15,-5 3 9-15,2-2-5 0,-2-1 7 0,0 2-18 0,-2-2-5 16,0 2 23-16,-1-3-64 0,-1 1 11 0,-1 1-24 31,0-2-51-31,-1 0-35 16,1-2-47-16,-2 0-36 0,-1 0-43 0,3-3-56 0,-3-1-121 0,3-2-151 0,-5 1-427 0,5-1 72 15,0 0 37-15,-5-11 101 0,5 3 82 0,-2-2 48 16</inkml:trace>
  <inkml:trace contextRef="#ctx0" brushRef="#br0" timeOffset="-181625.32">7503 10701 1287 0,'0'-2'476'0,"-2"-2"-30"0,2 4-16 0,0 0-49 0,0 0 13 0,0 0-148 0,0 0-8 16,12 9-5-1,-9-1-8-15,2-1-25 0,2 5-11 0,-1-1-48 0,2 2-5 0,-1-2-3 16,-1 3 46-16,2-1 0 0,1 0-36 16,-4 0-27-16,3-1-11 0,-3-2-24 15,1-1 12-15,-1 1-27 0,0-2 1 0,0-2 2 16,-2-1-10-1,1 1 2-15,-1-1-20 0,0-2 8 0,-1-2-3 0,-2-1 10 0,8 0-25 0,-8 0-3 16,0 0 5-16,0 0 8 0,10-2 3 16,-10 2-26-16,5-2-13 0,-5 2 15 0,5-3 21 15,-5 3-20-15,0 0 14 0,10 0-29 16,-10 0 12-16,8 3-1 16,-8-3-58-16,5 1 1 0,-5-1-22 0,6 1-15 0,-6-1-12 0,0 0-19 31,7-2-4-31,-7 2-16 0,7-4-5 0,-6 0-6 0,2 3 22 0,-1-4 9 0,0 2 11 15,1-1 23-15,0 3 53 0,-3 1-17 16,3-6 20-16,-3 6 36 0,4-3-21 0,-4 3 24 16,3-2 9-16,-3 2-2 0,5-2 16 0,-5 2-16 15,0 0 8-15,0 0-16 0,0 0-20 0,0 0 11 16,8 5-34-16,-8-5-49 16,0 6-36-16,0-6-60 0,0 8-170 0,0-5-666 0,-2 1 116 15,1 1 48-15,1 0 98 0,-3-3 84 0,3-2 87 16</inkml:trace>
  <inkml:trace contextRef="#ctx0" brushRef="#br0" timeOffset="-181125.83">7695 10625 1174 0,'2'5'441'0,"2"2"-37"0,0-1-53 0,2 5-6 0,1-3-40 0,1 6 69 15,2 2-44-15,1-1-28 0,1 4 10 16,-1-1-64-16,2 1-2 0,-1 0-33 0,1 0-26 15,0-1-36-15,-3 0-8 0,1 0-28 0,-4-4-7 16,1 2-47 0,-1-1 26-16,-1-5-20 0,-1-1-1 0,0-1 26 0,-2 1-15 0,-1-4-5 15,0-2-3-15,-1-1-8 0,-1-2-4 0,0 0 27 16,0 0-25-16,5-9-13 0,-8 2-5 0,3-3 28 16,-3-4-18-16,3 0 8 15,-2-6-8-15,2 0 1 0,0-1-4 0,3 1-7 0,-1 0 3 16,3 3-1-16,-3 3 8 0,2 1 29 15,-2 3-16-15,1 4-77 0,2-1 23 0,0 1-2 16,0 1-16 0,-2 4 13-16,-3 1 16 0,0 0-24 0,12 6 21 15,-9-2 15-15,0 3-22 0,-3-1-4 0,0 2-12 0,0-1-43 16,-3 3-50-16,3-1-45 0,-3 0-52 0,1 0-61 16,0 0-61-16,-2 1-93 0,-3-4-148 15,4 1-491-15,3-1 110 0,-4-1 79 0,3 0 102 16,-1-2 103-1,-1-1 35-15</inkml:trace>
  <inkml:trace contextRef="#ctx0" brushRef="#br0" timeOffset="-179701.32">6763 12179 1218 0,'0'0'415'15,"-11"0"-55"-15,11 0-4 0,-10 5-26 0,5-3-48 16,2 2-16-16,0 1-48 0,0-1-1 15,3 2-17-15,0 0-31 0,1 2-21 16,2 0 11-16,1 1-36 0,4 1-15 0,0 0-11 16,2 3 3-1,-2-2-21-15,5 2 13 0,-3-2-28 0,0 0 28 0,0-1-23 0,-2 1 3 16,2 0-3-16,-2-3 46 0,-3 2-12 0,0-1-111 16,0 1 34-16,-2-2 4 0,-1 2-35 15,1-1 33-15,-3 0 1 0,0 1-14 0,0-1 26 16,-3-1-31-16,1 0-20 0,-1 0-11 0,-2 0-20 15,0-1-30-15,0 0-32 0,0-1-17 16,-1-2-54-16,2 0-31 0,-2-3-51 0,1 1-161 16,-2-2-100-16,7 0-330 0,-8-4 23 15,5-2 120-15,-2-2 71 0,3-4 78 0</inkml:trace>
  <inkml:trace contextRef="#ctx0" brushRef="#br0" timeOffset="-179483.62">6808 12068 1430 0,'0'-6'448'0,"0"3"-30"0,3-1-6 16,-3 4-105-16,3 0-3 0,-3 0-7 16,0 0 59-16,0 0 0 15,15 6-57-15,-8-2-96 0,1 4-37 0,2 0 3 0,0 3-15 0,1 1-44 16,1 0-5-16,-1 2-29 0,2 0-17 0,0 3-18 16,-1-1-41-16,-2-2-23 0,-1 0-49 15,1 0-25-15,0 2-67 0,2-2-20 0,-4-2-36 47,2 1-41-47,-2-4-144 0,-3 1-511 0,3-3 100 0,-3-1 45 0,0 0 131 0,-2-2 5 0</inkml:trace>
  <inkml:trace contextRef="#ctx0" brushRef="#br0" timeOffset="-179273.59">6887 12280 1361 0,'0'-6'412'0,"0"6"-7"16,3-8-70-16,0 3-46 0,1-2-7 15,2 1-57-15,2-1-28 0,2-2-59 0,-2-1-63 16,5-1-47-16,0 0-90 0,-1-1-140 0,4-4-136 16,-4 1-458-16,4 1 74 0,-6 1 44 15,5-1 61-15</inkml:trace>
  <inkml:trace contextRef="#ctx0" brushRef="#br0" timeOffset="-178670.67">7116 11984 1095 0,'0'0'351'0,"0"0"-24"0,-11 5-4 0,4-1 45 15,2 2-50-15,-1 1-1 16,-1 0-12-16,-1 3-39 0,1 2-7 0,1-2-11 0,1 2-25 16,0-1-3-16,0 1-54 0,3 1-7 0,-1-2-16 15,0 1-10-15,3-3-20 0,0 2-39 0,3-3-7 16,-3 2-14-16,5-4-22 0,-3 1 13 15,4-3-11-15,-1-1-15 0,0-2-10 16,3-1-3-16,-8 0-18 0,13-6-5 0,-6 2-5 16,-1-3 8-16,1 1 7 0,-2-3 5 15,1-2 3-15,1 2 11 0,-2-2-4 0,-3 0 9 16,1 0 9-16,0 0 8 0,-1 1-7 0,1 2 23 16,-3 2 12-16,0-2 21 0,0 1-26 0,3 3-20 15,-3-1 15-15,2 2-5 0,-2 3-20 16,2-2 18-16,-2 2-11 0,0 0-13 0,0 0 6 15,11 5-21-15,-9-1-20 0,2-1-13 16,-2 1-70-16,3 3-12 0,-3-3-25 0,1 0-14 16,-1 1 1-16,1 1-6 0,0-5 0 15,-1 3 6-15,1-3 35 16,-3-1-2-16,0 0 18 0,0 0 20 0,0 0 16 0,15-6 15 0,-15 2 25 0,2 0 19 16,1-1 30-1,0-1 10-15,-1-1 31 0,1 1-2 0,-1-1-16 0,4 1 13 16,-4 1 15-16,1 0-12 0,2 3 5 0,-3 0 27 31,-2 2-9-31,10-1 5 0,-10 1 15 0,11 3-34 0,-3 1-6 0,-1 0 9 16,1 1 8-16,-1 2-13 0,-1-1-17 0,2 2-9 0,-4-1-7 15,2 2 0 1,-3-2 21-16,1 1-9 0,2-3 1 0,-4 1-3 0,0-1-12 0,2-3-4 16,-2 1 1-16,0 1 10 15,-2-4 6 1,0 0-27-16,0 0 14 0,0 0 25 0,0 0-26 0,0 0 23 0,-5-13-102 0,2 5 11 0,1 1 19 15,0-1-9-15,-1-2 12 0,-2-1-17 16,2 1-26-16,1-2-19 0,-1 0-32 0,0 0 5 16,3 0-39-16,0 0-48 15,1-1-21-15,1-1-48 0,1 1-88 0,2 0-107 0,0-3-322 16,2 3-121-16,4-2 69 0,-3 0 106 16,4 1 63-16,-1-4 41 0</inkml:trace>
  <inkml:trace contextRef="#ctx0" brushRef="#br0" timeOffset="-178381.77">7557 11441 1528 0,'-2'3'407'0,"2"2"46"0,2 1-26 0,-2 1-33 0,5 5-53 0,-3 0-24 15,4 2-35-15,-1-1-11 0,0 4-25 0,2 0-34 0,2 4-20 16,0-2-28-16,-1 1-54 16,0 1-51-16,-1-5-62 0,1 3-43 0,0 0-43 15,-3-3-39-15,1-2-64 0,1 2-64 0,-2-3-113 16,0-4-191-16,0 2-326 0,-2-3 82 0,0-1 111 15,1-2 48-15,-4 0 43 0</inkml:trace>
  <inkml:trace contextRef="#ctx0" brushRef="#br0" timeOffset="-177777.55">7646 11780 1300 0,'-4'-1'394'16,"4"1"-46"-16,0 0 8 0,-3-5-51 15,3 5 2-15,0 0-51 0,7-9-11 0,-4 5-27 16,2-2-6-16,-2-1-125 0,4-3-10 16,1 1 8-16,-3-1-34 0,5-3-5 0,-2 0-33 15,2-2 7-15,-2 0-10 16,0 0-4-16,-1 0 17 0,-1 1 0 0,2 0-18 0,-4 2 5 16,-1 0 26-16,2 2 7 0,-4 1 14 0,1 3-1 15,0-2 16-15,-2 3 25 0,3-1 57 0,-3 3-9 16,0 3-11-16,-3-4-6 15,3 4-21-15,0 0 18 0,0 0-112 0,0 0 21 0,-10 9-14 16,7-4 0-16,1 2-4 0,0 2-1 16,-1-1 13-16,0 2 8 0,3-1-3 0,-2-1-12 15,4 2-6-15,-2-1 19 16,3 1-16-16,-3-3-1 0,3 2 4 0,1-3 2 0,-1 1-46 16,2-1 28-16,0-2-5 0,1 0-5 0,1-1-13 31,1 0-5-31,-3-2-3 0,3-2-15 0,-8 1 16 0,15-5-21 0,-7 0 10 0,2-2-8 15,-2 1-7-15,0-1 20 0,-1-3 3 16,1 1 3-16,-1-1-9 0,-1 1 14 0,-1-2 7 0,0 1 0 16,-2 1-2-16,1 2-8 0,-1-1 38 15,0 2 3-15,-1-1 16 16,0 1-11-16,2 2-11 0,-2-1 1 0,-2 3 15 0,0 2-5 16,0 0 8-16,0 0-18 0,0 0-5 0,0 0 7 15,10 7 0-15,-7-3 11 0,-1 1-6 16,1 0-2-16,0 0-38 0,1-1 4 0,-1 1-2 15,0-1-17-15,-1 0-19 32,4 1-36-32,-2-2-4 0,-1 2-1 0,2-3 3 0,-2 1-82 0,2-1 18 0,0-1 15 0,-5-1-36 31,8 0-69-31,-8 0-81 0,8 0 2 0,-8 0-182 0,4-4-305 0,-1 1 101 0,0 0 33 0,-1 0 71 0</inkml:trace>
  <inkml:trace contextRef="#ctx0" brushRef="#br0" timeOffset="-177434.87">7949 11299 916 0,'0'0'479'0,"0"0"-52"0,0 0-25 16,3 13-23-16,-3-6-44 0,2-2-2 15,-2 2-41-15,1 3-21 16,1-1-36-16,0-3-35 0,1 4 7 0,-1-1-94 0,1 1-39 16,0-1 0-16,-1 0 1 0,1-1-22 15,2-1 9-15,-2 0 4 0,1 2-27 0,-1-3 12 0,0-1 3 0,-1 0-52 16,0 0 16-16,2-1 36 16,-2-1-18-16,1 0 18 0,-1 1 4 0,3-4 101 15,-2 3-5-15,2-1 4 0,0-2-7 0,1 2-25 16,1-2 35-16,0 0-33 0,-1 2-23 0,1-1-84 15,-1-1-16-15,-6 0-3 0,12-3-7 16,-4 3-23-16,-3 0-64 0,-5 0-21 0,11-3-74 16,-7 1-46-16,2 0-61 0,-3-1-149 15,1-1-499-15,-1 4 95 0,2-3-10 16,-3-1 145-16,-2 4 34 0,6-5 50 0</inkml:trace>
  <inkml:trace contextRef="#ctx0" brushRef="#br0" timeOffset="-177281.65">8180 11406 1471 0,'0'-5'402'0,"0"5"-41"0,0-5-10 0,3 2-72 0,-3 3-26 0,-3-6-43 15,3 6-59-15,0-7-51 0,0 4-82 16,0 3-77-16,0-8-136 0,-3 6-153 0,3-2-409 0,0 4 17 16,-2-7 82-16,-1 2 95 15</inkml:trace>
  <inkml:trace contextRef="#ctx0" brushRef="#br0" timeOffset="-176443.14">5670 10605 929 0,'-5'-9'286'0,"0"0"-19"0,-1 3 6 0,-3-2-32 15,1 1 51-15,0 1-26 0,0-3 3 16,-2 5-29-16,0-3 9 0,0 2-11 0,-1 1-16 15,3 2 1-15,1-1-33 0,-1 3-14 0,8 0-12 16,-8 9 13-16,6 3-19 0,2 3 34 16,5 10-112-16,3 13 7 0,2 6 20 0,7 11-20 15,2 5 54-15,4 1 7 0,-3 6-17 0,3 2-6 16,1 1-17-16,1 1-18 0,-2 1-6 16,0 0-2-16,1-4-31 0,-4-1-12 15,1-6-6-15,-4-6-5 16,-4-13 3-16,-5-3 15 0,0-11 15 0,-1-8-15 0,-1-3-25 0,-2-5-11 15,-1-1-41 1,0-4-7-16,-1-3 10 0,0-4-16 0,-2 0 1 0,0 0 9 0,8-13 11 16,-3 4 0-16,1 2 13 0,-1 0 25 31,3-1-25-31,2 2 0 0,3 5 53 0,2 3 24 0,8 6-26 0,13 11 36 0,10 16-26 0,8 7 21 16,13 17-31-16,2 8 17 0,-2 5-27 0,2 12-13 15,0 2 15-15,0 2 1 0,-5-3-39 0,-2 0-11 47,0-8-7-47,-1-3-33 0,-2-4-24 0,-13-20-4 0,2-3-18 0,-4-3 4 16,0-8-19-16,-1-7-17 0,-12-5-14 0,0-5-16 0,-6-6-46 0,-6-4-64 0,-5-5-89 0,0-4-195 15,-7-2-379-15,3-4 85 0,-2-4 53 0,0-2 162 16,-6-5 28-16,1-2 38 16</inkml:trace>
  <inkml:trace contextRef="#ctx0" brushRef="#br0" timeOffset="-175684.07">5357 12307 883 0,'10'-14'258'15,"1"-1"-33"-15,2 0-12 0,0 0-52 0,1-3-2 16,7-7-41-16,2 4-19 0,-5 2-35 0,-3 2-74 16,1 3-82-16,-1-1-77 0,-2 5 33 15,0-1-22-15,-5 4-190 0,2 3-257 0,-3 2 65 16</inkml:trace>
  <inkml:trace contextRef="#ctx0" brushRef="#br0" timeOffset="-175530.4">5470 12478 834 0,'-7'12'292'0,"1"-4"-31"0,3-1-10 0,1-3-26 0,2-2-20 16,0-2 0-16,0 0-29 0,0 0-22 0,0 0-21 31,23-11 13-31,-11 1-44 0,2-2 6 0,1-4-9 0,8-9-24 0,0 1-32 0,0-2-48 16,-2 0-3-16,2 0-43 15,0 1-100-15,-5 1-77 0,3-3-46 0,-6 8-442 0,0 4 9 16,-7 2 75-16</inkml:trace>
  <inkml:trace contextRef="#ctx0" brushRef="#br0" timeOffset="-175274.85">5477 12042 921 0,'14'-6'302'0,"0"-2"-10"0,2 3-26 15,-1 1-25-15,3 1 58 0,-2 0-12 0,9 2-88 16,1-1-30-16,2 3-10 0,3 1 5 0,0 4-18 16,7 6-23-16,0 4-26 15,-4 5 8-15,-6 4-44 0,-2 7-22 0,-3 14-62 16,-5 11-46-16,-5 6-185 0,-8 7-230 0,-7 9-345 16,-6 9 105-16,-8 24 71 0,-7 8 46 15</inkml:trace>
  <inkml:trace contextRef="#ctx0" brushRef="#br0" timeOffset="151640.74">652 10811 1011 0,'1'-5'458'0,"-1"5"-31"0,0 0-74 0,0-4-4 16,0 4-63-16,0 0-17 15,0 0-46-15,0 0 5 0,0 0-49 0,0 0 2 0,4 16-1 16,-4-9-22-16,3 3-96 0,-3 4 4 16,0-1-2-16,0 2-7 15,0 4-19-15,0 2 8 0,-2-1-10 0,1 3 0 0,1-2-3 16,0 1 3-16,-2 1-16 0,2-3 16 16,0 1-13-16,0-1-7 0,0-3 25 0,0-3-18 15,0-1-11-15,0 1-1 0,2-2 1 0,-2-3 1 16,0-1 3-16,1-1-4 0,1 2-17 0,1-5 15 15,-1 2-4-15,0-2 4 0,1-2 10 16,2 2-22-16,1-4 32 16,-6 0-12-16,12-1-25 0,-4-2 25 0,2 1-21 0,1-2 3 15,2-2 8-15,-1 2 5 0,1-2-19 0,2 1 19 0,-2 0-18 16,0-1-5 0,0 0-21-1,-2 1-5-15,1 0-33 0,-2 0-51 0,3 1-6 0,-6-1-2 0,2 2-81 0,-1-1-129 0,1-2-54 16,-1 3-478-16,-1 0 148 0,1 2 10 15,-2 0 90-15,-2-4 100 16</inkml:trace>
  <inkml:trace contextRef="#ctx0" brushRef="#br0" timeOffset="152089.91">1062 10909 1110 0,'-5'-3'428'0,"0"3"-29"0,5 0-38 0,0 0-20 15,-17 4-34-15,11-1-49 0,-1 3-7 16,1 0-41 0,-2 3-13-16,3 1-8 0,-2 0-22 0,2 2-19 0,0-2-22 0,2 2 4 0,1 0-38 15,-2 0 11 1,3-1-21-16,0-3-5 0,1 3-16 0,0-3 8 0,0-2-13 15,1 3 8-15,0-4-7 0,3 0-27 0,-2-1 19 16,0-3-3-16,-2-1-2 0,8 0-34 0,-8 0 18 16,8-6 0-16,-3 1-2 0,-2-2-75 0,2-1-5 15,-3-2 21-15,1 0 5 0,-3-2 0 16,3 2 12-16,-3-2-12 0,0 0 10 16,0 2 16-16,0 0 17 0,0 1 11 0,0 1-36 15,0 0 2-15,0 2 5 0,2 1 6 16,-2 1 17-16,0 4-7 0,3-4-3 0,-3 4 31 15,0 0-33-15,0 0 5 0,13 11 2 0,-8-5 1 16,0 0 58-16,2 1-10 0,-2 0-16 0,3 0-45 16,-3 0 2-16,3-1-64 0,2 3-12 0,-2-2-14 15,-1-4-46-15,1 4-27 16,2-3-32-16,-4-3-53 0,2 3-110 0,-5-2-105 0,4-1-433 16,0-1 82-16,1 0 108 0,0-1 40 15,-4-1 55-15</inkml:trace>
  <inkml:trace contextRef="#ctx0" brushRef="#br0" timeOffset="152517.16">1212 10837 1246 0,'0'0'371'0,"-8"0"-41"0,8 0-17 0,-6 4-24 0,3-1-36 0,1 2-4 15,2-1-14-15,-2 2-22 0,2 1-42 16,0 0 3-16,2 1-15 0,-1-2 43 15,1 3-23-15,3-1-10 0,-3-2-46 0,3 1-3 16,3-2-33 0,-2 0 18-16,1-2-28 15,0-1-10-15,0 0 4 0,0-2-12 0,3-2 3 0,-5-1-32 0,3-1 16 0,0 2 3 0,-4-4-13 16,2 0 18-16,-2 0 12 0,2-2-33 0,-5-2 3 16,3 4 16-16,-4-3-4 0,3-1-22 0,-1 3 61 15,1 1-28-15,-3 1-8 0,2-1-8 16,-1 3 24-16,1-1-1 0,-2 4 9 0,8-1 37 15,-8 1 11-15,12 6-10 0,-1 0-1 16,-1 1-7-16,0 4-87 0,3 1 13 16,0 2 2-16,0 4-7 0,0 1-8 0,-1-1 20 15,-2 1-15-15,-1 2-33 0,-2-2 7 16,0-1-30-16,-1-1-15 0,-2-2-45 0,2 1-45 0,-5-3-33 16,3-1-3-16,-1 0-44 15,-3-4-20-15,2-1-56 0,0 0-39 0,-1-3-133 0,-1-2-479 31,2-2 78-31,-2 0 50 0,0 0 113 0,0 0 90 0,0 0 38 0</inkml:trace>
  <inkml:trace contextRef="#ctx0" brushRef="#br0" timeOffset="152771.63">1570 10903 982 0,'3'-18'259'0,"-1"1"-8"0,-2 1 2 15,2 0-28-15,2 1 3 16,-4 0 5-16,2 2 79 0,-2 0-22 0,0 3 17 0,0 0-23 15,0 0-20-15,0 3-3 0,-2-1-115 0,-1 2-8 16,1 1-13-16,1 0-22 0,1 5-1 16,-5 0-20-16,5 0-5 0,0 0 15 15,-8 12-20-15,6-6 25 0,-1 4-38 0,1-1-11 0,2 1 9 16,0-1-27-16,0 1 4 16,0-1-11-16,0 1-8 0,2-2-17 0,1 3-24 15,-1-3-33-15,1 1-10 0,0 0-26 0,2-1-28 16,-1-2 16-16,3 0-52 0,0-1-30 0,-3 0-13 15,3-3-111-15,-1-2-37 16,2 0-173-16,0-2-280 0,0-3 50 0,-1 3 141 0,4-2 1 16</inkml:trace>
  <inkml:trace contextRef="#ctx0" brushRef="#br0" timeOffset="153157.54">1819 10465 1011 0,'0'-4'483'0,"0"4"-17"0,-3-5-28 0,3 5-31 0,0 0-100 0,0 0-15 0,0 0-31 0,0 0-10 0,10 13-28 16,-4-7 2-16,-3 1-36 0,4 4-30 16,-4-2 15-16,4 1-38 0,-2 1-31 0,3-2-8 15,-3 3-15 1,0-2-26-16,1-2-25 0,-2 3-1 0,-1-3-4 0,2-2-13 0,-3 3 18 15,1-2-19-15,-3 0-9 16,0-2 20-16,-2 3-5 0,0-1-10 0,-1 0 9 0,-3 0-4 0,-2 1-8 16,1 1 13-16,2-2-10 0,0-2 2 0,0 2-17 15,0-2 17-15,2 2 10 16,-1 0-4 0,3-1 9-16,-4 1-2 0,4-1 11 0,-1 0-37 0,2-1 8 0,0 0 23 0,1 1-28 15,1-3 8-15,3 1 5 0,-3-1-41 0,-2-3-11 16,9 1 3-16,-2-2-58 15,-7 1-45-15,13-4-40 0,-5 0-31 0,-1-1-74 0,3-1-56 16,-5 1-124-16,4-2-457 0,-2 0 117 16,0 2 67-16,1-2 95 0,-3 2 96 0</inkml:trace>
  <inkml:trace contextRef="#ctx0" brushRef="#br0" timeOffset="154310.7">2291 10453 1223 0,'-3'-5'358'0,"3"5"-9"0,0 0-53 0,0 0-11 0,0 0-9 16,0 0-84-16,0 0-10 0,0 0-29 0,3 15 3 15,-1-9-10-15,1 0-33 0,2 1 18 16,-2-1-11-16,1 3-28 0,2-2-10 0,-1 0-10 16,2-1 20-16,-1 0-28 15,4 0-11-15,-2-4-17 0,-1 2 21 0,1-3-11 0,2 0-18 16,0-3 5-16,0-1-10 0,1-1 23 16,2-3-28-16,-5-2 23 0,2 3-18 0,-3-3 5 15,1-1 23-15,-5 1-30 0,-1-1 22 16,-2-2 83-16,0 2-16 0,-4-2 13 15,1 1-8-15,-5 0 0 0,1 0-18 0,1 3 31 0,-4 0 13 16,2 1-3-16,-2 2-22 16,2 1-9-16,0 2-22 0,-1 1 4 0,1 1 1 0,0 2-11 15,2-1-5-15,-1 5-20 0,2-1-8 0,0 1-15 16,2 1-18-16,1-1-36 0,-1 2 2 16,1-2-12-16,4 1 2 0,1 0-2 0,-1-2 0 15,1 0-3-15,2 1 18 0,0-3-8 16,1-1 1-16,1-3 4 0,-7 1-7 0,17-4-13 0,-6-2 3 15,2 0-21-15,-3 1 18 0,1-2 23 16,1 0-13-16,-3 2 24 16,1-2-11-16,0 1 20 0,-3 3 3 0,0-1-15 15,1-1-10-15,-2 4 20 0,-2-2 18 0,2 0-11 0,-3 1 9 16,2 1-9-16,-5 1-32 0,10-3 35 16,-7 3-5-16,-3 0-20 0,10-1 10 15,-10 1 7-15,7 0 1 0,-7 0 2 0,8-2 20 16,-8 2-9-16,7-4-6 0,-1 3-15 0,-1-3 2 15,-2 1-2-15,2-2 21 0,-1 0 14 0,0 2-35 16,0-1 38-16,-1-1 8 0,0 3-5 16,0-2 26-16,-3 4-1 0,4-4-38 0,-1 1 5 15,-3 3 3-15,5-1 15 0,-5 1-33 0,8-1 12 16,-8 1 6-16,10 1-10 0,-10-1 7 0,10 1 0 16,-5-1-10-16,-5 0-10 0,13 0-8 15,-5 3-11 16,-3-6 14-31,3 3-6 0,0-2 11 0,2-3-8 0,0-1 3 0,-3-2 4 0,4-1-17 0,-4-1 23 0,1-1 23 16,0-2-18-16,-3-1 22 0,1-2-19 0,-2 0-11 0,-1 1 13 16,-3 1 11-16,0-1 24 0,0 0 9 15,0 2-1-15,-3 3-55 0,3 1 60 0,0-2-42 16,0 3 14-16,-2 2-22 16,2 1 7-16,0-1-15 0,0 6-8 0,0 0 18 15,0 0 7-15,0 0-14 0,5 16 2 0,0-9-8 16,0 1-38-1,0 5 12-15,3-2-27 0,-3 2-47 0,5 0-25 0,-2-2-38 0,2 1-24 0,-2-4-38 16,-3 2-15-16,5-2-39 0,-2 1 5 0,-1-2-56 16,-1 0-105-16,1-2-30 15,-4-1-513-15,2 1 54 0,-2-4 116 0,0 2 71 16,-3-3 143-16,2 3 67 0</inkml:trace>
  <inkml:trace contextRef="#ctx0" brushRef="#br0" timeOffset="154521.28">2696 10166 1418 0,'0'-3'448'0,"0"3"-31"16,2-10-18-16,3 3-69 0,3-2-30 0,0 3-80 15,5-6-36-15,2-2-33 0,1 0 16 16,7-8-45-16,5 4-22 0,-3-2-2 0,1-1-34 16,0 0-62-16,-3 6 21 0,5-2-54 0,-7 2-51 15,-3 4 3-15,2-1-59 0,-5 4-34 16,-4 1-20-16,1 4-71 0,-4 1-67 0,-1 1 25 15,-1 4-450-15,-4 2 28 0,-1 1 90 0,-2 2 71 16</inkml:trace>
  <inkml:trace contextRef="#ctx0" brushRef="#br0" timeOffset="155176.81">1443 11537 1420 0,'0'0'453'0,"4"-7"-23"0,4-3-51 16,10-4-18-16,7-11-103 0,12-7-25 16,11-5-23-16,3-6 0 0,8 0 54 0,18-14-26 15,8 1-44-15,-1 0-19 0,3 2-4 16,-1-2-2-16,-3 3-33 0,3-3-67 16,-4 5-46-16,-1 0-23 0,-16 13-23 0,-4 1-16 15,1 2-35-15,-6 3-5 0,-7 6-13 0,-3 1-29 0,-10 6-19 16,-5 1-29-16,-8 6-5 0,-5 4-16 0,-5 1 19 15,-1 2 4 1,-6 1-2-16,-1 3-23 0,-3 1 46 0,-2 0-23 0,0 0-138 16,-13 12 128-16,-2 0 18 0,-11 6-141 0,-7 7 94 15,-11 7 14-15,-7 4-36 0,-5 3-8 16,-3 3-88-16,-19 11 219 0,-6 2 15 0,-1-2 74 16,1 3 54-16,2 1 53 0,2 1 62 0,1-3 11 15,4-2 17-15,16-10 2 0,3-4 11 0,5-2-2 16,2-1 63-16,8-4 1 15,13-10-3-15,8-7-36 0,4-2-18 0,6-6 5 0,5 0-36 16,2-4 1-16,3-3 2 0,0 0-8 16,16-11 0-16,4-2-53 0,11-8-9 31,15-12-6-31,8-5 6 0,7-1-32 0,19-13 20 0,2-1-20 0,-3 0 14 0,3-1-40 0,-5 5 11 16,-15 10-4-16,-1 1-22 0,-2 0 25 0,0 2-10 15,-8 1-18-15,-2 2-13 0,-5 5-2 16,-10 5-29-16,-4 4 6 0,-2 0-26 0,-7 4-43 15,-3 4-11-15,-6 1-30 0,-1 3-21 0,-1 0-23 16,-2 1-69-16,-1 1-72 16,-2 1-66-16,-5 2-77 0,3 1-341 0,-3 1 26 15,0 0 167-15,0 0-1 0</inkml:trace>
  <inkml:trace contextRef="#ctx0" brushRef="#br0" timeOffset="160836.27">1755 11960 936 0,'0'0'392'0,"-3"1"-57"0,3-1-7 0,0 0-57 0,0 0-10 16,0 0-35-16,0 0-14 0,0 0-17 0,13-7-26 16,-8 2-1-16,1 0-29 0,1 2-6 15,1-2-23-15,-4 0-10 0,2 0 0 0,1 0-8 16,-4 2-5-16,2 0 38 0,-2 0 1 15,0 1 7-15,1-1-23 0,-4 3-13 16,0 0 18-16,0 0-10 0,0 0-26 0,0 0 1 0,-10 8-6 16,5-1-13-16,-2 1 6 0,-3 3-8 0,1 1 23 15,-1-2-31-15,-2 2-7 0,4-1 20 16,0-3-39-16,0 2-7 0,1-1 10 16,1-3 11-16,2 0-34 0,-2 0 0 0,4 0 5 15,-1-1 0-15,3 1-7 0,1-2 20 0,1 1-26 16,3-1 3-16,-2 0 13 0,4 0-15 15,1 1-9-15,2 0 11 0,0 0-12 0,1-1 17 16,2 1-8-16,-1-1 21 0,-2 0-18 0,3 1-3 16,-3-1-12-16,-1-1 23 0,-1 0-8 0,1 1 18 15,-1 0-18 1,-3 0 33-16,3 0 10 0,-6 3 4 0,1 0 14 0,0 1 13 0,-3 0-10 16,0 1-28-16,0 1 18 0,-5 1-8 0,2 2-13 15,-3 0 13-15,1-2-23 0,-2 1-5 16,2-2-13-16,-3 0-23 0,1 1-20 15,1-3-13-15,1 1-21 16,0-2-15-16,0 0-31 0,0-1-22 0,2-2-63 0,1 1-53 0,-1 0-61 16,3-2-159-16,0-1-371 0,0-2-39 15,0 0 75-15,0 0 117 0,5-9 51 0,-2 3 88 32</inkml:trace>
  <inkml:trace contextRef="#ctx0" brushRef="#br0" timeOffset="161324.46">2019 11685 916 0,'5'-1'412'0,"-5"1"-36"0,0 0-12 0,5 12-47 16,0-4-20-16,3 3-26 0,-3 2-7 0,5 1-41 16,0 4-31-16,4 0-8 0,-2-2 5 0,1 3-58 15,0-2 12-15,0-1-22 0,-3-1-14 16,0-2-10-16,1-1-15 0,-1 0-13 0,0-5 3 15,-5 2 2-15,2-2 8 0,-1 0-25 0,-1-2 7 16,0 0 12-16,-2 0-32 16,-3-1-8-16,2-1-6 0,-2-3 16 0,-5 6-20 0,0-1 10 15,0-3-8-15,-3 2-5 0,0-1 8 16,-2 2 7-16,0 0 24 0,0 1-44 16,-2 1-1-16,3-1 4 0,-1 1-3 0,0 4-8 15,2-2-7-15,0 1 20 0,1-1 0 0,1 1-21 16,2 0 19-16,-2-1-6 0,4 0-12 15,-1 0-19-15,3-3 29 0,0 0-10 16,0 0-1-16,3-3-7 0,1 1-8 0,2-4-17 0,-1 2 9 16,-5-2 3-16,16-7 0 0,-6 1-18 31,-2 0 16-31,2-2 12 0,0-1-7 0,-2 0 5 0,2-1 2 0,-3 1-2 0,1 1 5 0,-2-1 30 16,-1 2-20-16,2 0 8 0,-2 2 3 15,-2-1-19-15,2 3 29 31,0-3-19-31,0 3 24 0,-2 1-5 0,2 1-9 0,-5 1-6 0,10-2 22 0,-10 2-30 0,9 2-21 0,-2-1-34 16,-4 1-17-16,4 1-74 0,-4 0-110 16,2-2-139-16,2 3-586 0,-1-1 100 0,-2-1 62 15,2-1 130-15,-6-1 38 0,7 0 93 16</inkml:trace>
  <inkml:trace contextRef="#ctx0" brushRef="#br0" timeOffset="162140.54">2276 11663 934 0,'-1'-7'297'0,"-1"0"5"15,2 2 54-15,-3 2 15 0,3-1-15 0,0 4-67 16,0-6-28-16,0 6 5 0,0 0-30 0,0 0-1 16,8 12-25-16,-3-5-3 0,3 3 6 15,-1 4-126-15,4 5 25 0,6 7 4 0,-1 7-1 16,-1-1 66-16,1 3-17 0,-1 0-20 16,1 1-37-16,-1-2 19 0,0 2-111 15,-2-3-15-15,-5-7 2 0,-3-3 4 16,2-1 9-16,-1-4-23 0,-3-3 16 0,2-1-16 0,-3-3-20 15,0-3-3-15,-1 1-20 0,-2-4-18 0,1 0 13 16,0-2-31-16,0-3 10 16,0 0 0-16,0 0 8 0,0 0 18 0,-4-12-11 0,4 6 6 15,0-3 5 1,2 0-3-16,-4-2 29 0,2-3-32 0,0-1 11 0,0-1 31 16,-4-3-11-16,2-3-7 0,0-3 20 0,-3-2 5 15,2-2-15-15,-5-7-5 0,1 0 26 0,-1 0-1 0,0 2 3 16,1 7 8-16,1 5 38 0,1 4 8 31,0 1 5-31,0 1 17 0,0 4 6 0,5 2-13 0,-5-1-5 0,3 4-5 0,1 1-13 16,-1 2 8-16,2 4 15 0,0 0-18 0,0 0 8 15,0 0 5-15,10 15-10 0,-7-3-8 16,4 1 23-16,1 2-15 16,0 3-8-16,4 4 0 0,-1-2 0 0,4 10-23 0,-2-2 10 0,2 2-12 15,-4-8-11-15,-1-1 11 0,-2-1-21 16,-1-3-3-16,-1-2-20 0,1 2 15 0,-2-5-25 15,0 0-5-15,-3-3-6 0,4-2-27 0,-6 1-4 16,2-1 1-16,1-4 18 0,-3 1 2 16,0-4-18-16,0 4 11 0,0-4 2 0,0 0 8 15,0 0 2-15,0 0 24 0,0-12-19 16,0 5 21-16,0 0 10 0,-2-3-2 0,2-1-11 16,-1-2 31-16,-1-1-17 0,2-4 1 0,-3-2 9 15,0 0 9-15,-1-4-7 16,1 4-7-16,0-6 7 0,1 7 13 0,-3 0 7 15,3 4 34-15,1 0 0 0,-1 3 10 0,-1 3-6 0,1 0-1 16,1 0-3-16,-1 1-14 0,2 2-14 0,-2 3-3 16,2 3-2-16,0 0 9 15,0 0-14-15,0 0 14 0,0 0 14 0,4 14-13 0,-3-7-13 16,1 2-8-16,3-2-15 16,-3 3-16-16,1-1-30 0,2-1-31 0,1 3-5 0,-4-4-56 15,1 0-3-15,2-1-36 0,0 2-25 16,0-2-47-16,0-1-4 0,1-1-124 0,-4 1-490 15,6-2 99-15,-6 0 53 0,3-1 116 0,-2 0 26 16</inkml:trace>
  <inkml:trace contextRef="#ctx0" brushRef="#br0" timeOffset="163029.43">2606 11812 775 0,'2'-6'292'0,"-2"-1"30"0,0-1-48 15,0-2 67-15,0 2-32 0,0-3 6 16,0 2-15-16,-4-2-39 0,1 0 0 0,-3 2-113 16,2-1 11-16,-2-1 5 0,2 4-41 0,-2-1 0 15,1 2 10-15,0 1-15 0,0-1-14 16,2 2-6-16,-2 2-29 0,3 0-15 0,2 2 17 16,0 0-22-16,-11 7-8 0,9-1 13 15,1 0-11-15,1 4-4 0,1 1-14 0,-1 0-7 16,5 2-8-16,-3-2 6 0,1 1-14 0,0-3 19 15,1 2-37-15,2-5 11 0,-3 1 3 16,2-1-19-16,2-1 3 0,-1-3-5 0,-1 0 10 16,0-2 16-16,-5 0-26 0,10-3-3 15,-5 0 8-15,0-3 24 0,0 1-1 0,0-2-16 16,-2 0 1-16,2 1 0 0,0-1 12 0,-2 2 1 16,2-1 20-16,-3 1-13 0,1 0-17 15,2 2 4-15,-2 0 3 0,2 1-8 0,0 1 11 16,-5 1 2-16,0 0 3 0,13 3 12 15,-8-1-7-15,-2 0-8 0,2 0-7 0,-1-2-14 16,-1 4 16-16,-3-4-18 0,8 1 23 0,-8-1-2 16,6 1-3-16,-6-1 15 0,0 0 1 0,7-6 7 15,-2 5-26-15,-3-4-7 0,1 1 20 16,0 1-5-16,-1-3 21 0,-1 4-21 16,0-3 3-16,2 1-16 0,-3 1-2 0,3-1-11 15,-3-1-27-15,2 2-21 0,-2-1-49 0,0 4-31 16,3-7-43-16,-3 4-38 0,3-2-62 15,-3 1-23-15,2 0 82 0,-1-1 26 0,1 0 33 16,-2-1 44-16,2 0 32 0,1 0 80 0,-3 1 62 16,2-2 38-16,-1 2 10 0,1 1 33 15,-2-1 31-15,2-1-22 0,-2 1 6 0,1 2 19 16,1 0-36-16,-2 3 2 0,3-7-4 0,-3 7 12 16,4 0-36-16,-4 0-5 15,4-2-28-15,-4 2 8 0,0 0-1 0,7-1-19 16,-7 1-27-16,7 0-17 0,-7 0-21 0,6-3-10 0,-1 0-18 15,0 0 16-15,-2-4 14 0,2-1-9 16,2-2-3-16,-1 1 10 0,-2-2-15 16,-1-2 41-16,2 0-3 0,-2-1 28 0,-3-2-17 15,0 0 20-15,-2-2-5 0,1 0 7 16,-1 0 3-16,-1 0 8 0,0 5 2 0,2-1 29 16,-2 3-16-16,3 0 5 0,-3 4-2 0,3 1-16 15,-2 0-7-15,2 4 2 0,0 2-3 0,0 0-30 16,0 0-10-16,0 0-10 0,0 0-50 15,15 9-45-15,-12-4-54 0,2 2-77 0,-3-1-138 16,1 1-261-16,-1 2-230 0,1-1 25 0,-3 1 128 16,2 1 56-16,-2 1 123 0</inkml:trace>
  <inkml:trace contextRef="#ctx0" brushRef="#br0" timeOffset="163645.11">2036 12511 1343 0,'-2'1'433'0,"2"-1"-39"0,0 0-41 0,0 0-17 15,0 0-32-15,16-13-17 0,1-1-26 16,9-8 3-16,3-2-24 15,9-11-30-15,3-3-46 0,1-2-80 0,6-3-2 0,0 0 64 16,6-3-13-16,13-12-25 0,-3 1-11 16,0-4-2-16,-10 13 5 0,-3-3-31 0,0 1-3 15,11-13 24-15,-1 1-59 0,-9 12-24 0,-4-1 19 16,-1 1-36-16,-4 1 2 0,-2-1 16 16,-3 5-24-16,-4 0 6 0,-3 2 13 0,-6 1-39 15,-7 9-3-15,-2-2 4 0,-3 3-4 0,-1-1 24 16,-6 7-18-16,-3 1 2 0,-3 5 16 15,-1-1-1-15,-1-1 6 0,-6 0 15 16,-2 0-36-16,-9-6 42 0,-1 3-34 0,-8 4 15 16,-5 4 0-16,-5 3 8 0,-4 2 3 0,-9 6 25 15,-5 1-33-15,-14 10 0 0,-2 5 25 16,-7 3-28-16,2 8 19 0,0 5-4 0,-23 10 6 16,0 4 8-16,5 7-11 0,5 4 5 0,3 5 6 15,5 1-6-15,8 5 11 0,2 4-1 0,5 4 24 16,6 2 5-16,7 3-8 15,6 0 2-15,14-13 11 0,6 0-13 0,3 4-10 0,6 0-10 16,6 0 15-16,6-1-26 0,5-2 3 16,4-10 15-16,5-6 1 0,6 5-29 0,3-14 7 0,1-5 6 15,7-3-15-15,4-6-13 0,5-6-6 16,6-5 1 0,2-6 0-16,5-7-26 0,8-7-3 0,9-8-25 0,2-5-23 0,-6-7-8 15,0-3-20-15,-3-3-8 0,1-4-3 16,-4 0-51-16,-3 1-30 0,-2-2-98 0,-5 1-130 15,-2-1-461-15,-2 1 87 0,-3 3 51 0,-11 7 90 16,-1 0 115-16</inkml:trace>
  <inkml:trace contextRef="#ctx0" brushRef="#br0" timeOffset="164277.99">3268 11119 1297 0,'0'0'392'0,"0"0"-39"0,0 0-28 16,0 0-59-16,-6-1-28 0,6 1-15 15,0 0-3-15,0 0-25 0,13-11-36 0,-7 7-11 16,4-3-10-16,0-2-28 0,1 0-10 0,3-1-28 16,2 1-21-16,-1-6-18 0,3 2-33 0,-2 1-51 15,1 0-26-15,-3 3-51 0,0-1-87 16,0 3-59-16,-4-1-76 0,0 3-436 0,1-1 41 15,-6 5 105-15,2-1 72 0</inkml:trace>
  <inkml:trace contextRef="#ctx0" brushRef="#br0" timeOffset="164453.19">3319 11200 918 0,'-3'1'267'0,"-1"4"-14"0,3-2-17 16,-2-2-32-16,3-1 1 0,0 0-15 15,0 0-16-15,0 0 7 0,0 0-27 0,0 0-8 16,16-5-8-16,-6 0-33 0,0-2 2 0,1-1-9 16,2-1 19-16,2 1-53 0,3-6-12 0,0 1-52 15,-1 0-8-15,0-3-30 0,0 3-32 16,-2-1-104-16,-2 1-59 0,-3 1-17 0,0-1-352 16,-1 0-107-1,0 3 46-15,-3-2 87 0</inkml:trace>
  <inkml:trace contextRef="#ctx0" brushRef="#br0" timeOffset="164721.07">3344 10869 901 0,'0'0'325'0,"0"0"-87"0,0 0-8 0,0 0-41 0,0 0 19 0,0 0-16 0,0 0 0 0,26 4-26 16,-11-3-2-16,1-1 0 0,2 2-26 0,-1 1-10 15,2-1 66-15,1 1 4 0,-1 0-17 16,1 2-7-16,-5-3-33 0,3 4-13 0,-5 0 10 16,2 3-12-16,-3 0-14 0,-1 2-99 15,-3 1 23-15,0 2-15 0,-4 0-27 0,0-1-14 16,-2 2-21-16,-2 0-28 0,0-2-51 16,-2 2-19-16,1-1-127 0,-2-2-118 0,1 0-489 15,2-3 151-15,0-3-2 0,-2 1 87 0,2-3 79 16</inkml:trace>
  <inkml:trace contextRef="#ctx0" brushRef="#br0" timeOffset="165247.94">3701 10502 1159 0,'0'0'384'0,"0"0"-49"16,0 0 1-16,0 0-62 0,3 16-13 0,1-9 0 15,4 0-105-15,-2 5-28 0,1 1-5 16,3 0-8-16,3 4-20 0,0 2-6 0,-1-1-17 16,-1 1-11-16,2 0-27 0,-2-1-60 0,1 1-7 15,-2-6-34-15,1 4-22 0,-2-3-60 0,-1-1-63 16,0 0-65-16,-3-2-58 0,1 0-400 16,-2-4 47-16,-1 1 48 0,2-3 92 15</inkml:trace>
  <inkml:trace contextRef="#ctx0" brushRef="#br0" timeOffset="165764.87">3793 10818 906 0,'0'0'368'0,"-5"-3"-25"0,3 0-25 0,-1-2-29 0,3 2-31 0,0-3-9 0,0-1-19 0,2-2-41 16,4-3-20-16,-2 1 3 0,2-2-36 0,1-2-1 15,1 2 6-15,0-5-39 0,0 4-9 16,-1-1 1-16,3 0-30 0,1 0 16 16,-6 3-32-16,0 1 11 0,2-1-3 0,-3 6 11 15,0-2-57-15,-2 1 3 0,2 3-8 16,-4-1 13-16,0 1-21 0,0 4 6 0,-3-4 15 16,3 4-5-16,0 0-16 0,0 0 16 15,0 0 7-15,0 0 11 0,-13 13-3 16,13-9-7-16,-2 2-13 0,2-1 4 0,-3 3 9 0,3-1-16 15,0 0 15-15,0 0-25 0,3 2 8 16,-3-2 10-16,2 1-3 0,0-1-5 0,1-3 10 16,0 2-38-16,-1-3 18 0,1 0 5 15,2 0-5 1,0-3 8-16,-5 0 2 0,8 0-13 0,-8 0 18 0,8-6-7 0,-4 3 17 0,-1-3-25 16,0 0 18-16,-1-1-10 0,1-3 15 15,-3 3-16-15,0-1 11 0,0-1-11 0,0 0 14 16,0-1-6-16,0 3 23 0,0-1 1 15,0 2 1-15,0 1 1 0,-2-1-18 0,1 3 10 16,1 3-17-16,3-5 9 0,-3 5 21 0,0 0 0 16,0 0-15-16,0 0 7 0,16 8-26 0,-12-2 19 15,2 0-31-15,-1 1 25 16,2-1-7-16,-1 4-8 0,1-1 0 0,-1 0-10 16,1 1-56-16,1 1 20 0,-3-3-38 0,0 2-21 15,0-4-31-15,0 2-56 0,0-1-25 0,1-1-82 16,-2-1-78-1,-4 0-17-15,3-2-414 0,2 0 19 0,-3-2 132 0,-2-1 19 0,0 0 98 16</inkml:trace>
  <inkml:trace contextRef="#ctx0" brushRef="#br0" timeOffset="166067.04">4001 10375 1110 0,'-3'-2'420'0,"3"2"-61"0,0 0-34 16,0 0 10-16,0 0-41 15,0 0-10-15,0 12-28 0,0-5-23 0,5 0-15 16,-2 1-6-16,3 3-17 0,0-2-49 16,0 1 15-16,-1 0-25 0,0-1-1 0,3 4-25 15,-4-3-10-15,2-2 13 0,-1 4-44 0,0-4 0 16,0 3-56-16,-2-4-21 0,0 3-53 0,1-3-6 15,-1-1-48-15,0 0-54 16,-1 0-102-16,-1-3-121 0,4 2-245 0,-3-3-190 16,0 2 46-16,-2-4 103 0,6 0 79 0,-6 0 38 0</inkml:trace>
  <inkml:trace contextRef="#ctx0" brushRef="#br0" timeOffset="166612.17">4178 10419 1039 0,'-3'5'358'0,"-2"0"-43"0,-3 1-3 0,1 1-28 0,1 1-25 0,-1-2-11 0,1 3-33 16,2-2-13-16,-2-1 16 15,4 1-49-15,-4-1-8 0,4-2-17 0,0 2-17 0,0-1 1 0,1-1-43 16,-2-2 2-16,3 4 13 0,0-3-29 15,0-3-14-15,3 5 20 0,-3-1-21 0,0-4 8 16,5 1 2-16,-5-1-25 0,6 4-15 0,-6-4 12 16,7-3-45-16,-7 3-29 0,10-1-10 15,-5 1-26-15,-5 0-5 0,13-3 1 0,-8 1-11 16,3 1-52-16,-1-2-50 31,1 2-70-31,0-1-84 0,-3 2 5 0,5-1 59 0,-4 1-20 0,2-1-24 0,-1-2-20 0,-2 1-69 0,3 2 115 16,-4 0 152-16,3-2 86 0,-3-2 64 15,2 4 79-15,-2-5 52 0,2 1 0 0,-2 0 50 16,-1-2 17-16,2-1 4 0,-3 1-5 0,2 0 23 16,-2-2 6-16,-2 2-9 0,2-1-12 15,-2-1-23-15,0 1-2 0,0 1-19 0,-2-2 5 16,2 2-7-16,-2-1-5 0,-2 2-11 16,2-1-4-16,0 4-16 0,-3-2-3 0,5 4-17 15,0 0-21-15,0 0-11 0,-11 6 19 0,9-1-10 16,0 1-16-16,1 1 15 15,-1 0-12-15,2 3 2 0,-3-2-20 0,6 1-3 16,-3-1 8-16,2-1 5 0,1 1-46 0,-1-2 20 0,1-1-2 16,2 1-15-16,0-1-6 31,1-2 8-31,1-3 10 0,1 0-43 0,-3 0-3 0,5-1-35 0,0-1-22 0,0-2-37 0,-2 1-3 16,2-1-46-1,-2-1-18-15,0-1-21 0,2 0-63 0,-4 0-78 0,1 2-25 0,-2 1-527 16,3-4 77-16,-3 1 89 15,2 3 56-15,-1-2 60 0</inkml:trace>
  <inkml:trace contextRef="#ctx0" brushRef="#br0" timeOffset="168155.95">4170 10876 1054 0,'-8'-2'402'0,"8"2"-18"0,-5-1-59 0,5 1-5 0,0 0-26 15,0 0-22-15,0 8 17 0,0-8-48 0,3 10-29 16,0-5 11-16,1 3-26 0,-1 1-51 15,2 1 12-15,-2-3-7 0,2 1-2 0,-2 3-54 16,2-1 2-16,-2-1 15 16,4-2-35-16,-5 3-5 0,1-3 10 0,-1 0 2 15,1-2-17-15,-1 0 28 0,1-1-57 0,-1 2-43 16,-2-3 20-16,0-3-10 0,1 6 3 0,-1-6 7 16,0 0 19-16,0 0-16 0,0 0 5 15,0 0 69-15,0 0-26 0,-3-15 14 0,3 9-32 16,0 1 24-16,0-2-29 0,0 0 11 0,0 3-31 15,2-5 31-15,-1 3-28 0,1 3-3 0,1-2 18 16,-1 0-31-16,1 3 0 16,2-1 0-16,0 1 6 0,0 0-11 0,-5 2 10 15,10-1-7-15,-4 1-13 0,-6 0-23 0,10 0 25 16,-3 0-41-16,-7 0 21 0,14 0 0 0,-10-2-25 16,4 2-6-16,-8 0 28 0,11-3-2 15,-4-1-18-15,-2 3 26 0,3-5-16 0,-5 1 18 16,2 0 8-16,0 0-6 31,0 0-20-31,-2-1 42 0,2 0-37 0,-3 2 46 0,1 0-22 0,2 1-16 0,-5-2 10 0,3 4-3 0,1-3-2 16,-1 3 13-16,-3 1 3 0,6-4-3 0,-1 3-8 15,-1-1-18-15,-4 2 44 0,9-1-31 16,-9 1-5 0,10-2 36-16,-6 2-21 0,2-4 0 0,-1 4 24 0,-5 0-9 0,5-5-1 0,-2 3 12 15,2-1-18 1,-5 3 2-16,2-5 26 0,-2 2-28 0,0 3 5 0,0-6 0 15,0 6-7-15,-5-3 12 0,5 3-10 0,-3-4 18 16,3 4-3-16,0 0-20 0,-12 4 23 0,12-4-23 16,-8 5 36-16,3-3-16 0,0 1-5 15,2 1-25-15,1 0 10 0,-1 0-5 0,0 1-8 16,3-1 25-16,-2-1-30 0,2 1-12 0,0-4 1 16,0 4 6-16,0-4-26 0,0 0 16 0,0 0 7 15,0 0-17-15,15-6-6 16,-12-2 21-16,5 2-13 0,-1-2-6 0,-1-3 32 0,1 1-13 15,-2-2-6-15,0-3 21 0,1 1 3 16,-1 1-3-16,-3-2 15 0,1-1-12 0,-1 2 28 16,1-2 7-16,-3 3 3 0,0 0 3 0,0 2 18 15,0 2 2-15,0-2 30 16,0 4-24-16,-3-1 12 0,3 2-6 0,0 0-24 16,0 2 25-16,0 4-16 0,0 0-28 0,0 0 16 15,0 0-8-15,0 0 10 0,0 0 8 0,10 9-33 16,-7-5 7-16,2 3 11 0,-2 2-18 0,2-3-1 15,0 2-12-15,1-1 3 16,1-1-24-16,0 1-12 0,-1-1 20 0,-1 0-5 0,2-1-34 16,-1 0 27-16,-1-2-27 0,1 2 17 0,-2-4-12 15,1 2 16 1,0-2-4-16,-5-1-12 0,10-1 14 0,-10 1-39 0,6-4 11 16,-3 2-14-16,2-2 1 0,-3 3-3 15,0-3-8-15,-2 4-17 0,3-4-3 0,0 1-44 0,-3 3-20 16,0-3-41-16,0 3-176 0,0 0 32 15,-3-5-347-15,1 3-62 0,2 2 84 0,0 0 55 16,-8-3 68-16</inkml:trace>
  <inkml:trace contextRef="#ctx0" brushRef="#br0" timeOffset="168527.05">4457 10744 962 0,'0'0'358'0,"0"0"-48"0,0 0 0 0,0 0-47 0,-3-7-14 0,3 7-27 0,6-11-19 15,-3 4-24-15,4 0-21 0,-2-2 9 16,0-1-42-16,2-2-4 0,1 3-11 0,0-2-26 16,-3-1 3-16,3 4-28 0,-3-4 2 0,0 2-7 15,-2 1-28-15,0-1 17 0,-1 4-30 16,0-1 13-16,-2 2-1 0,0 2-17 0,1-2 20 16,-1 1-15-16,0 4 15 0,-1-7 0 15,1 7-23-15,0 0 11 0,0 0-11 0,0 0 13 16,0 0 12-16,0 0-27 0,0 0 5 0,0 0 28 15,0 0-36-15,17 7 5 0,-10-3 20 0,0-2-30 16,1 1 8-16,2-1 15 0,-2 1 12 16,0 0-7-16,-1-1 13 0,1 2-3 15,-2-1 24-15,-2 1 4 0,2 0 13 16,-4-1-4 0,0 3 17-16,-2-1-34 0,-2 1 22 0,2 0-19 0,-2 0-20 0,-1 1 28 0,-2-1-41 15,-3 1 5-15,3-1-20 0,0 0-67 0,-3 1-33 16,3-3-72-16,-2 2-92 0,1-6-159 15,1 3-517-15,0 3 116 0,0-1 35 16,0 0 118-16,-1 1 36 0</inkml:trace>
  <inkml:trace contextRef="#ctx0" brushRef="#br0" timeOffset="169829.36">2753 12093 729 0,'0'0'269'0,"0"0"-29"0,0 0-9 0,0 0-19 0,0 0-7 16,9 11-13-16,-4-5-26 0,3 1-27 0,2 3 1 15,-1 0-27-15,3 2 18 0,-2 1-37 16,3 3 14-16,0 0-39 0,-1 1-5 16,1 1-8-16,1-1-43 0,-4 1-21 0,0-2-48 15,0-2 15-15,-2 0-67 0,2 0-45 0,-2-1-70 16,-1-6-12-16,1 4-446 31,-3-3 10-31,3-1 118 0</inkml:trace>
  <inkml:trace contextRef="#ctx0" brushRef="#br0" timeOffset="170099.11">2827 12042 906 0,'0'0'317'0,"-3"-4"-25"0,3 4-62 16,0 0-22-16,0 0-19 15,0 0 23-15,0 0-38 0,0 0 6 0,10 17-29 0,-2-11 64 16,2 5-34-16,-2 0-14 0,5 2 4 0,0 3-38 16,2 2-7-16,0-2-11 0,-2 1-15 15,3 1-23-15,-1 0-11 0,0-1-33 16,1-1-22-16,-4 0-34 0,1-1-31 0,-2-3-56 16,1 2-69-16,-4-4-36 0,2 1-64 15,-2-3-220-15,0 1-277 0,-3-5 75 16,2 3 68-16,-4-1 73 0</inkml:trace>
  <inkml:trace contextRef="#ctx0" brushRef="#br0" timeOffset="170454.31">2919 12280 877 0,'0'0'315'0,"-7"5"-25"0,7-5-11 0,4 6-13 0,-1-1-20 0,0 2-11 16,4 0-56-16,-1 1-10 0,3 0 0 0,-1 0-44 15,0-1 1-15,2 1-8 0,3-2-21 0,-3-2 5 16,0-1-104-16,1 0 17 0,-1-2-7 16,0-1 17-16,0-1 9 0,-2-3 78 15,2 0-20-15,-2-3 18 0,0 1-2 0,-1-2-11 0,-1 0 11 16,-1-2-26-16,0 0-21 15,-5 1 8-15,2-1-5 0,-1-1-25 0,1 0 17 0,-2 0-20 16,-2 3-16-16,1 0-4 0,1-1-24 16,0 2-10-16,-2 1-51 0,2 2-18 0,0-1-36 15,0 1-51-15,0 4-18 0,3-3-120 16,-3 3-42-16,0 0-460 0,0 0 80 0,4 12 45 16,-1-5 44-16</inkml:trace>
  <inkml:trace contextRef="#ctx0" brushRef="#br0" timeOffset="171080.33">2881 12869 1141 0,'0'0'325'0,"0"0"-41"0,15-13-20 0,-8 6-8 15,2 0-44-15,0-5-12 0,2 0-26 16,1-1-105-16,-2-5 16 0,3 2-44 0,1-1 2 16,-1-1-10-16,-1 1 6 0,-4 3-16 0,2-1 2 15,-2 2 6-15,-4 2-15 0,2 0 17 16,-1 3-13-16,-2 1-12 0,-1-2 18 0,-2 6 15 16,0-1-26-16,0 4 21 0,-2-6-6 0,2 6 6 15,-3-1-10-15,3 1 17 0,0 0-17 16,0 0-11-16,0 0 19 0,-3 11-22 0,3-11 9 15,1 11-16-15,4-4 18 0,-2 2-15 16,4 1 12-16,0 2-7 0,1-1 20 16,2 3 54-16,-1-1 28 0,1 2-33 0,0-2-2 0,2-2 7 15,-4 2 0-15,2 0-3 0,-2-3-15 16,-3 0-7-16,3 1 9 0,-3-1 40 16,0-1-22-16,-2-1-9 0,2 0 35 0,-3-1-10 15,-1 1-21-15,-1-2-17 0,0 1 9 16,-1-1-27-16,-1 0 25 0,-3 1-28 0,2-2 6 0,-2 0-19 15,0-2-8-15,0 2 1 16,-1-1 5-16,2-2-26 0,-2 2-26 0,1-2 3 0,1-1-33 16,-2 1 3-16,6-2-52 0,-5 2-36 15,5-2 3-15,-5 2-44 0,5-2-35 0,0 0-23 16,0 0-78-16,-7-6-71 0,9 3-304 0,-2 3-98 16,2-11 61-16,-2 5 96 0,3-3 48 15</inkml:trace>
  <inkml:trace contextRef="#ctx0" brushRef="#br0" timeOffset="171512.57">3139 12706 1200 0,'0'0'328'15,"0"0"-24"-15,0 0-4 0,0 0-39 16,0 0-10-16,0 0-13 0,0 0-23 0,3 11-39 0,0-5-9 16,2-1-21-16,-2 1 0 0,4 0-11 15,-2 0-25-15,3-2-20 0,0 1 2 16,-1 0-10-16,0-2-3 0,-1 0-15 0,4-2-5 15,-5 0-20-15,3-2 4 0,0 1 13 16,-3-4-12-16,2 1-21 0,-1-3 64 0,-1 1-54 16,0-1-7-16,2-3 38 0,-4 0-26 0,0 1-12 15,1-3 38-15,-3 1 0 0,2 1-16 0,-3-3-2 16,0 3-7-16,2-2-1 0,-2 3 26 16,0-2-5-16,0 2 0 0,0 1 2 15,0 2-30-15,0 0 25 0,2 1 11 0,-2 0-44 16,0 4 23-16,3-4-2 0,-3 4-3 0,0 0-11 15,0 0 9-15,13 5-11 0,-8-2-3 16,0 2-4-16,0 1-6 0,0 0 24 0,0 0-39 16,1 2 10-16,-2 0 8 0,2-2-16 15,-3 2-20-15,4-1-43 16,-4-1-39-16,2 0 8 0,-2-2-33 0,1 0-47 0,-1 0-61 0,0-2-117 16,-3-2-109-16,8-1-442 0,-8 1 75 15,6-5 91-15,-2 1 46 0,-2-1 126 0,-1-3 21 16</inkml:trace>
  <inkml:trace contextRef="#ctx0" brushRef="#br0" timeOffset="171893.8">3344 12348 1016 0,'-2'-3'327'0,"2"3"-37"0,0 0-27 0,0 0-22 16,0 0-26-16,0 0 5 0,0 0-36 15,3 16-12-15,2-8-14 0,-1 2-32 16,4 1-1-16,0 0 3 0,3 1-30 15,-1-1 1-15,2 1-1 0,-1-1-37 0,1-1 11 0,-2 0-24 16,1-1 16-16,-1-4 3 0,-2 4-39 16,2-2 3-16,-2-2-3 0,-4-2 5 0,3 3 3 15,0-2-5-15,-5-1 2 0,1-2-15 0,-3-1 13 16,2 5 7-16,-2-5-12 16,0 0-6-16,0 0 8 0,-7 5 24 0,7-5-14 0,-10 1-15 15,5 1 18-15,0 1-8 0,-3 0-12 16,0 1 32-16,3 2 40 0,-3 0 17 0,0 1-21 15,1-1-2-15,2 1 8 0,-1-1-31 16,2 1 15-16,1 0 11 0,0 2-24 16,1-2-14-16,0 0 12 0,2 2-23 0,2-1-6 0,-2-2 40 15,2 1-32-15,1-2 1 0,2-2 7 16,0 1-31-16,0-2 11 0,0-1-8 0,3-1-33 16,-1-2-23-16,2 0-3 0,-2-1-28 0,4-4-33 15,-1-1-8-15,0-1-46 0,0-1-21 16,-2-2-17-16,2 0-55 0,0-1-86 0,1 0 0 15,-4-2-64-15,-1 2 7 0,1 0-416 16,0-1 42-16,1 1 124 0,-2 1 43 16,-1 2 46-16</inkml:trace>
  <inkml:trace contextRef="#ctx0" brushRef="#br0" timeOffset="172399.64">3614 12369 660 0,'-8'0'361'0,"8"0"-23"0,0 0-13 0,-12 5-13 0,9-4-20 0,-3 2-98 16,4-1 3-16,-3 0-25 0,2 1-11 15,1 0-33-15,-1 1 8 0,3 0-11 0,0 1 16 16,0 0-10-16,0 1 9 0,3 1-4 16,-1-1 7-16,4 2-27 0,-2-1 4 0,4 2 87 15,0 0-63-15,-1 0 2 0,3 1 12 16,-1 1-32-16,0 1-85 0,-1-1-8 0,0 0-8 16,-3 0-9-16,0-1 4 0,0 2-4 15,1-2 9-15,-4 0 29 16,0 0-51-16,-2-2 12 0,4-1 5 0,-4-1-38 0,2-1 16 15,-2 0-16-15,0-3-13 0,0 2 26 0,0-4-10 0,0 0-1 16,0 0 1-16,0 0-21 0,0 0 34 16,0 0-19-16,0 0 3 0,3-17-5 15,-2 11 18-15,3-3-18 16,-2-1 18-16,-1 1-10 0,0-3-6 0,0-1 21 0,1 0-13 16,-2-1 6-16,0 0-27 15,0-2 29-15,-2 3 0 0,1-2 0 0,-1 2 8 0,0 1-19 0,-2 1 42 16,2 2-11-16,0-1 34 0,0 4-8 0,-2 0-5 15,2 2-13 17,-3 1 28-32,2 1-43 0,3 2 20 0,-7 0 13 0,7 0-26 0,-5 5 11 0,2-3 4 0,1 2-22 0,-1 1 12 15,3 0-2-15,0 0-7 0,0 1-14 0,0 0 26 16,3-1-31-16,-1 2 14 0,-1-2-22 0,3 1 14 16,-1 0-11-16,4-2-13 0,-1 0-56 0,-1-1 3 15,2 0-44-15,1-2-15 16,-3-1-8-16,-5 0-31 0,16-4-7 0,-9 2-44 0,1-3-46 15,-1 1-23-15,1-2-15 0,0-1 25 16,0-2-12-16,-1 1-313 0,-1 0-61 0,-1-1 8 16,2 1 114-16</inkml:trace>
  <inkml:trace contextRef="#ctx0" brushRef="#br0" timeOffset="173050.59">3798 12269 870 0,'0'0'353'0,"0"0"-23"16,0 0-20-16,0 0-34 0,0 0-27 0,0 0-4 16,0 0-19-16,0 0-19 0,10 11-10 15,-7-9-25-15,-1 0-11 0,1 0-38 0,-3-2 10 16,5 5-23-16,-2-3 5 0,-3-2-20 0,5 3-13 15,-2-1-16-15,-3-2 6 0,4 2-11 16,-4-2 6-16,6 2-8 0,-6-2-5 0,0 0 25 16,0 0-20-16,10-2 2 0,-10 2-10 15,0 0-12-15,8-1-9 0,-8 1-1 0,7-1 12 16,-7 1-8-16,8-2-20 0,-8 2-3 0,10-3-25 16,-4 1-24-16,-3 0-4 0,1-1-29 15,1 1-33-15,0-2-28 0,1-1-23 16,-1 0-18-1,2 0-8-15,-1-1 41 0,-2-2-2 0,2 0-6 0,-1 1 24 0,0-1-8 0,-2 1 46 16,2 1 15-16,-2 1 64 16,-1 0 67-16,0 0-5 0,1 3 31 0,-3-2 20 0,0 4-24 15,5-5-1-15,-5 5 17 0,2-3-18 0,-2 3 16 16,0 0 2-16,0 0-20 0,3-1 3 16,-3 1-19-16,0 0 3 0,0 0 3 0,0 0-11 15,7-1-2-15,-7 1-3 0,0 0-10 0,7-4-5 16,-5 1 2-16,3 0-30 0,-3 0 20 0,1-3 8 15,-1-1-29-15,1 2 11 16,-1-4-2-16,1 2-16 0,-3 0 41 31,0-1-39-31,0-1 8 0,-2 0-10 0,0-1 11 0,-2 1 6 0,0 2 4 0,1-2 30 0,0 4-7 16,-2-2 7-16,3 3-5 0,-3 1-10 0,2 2 20 16,3 1-20-16,-8-1-3 0,8 1 8 0,0 0 8 15,-5 7 2-15,5-3-25 0,-3 1 15 16,3-5-8-16,3 8-5 15,-3-4-23-15,3 1-18 0,-1-1-5 0,0-1-48 0,1 2 27 0,2-4-60 16,1 2-6-16,-1-1-44 0,0 0-45 16,2-2-70-16,-4 2-128 0,4-2-516 0,-7 0 89 15,14 0 71-15,-10-1 62 0,-4 1 87 0</inkml:trace>
  <inkml:trace contextRef="#ctx0" brushRef="#br0" timeOffset="174373.58">1570 12823 703 0,'0'0'267'16,"0"0"-17"-16,0 0 6 0,0 0-102 0,0 0-18 15,0 0-6-15,0 0-25 0,7-12-8 16,0 6-7-16,0-2 53 0,3-5-10 0,1 2-5 16,3-4-43-16,-1-2-31 0,1 1-34 15,3 0-66-15,-4 1-77 0,0-1-102 16,2 2-466-16,-2 0 13 0,-3 5 107 0</inkml:trace>
  <inkml:trace contextRef="#ctx0" brushRef="#br0" timeOffset="174553.03">1704 12815 775 0,'0'0'315'0,"0"0"-18"0,0 0-36 0,10-10-13 0,-5 3-10 0,2-2-41 0,1 0-107 0,1-2-11 0,3 0-22 16,-4-1-24-16,5-4-82 0,-1 3-20 0,-2-1-118 15,0 1 31-15,1 0-36 0,-3 1-343 0,0-3-118 16,-1 6 98-16</inkml:trace>
  <inkml:trace contextRef="#ctx0" brushRef="#br0" timeOffset="174861.37">1673 12537 609 0,'5'-2'215'15,"3"0"-21"-15,2-1-27 0,0 2 78 0,6-1-4 16,-3-1-26-16,4 3-10 0,-2-1-6 0,1 1-9 15,2 1-34-15,0-1 3 0,-1 3 2 16,4 0-15-16,-2 0-5 0,-1 2-8 0,-1 3-87 16,-2 0-10-16,1 1 10 0,-3 2 5 15,-3 1-2-15,0 1-21 0,-4 1 18 0,-1-1-10 16,0 2-29-16,-2 1-14 0,-2-1-4 0,0 0-40 16,-1-1-15-16,0 0-32 15,0 1-48-15,-1-2-56 0,0-3-77 0,0 0-473 0,1 0 117 16,0-2 33-16,0 1 37 0</inkml:trace>
  <inkml:trace contextRef="#ctx0" brushRef="#br0" timeOffset="178492.26">5401 13432 1003 0,'0'0'281'0,"0"0"-25"0,-3 10-20 16,6-3-11-16,-3 1-30 0,2 2-3 0,0 3-28 15,1 0-21-15,0 1-20 0,2 0-6 16,-3-1 75-16,4 4-5 0,-1-2-28 0,-2-1 5 15,-1 0-16-15,1 3-53 0,2-5 10 0,-3 2 0 16,1-1-16-16,-1 1 11 0,3-2-20 16,-2 0-16-16,2-1-5 0,-4 0-8 0,1-4 2 15,3 1-6-15,-5-1-17 0,2-1 21 0,-1 0-7 16,1 0-18-16,0-2 25 0,-2 1 15 16,1-2-102-16,1 0 16 0,-2-3-6 15,3 6 11-15,-3-6 23 0,0 2 7 0,0-2-10 16,0 0-2-16,0 0 4 0,0 0-7 0,0 0 11 15,0 0-4-15,-5-12 16 0,4 8-2 16,1-2-6-16,-2-2-2 0,2-1-5 0,0 0 25 16,2-1-30-16,1-2-1 0,2 1 39 15,-2 0-18-15,4-1-15 0,-1 2 2 0,1 1-15 16,1 1 28-16,2 2-21 16,-2 1 1-16,0 2 25 0,-1 1-20 0,1 2 28 15,0 0-3-15,2 2-28 0,-2 1 5 0,-3 2 1 0,0 1 12 16,0 2 10-16,0-1-23 0,-4 2 103 15,0 0-31-15,-1 2-18 16,0-1 0-16,-2 2 2 0,-3 0-15 0,2-1 8 0,-4 0-36 0,2 0 26 16,-3-1-13-16,0-1 5 0,1-1-34 0,-4-2 24 15,1 0-39-15,3-2-9 0,-1 0 11 16,0-1-29-16,0-2-40 16,1 0 6-16,2 0-41 0,5-1 3 0,0 0-32 0,-11-3-9 15,9 0-24-15,2 3-78 0,0 0-101 0,0-8-202 16,4 5-281-16,2-2 12 15,2 2 182-15,-3-2 8 0,3 1 35 0</inkml:trace>
  <inkml:trace contextRef="#ctx0" brushRef="#br0" timeOffset="179269.19">5754 13546 929 0,'-12'3'386'0,"6"-1"-33"0,2 2-10 0,-4 1-30 16,2 0-47-16,2 2-5 0,1 0-56 15,-4 3 10-15,4 0-28 0,0 0-31 0,0-2-5 16,1 1-26-16,0 1-76 0,-1-1-3 16,3 0-20-16,0 0 9 0,3-1-4 0,-1 0-23 15,0-1-11-15,-1-3 13 0,4 1 11 16,-3-2-19-16,3-3 16 0,-5 0-20 0,8 1 20 0,-8-1-13 15,8-4 3-15,-3 0-6 16,-2-1 6-16,-1 0-1 0,1-3 17 0,-1 2 9 16,1-3 0-16,-3 0 3 0,0 0-5 0,0-1 7 15,-3 1-2-15,3 0 5 0,-2 1 0 16,1 2 33-16,1-1-10 0,-2 1 15 0,2 1-25 16,-2 2-5-16,2-1 7 0,0 4-15 15,0 0-23-15,0 0 33 0,0 0-28 0,0 0 5 0,-3 12 8 16,3-5 0-16,0 1 41 0,3-1-6 15,-1 2-65-15,0 1-17 0,1 0-27 16,0 1-44-16,0-1-26 0,1 0-68 16,1 0-37-16,-2-3-66 0,2 0-12 0,0-2 4 15,-5 0-146-15,6-3-250 0,-2 0 99 0,2-2 159 16,-6 0 180 0,10-4 96-16,-7 1 101 0,2-3 14 0,-2 0 83 0,-1-1 79 0,3-5 25 15,-3 2 32-15,-1 0 20 0,1-2 2 0,0 0 0 16,1 0-10-16,0 2-20 0,-1 1-3 15,1 1 15-15,0 2-32 0,1 0 14 0,-1 1-5 16,2 3-2-16,0 1-38 0,1-1 20 0,-6 2-1 16,12 7-22-16,-4-2 0 0,0 0-5 0,0 1-3 15,-1 2 0-15,0 2-15 0,-1-1-13 16,4 1 10-16,-5-1-7 0,-2 1-16 16,2-2 1-16,-3 0-9 0,1 0-84 0,2 0 36 15,-3-4-8-15,-2 1 88 0,0-1-6 16,0-4-18-16,0 3 8 0,0-3 20 15,0 0-30-15,0 0-11 0,0 0 16 0,0 0-10 0,-12-13-26 16,10 5 33-16,-1 0-10 16,3 0-26-16,-3-2 26 0,3 0-36 0,0 0-5 15,0-1-12-15,0 0-32 0,3 2 1 0,-3-2-16 16,3 0-31-16,1 3-43 0,-1-1-10 0,2 2-36 16,0-1-72-16,1 3-33 0,2 1-77 0,-1-1-199 15,3 1-436-15,1 2 156 0,-1 0 42 0,2 0 61 16,1 2 74 15,0-1 138-31</inkml:trace>
  <inkml:trace contextRef="#ctx0" brushRef="#br0" timeOffset="179764.13">6383 13360 1238 0,'-3'-1'338'0,"3"1"-33"0,0 0-21 16,0 0-5-16,0 0-20 0,0 0-21 0,21 8-11 16,-14-1-19-16,3 1-37 15,0 2-12-15,1 3-13 0,4 2-18 0,-4 0-3 0,4 4-17 16,-2-1-29-16,-3 1 3 0,1 0-62 16,1 0-2-16,-4-4 23 0,0 0-28 0,-1-2 18 15,-2-1-13-15,0-2-11 0,1 0 1 16,-1-3 15-1,-5-1 3-15,5 0 20 0,-5-1 0 0,0-1 5 0,0-4-10 0,0 0 5 0,0 0 16 16,0 0-11-16,0 0-3 0,-13-9-22 0,8 2 5 16,-3-3 12-16,3-4-4 0,-3-3 2 15,1 2-11-15,4-3-22 0,-2 0 12 16,2 0-17-16,1 2 15 16,2 0-13-16,2 1 13 0,1 0 5 0,0 2-41 0,1 0 5 0,4 0-28 15,-2 0 16-15,1 3-60 0,3 1-17 0,-2 0-41 16,2 1-34-16,1 2-74 0,2 1-105 15,-6 1-64-15,7 3-429 16,-2-2 91-16,3 2 90 0,-5 0 38 0,3 0 57 0</inkml:trace>
  <inkml:trace contextRef="#ctx0" brushRef="#br0" timeOffset="180369.52">6770 13292 1218 0,'0'0'404'0,"-8"4"-53"0,3-1-28 0,2 1-24 0,-4 0-33 0,4 2-7 0,-2 2-52 0,2-2-10 0,1 3-25 15,0-1-11-15,-1 1 0 16,2 0-38-16,-1 0 0 0,2 1-13 0,0-2-13 0,0 1-40 16,0-1 7-16,2 0-6 0,-1-2-4 0,2-1-28 15,-1 0 7-15,0-1 8 0,1-1 18 16,-3-3-21-16,5 1 1 0,-5-1-11 0,0 0-3 15,8-6 14-15,-6 3 20 0,-1-1-29 16,1-3 27-16,-2 0 30 0,2 1-36 16,-2-3 18-16,0 0 13 0,0 1-100 0,0 0 5 15,0 0 13-15,0 1 8 0,-2 1 38 0,2 0-18 16,0 1-15-16,0 0 0 16,-2 1 12-16,2 4-25 0,0 0 34 0,2-6-11 0,-2 6-13 15,0 0 10-15,0 0-14 0,0 0 19 0,7 12-17 16,-4-8 12-1,0 3-15-15,-1 0 8 0,1-1-5 0,-1 1 17 0,1 0-25 0,2 1-7 16,-3-1-6-16,1 0-20 0,2-1 7 0,-2 0-5 16,2-3 13-16,-3 1-30 0,1 0 25 15,2-2 2-15,-2-1-17 0,-3-1 15 0,0 0 18 16,10-5 5-16,-7 3-16 0,2-2 4 0,-3-2 14 16,1 0-7-16,0-1 13 0,-1 1-13 15,0-1 25-15,-1 2-2 16,1-2-3-16,1 2 11 0,-3-1-11 0,2 3 16 0,-2-1-5 15,0 4 4-15,3-6 19 0,-3 6-26 0,0 0-10 16,0 0 12-16,0 0-17 0,10 7 0 16,-5-2 10-16,-2 0-3 0,2 2 11 0,-2 1-24 15,1-1-7-15,2 3-5 0,-3 0-69 0,2-1-1 16,-3 0-12-16,3-1-31 31,-2-1-64-31,0 0-41 0,-1-1-102 0,3 0-97 0,-2-3-374 0,-1-1-16 0,-2-2 77 0,5 2 57 0,-5-2 30 16,0 0 113-16</inkml:trace>
  <inkml:trace contextRef="#ctx0" brushRef="#br0" timeOffset="180522.24">6893 13269 1197 0,'-3'-4'338'0,"3"4"-33"0,-3-3-44 15,3 3-64-15,0 0-46 0,0 0-100 0,0 0-107 16,0 0-118-16,0 0-553 0,0 0 92 15,11 10 16-15</inkml:trace>
  <inkml:trace contextRef="#ctx0" brushRef="#br0" timeOffset="180806.09">6983 13228 1000 0,'0'0'428'0,"-6"6"-16"15,4-4-59-15,-1 3-12 0,3 0-21 16,0 0-62-16,1 3-7 0,1-1-28 16,0 1-39-16,1 1 13 0,0 2-33 0,2-1 0 0,2 1-13 15,-1 0-21-15,-2 0-7 0,4 1-26 16,-5-1 21-16,2 2-10 0,0-2-1 0,-2-1-15 16,2 1-12-16,-3-1 2 0,-2-2-11 15,0 1 3-15,0-1-7 0,-2 0-3 0,0-2 5 16,1-1-38-16,-4 0 38 0,3 0-38 15,-1-2-29-15,-2-1-12 0,2 0-16 0,3-2-25 16,-5 1 8-16,5-1-47 0,0 0-33 0,0 0-18 16,0 0-48-16,0 0-93 0,0 0-68 15,0 0-73-15,0-7-314 0,5 4-92 0,-5 3 120 16,8-4 82-16,-3 2 12 0,1 0 80 0</inkml:trace>
  <inkml:trace contextRef="#ctx0" brushRef="#br0" timeOffset="181336.89">7139 13386 591 0,'5'-9'345'0,"0"-1"-20"0,0 3-23 0,-2 0-12 0,2-1-24 0,-5 2 0 0,1-1-15 15,0 1-105-15,-1-1 18 0,0 1 2 16,-1 0 85-16,0 2-21 0,1-1 8 16,-3 1-38-16,3 4 0 0,-4-6-31 0,4 6-3 0,-3-1 5 15,3 1-43-15,0 0-15 0,0 0 7 16,-10 9-22-16,7-5-14 0,3 0 11 0,0 3-31 15,0-3 25-15,0 1-19 0,0 1-30 0,0-2 7 16,0 0 6-16,3-1-17 0,-3 1-18 16,2-1 15-16,0 0 3 0,-2-3-18 0,6 2 38 15,-6-2-35-15,0 0-8 0,7-6 7 16,-4 3-4-16,2-2-4 0,0 0 6 16,-2-2 13-16,2 1-13 0,2 0 31 0,-1 1-19 15,-2-2 27-15,2 1-29 0,-1 1 25 0,1 0 22 16,-2 1-37-16,4 0 6 0,-3 3-34 15,0 1-13-15,3 0 42 0,0 0-9 16,-1 3-22-16,4-1 25 0,-4 1-10 0,1 2-18 0,0-1 19 16,0 1 11-16,2 1-22 0,-5-1 23 15,3-1-33-15,-3 0 32 0,2 0-27 16,-1-1 15-16,-2-1-15 0,-1 1 38 0,2 0-38 16,-5-3 27-16,8 0-1 0,-8 0-22 0,5-4 17 15,0 1-9-15,-4 0-10 0,3-2 34 16,-1-3-13-16,0 1-19 0,-1-1 6 0,0-1-25 15,1 0 9-15,2-1-20 16,1 1-2-16,-4 2-44 0,3-1 10 0,0 0-64 0,-2 3-15 0,2-1 0 16,-2 2-21-16,1 2-55 15,0 1-73-15,-4 1-25 0,7-2-62 0,-7 2-117 0,3 5-474 16,-1-4 103-16,-2 5 53 0,0-6 120 0,-2 10 73 16,-1-3 50-16</inkml:trace>
  <inkml:trace contextRef="#ctx0" brushRef="#br0" timeOffset="181849.34">4724 13394 1057 0,'8'7'345'0,"2"7"-45"0,8 14 86 0,2 5-30 0,4 12-46 16,1 3-24-16,3 5-119 0,0 1-14 0,1 5 11 16,2 3-36-16,1 2-25 0,13 12 63 0,-10-12-23 15,-1 0-53-15,1-5-16 16,-1-4-25-16,-1-6-39 0,-2-1-36 0</inkml:trace>
  <inkml:trace contextRef="#ctx0" brushRef="#br0" timeOffset="182755.87">4695 13360 698 0,'0'0'272'0,"8"-6"-42"0,0 2 3 15,5-2 15-15,5-1-28 0,5-2-46 16,13-5 13-16,5 1 41 0,2-3-5 0,16-3-80 15,3 0-53-15,5-1 30 0,4-2-33 0,1 1 21 16,-1-2-14 0,5 2 4-16,-2-1-29 0,7-1-10 0,4 1-6 0,17-6 1 0,-16 6 18 15,16-8-21-15,-20 8 13 0,20-7-26 16,-22 6-20-16,2 2 28 0,0-1 16 0,0-2 2 16,-2-1 5-16,-1-2-3 0,1 2 3 15,2-1 62-15,15-4-16 0,-17 4-18 0,-4 2 24 16,-1-1-37-16,-3 2-4 0,-3 0 7 0,-5 2-18 15,-8 0 25-15,1 3-32 0,-14 3-3 16,-4 1-11-16,-1 1-7 0,-2 1 0 0,-5 1-7 16,-8 3-4-16,0 0-17 0,-5 3 8 0,0-1 2 15,-5 0-3-15,2 2 13 0,-2-2-17 16,-3 3-4-16,1-1-6 0,1-2 12 0,-4 3-18 16,-1 0 15-16,-1 1 5 0,-1-1 9 31,2 1 14-31,-4-1-7 0,3 2-5 0,-2-1 10 0,-4 2-1 0,6-2-1 0,-1 0-6 0,-5 2-28 15,0 0 18-15,7 0-2 0,-7 0 4 0,8 2-25 16,-5 0 44-16,2 0-42 0,-1 1 29 16,2 0-15-16,-1 4-9 0,0 0-20 0,3 3 24 15,-3 0 12-15,3 4-16 0,2 1 6 16,1 6 10-16,6 8-13 0,-2 3 11 16,3 2 17-16,-2 2-12 0,5 9-16 0,-6-5 16 15,5 8 10-15,0 0-24 0,-1 0 6 0,-4-8-5 16,6 6-5-1,-6-7 12-15,1 0-9 0,2-1 6 0,-3-4 6 0,0 1-12 16,0-2-9-16,1-3 14 0,-5-5-11 16,1-5-15-16,-2 0 35 0,0-1-38 0,-2-4 18 0,0 0-25 0,2-2 20 15,-7-3-8-15,5-1-2 0,-4 1-5 16,-1-4 27-16,2 0-17 0,-3-1 0 16,-1 0-10-16,1-1 43 0,-2-1-31 0,-2 1-12 0,2-4 10 15,-5 6 8 1,-1-3-9-16,-1 1 29 0,-4 0-5 0,-4 3-23 0,-3-1 10 15,-5 2-5-15,-15 3-15 0,-1 2 28 16,-7 2-16-16,-6 4 21 0,-6-1-25 0,-1 3 1 0,-3 0 6 16,-2-1-10-16,-7 3 28 0,-4-1-10 15,-1 0-11-15,-4 2 11 0,0 1-95 0,-20 9 20 16,5 1 11-16,21-6 2 0,-18 8 8 0,20-6 5 16,-18 9-20-16,5 0 43 0,16-5-13 15,-18 7 3-15,23-7-5 0,-5 1 12 16,5-5 11-16,2 2-21 0,6 0 26 0,0-4-15 15,6-1 2-15,9-8-13 0,6 1-10 0,4-5 0 16,5-2-43-16</inkml:trace>
  <inkml:trace contextRef="#ctx0" brushRef="#br0" timeOffset="185109.13">7142 13923 1523 0,'-6'-7'460'0,"-2"0"-127"15,1 2-8-15,4-1-51 0,-4-1-23 16,-1-2-21-16,2 1-20 0,-1-1-13 0,2 0-38 31,-3 0-11-31,1 0 1 0,1 2-6 0,1 0-30 0,1 1-57 0,1 0-2 16,-2 0-49-16,2 2-31 0,1 0-12 0,2 1 10 0,0 3-52 15,0 0-9-15,0 0-31 0,0 0-26 16,0 0-44-16,0 0-114 0,15 10-34 16,-8-3-458-16,1-2 138 0,0 3-54 0,0-1 136 0,2-2 54 15</inkml:trace>
  <inkml:trace contextRef="#ctx0" brushRef="#br0" timeOffset="185382.8">7328 13935 1136 0,'0'0'397'0,"0"0"-103"0,0 0-2 16,0 0-26-16,-2-12-2 0,2 12-24 0,-5-7 14 15,2 2 27-15,-1-2 19 16,1 2-31-16,-2-1-34 0,0-2-30 0,-1 2-11 0,1-2-32 16,-2-1-29-16,1 2 25 0,-1-2-35 0,-1 0-10 15,1 0-8-15,-1 0-13 0,0 0-38 0,3 2-8 16,-3-3-28-16,0 2-41 0,4 1 15 16,1 2-51-16,-3-1-30 0,4 1 7 0,-3 0-21 15,2 2-40-15,1 1-44 0,2 2-61 0,-5-3-62 16,5 3-20-16,0 0-543 0,0 0 44 0,0 0 120 15,0 0 69-15,-1 12 66 0</inkml:trace>
  <inkml:trace contextRef="#ctx0" brushRef="#br0" timeOffset="185694.64">7052 13969 1028 0,'-6'-3'364'0,"2"-3"-39"0,1 0-38 0,-2-2-21 15,0-2-18-15,4 0-30 0,1-2-1 0,-2-2-27 16,2 1 40-16,0 0 6 16,2-1-52-16,1 1-13 0,2 2 11 0,-2-1-41 15,2 2 28-15,0 1-41 0,1 1 8 0,1 1-39 0,3 2 21 16,-2 0-37-16,5 1 7 0,-3 1 6 15,3 2-30-15,-1 0-7 0,2 2-17 16,1 0-9-16,1 2-15 0,-1 1-27 0,3 0-32 16,-3 1-16-16,3-1-41 0,-2 3-28 0,-1-2-20 15,0 0-67-15,1 2-100 16,-4-1-51-16,1-1-481 0,-3 1 25 0,3-1 110 0,-3 0 54 16,1-1 126-16</inkml:trace>
  <inkml:trace contextRef="#ctx0" brushRef="#br0" timeOffset="186233.78">7065 13845 793 0,'-2'-3'287'0,"2"3"-24"0,0 0-45 0,0 0 15 16,0 0-21-16,1 11-27 0,5-5-19 0,-3 1-5 16,4 2-2-16,0 1-23 15,2 1-11-15,1 2-17 0,2 0-19 0,1 2-12 0,-2-2-5 16,2 4-26-16,-1-2-41 0,-2-1-3 16,0-1-32-16,1-1-86 0,-1-3-14 0,-2 1-49 15,0-2-39-15,0-4-69 16,-1 2-411-16,0-3 27 0,-1 0 113 15</inkml:trace>
  <inkml:trace contextRef="#ctx0" brushRef="#br0" timeOffset="186547.41">7221 13817 908 0,'0'0'292'0,"0"0"-21"0,0 0-38 0,0 0-15 0,3 11-16 0,1-5-18 0,2 0-4 16,2 2-22-16,-3 3-20 0,5 1-10 15,0 0-18-15,0 1-7 0,0 0-11 16,0 0-41-16,1 0-33 0,-1-1-28 0,0 0-67 16,-2-3-36-16,0 1-25 0,0-2-102 0,-1 1-4 0,-2-3-86 15,1-1-330-15,-1 0 23 0,0 0 66 16</inkml:trace>
  <inkml:trace contextRef="#ctx0" brushRef="#br0" timeOffset="187011.91">7001 13954 916 0,'0'0'312'16,"-4"-6"-25"-16,5 2-36 0,-1 4-11 15,0-9-9-15,3 2-37 0,-3 2-12 16,2-4-18-16,0 2-13 15,-1-2-5-15,4-4-23 0,-3 6-95 0,1-2 10 0,2-1-20 0,-2 2 15 16,1-1 8-16,-1 3-28 16,2-2 0-16,1 3 10 0,-1-1-15 0,2 2-1 0,1 1 19 15,0 1-3-15,2 2-5 0,-2 0 15 16,5 0-12-16,-1 2-11 0,1 0-13 0,0 0-38 16,2 1 23-16,1-1-28 0,-1 0-15 0,1 0-21 15,1 0-26-15,-1-1-32 31,4 0-86-31,-4 0 1 0,1-1-5 0,1 0-474 0,-2 0 33 0,2-1 108 0</inkml:trace>
  <inkml:trace contextRef="#ctx0" brushRef="#br0" timeOffset="188833.13">2075 12345 414 0,'0'0'161'0,"0"0"-30"15,3 4 7-15,-3-4-25 16,0 0-6-16,7 1-43 0,-7-1-71 0,3 2-27 16,-3-2-58-16,7 1-20 0,-7-1-70 0,0 0-353 15</inkml:trace>
  <inkml:trace contextRef="#ctx0" brushRef="#br0" timeOffset="189084.41">2137 12415 560 0,'0'0'269'0,"0"0"-11"0,0 0-48 0,0 0 0 16,0 0-41-16,0 0-23 0,0 0-10 0,0 0-60 15,0 0-24-15,0 0-47 0,0 0-46 0,0 0-39 16,0 0-48-16,0 0-51 0,5-2-18 16,-5 2-430-16,0 0 84 0</inkml:trace>
  <inkml:trace contextRef="#ctx0" brushRef="#br0" timeOffset="189233.41">2170 12405 419 0,'0'0'121'0,"0"0"-27"0,0 0-12 0,0 0-51 0,0 0 5 15,0 0-100-15,0 0-16 0,0 0-316 16</inkml:trace>
  <inkml:trace contextRef="#ctx0" brushRef="#br0" timeOffset="190049.34">2303 12562 908 0,'8'28'312'0,"5"3"8"16,-1 8-53-16,7 12 4 0,3 4-43 15,4 2-13-15,5 2-39 0,2 1-7 0,6 0-23 16,7 13-10-16,6-4-11 0,-6-14-12 0,0-1-13 16,5-3-44-16,0-3 0 0,3-5-7 15,5-3-8-15,0-9-49 0,0-3 31 0,5-5-53 16,-3-8 19-16,4-3-9 0,1-4-54 15,-12-5-26-15,0-5-51 0,-3-2 10 16,0 0-53-16,-4-3-106 0,-4 0-156 0,-4-1-258 16,-6 0 100-16,-7 0 7 0</inkml:trace>
  <inkml:trace contextRef="#ctx0" brushRef="#br0" timeOffset="190453.57">3581 13376 998 0,'6'-1'297'0,"3"1"-113"0,3 1-10 0,2 0 10 16,6 1 36-16,3 3-4 0,5 0-25 0,8 5-37 16,2 1-8-16,-2 0 5 0,0 3-36 0,0 1 16 15,-5 1-42-15,-1 0 19 0,-3 2-19 0,-5-1-30 16,-4-2 23-16,-5-1-18 15,0 1-25-15,-3 1 17 0,-5-2-20 0,0 1-21 16,-1-1-30-16,-3-2-11 0,-1-2-15 16,-5 2-51-16,1 0-64 15,-2-2-62-15,-4-4-79 0,0 3-463 0,-1-2 61 0,-1 0 77 0,1-1 72 16</inkml:trace>
  <inkml:trace contextRef="#ctx0" brushRef="#br0" timeOffset="191199.45">2335 12599 568 0,'4'12'230'16,"2"2"-2"-16,3 6-31 0,7 10 0 0,5 6-25 16,7 7 63-16,0 2-20 0,2 2-25 15,5 1-27-15,0 0 6 0,6 1-36 0,0 0 1 16,0-1-14-16,5 1-36 0,-2-2 31 16,4-2-30-16,-1-2-1 0,2-3-14 15,0-3-12-15,-1-4 6 0,3-1-10 0,-5-4-3 0,0-3-15 16,1-2 3-16,-6-5-16 0,0-2 15 15,-2-3-12-15,1 1-26 0,-5-4 5 0,2 0-31 16,-8-2 3 0,-5-3 3-16,-3 0-55 0,-1-2 9 0,-1 1 7 0,-3-1-61 15,1-1-49-15,-4-1 15 16,-3 0-48-16,1 0-92 0,-1-4-98 0,-2 2-315 0,2 0 108 0,-3 0 44 16</inkml:trace>
  <inkml:trace contextRef="#ctx0" brushRef="#br0" timeOffset="191524.53">3367 13371 593 0,'14'0'264'16,"0"-2"-13"-16,5 2-26 0,1 2-33 0,3 0-5 15,1 1-13-15,3 3-13 0,1 1-33 0,9 5 64 16,-9-1-5-16,5 5-36 0,-2 0-13 16,0 3 3-16,-3 1-31 0,-5 1-18 0,-3-2 0 15,-4-1-20-15,-4 1-36 16,4 9-3-16,-9-5-40 0,2-1-40 0,-4-3-29 0,0 0-65 15,-3 0-38-15,-2-3-57 0,3 0-376 0,-1-3-112 16,-2 2 117-16,0-4 37 0</inkml:trace>
  <inkml:trace contextRef="#ctx0" brushRef="#br0" timeOffset="194627.17">4575 7519 911 0,'0'0'389'0,"0"0"-15"0,0 0-44 0,0 0-41 16,0 0-10-16,0-7-46 0,0 7-13 0,8-10-13 15,-4 3-40-15,4 0-1 0,3-2-17 16,-1-2-3-16,3-1-24 0,0 0-14 15,-1-1-13-15,4 0-19 0,-3 2-14 0,0-2-31 16,-1 5-6-16,1-3-53 0,-2 5-39 0,-4-1-14 16,3 1-32-16,-2 2-36 0,-2 3-22 15,1 0-26-15,-2 1-39 0,-5 0-4 0,8 5-52 16,-6-2 13-16,-1 2 51 0,0 0 34 0,-2 0 20 16,1 3-21-16,-1-1 59 0,-1 1 44 15,-4 2 82-15,-1-2 2 0,2 4 85 0,-3-2-10 16,-2 0 48-16,2 1 18 31,-2 1 28-31,-1-1 16 0,4-3-1 0,-1-1-25 0,0 0 0 0,1 1 11 0,4-4-37 0,-2 1-10 0,0 1-23 16,3-2 11-1,-1-2-24-15,3-2 3 0,0 0 3 0,0 0-19 0,0 0 11 0,0 0-5 16,13 0-11-16,-13 0-2 0,12-8-5 0,-4 4-11 16,0-2-38-16,3-1-12 0,-1 1-19 15,0-2-30-15,1 2-52 0,-1-3-58 0,2 1-100 16,-2 2-39-16,-2-2-43 0,0-1-382 15,2 2 19-15,-5 1 112 0,1 0 79 0</inkml:trace>
  <inkml:trace contextRef="#ctx0" brushRef="#br0" timeOffset="194924">4698 7324 924 0,'0'0'291'0,"-3"-5"-24"0,1 3-42 0,2 2-8 0,0-6-7 16,0 6-33-16,5-4-11 0,0 2-2 15,0 1-10-15,3-2-3 0,0 3-18 0,2 1-8 16,0 2-2-16,0-1 10 0,1-1-2 0,-1 4-34 16,0 1 3-16,0 1 69 0,-1 1-18 15,0 1-23-15,-1 4 5 0,0 0-23 0,-5 0-13 16,1 2-23-16,-4 2-22 0,1 0-42 0,-2 2-36 15,-1-1-33-15,0 0-84 47,-1-2-103-47,-2 2-81 0,-1 0-546 0,2-5 84 0,1-1 60 0,-4 1 43 0,1-6 113 0</inkml:trace>
  <inkml:trace contextRef="#ctx0" brushRef="#br0" timeOffset="197212.66">5488 6800 463 0,'5'-5'148'0,"-2"3"3"0,-1-1-18 16,-2 3-17-16,5-2 17 0,-5 2 10 15,0 0-30-15,0 0-14 0,0 0-4 0,0 0-3 16,0 0-7-16,-5 13 94 0,0-8-33 16,-1 1-8-16,2-1-5 0,-4 3 5 0,0 0-20 15,1-2-13-15,-1 4 21 0,-2-2 14 16,2-2-27-16,-2 2-16 0,2 0 8 0,0 1-25 16,3-4 1-16,-2 1-6 0,2 0-22 0,1-2-4 15,0 1-3-15,1 0 16 0,0-4-16 16,3 4-5-16,0-5 0 0,0 5-13 0,0-5-13 15,6 2 3-15,-6-2 23 0,8 1-13 16,-3-1-20-16,2 3-3 0,-7-3 23 0,13 0-31 16,-5 0 16-16,0-3 5 0,-3 3 5 15,4 0-5-15,0 0-5 0,1-1-5 0,-3 2 15 0,1-1-8 16,-1 3-10-16,1-3 18 0,0 1-20 16,-3 0 27-16,0 3-76 0,0-2 26 15,-1 0 2-15,0 3-5 0,-1-1 31 0,-3 0 20 16,3 1-13-16,-3 1 6 0,-3 0 61 15,3 1 10-15,-5-1-10 0,2 0-16 0,-4 1 1 16,4-1-21-16,-4 1-5 0,-1 2-5 0,3-4 5 16,-3 0-1-16,0 1-32 0,0-1-23 15,1 0-8 17,1 0-16-32,1-4-27 0,0 2-21 0,0 0-59 0,2-2-115 0,3-1-72 0,-10 4-92 0,10-4-391 0,0 0 53 0,0 0 69 15,0 0 52-15</inkml:trace>
  <inkml:trace contextRef="#ctx0" brushRef="#br0" timeOffset="197561.93">5516 6814 980 0,'0'0'307'0,"0"0"-13"0,5 17-17 0,-4-11-60 16,3 1-25-16,2-1-10 0,-2 1-28 0,2 1-24 0,-2 1 14 15,4-1-29-15,-2-1-28 0,1 2 0 16,1-5-23-16,-3 2-5 0,2-1-21 16,1-1 21-16,0-2-18 0,-3-2-5 0,3 0 5 15,0-1 7-15,0-4-2 0,-1 0-7 0,-2 2-57 16,3-3 28-16,-3-1-7 0,0-1 38 16,-2 0 76-16,2 1-1 0,-5-1 12 0,2 2-18 15,-1-1-8-15,-2 1-18 0,-1 0 9 0,2 0-6 16,-3 1 20-16,-1 0-22 15,1 5-29-15,0-5 13 0,-2 4-13 0,5 1-25 16,-8 0 5-16,8 0-28 0,-8 3-1 0,4 0-43 16,-2 0-43-16,4 0-31 0,-1 2-46 15,0-2-49-15,1 1-59 0,-3 1-163 0,5-3-436 0,0-2 116 16,0 5 25-16,0-5 82 0,0 0 75 16</inkml:trace>
  <inkml:trace contextRef="#ctx0" brushRef="#br0" timeOffset="197784.45">5721 6604 947 0,'1'-5'317'0,"-1"1"-12"0,2 2-24 0,0-2-45 0,-2 4 2 0,0 0-18 16,0 0 33-16,0 0 3 0,10 6-23 0,-9 1-51 16,4 0 20-16,-1 3-25 0,2-2-39 0,-3 3-8 15,4 2-2-15,-2 3-33 0,-2 0-39 0,4 1-20 16,-4 0-56-16,2 0-85 0,1 0-108 15,-4 1-101-15,3-1-536 0,0-2 46 0,-4-2 108 16,1-1 43-16,0-1 54 0</inkml:trace>
  <inkml:trace contextRef="#ctx0" brushRef="#br0" timeOffset="197902.93">5726 6745 486 0,'0'0'128'0,"0"0"-159"0,0 0-453 0</inkml:trace>
  <inkml:trace contextRef="#ctx0" brushRef="#br0" timeOffset="198070.45">5855 6767 1507 0,'0'0'353'0,"0"0"-58"16,-3-6-6-16,3 6-59 0,0 0-35 0,0 0-34 15,-5-6-56-15,5 6-56 0,0 0-65 16,2-5-124-16,-2 5-106 0,3-5-84 0,-1 5-402 16,-2 0 81-16,11-5 40 0</inkml:trace>
  <inkml:trace contextRef="#ctx0" brushRef="#br0" timeOffset="198936.91">6221 6458 880 0,'-5'0'287'0,"0"4"-3"0,-1-2-36 0,2 3-35 15,-2 2-11-15,2 0-23 0,-2 0-20 16,4 3-13-16,-1-4 63 0,0 2-19 0,1 2-24 16,2-1-12-16,0 0-13 0,0-2-16 0,2 1-15 15,-2-2 21-15,3 1-37 0,2-1-9 16,-2-1-16-16,2-1-13 0,0-1 3 0,1-2 10 15,1 0-35-15,-7-1 35 0,13-2-5 0,-8-1-34 16,2 0 9-16,-1-2-19 0,-2-1 1 16,-1 2 48-16,0-2-38 0,0-2 12 15,-3 1 16-15,0 0-3 16,-1-1-28-16,-1 2 6 0,-1-2-6 0,0 3 20 16,-1-2-30-16,-2 3 11 0,2-2-4 0,0 4-20 0,4 2 3 15,-6-1 0-15,6 1-3 0,0 0-3 0,-11 4 14 16,8 1-24-16,-1-2 23 0,3 0 6 15,-1 2-14-15,-1-3-9 0,3-2 15 0,0 6-18 16,0-1 23-16,0-5-16 0,0 4-12 0,0-4 7 16,6 2-2-16,-6-2-3 0,0 0 14 15,12-6-9-15,-7 1-2 0,0 2 25 16,1-1-7-16,-2-2-28 0,2 1 15 0,-2 2 2 16,2-1-2-16,1 1-10 0,-1-1 5 0,-1 4 31 15,2 0-26-15,3 4 10 0,-2-2-13 16,5 4 1-16,-3-1-67 0,4 4 25 0,-2 2-5 15,3 3-2-15,-2 2 41 0,0 0-10 0,0 2 4 16,-3 2-4-16,0 1 12 0,-2 0-5 16,0 2 8-16,-3-3 5 0,0-2-20 0,-2 1 25 15,-1-5-15-15,1 2 20 0,-3-6 13 0,2 1 25 16,-2-1 6-16,0-2 3 0,-2-3 60 16,-1-3-9-16,1 3-8 0,2-5 7 0,-5 1-10 15,5-1 24 1,0 0-62-16,-13-12 40 0,10 6-47 0,-1-2 12 0,0-3-29 0,2-1-1 15,-1 0-16-15,1-1-41 16,2 0-21-16,0-1-10 0,0-2-56 0,5 0-15 0,0-1-26 0,0 0-44 16,1 1-71-16,1-1-95 0,3-1-197 15,-2 3-287-15,2-2 16 0,-2 2 87 16,0 0 63-16,2 2 109 0</inkml:trace>
  <inkml:trace contextRef="#ctx0" brushRef="#br0" timeOffset="199892.08">6646 6270 921 0,'-4'5'279'0,"-2"-3"-18"16,-1 3-25-16,2 1-37 0,2-2 1 0,-4-1-23 15,4 4-1-15,-2-1-33 0,2 0-17 0,1-1-21 16,-3 1 13-16,4 1-31 0,-1-2-18 15,-1 1 5-15,3-3-10 0,-2 2-13 0,2-1-7 16,0 0-6 0,0-4-5-16,0 0-12 0,2 5 4 0,-2-5 14 0,0 0-8 0,0 0-19 15,0 0 9-15,13-8-3 0,-11 5 10 0,1 1-5 16,2-3 8-16,-2 3-8 0,2 0 0 16,-2-1-28-16,1 1 5 0,2 1 15 15,-1-1 3-15,0 1-8 0,-5 1 21 0,11-1-26 16,-4 1 0-16,1 0 5 0,-3-1-7 0,-5 1 20 0,12-4 10 15,-6 2-17-15,-1 0-14 16,2-3 19-16,-1 0-1 0,-1-2-7 0,3 0 33 16,-4-3 3-16,0 2 27 0,0-3 52 0,-1 0 34 15,0 1-1-15,-1-1 0 0,-2-1-15 16,-2-2 18-16,-1-2-100 0,-2-2-3 0,-1 1 3 16,0-6-10-16,-3 0 0 0,0 2 5 0,0-3-1 15,-1 5-9-15,2-1 10 0,1 3-13 16,0 3-5-16,3 2 41 0,-1 1-39 0,0 3-7 15,3 0-18-15,1 4-2 0,-1-1 9 16,2 5-9-16,0 0 22 0,0 0 69 0,0 0 1 16,-2 17-26-16,4-9-18 0,1 4-8 15,2 0-2-15,0 1-11 0,3 3-7 0,-1-2-23 16,1-1-13-16,2 2 0 0,1 0 0 0,1-3-23 16,-1-3 10-16,-1 2 13 0,2-2-23 15,1 1 15-15,-2-3-2 0,2-3-23 0,-1-2-18 16,-2 2 28-16,-1-3-16 0,1-1 4 15,-2 0 14-15,2-1-17 0,-3-3 2 0,1 3 8 16,-3-4 17-16,0 3 22 0,1-3-34 16,-2-1 7-16,-1 2 16 0,0 0-15 15,-1-2 0-15,0 0-11 0,-2 1 21 0,0-1 12 0,0 3 11 0,0-1-23 16,0 4 23-16,-2-6-38 16,2 6 2-16,0-7 13 0,0 3-13 0,0 4 2 15,-2-3 19-15,2 3 5 0,0-4-37 0,0 4 32 16,0 0-23-16,0-6 9 0,0 6 1 15,0 0-13-15,2-2 31 0,-2 2-16 0,0 0-7 16,5-3 28-16,-5 3-19 0,0 0 1 16,13 4-2-16,-8-3 1 0,1 2 1 0,1 0-5 0,0-3 13 15,1 5 22-15,0-3-14 16,0 4-17 0,-1-2-6-16,-2 0 19 0,3 1-7 0,-5 0 16 0,2 1-11 0,-2-1 10 0,1-2 8 15,-1 1 8-15,0 1-13 0,-3-3 25 0,2 3-4 16,-2-5-9-16,2 6 19 0,-2-4 0 15,0-2 15-15,0 0-18 0,0 0 10 0,0 0-20 16,0 0 25-16,0 0-25 0,0 0-13 0,0 0 16 16,-4-13-9-16,-1 6 1 0,4-3-21 15,-1 2-17-15,2 0 14 0,-2-2-12 0,2 1-43 16,0-2 9-16,0 3-25 0,0-3-28 0,0 0-5 16,4 3-34-16,-3 1-10 0,4-3-15 15,-3 3-20-15,4 1-39 0,-2-1-57 0,2 0-22 16,-1 2-90-16,0 3-187 0,0-1-317 0,1 2 117 15,-6 1 42-15,10 0 84 0,-10 0 36 16</inkml:trace>
  <inkml:trace contextRef="#ctx0" brushRef="#br0" timeOffset="200885.61">7142 6011 1128 0,'0'-6'379'0,"0"1"-54"0,0 0-28 16,0-1-79-16,0-1-19 0,0 1-2 0,-3 1-25 16,3 3-8-16,3-4 5 0,-3 2-23 15,0 4-26-15,-3-4 5 0,3 4-22 16,0 0-3-16,0 0-11 0,0 0-12 0,0 0 20 16,0 0-33-16,0 0 16 0,0 0-11 15,0 14-21-15,0-9-12 0,0-3 13 0,3 3-11 16,-3-2-25-16,2 1 7 0,1-3 1 0,-3-1-16 15,7 6 0-15,-2-6-2 0,-5 0 12 0,8 0-12 16,0-2 15-16,-3-2-31 0,2 2 15 16,-1-3-7-16,2 0-23 0,-4 2 15 0,2-3 3 15,-1 0-5-15,0 0 25 0,0 0-8 0,0 0 6 16,0 0 0-16,-2 1-3 16,0 2 8-1,-1-1 0-15,0 2-8 0,1-2 7 0,-3 4-9 0,3-3-11 0,-3 3 8 0,0 0 8 16,0 0-3-16,0 0-10 0,0 0-13 15,0 0 18-15,0 0-5 0,0 0 5 0,7 8-15 16,-7-8 40 0,0 0-45-16,0 2 10 0,0-2 7 0,0 0-12 0,0 0-14 0,0 0 14 15,8 2-13-15,-8-2 7 0,0 0-7 0,0 0 10 16,10-4 16-16,-10 4-21 0,6-1 7 0,-6 1-9 16,4-2-1-16,-4 2 1 15,0 0 14-15,6-2 9 0,-6 2-16 0,0 0 23 16,10 4-38-16,-10-4 23 15,5 0 12-15,-5 0-7 0,8 1 5 0,-8-1-28 0,8-1 15 0,-8 1 10 0,10-4-14 16,-5 1 45-16,-2-1-28 0,2-2 2 16,0 0-20-16,0-1 44 0,1-3 15 15,-2 1-3-15,1-2 3 0,-2 2 26 16,2-1-16-16,-5-2 33 0,3 0-14 16,-3-1 22-16,-3-1-13 0,3 1 8 0,-3-4 5 0,-1 2-5 15,-2-2-7-15,2-1-9 0,-2 4 6 16,3 2-18-16,-2-1 18 0,0 3-16 0,3 3 11 15,-1-1-24-15,0 2-17 0,1 1 13 0,-3 4-11 32,5 1 16-32,0 0-26 0,0 0 5 0,-5 8 15 0,5-2-15 0,-3 4-15 0,6-1-2 15,-3 1-14-15,2 3-23 0,0-2-17 0,4-2-1 16,-1 3-15-16,0-2-12 0,0-1-9 16,3-1-1-1,-1 2 11-15,1-5-40 0,-3 1 26 0,3-3 12 0,0 0 8 0,-3-2-13 16,2-1 21-16,1 0-18 0,-8 0 25 15,11-1 1-15,-7 1 2 0,-4 0 22 0,11-3-16 0,-6 3 22 16,-5 0-21-16,8 0 34 0,-8 0-23 16,7 0-3-16,-7 0 18 0,0 0 3 0,8-1 3 15,-8 1-9-15,6-1 42 0,-6 1-26 16,4-3 2-16,-4 3 1 0,6-2-11 0,-2 2 6 16,-4 0-11-16,6-5 13 0,-6 5 36 15,3-2-21-15,2 1-5 0,-5 1 16 0,0 0 20 16,7-2 0-16,-7 2 5 0,8 4 34 0,-3-3 27 15,2 4-7-15,-1-1 10 0,-1 1-7 16,2 0 22-16,-1 2-37 0,1 1-14 0,-1 0-7 16,1 0 61-16,-2 3 28 0,-2-3-36 0,2 3-30 15,-2-2 13-15,-1 1-9 0,1 3-1 16,-3-3 7-16,-3-1-29 0,3 3-37 0,-3 0-65 16,1-3-20-16,0 0-13 0,-1-1-43 0,0-2-52 15,1 1-27-15,0-1-22 0,1-2-50 16,-1-2-162-16,-1 2-562 0,0-3 76 15,3-1 38-15,0 0 110 0,0 0 139 0,-10-6-5 0</inkml:trace>
  <inkml:trace contextRef="#ctx0" brushRef="#br0" timeOffset="202744.81">7698 5550 947 0,'-5'-1'386'0,"5"1"-33"15,0 0-17-15,-6 6-32 0,6-3-43 0,-2 2 8 16,4 1-44-16,-2-1-35 0,0-2-14 16,1 3-7-16,1 1-10 0,1-2-39 15,-1 1-12-15,1 0 7 0,2 0-13 0,-2 0-81 0,2-3-11 16,-2 1-2 15,1 0 2-31,2-3 28 0,-2-1-15 0,-4 0-10 0,11 0 0 0,-11 0 2 0,7-5-17 0,-4 1 7 0,2 1 8 16,-2-2-8-16,2 0 26 0,-3 1-29 15,1-1 19-15,2 1 7 0,-4 2-18 0,1-2 11 16,0 1-4-16,-2 3-6 0,6-4 22 0,-4 3 13 16,-2 1-28-16,8-1 23 0,-4-3-15 15,-4 4-16-15,11-1 38 0,-5 0-25 16,1 1 21-16,-2-3-11 0,0 2 31 0,0-1-5 16,1-1 13-16,-2 0 5 0,2 2-24 0,-3-3 22 15,1-1-24-15,-1 2-3 0,-1-2-4 0,1 2 12 16,0-1-17-16,-1 1-24 0,-2-1-25 15,3-1-21-15,-3 5-30 0,2-5-42 0,-2 2-32 16,3 0-52-16,-3 3-26 16,3-7-25-16,-1 4-79 0,0-1-24 0,4-1-55 0,-2-2 47 15,2 4-234-15,-3-2 30 0,4-1 120 0,-2 0 208 16,1 0 56-16,-2 0 87 31,2-1 23-31,-1 3 29 0,0-1 104 0,-3 1 8 0,1 0 46 0,0 3 2 0,-1-4 1 0,-2 5 2 0,5-2 13 16,-5 2 13-16,6-1-14 0,-6 1-14 15,0 0-6-15,0 0-2 0,12 3-5 16,-9 2-21-16,2-3-7 16,-3 1-13-16,4 0 23 0,-2 0-11 0,2-1 1 0,-1 2-31 15,0-3-13-15,0 1 7 0,-2 1 14 0,2-2-18 16,-5-1 76-16,10 0 16 0,-10 0-29 0,8 0-1 16,-8 0-1-16,8-3 12 0,-8 3-40 15,2-3 0-15,-2 3 23 0,0 0-20 16,0-4 2-16,0 4-18 0,0 0 15 0,-5-6 16 0,5 6-33 15,-5-3-6-15,0 0-2 16,2 1-23-16,3 2 2 0,-5-5 21 0,5 5-21 0,-5-2-20 16,5 2-5-16,0 0-8 0,-2-3-7 0,2 3 9 15,0 0-1-15,0 0-17 16,0 0 22-16,0 0-4 0,0 0 6 0,0 0-5 0,20 5 2 16,-15-2 16-16,3-1-26 0,-1 0 10 15,1 1-23-15,0 3 21 0,-1-3-24 16,1 2 27-16,0 1-11 0,0 0-21 15,-3-1 34-15,3 1-13 0,-1-3 38 0,-2 3-30 0,-2-1 30 16,2-2 3-16,-2 0-15 16,2 0-18-16,-3 0 48 0,1-1 0 0,-1 2-7 15,-2-4 5-15,3 2-3 0,-3-2-67 0,0 0 11 16,0 0-8-16,0 0 11 0,0 0-6 0,0 0-20 16,0-12 15-16,0 7 3 0,0 1 0 15,-3-2-13 1,3 0-8-16,-2-1-46 0,2 2 26 0,-2-3-59 0,1 2-3 0,1-3-48 0,0 2-3 0,-2-1-58 15,2-1-37 1,0 1-38-16,0-1-74 0,-3-2 28 0,3 1-289 16,0 0-123-16,0-1 58 0,0-2 86 0,3 2 88 15,-3-3 470-15,2 1 60 0,-2 0 50 0,0 2 45 32,1 0 72-32,-1 3 67 0,0-2 109 0,0 4-9 0,-1-1-29 0,1 4-17 15,0-3-1-15,0 2-120 0,0 4 18 0,0 0 18 0,0 0-34 16,0 0-1-16,0 0 9 0,0 0-13 0,5 17-30 15,-2-9 2-15,-1 1-38 0,-1 1 16 0,4 1 50 16,-3 1-33-16,1 0-22 16,2 0-45-16,-2 1 11 0,1-1-82 15,-1-3-43-15,2 2-1 0,-2-3-48 0,2-1-49 0,-2 0-64 16,2-3-68-16,0 0-35 0,0-3-6 16,-5-1-12-16,11-4-121 0,-4 3-99 0,-2-4 39 15,0-1 280-15,0-1 129 0,0 1 60 0,0-3 51 16,1-1 53-16,-3 1 37 0,-1-1 27 15,0 2 60-15,1 2 25 0,-3-1 0 0,0 1-23 16,3 0 15-16,-3 2-5 0,-3 1-25 0,3 3 7 16,-5-3-28-16,5 3 6 31,-10 6-19-31,4-2-10 0,1 2 36 0,-2 0-23 0,4 1-31 0,-2-2-5 0,0 2-18 0,2-1 0 0,-2 1 13 16,2-1-28-16,1 0-10 15,-1 1 2-15,3-3-8 0,-2 0 13 0,2 0-38 16,0-4 0-16,5 6 28 0,-5-6-25 0,3 0-27 15,-3 0 34 1,0 0-20-16,0 0 10 0,15-4 2 0,-10 3 6 0,-5 1 25 0,8-4-8 16,-4 3-27-16,-1-1 32 0,3 1-25 0,-6 1 15 15,8-3 3-15,-8 3-23 0,10-1-85 16,-6 1 32-16,-4 0-24 31,8 3 5-31,-8-3 31 0,10 1-59 0,-10-1-5 0,6 1-21 0,-1 1-30 0,-5-2-39 0,5 4-69 0,0-3-115 0,-5-1-136 16,5 4-401-16,-5-4 74 15,3 2 117-15,-3-2 36 0,5 1 85 0</inkml:trace>
  <inkml:trace contextRef="#ctx0" brushRef="#br0" timeOffset="202998.5">8326 5238 1039 0,'0'0'276'0,"0"0"-10"0,0 0-45 0,0 0-42 0,0 0-67 0,0 0-55 0,0 0-29 16,0 0-67-16,6 12-25 0,-4-10-15 15,0 2 13-15,1-1-19 0,-3 1-5 0,5-1 26 0,-3 0 6 16,-2-3 50-16,6 2-13 16,-6-2 29-16,3 1 36 0,-3-1 9 0,4 3-14 0,-4-3 12 0,0 0-8 15,0 0-32-15,0 0-47 16,8 0-23-16,-8 0-125 0,0 0-464 0,0 0 52 0</inkml:trace>
  <inkml:trace contextRef="#ctx0" brushRef="#br0" timeOffset="207838.13">7716 6539 1049 0,'0'0'356'0,"-2"-6"-8"16,2 6-44-16,-1-3-35 0,1 3-28 15,0 0-13-15,0 0-13 0,0 0-16 0,0 0-4 0,0 0 58 16,5 12-45-16,-2-6 7 15,2 3-39-15,-3-2-7 0,2 5-33 0,0 1 12 16,2 0-35-16,-2 2-8 0,2 0-36 0,-3 2-31 16,1-2-35-16,2 1 7 0,-4-2-56 15,3 0-38-15,0 2-55 0,-2-4-45 0,0-3-100 16,1 4-113-16,-3-3-442 0,4-3 30 16,-1 0 72-16,0-2 84 0,-2 2 41 0</inkml:trace>
  <inkml:trace contextRef="#ctx0" brushRef="#br0" timeOffset="208291.4">7865 6581 1100 0,'-3'-5'379'0,"0"3"-31"0,3 2 0 0,0 0-74 16,-2-4-3-16,2 4-43 0,0 0-10 16,-3 10-36-16,4-6-11 0,1 1-2 0,0 1-33 0,1 3-16 15,-1-1-7-15,4 1-14 0,-3 1-17 16,4-2-28-16,-4-1 2 0,4 3-48 0,0-2 30 16,-1-2-12-16,4 0-26 0,-2-1 10 15,-3-2-5-15,5 0-7 0,-2-3 22 0,0-1-20 16,2-2 5-16,-2-4 6 0,2 1 14 0,-3-1-20 15,1-2 1-15,0-1 35 0,-3-1-11 16,0-2 1-16,-2 1 20 0,-3-1 8 0,0 2-15 16,-3-2 7-16,1 0 20 0,-6-1-19 0,2 1-6 15,-1 2 20-15,-3 0-17 16,3 2-26-16,-1 1 43 0,0-1-35 0,-3 4 13 0,1 1-6 16,2 0-35-16,-2 3 12 0,0 1-23 0,-1 0-22 15,2 1-11-15,1 2-13 16,0 0-49-16,-2 2-30 0,2 0-33 0,0-3-29 0,1 4-43 15,2 0-92 17,-1-2-69-32,4-1-210 0,0 2-180 0,-1-3 57 0,0 1 92 0,3-3 44 0</inkml:trace>
  <inkml:trace contextRef="#ctx0" brushRef="#br0" timeOffset="208817.3">7744 6215 901 0,'-8'5'389'0,"-2"1"-44"15,0 5-15-15,0 0-35 0,1 3-3 16,-3 4-37-16,2 1-29 0,0 1-14 0,2 4 13 16,3 0-48-16,-3 10-13 0,3 3-87 15,0 0 7-15,3-5-30 0,4 0 5 0,0 10-11 16,4-2-2-16,-1 1-12 0,5-3 7 0,-2 0-13 15,2-2 18-15,5-4-8 0,1 0-4 16,4-6-6-16,0-1-10 0,4-5 12 0,-1-5-9 16,0-2-3-16,0-5 2 0,2-2 19 15,-2-3-27-15,3-2 1 0,0-5 18 0,2-1-21 16,0-3-5-16,5-5 29 0,1-1-34 16,-3-5 7-16,-3-2-7 0,0-1 18 0,-2-3 10 0,0 0-12 15,-3 0-11-15,-1 1 8 0,-4-1 7 16,-5 0 98-16,-2 6-29 0,-2-1-2 15,-3-4 8-15,-4 6-26 0,-1-1 41 0,-1 0-35 16,-1-1-6-16,-3-3 23 16,-4 0-33-16,0 2 20 0,-4 0-2 0,1 0 0 0,-4 3-24 15,2 1 29-15,-5 1-30 0,3 2 35 16,-3 1-11-16,0 2-32 0,2 1 2 0,-2 2 15 16,1 3-22-16,0 2 7 0,3 0-10 0,-2 2-13 0,1 2-5 15,-1 1 2-15,1 0-33 16,0 3 1-16,2-2-17 0,0 2-32 0,0-1-34 15,3 0 3-15,0 1-26 0,2 1-48 0,1-1-6 16,1-1-30-16,1 1-13 0,5 0-84 16,-3 0-162-16,3-1-174 0,3-2-217 0,0 3 12 15,1-3 162-15,4-1 30 0,0 0 113 16</inkml:trace>
  <inkml:trace contextRef="#ctx0" brushRef="#br0" timeOffset="209100.15">8387 6135 1054 0,'0'0'489'0,"0"0"-15"0,-7-1-42 0,7 1-35 0,0 0-72 0,-8 6 5 0,3-1-28 15,2 1-48-15,-2 1-11 16,1-1-41 0,1 5-25-16,-2 0-31 0,0 2-42 0,-3 0-45 0,2 1-46 0,1-1-41 0,0 4-28 15,0-5-60-15,0 1-1 16,2-2-60-16,-1-1-20 0,1 1-166 0,2-4 35 0,1 0-69 0,0-1-340 16,0-2 15-16,0-2 64 0,0-2 16 15</inkml:trace>
  <inkml:trace contextRef="#ctx0" brushRef="#br0" timeOffset="209297.61">8454 6156 1080 0,'1'-5'440'16,"-1"5"-41"-16,0 0-28 0,0 0-33 16,0 0-5-16,0 0-67 0,0 0 21 15,0 0-54-15,-8 18-33 0,5-11-14 0,-2 3-9 16,0 0-34-16,-1 1-10 0,-1 4-10 0,-1 0-13 15,0-1-25-15,-2 2-54 0,2-1-37 16,1 2-29-16,-1-3-17 0,0-2-24 0,3 0-50 16,-2-3-58-16,1 2-103 0,2-4-104 0,-2-1-441 15,2 1 115-15,0-1 0 0,2 0 54 16,-3-1 72-16</inkml:trace>
  <inkml:trace contextRef="#ctx0" brushRef="#br0" timeOffset="209660.2">8239 6188 988 0,'0'0'358'0,"0"0"-15"0,0 0-21 0,-7 13-7 0,6-8-25 0,-2 3-35 0,1 3-11 0,2 0-32 0,-2 3 62 0,4 0-41 15,-2 2-10-15,0 3-6 0,5 0-40 0,-4-3-11 16,3 1-33-16,2 0-18 0,-2-2-2 0,2-3 7 16,-2 1-25-16,2-2-28 15,2-4 15-15,-1 2-108 0,3-4 3 0,-2 0 5 0,0-2-15 16,0-2-3 15,2-1-18-31,1-4-12 0,-1 4-16 0,2-6 7 0,1 2-14 0,-3 0-21 0,3-1-5 0,0-2-13 0,-3 2-23 16,0 0-18-16,1 1-16 0,-3-1-53 15,-1 0-66-15,0 4-16 0,1-4-92 0,-2 2-331 16,-1 0 73-16,0 1 32 0,0 1 142 0</inkml:trace>
  <inkml:trace contextRef="#ctx0" brushRef="#br0" timeOffset="212115">5457 7755 916 0,'-3'-5'399'0,"3"5"-25"0,-5-1-44 0,5 1-38 0,0 0-13 15,0 0-15-15,0 0-34 0,0 0-15 0,0 0 13 16,0 9-39-16,3-3-20 16,2 1 5-16,0-1-18 0,3 1-15 0,-3 2-8 15,0-1-18-15,2 1-2 0,1-1-13 0,-2-1-34 16,-1 1-2-16,2 1-56 0,-2 0 0 16,1-3-13-16,-1 0-36 0,0-1-34 0,0 1-40 15,0-1-41-15,-3-3-54 0,1 3-82 0,2-3-71 16,-2 0-259-16,-3-2-72 0,6 2-58 15,-6-2 107-15,0 0 71 0</inkml:trace>
  <inkml:trace contextRef="#ctx0" brushRef="#br0" timeOffset="212723.37">5436 7615 970 0,'-7'-2'268'16,"-1"2"-24"-16,-2 0-4 0,2 1 55 16,0 2-24-16,-2-1-15 0,0 5 0 0,0-2-51 0,-1 2 4 0,1 4-81 15,-2 1 3-15,1 2-36 0,1-1-1 16,2 3-4-16,0 0-13 0,4 2 10 0,-4 2-5 16,5 1-11-16,1 1-12 0,2-4-15 0,2 7 7 15,3 1 3-15,1 1-13 16,4 6 2-16,0-1-7 0,5-1 0 0,-2-3-26 0,2-5 8 15,-2-4 0-15,3 0 13 0,-1-5-19 0,1 2 6 16,2-4 3-16,2 0 4 16,-5-4-9-16,3-3 7 0,0-3-8 0,-3-1-2 15,3-2-3-15,0 1-12 0,0-7 12 0,1 2-8 16,-2-2-17 0,4-3 10-16,-5 0 8 0,1-3-21 0,-1 0 15 0,1-4 8 15,-7 5-25-15,1-5 9 0,2 1-6 0,-6-1 4 0,-1-2-13 16,1-1 1-16,-4 1 35 0,0 0-33 0,-1-3 25 15,-2 3-22-15,-2 0 5 16,-1-5 17-16,-2 2-22 0,0-1 25 0,-1 2-16 16,-1-2 32-16,-4 4-34 0,1 1 18 0,3 0-7 0,-3 4 9 15,2 1 4-15,-2 1-11 0,2 1-16 16,-3 4 32-16,-1-4 9 0,2 4-12 16,-1 2 10-16,-2 2-31 0,3 1 19 0,-3-2 9 0,0 4-17 15,1 0 9-15,-1 0-6 16,0 0 14-16,0 1 6 0,0 0 2 15,-2 3-23-15,2-2 10 0,0 3-33 0,3-1 26 0,-2-2-5 16,3 4-16-16,-1-1 3 0,0 0-3 16,2-2-5-16,1 2-23 0,1 1-8 0,2-1-20 15,-2-1-36-15,4 2 3 0,-1-1-36 16,3 1-24-16,0-1-32 0,5 1-116 0,-3-4-82 16,4 4-414-16,2 0 97 0,2-1 44 15,0-3 73-15</inkml:trace>
  <inkml:trace contextRef="#ctx0" brushRef="#br0" timeOffset="213627.89">5744 7795 857 0,'0'-6'243'0,"0"6"-33"0,0 0 77 16,8-7-57-16,-3 2-12 0,0 2-6 0,0-2-12 0,1 0-54 16,1-1-3-16,-2 3-10 0,1-2-20 15,-1 0 15-15,0 3-13 0,-2-2-8 0,1 2-12 16,-1-2 18-16,-3 4 5 0,5-2-80 0,-5 2 3 15,0 0-18-15,0 0-5 16,0 0 2-16,0 0 11 0,0 0 7 0,-15 9 1 16,9-4 7-16,-2 0 0 0,4 1-10 0,-2-1-18 15,-1-2 0-15,2 2 7 0,2 0-2 0,-2-2-5 16,2 1 10-16,1-3-28 0,-4 4 8 16,4-4 2-16,2-1-12 0,-2 5 22 0,2-5-4 15,0 0-16-15,0 0 17 0,0 0-22 31,0 0 10-31,12-11 16 0,-6 8-19 0,1-2-14 0,1 0 1 0,0-1 14 0,2-1-13 16,0-1 12-16,-2 3-12 0,-1-1-10 0,-1 0 15 0,-1 2 15 16,0 1-3-16,0-1 9 0,-2 4-14 15,-3 0 9 1,2-4 17-16,-2 4-10 0,0 0 0 0,0 0-13 0,0 0-10 0,-10 8 17 16,5-6 19-16,2 2-5 0,-2-2-26 15,2 3 12-15,-1-4 4 0,4-1-11 0,-6 6 15 16,4-6-30-16,2 0 26 0,-3 4-14 0,3-4-10 31,0 0 19-31,-2 2-14 0,2-2 16 0,0 0-3 0,0 0-10 0,0 0 3 0,10-6 7 16,-7 2-13-16,4 1-12 0,-2-2 12 0,1-1-58 15,-1 1 20-15,3-2-38 0,-1 0-11 16,1 1-28-16,2-2-45 0,-3 1-88 16,3-2-90-16,-4 3 57 0,4-1-530 15,-2 3 100-15,3-4 69 0,-4 5 51 0</inkml:trace>
  <inkml:trace contextRef="#ctx0" brushRef="#br0" timeOffset="214729.08">6183 7639 1295 0,'0'0'412'0,"0"0"-18"0,-13-9-5 0,8 6-31 16,0 2-56-16,-3-4-79 0,-2 3-10 0,-3-2-11 15,-2 0 0-15,-3 0-33 0,-1-1 13 16,-1-1-16-16,-5-1-28 0,-4-1-12 0,6 0 15 16,-13-6 35-16,3-1-25 0,0 2 18 0,9 1-46 15,4-1-5-15,-1 2 12 16,6 3 1-16,0-2 10 0,-1 2-16 0,6 2-35 0,0 0 2 15,2-1-38-15,1 2-3 0,-1 2-5 16,5-2-15-16,-2 0 12 0,3 3-20 0,1-2 0 0,1 4-13 16,5-6-2-16,-2 6 0 15,-3 0 10-15,13-6 2 0,-8 5-28 16,5 1-7-16,-2-1-18 0,5 0 12 0,0-1 11 0,-1 0-23 16,1 2 12-16,1 0-7 15,0 0 8-15,-1 0-37 0,1 2 39 0,-2 1-5 0,0-2-7 16,-1 0-11-16,-1 2 28 0,0 0-28 0,-2 1 23 15,0-2-5-15,0 3 5 0,-3 0-7 16,0 1 37-16,-2-3-19 0,-1 4 25 16,1 2-8-16,-3-3-10 0,0 3 10 0,0-3-10 0,-3 4-10 15,-2-1-6-15,-1 2 19 0,2-2 2 16,-2 2-33-16,-4 1 28 0,2 0 0 16,1-4 5-16,-1 2 8 0,-2-3-18 0,2 1-5 15,0 2 7 1,1-4-7-16,-1 0 2 0,3 0 13 0,0-2-28 0,-1 1-13 0,2-4 8 15,-1 2-28-15,5-3-11 16,-5 1 8-16,5-1 13 0,0 0 8 0,-3-10-6 0,3 3-9 16,0 0 32-16,3-2-35 0,-1-3 38 0,1-4-10 0,2 3-6 15,-2-6 6-15,1 0 8 16,2-2 10-16,-1 0-16 0,-3 2-5 0,3-2 13 0,-2 1 3 16,2 4-5-16,-3-3 22 0,1 6 1 15,0 0-8-15,-1 0 30 0,0 2-17 0,-1 1 15 0,2 1-3 16,-1 2-7-16,0 0 0 0,-2 2-8 15,1-1 0-15,1 1 34 16,-2 2-16 0,3-1-11-16,-3 4-6 0,0 0 6 0,0 0 9 0,0 0-6 0,0 0-20 0,7 12 26 15,-7-6-1-15,3 4-15 16,0-1 34-16,1 4 1 0,-1-1-40 0,2 2 29 0,-2 3 4 0,4 0-18 16,-1-2 3-16,-1 4-8 31,2-3 8-31,1-2-10 0,-3 4 28 0,3-4-13 0,-3 2-5 0,2-1 7 0,-1-3-14 0,-1 1 9 15,0-2-2-15,0-1-18 0,0 1 33 0,-2-4-22 16,2 2 30-16,-2-1-13 0,-1-2-10 0,1 1 23 16,0-1-13-16,-1-1 13 0,0-2 5 15,-1 2 10-15,1-1-23 16,1-2 16-16,-3 3-26 0,0-5 33 0,2 5 1 0,0-2 4 0,-2-3-17 16,0 4 7-16,0-4 10 0,3 2-22 15,-3-2 4-15,0 0-15 0,0 5 13 0,0-5-8 16,0 0 3-16,3 5 3 0,-3-5-24 0,0 0 21 15,0 0 5-15,0 4-8 0,0-4-20 16,0 0 13-16,0 0 12 0,2 4-23 16,-2-4 11-16,0 0 12 0,0 0-20 0,0 0 5 0,0 0-2 15,0 0-96-15,0 0 27 0,0 0 7 16,0 0-8-16,0 2 21 0,0-2 18 16,0 0 18-16,0 0-29 0,0 0 16 0,0 0 8 15,0 0-3-15,0 0-16 0,0 0 19 0,0 0-21 16,0 0-21-16,0 0 39 0,0 0-15 0,0 0 2 15,0 0-2-15,0 0-11 0,0 0 26 16,0 0-23-16,0 0-15 0,0 0-42 16,0 0 6-16,0 0-28 0,0 0-21 0,0 0-15 0,0 0-39 15,0 0-43-15,0 0-15 0,0 0-27 16,0 0-29-16,0 0-55 0,11-2-120 0,-11 2-453 16,7-1 67-16,-2 0 56 15,-5 1 161-15,8-4 41 0,-2 3 72 0</inkml:trace>
  <inkml:trace contextRef="#ctx0" brushRef="#br0" timeOffset="-213856.84">6114 7556 1008 0,'4'-7'340'0,"-1"4"-25"0,2-3-25 0,1 2-116 0,1-2-8 16,1-1-18-16,2-2-27 0,3 1 4 15,0-3-22-15,-1 4-4 0,1-2-50 0,3-1-13 16,-3 2-23-16,2-1-31 0,-2 1-44 0,2 1-27 15,-4 1-50-15,-1 0-60 0,0 1-24 16,0 2 18-16,-3-1-435 0,1 4 18 0,0 0 77 16</inkml:trace>
  <inkml:trace contextRef="#ctx0" brushRef="#br0" timeOffset="-213670">6252 7556 908 0,'-6'1'295'0,"6"-1"-34"16,-2 4-44-16,2-4 21 0,0 0-38 0,0 0-3 16,0 0-28-16,0 0-36 0,0 0 23 0,15-10-23 15,-7 6-35-15,0 0-27 16,0-3-50-16,2 2-24 0,0-3-97 0,0-1-69 0,1 3-84 16,-3-1-164-16,4-2-231 0,-2-1-7 0,-2 4 48 15</inkml:trace>
  <inkml:trace contextRef="#ctx0" brushRef="#br0" timeOffset="-213343.61">6273 7307 906 0,'0'0'307'0,"0"0"-28"0,-3-1-23 0,3 1-16 0,0 0-12 0,0 0 64 0,18 2-39 0,-10 1-7 15,1 0-5 1,2 2-3-16,-1 0-85 0,3 1 4 0,0 1-32 0,-2-1 29 0,3 2-37 16,-4-1 11-16,-1 2 13 0,0-1-36 0,0 0 0 15,-1 3 13-15,-2-3-24 0,2 3 11 16,-5 0-25-16,2-2-11 0,-3 2-10 0,1 0-3 16,-3-3-20-16,0 3-31 0,3-3-43 15,-3 1-44-15,2-2-57 0,-2 0-6 0,-2-1-86 16,2 0-158-16,-3-4-69 0,6 2-425 0,-3-4 89 15,5 2 98-15,-5-2 38 0,0 0 90 0</inkml:trace>
  <inkml:trace contextRef="#ctx0" brushRef="#br0" timeOffset="-212967.49">6611 7231 1210 0,'-3'-2'359'0,"3"2"-24"0,0 0-28 0,0 0-33 0,0 0-10 0,-13 9-31 0,8-5-34 16,2 0-17-16,1 1-5 0,0 0-37 0,-1 0-9 16,0 0-6-16,1-1-15 0,2 2-15 15,-2 1 2-15,1-2-7 0,2 1-29 0,1-2 8 16,0 0-2-16,1 1 2 0,0-1-10 15,-1-2 0-15,3 3 0 0,0-2-26 16,1 0 18-16,-1-1 13 0,2 3-5 0,-2-4 15 16,1 3 13-16,-2-2 21 0,2-1-8 0,-1 3-3 15,0-2 5-15,0 3 14 0,0-3-42 16,-2 2 41-16,-1 2-15 0,-2-1-11 0,3-1-78 16,-3 4-14-16,-3-1-20 0,1 0 23 0,-1 1 13 15,1-2-26-15,-3 4-5 31,2-2-15-31,-2-2-8 0,2 1-28 0,-1 0-36 0,0 0-13 0,0-2-18 0,-2 1-35 0,4-2-39 0,-1-2-79 16,1 3-93-16,2-5-48 16,-5 2-471-16,5-2 108 0,0 0 74 0,0 0 20 0,0 0 84 15</inkml:trace>
  <inkml:trace contextRef="#ctx0" brushRef="#br0" timeOffset="-211803.68">6731 7157 1180 0,'0'0'437'0,"0"0"-32"0,0 0-42 0,0 0-10 0,0 0-38 0,0 0-31 0,5 10-43 15,-2-3 0-15,2 1-32 0,0 5-1 0,0-3-34 16,0 4-15-16,1 3 2 0,1 1-46 0,1-2-23 15,-3 6-30-15,3-6-11 0,-4 2-18 16,4-2-33-16,-5 0 10 0,3-5 16 0,-2 2-18 16,2-3 9-16,-4-1-11 0,1-3 40 0,2 0-3 15,-3 1 26-15,-2-1 11 0,3-5-6 16,-3-1 5-16,0 4 18 0,0-4 21 0,0 0-18 16,0 0-33-1,-3-13 22-15,1 6-15 0,-1-3 8 0,0-3-7 0,1 0-14 0,0-1-125 16,-1-2 36-16,0-2 5 0,3 2-10 0,0-1 17 15,3 4-9 1,-3 0-4-16,3 1-9 0,-1 2 28 16,0 2-11-16,-1 2 3 0,2 0 31 0,1 1-8 0,-1 3-7 0,-3 2-1 15,5-1 13-15,-5 1 19 0,0 0 12 0,5 5-44 16,-2-1 3-16,-3 1 13 0,0 2-23 0,0 3-24 16,0-2-32-16,0 5-32 0,0-3-17 15,0-2-31-15,-3 2 3 16,3-1-11-16,0-2-4 0,0 0-16 0,0-1 20 0,3-1-28 0,-3 1 13 15,0-3-15-15,2 1 25 0,-2-4-2 16,0 0 13-16,8 0 50 0,-8 0-14 0,0 0 58 16,10-8-12-16,-7 3 35 0,2-1 38 31,0-1 17-31,-3 1 24 0,4-2-7 0,-4-2 28 0,1 3-2 0,0-4 17 0,-1 4 16 16,1-2-10-16,-1-1 27 0,-2 1-24 0,3-1 6 15,-1 3 11-15,-2 1 6 0,0 0-17 0,0 1-4 16,0-1-8-16,0 3-20 15,0-1-1-15,0 4-12 0,0 0 7 0,1-4-25 0,-1 4 0 16,0 0 10-16,0 0-12 0,0 0-32 0,0 0 13 16,0 0 1-16,4 10-26 0,-4-10-1 0,3 4 19 15,-3-4-23 1,3 3-1-16,-3-3 11 0,0 0-13 0,7 0 0 0,-7 0-10 16,0 0 3-16,8-3 7 0,-3 0 7 0,-5 3-7 0,5-1 18 15,-5 1 8-15,5-3 15 16,-2 0-33-16,-3 3 2 0,6 0 1 0,-6 0 12 15,0 0-18-15,9-3 13 0,-9 3-21 16,5 0 32-16,-5 0-24 0,0 0 23 0,10 1-7 16,-10-1-6-16,0 0 1 0,8 2-11 15,-8-2-8-15,0 0 11 0,8 0 20 0,-8 0-15 0,8-6 5 16,-6 4 23-16,1-3-18 0,-1 2 6 0,1-2 99 16,0-4-51-16,-1 2 28 0,0 0 23 15,-2 0-23-15,0-1 10 0,1-1-10 16,1 2 0-16,-4 0-5 0,1-1 23 0,1 2-41 0,0 0 0 15,0 0-8-15,0 1 16 0,0 1-39 16,0 4 21-16,1-5-26 0,-1 5-5 16,0 0 3-16,0 0-6 0,0 0 18 0,13 13-27 15,-9-5 2 1,2-1 30-16,-3 5-38 16,4-1 18-16,-4 1-23 0,5 2 16 0,-1-1 1 0,-2 0-17 0,0-1 16 0,0-1-32 0,1-2 22 15,-2 1-14-15,-1-3 23 0,2 0 3 0,-2-1 8 16,-1 0-6-16,1-1 21 31,-3-2 49-31,3 1-31 0,-3-4 23 0,0 0-13 0,0 0-23 0,0 0-67 0,0 0-12 0,0 0 25 0,0-16-20 16,0 8 26-16,2 1-21 0,-2 0 7 0,2-3 3 15,-2 2-15-15,1 1 28 16,2 0 8-16,-1-2-11 0,-2 4 19 0,2 1 4 31,1-1 1-31,-3 3-32 0,3-2 14 0,-3 4-6 0,4-2 16 0,-4 2 36 0,0 0-24 16,0 0-12-16,0 0 21 0,0 0-34 0,11 6 17 15,-11-3-19-15,0 2-24 0,0 0-33 0,0-2-53 16,-2 2-70-16,1 1-12 0,-1 1-37 0,-1-3-53 16,1-1 5-16,1 1-41 0,-3 0-136 15,4-4 21-15,-3 2-471 0,3-2 33 16,0 0 118-16,0 0 72 0,0 0 66 0,0-17 46 0</inkml:trace>
  <inkml:trace contextRef="#ctx0" brushRef="#br0" timeOffset="-211484.34">7131 7086 783 0,'-2'-6'368'0,"2"0"4"0,0 1-6 0,0 0-110 15,0 5 7-15,0-6-50 0,0 6 25 0,2-3-28 16,-2 3 2-16,0 0-35 0,0 0 12 16,0 0-28-16,0 0-5 0,15 8-25 0,-12-7 0 15,0 4-44-15,2-4 12 0,0 3-29 0,-3-2-6 16,4 2-3-16,-4-2-41 0,3-1 19 16,-5-1-8-16,8 3 7 0,-8-3-15 0,5 0 18 15,-5 0-18-15,0 0 18 0,7-4-10 0,-7 4 12 16,4-4-7-16,-4 4 13 15,0 0-11-15,-3-5-15 0,3 5 28 0,0 0-15 0,0 0-15 16,0 0 7-16,0 0 18 0,0 0-28 16,0 0-6-16,0 0 9 0,0 0-3 15,0 0 2-15,0 0-12 0,3 14 5 0,-3-11-16 16,2 1-7-16,0-2-3 0,1 1-15 0,-3-3-36 16,5 5-13-16,-2-3 6 0,-3-2-29 15,5 1-41-15,-5-1-38 0,3 4-8 16,-3-4-64-16,0 0-117 0,0 0-57 0,5 0-379 0,-5 0 95 15,0 0 31-15,0 0 73 0,0 0 37 0</inkml:trace>
  <inkml:trace contextRef="#ctx0" brushRef="#br0" timeOffset="-210937.29">6624 7688 1113 0,'18'-9'394'0,"-1"-1"-43"0,1-3-36 0,1 2-16 0,11-7-43 0,1-1-31 0,-1 0-12 16,4 0-42-16,0-2 24 0,1-3-11 15,6-6-120-15,0 2 3 0,-8 5-1 16,-2-1-7-16,0-2-18 0,-3 2-18 0,1-1 10 15,-4 2 6-15,-2 0-24 0,-2 0 18 0,-6 2-7 16,-2 4-3-16,0-2 8 0,-5 0 2 16,2-1-12-16,-5 3-6 0,0-2 5 15,-5 0 24-15,-3 0-26 0,1-1 20 0,-6-5-12 0,-5-5-8 16,-5-2 12-16,-5 3-9 0,0-2-1 31,-7 4 1-31,-1 2-11 0,-3 0-2 0,1 5-6 0,-6 2 11 0,-2 6-3 0,1 1 11 0,-4 6-26 16,3 4 20-16,-8 7 11 0,3 2-11 15,-11 9 3-15,4 7-10 0,-1 3-8 0,6 5 5 16,-1 5 25-16,10 1-17 31,-1 4-2-31,8 1 24 0,6 2-6 0,4 2-6 0,9-7 18 0,3-1-13 0,4 1 0 0,6-7-8 16,3-5 3-16,2-1-7 0,5 6-6 0,3-8 8 16,3 1 2-16,1-7-17 0,4-3 69 15,-3-4-29-15,6-4 31 0,0-2-58 0,0 0 4 16,1-6-15-16,1-1-25 0,2-3-26 15,3 0-39-15,7-5-17 0,-7 0-21 0,5-2-84 16,-5 1-60-16,-8 2-155 0,1 2-315 0,-4-1-85 16,-2 1 54-16,-3 0 72 0,3 0 82 15</inkml:trace>
  <inkml:trace contextRef="#ctx0" brushRef="#br0" timeOffset="-210609.33">7226 7345 872 0,'0'-6'226'16,"0"3"-134"-16,2-2-131 0,-1 0-554 0</inkml:trace>
</inkml:ink>
</file>

<file path=ppt/ink/ink1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6:04:06.464"/>
    </inkml:context>
    <inkml:brush xml:id="br0">
      <inkml:brushProperty name="width" value="0.05292" units="cm"/>
      <inkml:brushProperty name="height" value="0.05292" units="cm"/>
      <inkml:brushProperty name="color" value="#0070C0"/>
    </inkml:brush>
  </inkml:definitions>
  <inkml:trace contextRef="#ctx0" brushRef="#br0">824 10194 1412 0,'0'0'400'0,"-8"1"-47"0,8-1 5 0,-4 4-53 0,4-4-29 16,2 5-27-16,-2-5-6 15,8 3-49-15,-4 1 1 0,4-3-3 0,0 4-36 0,2-3-2 16,0 1-37-16,1 0-17 0,-1 1 15 16,0-2-40-16,-2 2 9 0,0-1-5 0,-1 3-4 15,-1-1 4-15,-4 2-46 0,0-1-17 16,-2 5 14-16,0-3-1 0,-4 5-4 0,-4-1-10 16,0 4-2-16,-4-1 23 0,-1 2-3 0,-1 1 26 15,-1-2-28-15,-1 1-18 16,2-2-3-16,1 1-33 0,-5-2-38 0,8-2-55 0,-1 0-27 15,1-6-105-15,5 2-190 0,-5 2-5 0,8-4-409 16,1-4 53-16,1-2 144 0,5 4 12 0,1-4 70 16,-6 0 89-16</inkml:trace>
  <inkml:trace contextRef="#ctx0" brushRef="#br0" timeOffset="945.45">1208 10174 1139 0,'-6'4'335'16,"0"2"-31"-16,3 1-22 0,1 1-23 0,-3-1-39 15,2 6-13-15,1-2 11 0,-3 1-57 0,4 1 8 16,-3 1-39-16,0-1 1 0,2 2-21 15,2-2 0-15,-2 0-25 0,4-1-11 0,-4-3-8 16,2 1 6-16,0-3-11 31,-1 0 14-31,2 0-73 0,1-2 8 0,-4 0 103 0,4-2 0 0,-2-3-13 0,0 5 4 0,0-5 7 16,0 0 24-16,0 0 26 0,0 0-63 0,0 0-9 0,0-18 52 16,0 11-54-16,0-1 18 0,0-1-28 0,2 1 2 15,-1-3-28-15,1 3 6 0,1-3 40 16,-3 4-33-16,2-1-15 0,-2 3 22 15,0-1-14-15,1 3-47 0,4 0 21 0,-5 3 30 16,0 0-30-16,0 0-16 0,10 6 34 16,-6 0-19-16,-1-1 11 0,1 3-20 0,2-2 25 15,-3 1-33-15,2-1-8 0,-2 1 33 0,2-2-25 16,0 2 7-16,0-2-2 0,-3 0 41 16,1-3 97-16,0 4-30 0,0-6 12 0,2 5-123 0,-5-5 72 15,5 0-33-15,-5 0 36 0,5-6-6 16,0 1-20-16,-3 0 13 0,1-3-8 15,0-3-7-15,0 2 14 0,-1-3-4 0,3 1-54 16,-3-2-3-16,1 0 6 0,0 1-11 0,-1 0-59 0,0 0-27 16,1 3-37-16,0-1-23 0,0 3-51 15,1 1-15-15,-3-1-26 0,4 2 70 16,-2-2-37-16,2 6-17 0,-1-3-88 0,-1 3-9 16,-3 1-27-16,13 1 44 0,-13-1-33 15,10 4-10-15,-5-2 38 0,-2 4 67 0,4-1 45 16,-1 0-4-16,-3 1 74 0,2 1 46 15,2 1 5-15,-4-2 41 0,2 1-3 0,2 3 8 0,-1-2 18 16,1-1-2-16,1 0 17 0,2 2-7 16,-2-3 20-16,3 0 13 0,1-3-3 31,-1 3 8-31,1-3 28 0,1-1 26 0,-2-1 15 0,1-1 34 0,-2 0 10 0,-2 0 45 0,0-2 1 16,-1 1 105-16,1-2-23 0,-6 0-108 15,1 0 38-15,-3 3 6 0,0-7-31 0,-3 1-18 16,-1 2-20-16,-2 0-21 0,-1-1-3 0,0-1-22 15,-2 1 22-15,1 1-61 0,-2 1-20 16,2 0-54-16,1 0-56 0,-1 0-57 0,0 2-36 16,4-1-102-16,-2 2-71 0,6 0-98 15,-8 0-141-15,8 0-391 0,0 0 92 0,0 0 107 0,0 0 67 16,0 0 92-16,26-3 31 16</inkml:trace>
  <inkml:trace contextRef="#ctx0" brushRef="#br0" timeOffset="1385.08">1867 10080 1371 0,'-10'13'384'0,"8"-8"-30"0,-1 0-34 0,-2 3 2 0,1-1-30 0,0 1-26 0,1 2-23 0,1 0-5 16,0 0-17-16,2-1-27 0,-3 0-38 0,3-1 11 15,3 1-29-15,1-2-31 16,2-1-2-16,-3 0-5 0,4-2 10 0,1 0-13 0,-1-3-12 15,1-1 7-15,2-2-7 0,-2-3 27 16,0 3 8-16,2-4 14 0,-2-1-99 16,-1-3-1-16,-4 3 22 0,2-4 5 0,-3-1 11 15,-1 1-13-15,-2-1 0 0,1-2 61 0,-2 3 36 16,0-1-56-16,-1 1 33 0,1 3-18 0,1-1-17 16,-1 2 1-16,0 1-32 0,-1 4 0 15,3 2-1-15,0 0-22 0,0 0-6 0,-3 10-2 16,3 1 10-16,0 4-8 0,3 4-15 0,0 7-5 15,-1 2 3-15,0 11-6 0,-2 3-35 0,3 0-1 32,-3-3-17-32,0 4 17 0,-2-2-17 0,1-3 12 0,-3-5 14 0,-2 3-1 15,1-8 26-15,0-4 10 0,-3-1 0 0,1-3 30 16,-1-6 4-16,0 2 32 0,3-6-17 16,0-2 2-16,0-3-53 0,0 0 35 15,0-5-25-15,-1 0 15 0,6 0-33 0,-9-9 7 0,8 1-40 16,-1-3 2-16,-1-1-34 0,3-1-42 0,3-3-42 15,2-2-71-15,2-2-44 0,4-1-82 0,-1 1-166 16,0 3-466-16,3-3-44 0,0 2 98 16,5 2 102-16,5-8 77 0,2 5 95 15,2-1 97-15,5 1 13 0</inkml:trace>
  <inkml:trace contextRef="#ctx0" brushRef="#br0" timeOffset="1918.47">2368 10037 1023 0,'0'0'430'0,"-11"0"-41"15,4 1-22-15,0 4-24 0,1 0-54 16,3 1-18-16,-5 2-12 0,6-1-37 0,-1 4-17 0,1-3 5 15,2 5-36-15,0 2 3 0,0 0-47 16,5-2-4-16,-3 3-29 0,4-1 5 16,-2 1-2-16,-1-3-3 0,1 0-17 0,-2-1 17 15,0-3-18-15,-2 3 21 0,-3 0 28 0,1-1-2 16,-4-2 30-16,-1 2-62 0,-1-4 27 16,-5 6-34-16,0-3-44 0,1-3 24 0,-4 1-57 15,1-1 5-15,0-1-27 31,4-1-50-31,1-5-17 0,0 1-49 0,2-1-28 0,4-1-26 0,1-4-38 0,3-2-64 0,2-1-116 0,6-6-27 16,-1-3 53-16,9-11 1 0,2-1-1 0,2 0 51 16,3-2 88-16,-2 3 35 0,2-1 105 15,-2 5 106-15,-6 5 63 0,-2 2 126 16,-3 6-57-16,3 0 28 0,-8 0 96 0,1 3-11 16,1 1 0-16,0-1-6 0,-1 6-1 31,-3-1-75-31,1 3 13 0,-4 0-65 0,11 5 12 0,-6 2-14 0,0 0 8 0,-3 5-23 0,3 1 25 15,1 2-25-15,-3 2 3 0,2 3-21 0,-1 3-23 16,-1 2-8-16,0-4-64 0,-1 2-22 0,-2-2-60 16,0-2-56-16,1 3-51 0,0-1-92 15,0-4-159-15,-1-2-353 0,2-2 12 16,1 2 24-16,-3-7 84 0,3 0 92 0,-1-3 24 16</inkml:trace>
  <inkml:trace contextRef="#ctx0" brushRef="#br0" timeOffset="2327.15">2483 10287 862 0,'-5'-2'369'0,"2"-2"-31"0,1 2-21 0,-1-1-23 0,3 3-4 0,-3-4-27 15,1 1-12-15,2 3-44 0,-2-6-12 0,2 6-6 16,2-6-25-16,0 2-23 0,1 0 89 16,3-1-4-16,1-1-40 0,-2-1 42 15,3-2 0-15,0 1-51 0,0 1-11 0,1 1 26 16,-4 2-128-16,1 0 67 0,-1-2-37 0,0 4 34 15,0-1-23-15,-2 1-7 0,-3 2-22 0,4-5 14 16,-4 5-6-16,0 0-7 0,0 0-31 16,9 7 11-16,-7-4-32 0,0 0 24 0,1 3-6 15,0-1-25-15,-1 0 39 0,0 2-34 16,2-2-29-16,0 0-4 0,2-1 28 0,-3 1-18 16,1-4 0-16,4 3 3 0,0-1 2 15,-1-3-13-15,1 0 11 0,2 0 9 0,-2-2 29 16,2-2 3-16,-2 3-3 0,2-1-8 0,-2-2 34 15,0 4-47-15,-1-3 11 0,-2 0 18 16,0 3-19 0,1-1-25-16,-6 1 29 0,10-1-11 0,-10 1-49 0,10 2-7 0,-5 0-70 0,0 0-22 15,-2 0-52-15,3 3-43 0,1-3-77 16,-2 2-71-16,3-2-73 0,0 2-53 0,2-2-448 16,0-2 59-16,1 3 103 0,3-6 127 0,2 2 51 15,-1-4 44-15,3 2 64 0</inkml:trace>
  <inkml:trace contextRef="#ctx0" brushRef="#br0" timeOffset="3377.94">3045 10125 1052 0,'5'-7'348'0,"-5"1"-16"0,0 0 27 16,0 0 12-16,0 3-13 0,-3-1-4 15,3 4-4-15,-3-5-38 0,1 2-61 0,2 3 13 16,-10 1-21-16,10-1-43 0,-13 7-13 0,6 0-24 16,-1 2-4-16,-1 0-10 0,0 2-29 15,1 2-15-15,0 0-41 0,1 1-3 16,1-1-15-16,-1-1 0 0,2 0 1 0,2-1-24 0,0-3-44 15,3 2 29-15,0-3-1 0,3-1-9 16,-1-1 22-16,1-1-4 0,3-4-14 0,3 0 9 16,2-1-22-16,-1-2 6 0,2-3 36 15,1-3-13-15,3 1 18 0,2-6 2 0,-3-1 34 16,1-2 2-16,2-7-92 0,-3 0 26 0,-7 1 79 16,2-9 23-16,1 0-67 0,-1-4 39 0,-3 8-38 15,-4 4 4-15,2-1 16 0,-3 6-15 16,-1 3-3-16,1 2 18 0,-2 0 44 0,2 4 32 15,-2-3-78-15,-2 7 30 0,2 4-8 0,-3-3-12 16,3 5-28-16,0 0 27 0,-10 11-53 16,3-2 13-16,1 6 18 0,-1 0-3 0,-1 4-3 15,3 5-12-15,-2-1-49 0,1 3-5 16,3-2 5-16,1-3 21 0,2-1-16 0,2 0 18 16,1-3-13-16,2 1-46 0,0-5 8 0,3 1 8 15,0-3-8-15,-1-4 7 0,4-1 29 0,-1 0-10 16,-2-2 2-16,2-3-3 0,0-1 6 0,0-1 5 15,-2-3 12 17,2 1 6-32,-2-4-26 0,0 2 23 0,-1-1-25 0,-2 0 30 0,1 1-2 0,-4 0-6 0,1 2-4 0,-1-1 7 15,-2 1 20-15,0 3-4 0,3-4-19 0,-3 4-14 16,0 0-9-16,0 0 31 0,0 0-12 16,0 0 7-16,-10 14-61 0,7-10 48 0,3 0-30 15,0 0 30-15,-2 2-18 0,4-2 16 0,-2-1-28 16,0 3 45-16,3-6-17 0,-1 5-13 15,1-4 15-15,2 3 8 0,-2-1-30 0,2 0 17 16,2 0 0-16,-4 1-5 0,4-3 3 0,-1 1 7 16,1 3 8-16,-2-2 23 0,0 0-2 0,3-3-19 15,0 4 14-15,0-2-14 0,-1-2-15 16,4 0-38-16,-1 0 5 0,-2-2 18 0,5-2-39 16,0 1 1-16,-1-2 17 0,4-1-15 15,-2-4 31 1,2 2 10-16,-3-3-8 0,0 1 0 0,3-5 19 0,-2 0 29 0,-3-1-1 0,2-3 17 15,-6-1 29-15,1-1 14 0,-1-1-7 0,-1 5-5 16,-1 1 18-16,0-1 36 0,-5 5 10 16,3 0-8-16,-1 5-2 0,-2-1-8 15,0 0-20-15,0 3 40 0,0 2-14 0,0 3-35 0,0 0 27 16,0 0-105-16,-12 9-3 0,9-1 0 31,0 3 0-31,-2 1 0 0,3 1 0 0,-1 3 0 0,-2 1 0 0,0 2 0 0,2-1 0 0,1 1 0 16,-1-1 0-16,0-1-113 0,1-2-33 15,-1-2 5-15,0 0 3 0,3-1 23 0,-4-4 20 16,2 0 11-16,1-1 20 0,-4-1 15 0,3-3 13 16,1 1 5-16,1-4 21 0,-7 2 26 15,7-2 14-15,0 0-17 0,0 0-10 16,0 0 4-16,-5-6 11 0,5 6-2 0,0-9-19 0,3 2 18 16,1-1-12-16,1 0 28 0,-2-3-21 0,5 3-2 15,2-4-16-15,-2 4 36 0,2-3-13 16,0 1-20-16,1 0 13 0,-1 3-34 15,0 1 29-15,0 1 5 0,-2-1 30 0,-1 6 34 16,-1-1 4 0,2 1-6-16,-8 0 22 0,12 1-15 0,-7 5 35 0,0-2 3 0,1 1-2 0,-2 3-46 15,-1 0-67-15,0-1 0 0,-1 3 0 16,-1-1 0-16,1 0 0 0,-2 0 0 0,0 2 0 16,-2-3 0-16,1 2 0 0,-1-1-208 0,-1-3-102 15,-1 3-61-15,1-1-33 0,-13 1-280 16,8-3-347-16,0 3 66 0,-2-2 89 0,-5 1 96 15,-3-1 94 1,-7-1 64-16,-1 0 61 0,-13 1 49 0</inkml:trace>
  <inkml:trace contextRef="#ctx0" brushRef="#br0" timeOffset="3923.42">673 11111 1028 0,'0'0'346'0,"-5"5"-31"0,5-5-18 0,5 6-23 0,-2-3-36 0,4 2 7 0,3 0-22 15,3 1-26-15,5 0-15 0,0-1-10 16,0 2-16-16,3-3-23 0,-1 4 10 16,1-3-23-16,-3 0-7 0,-3-1-8 0,-2-2 31 15,0 5 20 1,-3-3 56-16,-5 1-7 0,0 2-3 0,-5-1 0 0,-3 2-7 0,-4 0-49 15,-3 4 23-15,-6 1-39 0,-2 2-14 0,-10 3-42 16,0-1-20-16,-3 0-72 0,0 1-46 16,0-4-23-16,1 4-64 0,6-7-82 0,2-6-261 15,1 8-505-15,1-4 96 0,2 1 207 0,5-1-16 16,-1-2 72 0,4-1 77-16,3-1 33 0</inkml:trace>
  <inkml:trace contextRef="#ctx0" brushRef="#br0" timeOffset="5697.59">1247 11241 967 0,'0'0'371'0,"0"0"-33"0,0 0-31 15,-8 10-30-15,8-5-9 0,-2 0-19 0,1 1-21 16,0 2-21-16,0-2-36 0,-1 1-12 16,-1 3-23-16,3-3-1 0,0 0 19 0,-2 3-26 15,1-3-23-15,1 0-3 0,0-1-4 0,-2-1 1 16,2-1 65-16,0 1-54 0,-2 0 82 0,4 0-20 16,-4-2-19-16,2-3-27 0,2 5 20 15,-2-5 46-15,-2 4 7 0,2-4-7 16,0 0-20-16,0 0-8 0,0 0-6 0,0 0-7 0,-3-18-5 15,3 13-25-15,0-4-11 32,3 3-21-32,-3-3 16 0,2 2-10 0,-2 1 17 0,0 0-37 0,2 1-14 0,-2 1-22 0,3 1-24 15,-3 3 23-15,3-3 16 0,-3 3-3 0,0 0-12 16,10 5-4-16,-5 0-14 0,-2 0-6 0,4 1 8 16,-4 0-2-16,4 1 4 0,-1-1-17 15,-2 3 15-15,2-2-5 0,-1-1-18 0,0-2 28 16,0 2-12-16,0-1-4 0,-2-2-6 0,0 0-6 15,2-1 0-15,0 2 0 0,-5-4 0 16,7-1 0-16,-7 1 0 16,8-8 0-16,-5 1 0 0,-1-1 0 0,1-1 0 0,-1-3 0 15,1 0 0-15,0-2 0 0,-3 1 0 0,2-1 0 16,1 1 0-16,-1 3 0 0,1-1 0 0,-3 1 0 16,2 1 0-16,1 1 0 0,-1 0 0 15,1 2 0 1,2 2-141-16,1-2-138 0,-3 3-16 0,6-1-14 0,-4 2-4 0,3 2-68 0,0 0 20 0,2 2 74 15,-2 0 31-15,-1 1 39 16,1 2 25-16,2 2 25 0,-2-1 39 0,0 3 29 16,-3 0 40-16,2 1 8 0,1 0 17 15,-3 1 9 1,3 0 9-16,0 1 1 0,0-3 25 0,-1 3-7 0,1-3 7 0,2 1-5 0,0-1 21 16,0-2 25-16,-1 0-10 0,3-2 25 0,1-1 34 15,-5-2 15-15,2-1 24 0,0-1 12 0,-2 0 53 16,2-3 1-16,-2 0-10 0,-3-1-52 15,0 1 16-15,-3-3-24 0,-1 2-17 16,1-2 0-16,-5-2-5 0,1 2-29 16,-3-2-15-16,0 2 16 0,0-3-39 0,-6 4 0 0,1 0-23 15,0 0-74-15,-1 1-34 0,4-1-50 16,-1 4-68-16,-1-2-73 0,3 0-67 0,6 3-67 16,-5 2-580-16,5-2 73 0,0 0 155 0,0 0 12 15,0 0 115-15,0 0 23 0,20-2 31 0</inkml:trace>
  <inkml:trace contextRef="#ctx0" brushRef="#br0" timeOffset="6282.44">2016 11227 1343 0,'-10'10'405'0,"5"-1"-39"0,-3-1-18 0,6-1-36 16,-3 0-20-16,2 0-41 0,3-1-34 16,-2 1 6-16,2-1-46 0,2-1-6 15,0 1 1-15,1-1-37 0,0-3 1 0,2-1-21 16,3 1-2-16,0-1 2 0,2-5 10 0,2 3-9 15,-2-3-16-15,1-3-80 0,2 0 13 0,-3-2 11 16,-2 0 22-16,0-4-4 0,-1 2-6 16,-4-2-12-16,-1 2 27 0,0-1 73 0,-2 0-32 15,0 2 44-15,0 2-51 0,0-1-7 32,-2 2-11-32,2 1 10 0,-3 3-33 0,1 0 31 0,2 3-14 15,0 0-24-15,0 0-1 0,-3 12-28 0,3-2 26 0,0 1-3 16,0 4-23-16,0 4 24 0,3 1-17 0,-3 9-42 0,2 0 30 15,-1 11-39-15,-2 2-4 0,-1-1-16 16,-1-1 10-16,-4 0-2 0,1-4 23 0,-4 0-5 16,0-2 23-16,0-8 7 0,2-4 8 15,0-3 11-15,-4-1 38 0,4-4 15 0,3-5 33 16,-1 2-5-16,-1-5 29 0,1-2 5 0,2-3-73 16,-2-1 12-16,6 0-12 0,-9-10-91 0,6 3 13 15,0-5-31-15,1-1 25 0,4-1-40 0,1-6-34 16,1-2-23-16,5-2-38 0,6-8-26 15,3 1-59 1,7 0-63-16,1 2-47 0,0 1-97 0,7-9-123 0,-5 12-448 0,0 5 131 0,1-1 40 16,0 2 45-16,1 2 78 0,1 0 85 15,4 2 67-15</inkml:trace>
  <inkml:trace contextRef="#ctx0" brushRef="#br0" timeOffset="7845.36">2632 10912 1182 0,'-3'-6'389'0,"3"6"-25"0,0 0-16 16,0 0-31-16,0 14-30 0,-2-2-36 15,1 0 69-15,1 5-41 0,-4 7-26 0,3 1-43 16,-1 2 20-16,-3 11-53 0,2-6-23 0,0-4-24 16,1-1-15-16,-1-2 6 0,1-1-14 15,2-3-15-15,0-2 21 0,0-2-62 0,0-4 5 16,3 1-7-16,-3-4-21 0,0 1 18 0,2-3 5 16,-2-1 21-16,0-2-28 0,0-1 30 15,0-4-20-15,-5 2 10 0,5-2 23 16,0 0-31-16,-13-7-2 0,8 3 45 0,-3-1-37 15,1 0-19-15,1 0 52 0,-3 1-3 0,1 1-28 16,0-1 13-16,0 1 5 0,3 1-23 16,-5 2 13-16,2 0-11 0,0 3-18 0,1-1-7 15,-1 3 8-15,1-3 4 0,1 5 1 0,1-2-21 16,0 0-25-16,2 2-19 0,-1-1-40 16,3-2 15-16,1 0 28 15,1 2-33-15,3-3 31 16,4-2-23-16,0-1 20 0,2 0 15 0,3-4-20 0,3 1 26 0,4-4-19 0,1-3 26 0,1 0-20 15,1-3 23-15,-2 3-21 0,2-2 11 16,-5 0 7-16,-1 0-10 0,-1 1 10 0,-3 3 11 16,-3 1-24-16,0 1 14 0,-1 0-45 0,-2 2 4 15,-2 3-11-15,0 1 18 0,-5 0 5 16,8 4-3-16,-8 0-61 0,2 1 26 16,1 1-13-16,-3 0 7 0,2 1 27 15,-2-1-45-15,3 1-2 0,0 0-12 0,1-2-4 0,2 0 34 16,-1-3 3-16,2 0 30 15,-7-2-15-15,17-4 3 0,-5-1 32 0,-1-1 27 0,4-1 17 16,-2-5 5-16,-1 0 8 0,1 0 13 0,0-3 21 16,0-2-1-16,-3-2 0 0,0 0 31 15,-2-1 18-15,-3-1-38 0,2 4 0 16,-1 0-11-16,-3 3 49 0,1 2-3 0,-3 2-12 16,1 2-34-16,1 0-43 0,-1 4 18 0,-2 2 33 0,0 2-20 15,0 0-27-15,2 15 17 31,-2-3-6-31,-2 5 10 0,0 8-14 0,-1 12-14 0,-2 2 10 0,2 4-9 0,1 0-32 16,-3 2-38-16,3 1 8 0,-1 0-26 0,-3-2-12 0,-1 0 17 16,2-4-12-1,-3 0 20-15,0-6-16 0,-2-5 14 0,2-7 15 0,3-4-16 0,-3-4 26 16,-2-2 24-16,2-2 1 0,1-3 26 16,-1-3 6-16,0-3-21 0,3-1-5 0,5 0-16 15,-12-7 41-15,9 2-17 0,0-3 15 16,1-1-39-16,2 2 24 0,0-4-9 0,0-2-1 15,5 1 4-15,0-3-33 0,3-2 0 0,2-2 36 16,3-1-28-16,4-6 20 0,0-1-12 16,5 1 12-16,-3 0-13 0,1 0-17 15,2 1-1-15,-1-1 24 0,-5 7 22 0,-1 2-14 0,-5 3 1 16,3 1-22-16,-5 1 31 0,0 3-24 16,-1 0 42-16,-1 1-19 0,-2 2 52 0,-1-2-6 15,0 5-7-15,-3-1-38 0,0 4 17 0,0 0-10 16,0 0-12-16,0 0-27 31,0 0 50-31,0 0-34 0,-18 12 31 0,12-6-31 0,-1 1 0 0,4-1-23 0,-2 1-20 0,0-2 32 0,2 2-19 16,1 0-1-16,2-2-4 0,-3 1-42 15,6 0-5-15,-3-3 36 0,3 1-2 0,2-3 7 16,2-1-5-16,-7 0 10 0,18-3-25 16,-7-1 7-16,4 0-2 0,0-5 15 0,1 2-13 15,-1-4 11-15,3 1 18 0,-5 0 9 31,2-2 9-31,-2 3-24 0,0-1 19 0,-6 4-1 0,1 1 8 0,0-2-21 0,-3 6 24 0,0-1-8 16,-5 2 5-16,0 0-28 0,8 8-11 0,-8-3 14 16,2 2-19-16,-1 0-20 0,-1 0-13 15,2 3 1-15,0-3-9 0,-1 0-15 16,4-1 11-16,-3 1-57 0,4-1 25 0,-1-1 34 16,2-2 0-16,1-3 3 0,2 0 15 0,-2-2-5 15,5-3 56-15,-3-1 10 0,3-2 0 16,0 0 49-16,0-4 26 0,-1-1 17 0,-2-2 21 15,1 1 36-15,-1-5-13 0,-5 1 44 16,2-3-47-16,1-2 16 0,-5 2-8 0,2 3-18 0,-2 1 21 16,-1 4-129-16,1 0 24 0,-1 3 5 15,-2 0 7-15,1 6 4 0,-2 1 22 16,1 3-36-16,0 0 10 0,0 0-9 0,0 0 12 16,-2 21-26-16,-1-8 19 0,3 3-62 0,-2 3-29 15,1 2-35-15,0-1-25 0,1 3-57 0,-1 2-28 16,-1-4-6-16,-1 3-6 0,0-4 17 15,-2-1-13-15,0-2 33 0,-2 2 19 0,1-6 20 16,-1-2 30-16,1-3 24 0,-1 1 33 16,-1-3 18-16,1-2 12 0,2-1 24 0,-1-1 12 15,-1-2 19-15,7 0-6 0,-8 0-33 16,8 0 28-16,-6-5-12 0,5 0 9 0,1 0-7 0,2-4 0 16,3 1 18-16,0-3-13 0,3-2 13 15,2 0-16-15,3-3-4 0,2 1 4 0,1 0 13 16,1 0 8-16,-1 6-20 0,1-3 10 15,-3 3 10-15,1 1 15 0,-3 2 31 16,-1 2-10-16,2 0-13 0,-5 3 25 0,-1 0 14 16,3 2-34-16,-2 1 18 0,0 2-23 0,-4-1-8 15,2 3 18-15,-1 0-63 0,0 1 19 0,-2 2-73 16,-1-1-83-16,1-1-38 0,-3 4-48 16,1-3-85-16,1-2-146 0,0 3-263 0,-2-4-241 15,2 0 53-15,-1 0 193 0,4-1-3 0,-3-3 39 16,-2-1 73-16</inkml:trace>
  <inkml:trace contextRef="#ctx0" brushRef="#br0" timeOffset="7953.81">3721 11118 1220 0,'-3'-6'318'0,"3"4"-37"0,-2-2-76 16,2 4-82-16,-2-5-251 0,0 3-479 0,2 2 39 15,0 0 31-15</inkml:trace>
  <inkml:trace contextRef="#ctx0" brushRef="#br0" timeOffset="8366.51">3867 11056 1228 0,'-2'5'456'0,"2"0"5"0,-2-1-65 0,2 1-17 0,0 2-15 15,2-1-60-15,-2 4-27 0,2-2-3 0,-2-2-34 0,3 5-33 16,-3-3-17-16,5 2-19 0,-3-1-20 16,-1-2 0-16,4 2-30 0,-3-2-1 15,1-1-25-15,2-1 5 0,-2-2-11 0,2 3 1 16,0-5-11-16,0-1-28 0,-5 0 8 0,8 0 13 16,-8 0-3-16,15-3 5 0,-7-1-35 15,-3-2 12-15,1-1 15 0,1-1-30 0,-2 1-13 31,0-2 10-31,0 3 1 0,-2-1-6 0,-1 1 8 0,3 0 17 0,-4 2-6 0,0 1-9 16,0 0-20-16,-1 3 36 16,0 0-16-16,0 0-10 0,0 0-5 0,0 0 26 0,0 0 7 15,0 11 31-15,3-6-25 0,-1-1 2 0,1-1-11 0,4 2 27 16,-2-3-9-16,5 1-35 16,-1-2 36-16,3-1-47 0,1-1-7 0,2-3-51 15,1 2-72-15,2-4-38 0,-1 1-47 0,1-1-73 16,-2 0-108-16,-8 4-233 0,5-3-436 0,-1-1 73 15,-3 3 137-15,-2-1 83 0,-2 1 41 16,-3 3 91-16,-2 0 70 0</inkml:trace>
  <inkml:trace contextRef="#ctx0" brushRef="#br0" timeOffset="9242.69">681 12334 877 0,'0'0'356'0,"0"0"-41"0,12 3-21 0,-4-2-38 0,2-1-33 0,1-1-3 16,1 1-25-16,4-1-16 0,1 1-25 0,1-2-9 15,-1-1-6-15,0 3-16 0,0 0-13 16,-3-2-13-16,-1 1-13 0,-1 1 24 15,-4 1-13-15,2 1 12 0,-7 2 31 0,2-1-20 0,-4 4-10 16,-2 1 9-16,-2 4-25 0,-4 1 3 16,-3 1-8-16,-4 3 5 31,-9 6-46-31,1 0 85 0,-2 1 0 0,-1-3-34 0,2 3-102 0,-2-2 0 0,1-1-44 0,-1 2-74 0,6-5-48 16,6-3-108-16,1-4-180 0,2 2-431 15,4-5 127-15,1 1 38 31,3-4 57-31,-1 0 87 0,3-1 36 0</inkml:trace>
  <inkml:trace contextRef="#ctx0" brushRef="#br0" timeOffset="9966.34">1319 12361 872 0,'-11'5'387'0,"9"-2"-49"0,-3 3-16 0,2 1-45 0,3 1-14 0,-3-1-9 0,2 2-29 16,0 1-33-16,-1 1-28 0,2-1-11 0,-3 2-12 15,1-1-15-15,2 0-19 0,0-1-4 0,0 0-22 16,0-2-11-16,0 0-12 0,2-1 12 16,-2-2-12-16,0 0 11 0,0 0 8 0,3-1 54 15,-3-1-11-15,0-3 39 0,0 4-29 0,0-4-35 16,0 0-31-16,0 0 44 0,0 0-34 15,2-16 8-15,-1 10 28 0,-1-3-16 0,1-1-40 16,0 2 18-16,1-2-26 0,-2 3 36 16,3-1-36-16,-3 1 21 0,0 2-3 0,1 0-36 15,0 2 18-15,-1 3-18 0,5-2 5 16,-5 2-2-16,0 0 10 0,8 8-26 0,-5-4 29 16,2 1-31-16,0 1-26 0,0 1 10 0,3-1-25 15,0 0-15-15,-1 0 12 0,1-1 28 16,0-2-20-16,0 2 23 0,-1-2 21 0,1 0 2 15,0-3 36-15,-1 0-1 0,-7 0 55 16,13-2-23-16,-8-2 40 0,2 1-48 0,0-1 49 16,0-2-47-16,-4 0 8 0,4-4-17 15,-5 0 6-15,1-1-19 0,0-1 4 0,-1-1-40 0,3 0-34 16,-3-1-25-16,2 2-59 0,-1 0-64 31,1 1-18-31,1-2-77 0,0 5-64 0,3-1-77 0,-2 0-163 0,1 1-420 0,6-2 99 16,-3 3 65-1,-2-1 104-15,2 1 83 0,3 0 53 0,-3 0 28 0</inkml:trace>
  <inkml:trace contextRef="#ctx0" brushRef="#br0" timeOffset="10234.56">1655 12365 734 0,'2'14'328'0,"-2"-2"-39"16,3-2-33-16,-1-1-23 0,1-2-13 0,2 0 10 15,0-1-45-15,1-1 9 0,-2 0-27 16,4-2-52-16,0-2 23 0,-1 3 90 0,-1-4-39 15,-6 0 29-15,15-4 28 0,-10 3-26 0,3-3-69 16,0 0 20 0,-5-1-20-16,1 0-18 0,-1 1 13 0,-3-2 5 0,0 0-33 0,-3-1-18 15,1-1-13-15,-1 2-13 0,-2-1-23 0,0 1-20 16,0 2-39-16,2-2-68 0,-4 2-11 16,4 1-93-16,1 0-99 0,2 3-130 15,-6-2-72 1,6 2-369-16,0-3 46 0,0 3 110 0,0 0 70 0,8-3 50 0</inkml:trace>
  <inkml:trace contextRef="#ctx0" brushRef="#br0" timeOffset="10749.28">2127 12185 1272 0,'0'0'432'0,"-13"4"-35"0,5-1-31 0,0 2-23 0,1 1-56 0,-3 2 30 15,2-1-66-15,0 4-3 0,0-2-20 16,1 4-36-16,-1 0 3 0,3-2-44 0,0 3 5 16,2-3-28-16,0 0-16 0,3-1-19 15,1-2-4-15,4-1-22 0,-1-1 20 0,2 0-23 16,4-4-5-16,-2 0 17 0,5-4 4 0,0 1-19 16,2-3-12-16,0-2 5 0,3-2-31 15,-2-1 51-15,-4 0-31 0,1-1 55 16,-2-2-47-16,1 1-21 0,-4-3-19 0,2 1 32 15,-4 2 3-15,-2-2 8 0,-1 3 0 0,2 2 120 16,-2 0-21-16,-1 0-7 0,1 4-43 16,-1-1-9-16,-2 4 4 0,0 1-27 0,0 0 37 15,0 0-34-15,-1 20-28 0,1-6-13 0,-4 8 26 16,2 7-33-16,1 11 23 0,-1 5-14 0,0 1 6 16,2 2-25-16,0 3 17 0,0-1-7 15,0-1-24-15,0-1 14 0,0-4-14 16,-3-2-2-16,0-10-2 0,1-6 27 0,-3-2 3 0,5-7-15 15,-5 0 10-15,2-4 23 0,-2-1-5 16,2-4 26-16,-2-3-14 0,3-2-19 16,2-3-14-16,0 0 13 0,-8-13-9 0,8 3-30 15,0-4 12-15,3-4-6 0,0-2 0 16,4-6-67-16,3-8-41 0,3 2-55 0,0-3-40 16,2 4-86-16,0 0-64 0,4-5-238 15,1 9-482-15,-2 7 72 0,-5 2 126 0,4 3 48 0,10-5 103 16,-2 2 45-16,3 0 70 0,1 1 138 15</inkml:trace>
  <inkml:trace contextRef="#ctx0" brushRef="#br0" timeOffset="12066.92">2719 12248 924 0,'0'0'363'0,"0"0"-20"0,0 11-31 0,2-4-10 0,-1 2-18 16,1 2-45-16,0 2 1 0,1 1-43 0,0 1 3 0,-1-1-36 15,-2 4-21-15,1-3-20 0,1-2 2 16,0 2-4-16,-2-3-1 0,0-2 3 15,5 1-21 1,-4-3 36-16,-2 0 126 0,1-2-95 0,0-1 43 16,0-2-53-16,0-3 18 0,0 0-11 0,0 0-38 0,0 0-13 0,0 0-7 15,3-12 15-15,0 2-26 0,0-1-33 0,4-1-5 16,-2-3-54-16,5 1-2 0,0 0-34 0,1-3-51 16,4 0-23-16,0 1-8 15,-2 0-66-15,5 3-21 0,0 0-15 0,-5 2-17 16,5-1-1-16,-3 4 0 0,-1-1 33 0,-2 4 3 0,1 0 38 15,-5 1 21-15,1 2 13 16,-1 2 55-16,-2-1 19 0,-2 4 23 0,2-1 28 16,-4 2 21-16,1 1 12 0,-1 1-15 0,-2 0 10 15,3 0 23-15,-3 2-18 0,3-2 16 16,-3 2 0-16,2-2-19 0,1-1 9 0,0 3 48 16,1-4-41-16,-1 0 15 0,2-1 11 0,0-1-5 15,0-2 4-15,3 0 50 0,-8 0-22 0,13-3 14 16,-8 0 5-16,0 0 17 0,-2 0-2 15,2-3-20-15,-3 2 7 0,-2-2-7 0,-2 1-18 16,2-2-18-16,-5 4-6 0,2-2-12 16,-5 1 5-16,1 1-13 0,2-1 3 0,0 4-16 15,-3-1 1-15,0 0-47 0,8 1-25 16,-12-1-34-16,6 2-30 16,6-1-36-16,-8 2-31 0,8-2 5 0,0 0-4 0,0 0-11 15,0 0-41-15,0 0 5 0,0 0-8 0,27-4 29 16,-12-1 22-16,2 0 24 0,2-2 12 0,3 1 3 15,2-4 29-15,-1 3-19 0,0 0 33 0,0 0 39 16,-3 0 23-16,-2 2 18 0,-2-2 46 16,-3 2 3-16,-3 2 50 0,0 0-4 0,-2 2-13 15,-1 0 17-15,-2 0 4 0,-5 1-24 32,0 0-5-32,8 3 0 0,-8-3-13 0,-4 6 1 0,3-1-4 0,-2 1 6 0,-1-1-15 0,1 2-1 15,-3-1-25-15,2 2 31 0,-1-1-26 16,2-1 20-16,-2 0-32 0,4 0 9 15,-1 1-10-15,0-3-2 0,-1 1 7 0,3-1 1 16,-2 0-3-16,2-4 7 0,2 4-2 16,-2-4-10-16,0 0 7 0,0 0 8 0,0 0 5 0,0 0-10 15,15-4-10-15,-15 4 2 16,6-5 0-16,-4 3 21 0,-2 2-8 0,5-4 5 0,-5 4-23 16,5-1 11-16,-5 1-21 0,0 0 2 15,0 0 6-15,9 5-16 0,-5-3-26 16,-4-2-4-16,8 4-19 0,-6-2-14 0,4-1 1 15,-6-1-4-15,12 0 7 0,-2-1 11 0,1-4-11 16,1 2 26-16,2-3 21 16,1-1 9-16,1-2 32 0,1 2 27 0,-1-6 6 0,-1 2 10 15,0 0 28-15,-4 0 28 0,4-5 21 0,-5 3 4 16,-2-2 9 0,5-3-11-16,-5 2-13 0,-1 1 26 0,1-1-33 0,-3 4 20 0,0 2-35 15,-2-1 43-15,2 3-29 0,-2-1-29 0,2 3 22 16,-3 2-16-16,-2 1-2 0,0 3-28 0,0 0-7 15,0 0-19-15,0 0 26 0,0 15-2 16,-2-5-68-16,-3 4-47 0,4 2-22 16,-3 3 6-16,1 2-20 0,2-2-34 0,-3 2 15 15,4-2 16-15,0-2-5 0,0-2 23 0,0 0 12 16,0-3 6-16,2 0-3 0,0-3 13 16,-1-2 28-16,4-1-13 0,-2-3 37 0,4 0-14 15,-2-2 13-15,-5-1-2 0,10-4 25 0,-4 2-16 16,-1-3 17-16,0 0-11 15,0-1-3-15,0 0 23 0,-3-2-30 0,1 2-8 0,-3-3 31 16,0 2-1-16,0 0-37 0,0-1 14 0,-2 2 22 16,1 1-6-16,-3 0-3 0,1 0-5 15,-2 2 6-15,-1 2 10 0,0 0-13 0,6 1 2 16,-17 4-15 0,8-1 21-16,0 3-11 0,-1 1-17 0,-2 4 19 0,1 0-9 0,3 1-13 15,-2 2 10-15,0 0-2 0,2-1-3 16,1 1 10-16,1-2-25 0,4-1 12 0,-4 0-30 31,5-2-26-31,1-1 10 0,0-1-12 0,1-1-21 16,3-1-51-16,-2-2-54 0,1 0-110 0,4 0-102 0,-7-2-34 0,5 0-432 15,3-1 59-15,-8 0 86 0,13-1 45 0,-6 0 111 0,1 0 47 16</inkml:trace>
  <inkml:trace contextRef="#ctx0" brushRef="#br0" timeOffset="13322.05">2665 12969 1277 0,'0'0'338'0,"-8"-3"-39"0,8 3-38 15,-12 3-10-15,4 0-26 0,3 2-25 16,-6 1-29-16,1 2-12 0,0-1 72 15,0 6-32-15,-4-2-12 0,0 0-36 0,3 1-2 16,-2 1-24-16,3-2-15 0,0 2-13 16,5-4-38-16,-1 1-8 0,1-3 13 0,0 0-33 0,5-2 0 15,-2-1 5-15,4 0-21 0,-2-4 8 16,8 1 8-16,-8-1-8 0,13-5 13 0,0 0-1 16,0-2-6-16,2-2 12 0,2 0 20 15,1-3 6 1,1-3-34-16,-1 1 26 0,-3 1 5 0,-2-3-3 0,0 4-5 0,-3 0 8 0,0 3-10 15,-2-1 10-15,-1 3-10 0,-1-1-18 16,-1 2 18-16,0 1-21 0,-3 2-5 0,1 0 0 16,-3 3-13-16,0 0-9 0,0 0-14 0,0 0 0 15,0 0-12-15,0 12-37 16,0-12 4-16,-3 9-6 0,1-5-33 0,2 2-6 0,0-1-35 16,0 0-23-16,0-1-31 15,2 0 6-15,1-1-22 0,2-1-7 0,0-1 44 16,3-1-105-16,0-2 35 0,4-1 72 0,-2 0 29 15,4-2 22-15,1-3 54 0,0-1 46 0,0 0 8 16,2-3 36-16,-3 1 15 0,0 1 33 16,-4 1 19-16,0-1 2 0,-3 1 2 0,1 1 5 15,-3 2-2-15,0-1 6 0,1 2-12 0,-4 1 9 16,-1 2-1-16,-1 2-30 0,0 0 8 0,0 0 4 16,0 0-40-16,0 0 2 0,-11 8 8 15,6-2-16-15,-2 2-22 0,-1 2 17 16,-1 2-20-16,0 1-20 0,0-1-3 15,0 2-8-15,1-1-28 0,0 0 18 0,0 0-3 16,0-1 16-16,1-1-26 0,4-1 18 16,-1-1-18-16,1 0-2 0,3-4 10 0,0 2 5 0,2-3 18 15,1 0-31-15,0-2 18 0,4-1-8 16,1-2 31-16,2 1 3 0,0-2-16 0,1-2-12 16,1-1 12-1,4-2 11-15,-5 2 7 0,3-3 13 0,-3 2 10 0,2-3 13 0,-3 2 3 16,0 0 15-16,1 0-10 0,-1 0 25 15,-3 3-23-15,-1-2-2 0,-2 2 18 0,2 2 0 0,-1-1-14 16,-3 1-9-16,-2 2-13 0,0 0 28 16,0 0-44-16,0 0 16 0,8 7-13 15,-5-4-10-15,-3 2 13 0,0 0-26 0,0 1-39 0,0 0-40 16,0 1-49-16,0-1-51 0,-3 1-136 16,6-1-151-16,-3 1-412 15,0 0 131-15,0-2 17 0,2 1 82 0,-1-2 90 16,3-1 31-16</inkml:trace>
  <inkml:trace contextRef="#ctx0" brushRef="#br0" timeOffset="13462.48">3134 13005 1256 0,'-5'-4'366'0,"5"4"-61"0,-3-3-75 16,3 3-81-16,-5-4-101 0,5 4-201 15,-2-2-485-15,2 2 6 0,0-6 82 16</inkml:trace>
  <inkml:trace contextRef="#ctx0" brushRef="#br0" timeOffset="13938.58">3347 12706 1049 0,'0'0'335'0,"-2"17"-7"15,1-10-31-15,1 0-21 0,0 4-12 16,0-1-36-16,0 1-8 0,0 4-43 15,0-1-24-15,0-1 11 0,0 1-31 0,1 1-10 16,1-2-21-16,-2 0-17 0,3-3-11 0,-3 0 3 16,0-2-29-16,2 1 6 0,-2-2 15 15,1 0-12-15,-1-3-4 0,0 2-4 0,-1-3-11 16,-1 1 16-16,-3 0-15 0,2-1-6 16,-2 0-20-16,0 1 7 0,-1-1-10 0,-1 1 24 15,0-1-9-15,-1 1-20 0,0 0 26 0,-1 0-18 16,3 1-13-16,0 0-5 0,-2 1 17 15,1-1-12-15,0 0 18 0,1 2-33 0,1-3 10 16,-1 2 0-16,2 0-34 0,1-2 4 16,3 0-14-16,-2-1 18 0,2-3-2 15,2 6 5-15,-2-6 2 0,5 4-15 0,-5-4 13 16,10 0 8-16,-10 0 4 0,13-4-9 0,-5 3 9 16,2-2 6-16,-2 1-13 0,2-2 36 15,0 1-8-15,1 0 0 0,-1 0-15 0,-2-1 12 16,2 2 11-16,-2 0-5 0,-1 0 0 0,1 1-8 15,0 0 10-15,0-1-20 0,-2 1 17 16,0 0 3-16,2 0 6 0,-8 1-11 0,10 0-26 16,-5 0 24-16,-5 0-16 0,11-1-51 0,-4 1 5 15,-7 0-17-15,11 1-37 0,-4-3-33 16,1 2-66-16,-1 0 38 0,1 0-16 0,0-2-86 16,0 2-103-16,2-3-320 0,-3 2 67 0,3 0 87 15,-1-1 51-15</inkml:trace>
  <inkml:trace contextRef="#ctx0" brushRef="#br0" timeOffset="14445.94">3678 12841 1126 0,'0'0'381'0,"0"0"-28"0,0 0-48 0,0 0-6 0,0 0-30 16,0 0-38-16,-5 8 2 0,5-3-34 16,0 0-4-16,0 0-16 0,0 2-41 15,0-1-5-15,0 2 0 0,0 0-17 0,0-2-19 16,0 2 0-16,0-1-12 0,0 0-11 16,0 0-15-16,0-1 5 0,0 1-21 0,0 0-10 15,0 0-17-15,2-2 15 0,-2 1-16 0,0 1-7 16,0-1-19-16,0 0 19 0,2 0-5 15,-2-1-11-15,0-1 8 0,0 0 0 0,1-1-18 16,-1-3 10 0,3 7-7-16,-3-4 2 0,0-3 5 0,0 5-2 0,0-5 8 0,2 4 12 15,-2-4-38-15,0 2-6 0,0-2-1 0,0 0-14 16,0 0-53-16,2 2 2 0,-2-2-10 16,0 0-69-16,0 0-31 0,0 0-23 0,0 0-110 31,0 0 2-31,0 0-424 0,0 0 168 0,0 0-45 0,9-6 74 0</inkml:trace>
  <inkml:trace contextRef="#ctx0" brushRef="#br0" timeOffset="15108.06">3695 12993 898 0,'1'-4'384'0,"1"-1"-44"16,-2 0-15-16,3-2-99 0,-1-1-4 16,-1-1 1-16,1-2-34 0,-2-1 34 0,0 1-44 15,2-1-2-15,-2 1-11 0,0 2 65 16,-2-2-27-16,2 3 4 0,-2 0-26 0,1 1-8 16,1 0-8-16,-2 3-30 0,-1 2-3 0,3 2-5 15,-5-1-41-15,5 1 38 0,0 0-33 16,-10 9-30-16,4-3 27 0,2 1-35 0,1 2 10 15,0-1-13-15,1 2-15 0,-1-1-18 0,1 0 3 16,-1 0-11-16,3 0-18 16,0-1 3-16,0 0-26 0,3-1 18 0,-3-1-10 0,5 0 3 15,0-2 5-15,0 0 25 0,1-2-46 16,-2-1 33-16,4-2-7 16,-8 1 8-16,15-3-11 0,-7 1 10 0,0 0 24 0,2-2-16 15,-2-1 3-15,2 1 15 0,-2 1 5 0,-1 0-21 16,1-1 29-16,-3 2-23 0,0 0 2 0,1 1 8 15,-6 1-28-15,10 1 13 0,-10-1 18 16,10 3-21-16,-8-1 10 0,3 1-15 0,-2 0 3 16,0-2 4-16,2 2-40 0,-2 0 5 0,-3-3 0 15,10 3-21-15,-7-2-12 0,-3-1 22 16,12-2 6-16,-4 0-5 0,-3-1 4 16,3 0-9-16,0-1 27 0,1-4 1 0,-1 2 28 0,0-2 28 15,-1-3-13-15,1 2 18 0,0-1 44 16,-3-3-34-16,0 2 23 0,0-4 11 0,-1 2-34 15,0-3-86-15,1 5 35 16,-2-3 13-16,-1 4 25 0,1 1-7 0,0 3-5 0,-1-2 10 16,0 3 10-16,-2 2-20 0,0 3-8 15,0 0 20-15,0 0-43 0,0 0 38 0,0 0-22 16,0 0 17-16,0 18-23 16,0-11-12-16,0 1-37 0,-2 2-45 0,0 3-52 0,2 0-79 15,-3 1-79-15,0 0-118 0,1 0-185 16,-1-1-311-16,1 0 68 0,-1 0 93 0,-1-1 96 15,3-4 42-15,-5 0 90 0</inkml:trace>
  <inkml:trace contextRef="#ctx0" brushRef="#br0" timeOffset="15228.31">3914 12974 662 0,'-2'-2'369'0,"2"2"-46"16,-1-6-9-16,1 6-32 0,0-6-39 0,1 1 8 16,3-1-49-16,-1 1-48 0,4-2-34 0,-1-1-66 15,4 0-64-15,0-2-106 0,3 1-76 16,2-4-38-16,3 0-435 0,2 0 50 15,1 0 52-15,0 1 72 0</inkml:trace>
  <inkml:trace contextRef="#ctx0" brushRef="#br0" timeOffset="15446.78">4311 12703 632 0,'11'-7'366'0,"-1"2"-62"0,-3 1 52 0,-2 2-15 0,-3 1-32 16,-2 1 27-16,6-2-152 0,-6 2 31 16,0 0-18-1,0 0-15-15,-3 9 17 0,3-9-22 0,-2 8 5 0,2-3-3 0,0 0-23 0,2 2 16 16,-2 1-11-16,3 1-18 15,-2 1-15-15,1-1-2 0,3 2 20 0,0 0-13 0,0 1-23 16,0 0 23-16,0-1 82 0,1-1-62 0,-1 2-4 16,0-1 2-16,0 0-23 0,-2-2-21 0,-1 1-4 15,-2-2-29-15,0 2-46 16,-3-2-48-16,-2 1-65 0,0 1-58 0,-1-2-70 0,-1 1-96 16,-8 1-301-16,10-3-390 15,-3-3 183-15,0 0 26 0,0-1 95 0,1-1 56 0,-3-2 174 16,2-3-59-16</inkml:trace>
  <inkml:trace contextRef="#ctx0" brushRef="#br0" timeOffset="16616.86">5791 9667 1075 0,'7'3'389'15,"1"2"-44"-15,2-1-20 0,0-2-18 0,3 4-28 16,0 1-25-16,-2-3-21 0,1 3-23 16,0-2-6-16,-1 1-22 0,-1 1-3 0,0-4-33 15,-4 3 36-15,2-1-108 0,-4 2 29 0,-1 0-6 16,-3 1 18-16,-3 1-10 0,-1-2-5 0,-10 7-23 16,-1 2 58-16,-3-1 11 0,-5 7-25 15,-5-4-42-15,5-3-30 0,5-3-44 0,-2 2-51 16,1 1-93-16,1-6-104 15,-5 4-223-15,11-7-448 0,2 1 67 0,-1-1 110 0,4-2 64 0,1-3 117 16,4 3 75-16</inkml:trace>
  <inkml:trace contextRef="#ctx0" brushRef="#br0" timeOffset="18020.18">6393 9532 780 0,'-5'9'279'0,"4"-3"-10"0,-3 3-31 0,1 2-41 0,-2-2-5 16,2 2-26-16,1 1 1 0,2-1-37 0,0-2 1 15,0 3-18-15,2-2-21 0,1-1 2 0,-1 1-14 16,1-2-9-16,2 0-17 0,-2-3-10 16,4 1 66-1,-1-2 5-15,-1-1 8 0,2-3-18 0,1 0 5 0,-8 0 20 0,11-3 6 0,-4-1-34 16,0 2 26-16,-4-2-12 16,2 4 1-16,0-5-7 0,1 5 6 0,-6 0-9 15,5-2-22-15,-5 2 25 0,0 0-51 0,10 6 10 0,-7-4-5 16,-3 3-46-16,2 2-11 15,0-3 24-15,1 2-39 0,2 0-2 0,-2-2 5 16,2 1 7-16,0-1 9 0,0-2-6 0,3-2 10 16,-3 1 26-16,-5-1 15 0,13-3 24 0,-6-1 40 15,1-2 21-15,-3 0-13 0,3-1 13 16,-3-2-80-16,3-1-2 0,-3-3-13 16,0-1 100-16,0-2-33 0,1 0 2 0,-2-1-13 0,2-1 18 15,-3 4 1-15,1 1 12 16,-1 3-51-16,0-3 2 0,-1 7-25 0,-2-2 8 15,2 1-24-15,-1 3 19 0,2 4-37 0,-3 0 1 16,0 0 28-16,0 11-29 0,-3-3-7 0,3 4-13 16,-1 1-18-1,1 0-10-15,-2 4 0 0,2-2-56 0,2 2-16 0,-2-4 34 0,4 6-26 16,0-3 10-16,2-1 8 0,-1 1 5 0,3-3 8 16,0-4 10-16,2-2-13 0,0-1 18 15,2-1-3-15,-1-1-17 0,1-4 17 0,-1 0 24 16,2-3-14-16,0 1 40 0,-1-2-24 0,1-3 25 15,-3 0-19-15,1-1 9 0,-1-2 34 16,-3 1 17-16,1-1-19 0,-2-1 22 16,1 3-15-16,-4 0 15 0,-1 1-15 0,1-1 25 15,-1 4-7-15,-2 0-21 0,0 4 23 0,-3-3-30 16,3 3 10-16,0 0 5 0,0 0-34 16,-12 10 27-16,9-4-29 0,0 0 5 0,1 1-43 31,-3 2-13-31,5 0-29 0,-3-3-19 0,3 2-19 0,0 0 11 0,0-1-8 0,3-1 7 0,0-2-4 15,1 1-3-15,0 0 10 0,3-3 3 16,-2 0 12-16,3-2-2 0,2-2 21 0,0 1-1 16,3-2 11-16,-3-1 7 0,1-1 29 0,1-2-3 15,-1 1 23-15,-1 0 46 16,0-1 7-16,-2 1 11 16,0 1 18-16,-1-1 21 0,-4 2 7 0,2 0 2 0,0-1-12 0,-3 4-15 15,-2 1 12-15,0 0-46 0,0 0 11 0,0 0 2 16,1 10 0-1,-2-7-29-15,1 4 14 0,-2-1-34 0,2 3-56 0,-2 0-23 0,-1 1-38 16,3-1-52-16,0 0-50 0,0 0-37 16,-3 1-171-16,3-1-502 0,3-3-7 0,-3 1 71 15,3-1 105-15,-1-2 105 0,0-2 51 0,1-1 21 16</inkml:trace>
  <inkml:trace contextRef="#ctx0" brushRef="#br0" timeOffset="18136.56">7075 9676 627 0,'0'0'220'0,"-2"-7"-90"0,2 7-117 0,0-7-90 16,2 6-447-16</inkml:trace>
  <inkml:trace contextRef="#ctx0" brushRef="#br0" timeOffset="18484.41">7170 9625 1420 0,'0'0'456'0,"0"0"-108"0,-16 6-31 0,11-2-12 0,0 0-31 0,0 4 0 16,0-1-62-16,0 1 8 0,2-1-30 16,1 4-27-16,-1-2 4 15,0 2-42-15,1-4-35 0,2 4-34 0,2-4-28 0,1 3-46 16,-3-4 26-16,5 2-21 0,0-3 21 0,0-2-11 16,1 0 1-16,1-1 7 0,-1-2 0 15,1 0 0-15,1 0 3 0,2-2 41 16,-5 1 9-16,0-2 12 0,3 3 9 0,-1-2 13 0,-1-1-8 15,-1 3-9-15,-5 0 9 16,8-1-10-16,-8 1-10 0,4 1-7 0,0 4 12 0,-2 0-18 16,0 2 8-16,-2 0-5 0,3 6-8 0,-3-1-18 15,0 4 23-15,0-1-18 0,0 2-12 16,0 2-3 0,-3 1-5-16,1-1-60 0,-1 0-11 15,-2 0-27-15,0 0-61 0,0 0-61 0,0-1-34 0,2-8-202 0,-4 5-440 0,4-3 41 16,1-5 97-16,1 0 36 0,-1-4 92 15,2-3 44-15</inkml:trace>
  <inkml:trace contextRef="#ctx0" brushRef="#br0" timeOffset="18735.05">7503 9564 1077 0,'0'0'469'0,"0"0"-24"0,-2 14-10 0,2-6-23 0,-4 0-28 0,2 3-56 0,2 2-24 16,0-1-9-16,0 2-26 0,0-1-111 0,0 2 42 15,0 0-52-15,0-2-12 0,1 4-26 16,1-2-28-16,1 0 15 0,-1-1-17 0,0-3 63 16,1 2 0-16,2-4-33 0,-2 3-7 15,2-2-3-15,0-3-44 0,0-1-41 0,0 0-22 16,1 0-80-16,-1-2-41 0,2 1-87 0,-2-5-233 15,-1 5-517-15,0 0 66 0,1-2 108 0,-4 0 82 16,1 0 105-16,-2 2 56 0,0-5 13 16</inkml:trace>
  <inkml:trace contextRef="#ctx0" brushRef="#br0" timeOffset="19295.93">5439 10892 998 0,'0'0'310'16,"0"0"-11"-16,0 0-35 0,21 8-24 16,-9-7 1-16,3 4-39 0,3-1 62 0,3 1-21 15,2 0-31-15,5 0-7 0,-1 2-100 0,3-2-8 16,-2 1 1-16,-3 0-27 0,-1 1-14 0,-3-3 12 16,-4 2 7-16,-4-3-1 0,2 3 32 15,-9 0 6-15,-1 1 33 0,-2 0-36 0,-3 1-3 16,-4 1-15-16,-3 2 6 0,-1 0-4 15,-2 1-9-15,-3-2-1 0,-4 6-22 0,1-3-39 16,-4 0-33 0,2 0-24-16,2-1-42 0,-1 0-63 0,4-3-55 0,-1 0-172 15,0 0-146-15,6 0-356 0,3-4 93 0,1 0 99 0,4-4 67 16,0-1 76-16</inkml:trace>
  <inkml:trace contextRef="#ctx0" brushRef="#br0" timeOffset="20183.38">6232 10681 1287 0,'0'-2'430'0,"0"2"-36"16,0-4-2-16,0 4-62 0,0 0-41 16,0 0 6-16,0 0-57 0,-4 16-16 0,5-8-14 15,-2 0-16-15,1 4-16 0,0 0-35 0,0 1-5 16,0 3 2-16,0-1-38 0,0 3-5 16,0-1-3-16,-2 2-41 0,2 0-5 0,-2-1-18 15,2 1-13-15,-3-4 21 0,0 2 5 0,1-4-23 16,-1 0 5-16,3-2 16 15,-2-3 14-15,-1 2 6 0,0-2 3 0,2-2-3 0,1 0 7 16,-1-4 1-16,1 2 4 0,0-4-17 16,0 0 5-16,0 0-82 0,0 0 2 15,0 0 6-15,0 0 20 0,0 0-25 0,0 0-3 16,2-17 10-16,1 17-2 0,-3 0 12 0,3-6-5 16,-1 4-10-16,-2 2 3 15,0 0-8-15,8 0 26 0,-8 0-24 0,8 2-12 0,-1-1-6 16,-1 2-7-16,-1-1-5 0,2-2 2 0,2 3-2 15,1-3 10-15,2 0 6 0,-1-3-22 0,4 3 32 16,-2-3 4 0,2 0-15-16,0-1 6 0,-4 1 12 0,4-3-3 0,-4 0 3 0,1 1 13 15,-4 0 18-15,2 0-8 0,-3-1 10 16,-1-1-17-16,-1 3 25 0,0-2 2 16,0 1-1-16,-2 2-19 0,-1-2 23 0,-1 3 15 15,-1 2-27-15,2-3-19 0,-2 3 24 0,0 0-21 16,0 0 25-16,0 0-25 0,-13 6-2 15,11 0-21-15,-1 0 43 0,1-1-40 0,1 0-32 16,1 1-12-16,0-2 8 0,0 2-3 0,3-1 5 16,4 0-12-16,-1-3-11 15,-1 3 8 1,3-4 8-16,2-1 4 0,0 0-9 0,1-1 45 0,4-1-35 0,-2-1 25 0,-1-2 0 16,1 1 26-16,0 0 21 0,-3-2 2 0,3 4 0 0,-5-3 30 15,0 2 14-15,-1 0-6 0,-1 1 13 16,1-1-15-16,-2 2 2 0,-5 1-23 15,8-1 3-15,-8 1 5 0,5 3-18 0,-5-3-2 32,3 7 7-32,-3-4-20 0,0 3-34 0,0-1-38 0,0 1-59 0,-3 1-38 0,3 1-90 15,-3-1-200-15,3 0-403 0,0 1 104 0,0-4 56 16,0 0 69-16,3-1 49 0,-3-3 70 16</inkml:trace>
  <inkml:trace contextRef="#ctx0" brushRef="#br0" timeOffset="20562.66">6846 10767 870 0,'-18'6'384'0,"14"-4"-23"0,-2 1-39 0,1 1 6 0,0 0-59 0,0-2-19 0,-1 4-1 15,2-1-27-15,1 2-24 16,1-2-22-16,1 2-15 0,1-2-22 0,1 2 1 0,1 0-27 16,3 0-5-16,-3 2-6 0,4 0-25 15,-1 0 0-15,1 1 61 0,1-1 38 0,-2-1-58 16,-2 3 8-16,2-3-45 0,-3 2 17 0,1 0-14 15,-3 0-10-15,0-1-38 0,-3 3-2 0,-1-1 4 16,0-2-33-16,0 2-23 0,-4-1-13 16,3-1-38-16,-3-1-23 0,1 0-69 0,-1 1-82 15,0-2-218-15,1-2-371 0,4 0 39 0,-3-3 96 16,4-1 29-16,2-1 54 0,0 0 94 16</inkml:trace>
  <inkml:trace contextRef="#ctx0" brushRef="#br0" timeOffset="20875.99">6985 10671 1062 0,'0'0'448'0,"0"0"-21"0,0 0-28 15,0 0-35-15,0 15-29 0,0-9-33 0,0 2 21 16,-2 2-62-16,2-1-3 0,0 1-9 15,-3-2-24-15,3 5-28 0,-3 0-2 16,1-1-39-16,2 0-23 16,-3 2 8-16,3-3-39 0,-2 0-12 0,2-3 25 0,0 1-26 0,0-1-4 15,0-2 2-15,0 0-8 0,0 0-12 0,2-3-62 16,-2 4-13-16,0-4 31 0,1 0-23 16,3 2 18-16,-1 0-31 0,0-3 19 0,1 4 9 15,-1-2-38-15,2-2-26 16,-3 3-40-16,4-3-47 0,-1 3-53 0,0 0-19 0,3-3-145 15,-3 0-177-15,1-1-422 0,4-1 115 0,2-3 77 16,1 2 69-16,0-5 69 0,2-1 64 16</inkml:trace>
  <inkml:trace contextRef="#ctx0" brushRef="#br0" timeOffset="21363.18">7275 10688 1246 0,'-3'-6'471'0,"3"6"-64"0,-2-2-46 16,2 2-3-16,0 0-20 15,0 0-61-15,0 0-37 0,-8 14-20 16,5-8-17-16,3 5-17 0,0-1-9 0,-2 0-11 0,4 3-27 16,-4 2-1-16,4-1-31 15,-2 0-35-15,3 0-46 0,-3 0-42 0,0 0-43 0,1-2-63 16,-2-1-32-16,1 3-48 0,-3-4-52 0,3 0-25 16,-4-2 46-16,1-1-5 0,0 2 36 15,-2-4 26-15,-3-1 22 0,3-1 52 16,-2-2 43-16,-4 0 66 0,1-1 37 0,0 0 22 0,-3-1 42 15,0-2 12-15,0 1-5 16,-2-1 21-16,5 1 0 0,-1-1 5 0,1 2-3 16,3-2 5-16,-1 1-12 0,2-1 9 0,-1 2-29 15,4-1 19-15,3 2-30 0,0-5-8 0,0 5 33 16,10-6-43 0,-2 4-10-16,5-2 20 15,0 2-7-15,8-3-21 0,-1 0 20 0,8 2-22 0,0-3 17 0,1 1-10 0,1 0-18 0,1-1 11 16,0 2-3-16,-3-1 10 0,0 1-13 15,1-1-18-15,-7 2 11 0,2-1-11 16,-4 2 29 0,-2-3-16-1,-2 5-18-15,-1-3 6 0,-2 0-24 0,0 3 18 0,-3-2 16 0,0 2 2 0,0-3-15 0,-4 3 5 0,1-2-18 16,1 2 5-16,-3-2-10 0,-5 2 0 0,10-1-31 16,-10 1-25-16,8-2-8 0,-8 2-18 15,0 0-51-15,0 0 10 0,0 0-82 0,0 0-41 16,0 0-176-16,0 5-567 0,0-5 101 0,0 0 54 15,0 0 119-15,-8 7 29 0,5-4 97 16,-1-1 70-16</inkml:trace>
  <inkml:trace contextRef="#ctx0" brushRef="#br0" timeOffset="22593.93">5767 12004 796 0,'0'0'332'0,"-7"1"-22"0,7-1-34 0,0 0-20 16,0 0-25-16,0 0-26 0,12 12-16 0,-4-10 8 15,3 3-48-15,1-1-9 0,1-1-19 0,0 4-11 16,0-3 0-16,-1 2-15 0,-3 1-6 15,1-2 3-15,-3 0 0 16,0 2 29 0,-6-1-39-16,-1 1 20 0,-1 1 29 0,-3 2-24 0,-4 0 70 0,-2 2 4 0,-3 0-30 0,-3 2-25 15,-2-2-6-15,1 3-7 0,-1-1 12 0,0-1-48 16,0 0-39-16,5-2-22 0,1 0-52 0,1-2-46 16,3-2-74-16,0 2-87 15,4-1-192-15,1-3-449 0,2 0 65 0,5-2 100 16,-4-3 115-16,12-1 8 0,-2-2 40 0</inkml:trace>
  <inkml:trace contextRef="#ctx0" brushRef="#br0" timeOffset="23047.4">6298 11919 1435 0,'0'0'425'15,"0"0"-61"-15,0 0-29 16,0 0-25-16,-7 13-13 0,4-5-21 0,2 0-43 0,-3 4-8 15,1 0-27-15,-2 3 70 0,2 2-27 0,1 1-52 16,-3 1-63-16,3 1-55 0,1-1-24 16,-2 1-47-16,1-1-41 15,2-2 0-15,0-1-23 0,0-2 0 0,2-1-8 0,-2-2 34 0,3-2 7 16,-3-3 21-16,0 1 38 16,1-1 56-16,-1-5-2 0,0-1 46 0,0 0 54 15,0 0-44-15,0 0 13 0,0 0 28 0,-6-14-99 16,3 4-6-16,3-1 18 0,-2-2-13 15,2-2 6-15,0 0-13 0,2-2 2 16,1-1-5-16,2 0-3 0,3 3-4 0,-1-1 84 0,4 3-18 16,4 0-23-16,-2 4 7 0,3 2-30 15,-1 1-84-15,1 3 12 0,-2 2 21 16,2 2-24-16,-3 1-14 0,-1 2 22 0,2 2 5 0,-7 0-17 16,3 1 5-16,-5 4 10 0,-2 0 2 15,-1 0-17-15,-2 1 17 0,-2 3 70 16,-6 0-80-16,-4 3 23 15,1-1-38-15,-4 0-5 0,-1-1 0 0,-9 5-26 0,4-5-28 0,4-2-31 16,-2-2-38-16,4-2-28 0,2-1-29 0,0-2-30 16,3-1-64-16,3-1-8 0,1-4-240 15,3 2-461-15,3-3 130 0,0 0 44 0,0 0 123 16,16-17 89-16,-5 6 21 0,7-3 46 16</inkml:trace>
  <inkml:trace contextRef="#ctx0" brushRef="#br0" timeOffset="23208.44">6598 12061 816 0,'0'0'353'0,"0"7"57"0,-3-2-44 0,1 1-5 0,2-1-77 15,-5 3-31-15,2-1-4 16,1 0-47-16,-1 2-28 0,-2 0-72 0,0 1-84 0,5-1-95 16,-7 2-222-16,3-3-474 0,4-1 51 0,0 0 115 15,3-2 85-15,-3-2 46 16</inkml:trace>
  <inkml:trace contextRef="#ctx0" brushRef="#br0" timeOffset="23341.58">6598 12094 806 0,'0'-6'317'0,"0"2"-20"0,3-1-43 0,-1 0-47 0,1 0-31 0,2 1-60 16,2-1-132-16,1-5-165 0,2 5-470 0,1-2 68 15,1 3 50-15</inkml:trace>
  <inkml:trace contextRef="#ctx0" brushRef="#br0" timeOffset="23543.18">6795 11980 962 0,'2'-2'438'0,"-2"2"-90"0,0 0 10 16,0 0 3-16,0 0-36 0,-12 8-5 0,10-4-23 15,-1 0 56-15,0 3-48 16,1-2-90-16,0 2-13 0,1 1-13 0,-1 1-32 0,2-1-4 16,0 2 1-16,0-1-26 0,0 0-16 31,0 1-7-31,0-1-7 0,-3 0-45 0,0 3-12 0,1-3-48 0,-3 1-9 0,2-3-27 0,-4 1-31 15,4 0-26-15,-4-2-51 0,4-1-26 16,-3-1-120-16,2 0-156 0,1-3-430 0,0 0 105 16,3-1 33-16,0 0 118 0,0 0 66 31,-2-13 52-31</inkml:trace>
  <inkml:trace contextRef="#ctx0" brushRef="#br0" timeOffset="23699.99">6844 11837 1113 0,'0'-5'379'0,"2"0"-49"15,-2 3 8-15,0 2 0 0,0 0-41 0,0 0-8 16,0 0-38-16,6 14-13 0,-4-6-5 16,-1 1-21-16,1 2-35 15,0 2-13-15,2-1-29 0,-2 3-9 0,0 0 63 0,3 1-63 0,-4 2-65 16,3 0-74-16,-4-2-94 0,3 2-190 16,-3 0-635-16,0-4 87 0,3 1 100 0,-3-5 106 15,2-1 70-15,-2-1 52 0</inkml:trace>
  <inkml:trace contextRef="#ctx0" brushRef="#br0" timeOffset="23919.06">6805 12066 1075 0,'-4'-5'360'0,"1"1"-19"0,2 0-26 0,1 0-39 16,1 0-25-16,2-1-26 0,1 0 8 16,2-1-38-16,4-1-16 0,-3 1-25 0,7-3-1 15,1 1-15-15,5-1-7 0,-2 3-39 0,3-3-23 16,2 3-41-16,5-2-33 0,0 2-33 15,11-3-80-15,-6 4-133 0,8-7-99 0,-5 7-441 16,-5 3 74-16,2-2 51 0,-2 1 96 0,2-1 50 16</inkml:trace>
  <inkml:trace contextRef="#ctx0" brushRef="#br0" timeOffset="24946.84">7377 11905 1415 0,'-7'-2'410'0,"-1"4"-50"0,-5-2-32 0,0 2-13 0,-2 3-118 0,0-1-28 0,-1 3 18 16,-2 0-39-16,1 1-9 16,1 1-11-16,1-1-3 0,-1 0 44 0,1 2 10 0,2-1-23 15,3-1-12-15,-1-1-29 0,1 0 0 0,3 0 0 32,1 0-56-32,1-3 23 0,2 1-8 0,1-2-7 0,2-3-11 0,5 5 3 0,-5-5 5 15,8-1-8-15,2-2-10 0,0 3 8 0,1-3-8 16,-1-2 13-16,0 0 31 0,3-1-19 15,-2-2 6-15,1 2 30 0,-2-1-37 16,0 0-1 0,-2-2 10-16,0 3 13 0,-3 0-28 0,1-1-2 0,-2 4 14 0,2-2-27 15,-4 1 2-15,1 3-28 0,-3 1 26 0,5-2-23 16,-5 2 14-16,0 0-9 0,0 0-5 0,0 0-24 16,-8 10 1-16,6-6 23 0,-1 0-42 15,0 0-12-15,1 0 36 0,0 1-21 0,1 0-26 16,-1-2 4-16,2 3 6 0,-3-3 12 15,1 1 9-15,0-1-31 0,2-3 14 0,0 5 10 16,0-5 17-16,1 3-17 0,-1-3 7 16,0 0-7-16,6 1 25 0,-6-1 5 0,0 0-7 0,13-1-13 15,-13 1 15-15,7-3 5 0,-7 3-2 16,11 0 3-16,-9-2-14 0,-2 2 8 0,10 0-10 16,-10 0 8 15,8 0 2-31,-8 0 1 0,8 2 4 0,-3-2-5 0,-5 0-10 0,8 3 10 0,-4-2-2 0,-4-1 5 0,6 2 10 15,-6-2 3 1,5 2-6-16,-5-2 24 0,5 1 12 0,-5-1 51 0,0 0-140 0,5 1 64 0,-5-1 40 16,0 0 4-16,0 0 50 0,0 0-20 15,0 0 10-15,10-4 6 0,-10 4-11 16,3-2-49-16,-3 2 36 0,3-2-22 0,-3 2 22 0,0 0-64 16,4-2 18-16,-4 2 8 0,0 0-43 15,8-2-27-15,-8 2-9 0,10 2-70 0,-4 0-7 16,-6-2-67-16,10 1-30 0,-2-1-6 15,2 1-61-15,0 0-21 0,0-1-10 0,3 0-76 16,-2 0-52-16,3-2-158 0,2-1-387 16,0 0 128-1,1-1 58-15,2 1 68 0,-1-2 61 0,0-1 110 0,-3 0 35 0,1 1 441 0,-2-1 100 16,-1-1 90-16,3 0 55 16,-4 0 55-16,-1-1-21 0,-1 3 115 15,-2-2-28-15,0-1 18 0,-1 1-79 0,-2 2-24 0,-2 0 8 0,2-1-10 16,-3 1 18-16,1 3-23 15,-3-1-10 1,0 3-26-16,3-4 0 0,-3 4-28 0,0 0-21 0,0 0 78 0,0 0-40 0,-13 11-4 16,10-5 0-16,-1-1-3 0,0 1-10 15,0 0-41-15,1 1 15 0,-2-1-33 0,3 2 28 16,1-2-28-16,-1 0-15 0,2 1-39 0,0-2 19 16,0 0-32-16,0 0 11 15,2-1-6 1,1 0 16-16,-3-4-5 0,8 1 5 0,-6 1-13 0,-2-2-10 0,13-2 5 0,-13 2 5 0,7-2 8 15,-7 2 5-15,8-3-5 0,-5 2-26 16,-3 1 6-16,8-2-16 0,-8 2 12 0,8 0-17 16,-8 0 21-16,10 3 12 31,-5-3-18-31,0 4-5 0,0-3-23 0,2 1-18 0,1 1-63 0,0-1-58 0,-1 2-122 0,-3-4-248 0,3 3-394 16,0 1 35-16,-1-3 126 0,-3 2 74 15,1-1 36-15,1 0 89 0,-4 1 26 0</inkml:trace>
  <inkml:trace contextRef="#ctx0" brushRef="#br0" timeOffset="25513.54">5639 12890 709 0,'3'3'330'0,"1"2"-61"15,4 0-16-15,0 1-46 0,3-1-2 16,3 0 54-16,0 0-3 0,1 0-18 0,1 0-31 16,-3 0 0-16,2 0-17 0,-5 0-16 0,0 1-26 15,1 0 57-15,-4-1-11 0,-2 1 14 16,-3 1-14-16,-2 1-7 0,-2 1-38 16,-3 0-98-16,0 1 10 0,-3 2-2 0,-2 1-10 15,0 0-16-15,-3 1-5 0,0 0-5 16,0-1-38-16,1-2-36 0,1 2-24 0,-1-2-68 15,4 1-100-15,2-5-164 0,-1 2-486 0,7-4 127 16,0 0 39-16,0-2 87 0,0-3 57 16,10 1 68-16</inkml:trace>
  <inkml:trace contextRef="#ctx0" brushRef="#br0" timeOffset="25970.36">6549 12655 949 0,'-2'-2'425'0,"2"2"-33"15,0 0-19-15,-5 12-81 0,2-4 8 0,1 4-52 16,1 2 3-16,-1 4-36 0,0 2 8 0,-2 2-52 31,2 5-5-31,0-2-17 0,0 2-24 0,1 0-27 0,-2-1-52 0,1 0-59 16,0-1-64-16,1 2-112 15,-1 0-136-15,-1-6-349 0,3 1-111 0,-3-5 93 0,1 1 42 16,2-4 118-16</inkml:trace>
  <inkml:trace contextRef="#ctx0" brushRef="#br0" timeOffset="27038.32">6437 13036 1254 0,'2'-4'389'0,"1"-2"-13"15,2-3-20-15,2 1-44 0,2-1-23 16,3-2-35-16,0 0-34 0,6-2 3 0,1 0-47 16,1 0-22-16,8-5 7 0,1 0-25 15,-2 0 33-15,-3 4-39 0,-6-1-35 0,-1 5 38 16,-1 0-31-16,-3 1-12 0,-3 1 23 16,0 4-13-16,-2-1 17 0,0 0-22 0,-3 3-16 15,0-1-68-15,-3 3 24 0,-2 0-24 16,0 0-4-16,0 0-9 0,0 9 15 0,-2-3-21 15,-1 1 5-15,-2 3 3 0,3 0 0 16,-4 1 11 0,2 0-9-16,-1 1 19 0,2-1-21 0,0 1 5 0,0 0 10 0,1 0-18 0,2-3 9 15,0 1 14-15,2-1-28 0,-2 0 14 16,3-1 1-16,-2-2 21 0,1 1-23 16,3-1 3-16,0-1 2 0,-2-3 3 0,2 2-13 0,0-4-2 15,1 1 9-15,-6-1 4 0,12-3 4 16,-4 0 0-16,-3 1-4 0,3-3 14 0,-1 0 14 15,1-2 24-15,2 1-9 0,-3-3-5 16,-1 1-3-16,4 3-26 0,-5-3 11 16,3 2 20-16,-1 1-12 0,1 1-3 0,-5-1-34 0,2 3 8 15,2-1 31 1,-4 2-41-16,-3 1 18 0,11-1 13 0,-11 1-16 0,10 5 21 16,-5-3-18-16,0 3-5 0,-2-2-5 0,4 3-14 15,-2-2 27-15,-2 2-26 0,2 0 5 0,-3-2-8 0,1-1 31 16,2 3-10-16,-4-2-10 0,1-1-14 15,0 1-4-15,1-2 51 0,-2 2-21 16,-1-4 6 0,4 3 17-16,-4-3 95 0,3 4-18 0,-3-4-7 0,5 2-19 0,-5-2-4 0,0 0 10 15,0 0-49-15,0 0 7 0,10-5 22 16,-10 5-4-16,5-2-32 0,-5 2 17 0,5-2 11 16,-5 2-44-16,3-3 10 0,-3 3 21 0,7-1-3 15,-7 1-31-15,8 0-4 0,-8 0-11 16,8 3 5-16,-3-3 31 15,-5 0-10-15,13 0-29 0,-6 0 16 0,-1 0-54 0,1-2 52 16,1 1-32-16,0 0 6 0,0-2-3 0,-1 1-10 16,4-1 33-16,-4-2-22 0,3 0 17 15,-2-1-23-15,2-1 23 0,0 1-10 0,-2 0 13 16,0-1-21-16,2-1 0 0,-5 0 36 0,3 0-10 16,0 0-16-16,-3 1-12 0,2-1-3 15,-1 3 31 1,-3-1 12-16,1 2-27 0,-1-1 25 0,2 1-39 0,-2 0 4 0,0 2-11 0,1 0-11 15,-4 2 19-15,0 0 20 0,8 5-5 16,-5-1-31-16,2 2 24 0,-3 4 14 0,-1 1-9 16,3 2 15-16,-1 0-11 0,0 4-9 15,2 1 7-15,-2 2-8 16,1 3 21-16,-1 0-21 0,0 3 8 0,-1-2-10 0,0 1-8 0,-2-2-15 16,0-1-1-16,0-1-7 0,0-3 26 15,0-2-16-15,-2-2 26 0,2-1 8 0,0-3 20 16,-2 0 18-16,-1-3 5 0,0-1 7 15,1-3 17-15,-1-1-42 0,3-2-28 0,0 0 7 16,-9-7-7-16,8-1 29 0,1-1 12 0,0-4-29 16,0-1 4-1,3-4-6-15,4-3 13 0,-2-3 8 0,3 2 12 0,2 1-61 0,3 0 36 16,0 1 62-16,-3 3-60 0,1 2-2 0,-1 4 8 16,0-1 7-16,0 4-25 0,-2 1-8 0,-1 2 0 15,-1 2 0-15,-1 0 0 0,0 1 0 16,-5 2 0-16,0 0 0 0,10 4 0 0,-10 0 0 15,0-4-105-15,-5 8-34 16,2-2-73-16,-1 0-88 0,-2 1-71 0,1-4-269 0,0 4-453 16,3-2 141-16,-1-1 64 0,3-1 140 0,0-3 60 15,0 0 48-15,0 0 77 0,15-2 10 16</inkml:trace>
  <inkml:trace contextRef="#ctx0" brushRef="#br0" timeOffset="27153.12">7508 13007 1482 0,'0'0'478'0,"0"0"-2"16,0 0-56-16,0 0-56 0,0 0-42 15,0 0-92-15,-11-7-91 0,11 7-68 0,-7-2-129 0,4 0-296 16,-1-1-475-16,-2 1 112 16,2-3 64-16,-4-2 44 0,2-3 87 0</inkml:trace>
  <inkml:trace contextRef="#ctx0" brushRef="#br0" timeOffset="62731.3">9159 7088 314 0,'110'-37'110'0,"14"-3"-51"0,9-6-33 16,0 0-82-16</inkml:trace>
  <inkml:trace contextRef="#ctx0" brushRef="#br0" timeOffset="64398.49">18617 3913 1313 0,'-4'6'448'0,"-2"-4"-49"0,4 2 3 0,2-2-18 0,0-2-54 0,0 0 67 0,-6 4-34 0,6-4-48 0,0 0-21 15,0 0-7-15,14-12-23 0,-4 3-8 16,2-3-136-16,4-3-7 0,9-8-11 16,3 0 18-16,-2-1-38 0,6-1-10 15,2 1 7-15,0-1-15 0,8-2-10 0,-1-3-28 0,2 4-6 16,-10 2-5-16,3 1-27 0,0 3-40 15,-5-4-9-15,0 4-34 0,-3 1-53 0,-7 2-42 16,-4 4-40-16,-4 4-113 0,-2-2-92 16,1 0-497-16,-7 2 59 15,2 1 126-15,-4 1 120 0,-3 0-39 0,0 1 88 0</inkml:trace>
  <inkml:trace contextRef="#ctx0" brushRef="#br0" timeOffset="64677.06">18989 3300 1187 0,'7'-4'387'0,"4"-1"-31"0,2 2-16 0,8-2 8 0,2 3-51 16,0 0-8-16,5 4-7 0,3 0-26 0,2 1-18 16,8 2 13-16,2 5 46 0,-7 1-31 0,3 2-20 15,-9 2-29-15,-2 6-115 0,-9 2-2 16,-4 0 5-16,-10-2-13 0,-2 1-35 0,-4-1 2 15,-3 4-57-15,-4-1-25 0,-4 7-33 0,-2-1-72 16,2-8-46-16,1 0-67 0,-1-3-174 16,2-4-544-16,1-1 127 0,-1-2 28 0,2-3 141 15,1-2 31-15,0-1 97 16</inkml:trace>
  <inkml:trace contextRef="#ctx0" brushRef="#br0" timeOffset="65165.7">19784 2657 1210 0,'-2'-5'571'0,"-2"3"-146"0,-3 0-33 0,7 2-32 0,-13 4-42 16,1 2-8-16,-1 5 56 0,-5 2-69 0,-8 8-8 16,3 3-46-16,0 2-15 0,1 2-18 0,-2 3 20 15,5 1-53-15,-1 1 4 0,2-1-32 16,3 3-13-16,2-4-21 0,0 0-28 0,8-8-3 16,0-2-25-16,2-5-20 0,3-1-9 0,2-1 9 15,-1-2-27-15,2 0-14 16,1-5-24-16,-1 1-2 0,5 1-44 0,2-5-30 0,3 2-28 15,-3-3-37-15,5-2-17 0,-2-1-26 0,3-1-64 32,-1-2-64-32,7 0-120 0,-5-3-282 0,3 0-56 0,4-1 5 0,-2-3 141 15,-1 2 46-15,0-3 56 0</inkml:trace>
  <inkml:trace contextRef="#ctx0" brushRef="#br0" timeOffset="65741.5">19978 2911 1054 0,'0'0'351'0,"-2"-5"2"0,2 5-87 15,-2-5-38-15,2 5 36 0,-3-1-13 0,3 1-34 16,-5-3 16-16,5 3-5 0,0 0-36 0,0 0-8 15,-18 6-23-15,13-3-4 0,-1 4-24 16,-2-1-11-16,0 0-22 0,0 1-2 0,0 2-11 16,0 2-5-16,0-1-18 0,1 0-6 0,1 0 4 15,1 2-14-15,-2-3-14 16,5-2-24 0,-2 2-7-16,2-3-16 0,2 1-3 0,0-4 14 0,2 2-16 0,2-3 5 0,0 0 28 0,-4-2-22 15,10-4-1 1,-4 1 23-16,1-2 11 0,1-4 0 0,2 2-6 0,-2-3-17 15,0 1 22-15,2 1-7 0,-3-2 18 0,-1 2 18 16,1 2-6-16,-2 0-22 0,0 0 10 16,-2 1 10-1,2 2-33-15,0-3 12 0,-2 2 21 0,2-2-30 0,0 2 14 0,2-2-12 0,-1 0 3 16,1-1 17-16,1 0 93 0,0-2 30 16,2 1-87-16,-2-2-5 0,0-2 77 0,-1 2 3 15,1-2-62-15,0-4-21 0,-3 1 34 0,5-4 5 16,-5 0-26-16,0-3-2 0,3 0 26 15,-2 3 4-15,-2 1-48 0,2-1 18 0,0 0 38 16,-5 5-15-16,4 3-23 0,-2 0-34 16,-1 3 1-16,1 3-16 0,-1 1 33 0,-2 4-25 15,0 0-13-15,0 0 5 0,8 17 85 0,-7-3 5 16,1 5-59 0,-2 1-39-16,2 1-25 0,2-1-3 0,-2 1-56 0,0 3-51 0,3-1-46 15,0-1-41-15,1 0-65 0,1-4-68 0,-4 0-136 16,2-2-504-16,0 0-57 0,0-1 124 0,1-2 53 15,-4-2 146-15,3-3 41 0,-3 1 76 16,1-3 47-16</inkml:trace>
  <inkml:trace contextRef="#ctx0" brushRef="#br0" timeOffset="65963.33">20089 2876 1551 0,'-1'-3'491'0,"-3"0"-28"0,2-1-125 0,2 4-41 15,-3-6-13-15,3 6-23 0,5-8-5 0,0 3-61 16,2-1-13-16,1-1-31 16,3-1 7-16,3 1 27 0,2-3-27 0,1 1-35 15,3 0-51-15,3 0-54 0,-1 2-46 0,4-2-47 16,-3 2-35-16,-3 2-71 0,1 1-124 0,0 0-232 16,-1 2-329-16,-2-2 98 0,0 4 57 15,-3 0 127 1,-1 2 31-16</inkml:trace>
  <inkml:trace contextRef="#ctx0" brushRef="#br0" timeOffset="66995.09">20461 2907 1256 0,'5'-7'379'0,"0"1"-8"0,0-1-10 0,0-1 10 16,-2-2 13-16,2-2 44 0,0 1-98 0,-2-1-107 0,-1-1 20 0,1 0 64 15,-3 2 16-15,2 2-44 0,-2-2-21 0,-2 3-5 16,-1 2 32-16,1-1-60 16,-1 4-20-16,-2 0 20 0,5 3-56 0,-13 3 5 15,5 1-3-15,-2 2-66 0,3 1 3 0,-4 1-8 16,4 2 17-16,1 0-40 0,1 0-44 16,0 1-9-16,3-2-14 0,2-1-38 0,2 1-52 15,2-1-25-15,2 1-25 0,5-2 12 0,2-3-33 16,4 0 31-16,3 1-67 0,1-5-8 15,-3 0 44-15,6-2 31 0,-4 0-18 16,1-1 33-16,0-3 28 0,-4 0 16 0,0-1 22 0,-6 2 55 16,2-2 37-16,-3-1 19 0,-2 3 10 0,-1-1 23 15,-1 2-23-15,-3 0 38 0,-1 0 11 16,3 1-24-16,-5 3 24 0,0 0-21 16,0 0-21-16,0 0-22 0,0 0 20 15,-8 18 18-15,3-7-16 0,3 1-9 0,1 2-16 0,1 1 7 16,-2 5 4-16,2-1-42 0,0 3 33 15,0 6-40-15,0-6 15 0,0 1-21 0,-2-2 32 16,-1 0-19-16,2-1 0 0,-3 0 3 16,-2-4-28-16,2 1 25 15,-2-2-36-15,1-3 11 0,-2-2 10 0,5-3-23 0,-4-1-18 0,5-1-10 16,-3-4-16-16,1 1 13 16,3-2-36-16,0 0 3 0,0 0 8 0,8-14-6 0,-3 6-20 15,3-3-7-15,-1-3-4 0,6-2 34 16,-2-1-30-16,2 0-4 0,-1-2 24 0,1 2 0 31,4 0-11-31,-3 0 37 0,-1 1 2 0,-1 5-16 0,-1-1 1 0,1 0 20 0,0 3 31 0,-6 1-18 16,2 2 22-16,0 0 12 0,-4 4 22 15,2-1 8-15,-3 3-1 0,-3 0-24 16,0 0 27-16,8 5-15 0,-6-1-13 0,3 0 13 0,-2 3-30 16,-1-2 2-16,4 4-42 0,-2-3 35 15,2 0-27 1,-1 1-25-16,3-1 11 0,0 0 6 0,-1-3-11 0,0 0 35 0,1-2-21 0,0 0 11 15,0-1 12-15,-1-1 14 0,1 0 17 0,-3-2 15 16,4 0 9-16,-5 0-11 16,0-3 5-16,-3-1 31 0,2 1 5 0,-3-3 7 15,0 0 1-15,0 1-16 0,0 0-10 0,0 1 13 16,-3-2 5-16,3 3-41 0,0 0 29 0,0 3-22 16,-3-3-2-1,3 2-17-15,0 4 4 0,2-6-10 0,-2 6-7 16,0 0 30-16,0 0 13 0,0 0-18 0,8 12-31 0,-5-5-18 15,-3-1 6-15,3 3-21 0,0 0 0 16,-1 1 10-16,0-1-4 0,1 1 4 0,0-1-10 16,-1-1 18-16,1 1-3 0,0-1 3 0,-3-1 16 0,2-1 47 15,0-1 30-15,-2-1 24 0,3 0-17 0,-3-1-3 16,0-3-7-16,7 1 40 16,-7-1-22-16,0 0-16 0,10-8 15 0,-6 2-32 15,1 0 24-15,2-4-40 0,-2 0-5 16,3-2 2-1,0 1-23-15,0-2-66 0,2 2 8 0,-3 0-52 0,-1 2-41 0,2 1-13 0,2-1-17 16,-3 1-21-16,1 2 18 0,0 1-10 0,-1 2 7 16,1 1 23-16,-3 1 1 0,1 1 17 15,-6 0 11-15,12 4 20 0,-4-2 20 0,-3 5 19 16,1-3 2-16,-2 3-3 0,2-1 24 16,-2 2 12-16,-1 1-15 15,2-2 18-15,0 1 15 0,-5 1-15 0,3-1-36 0,-1 1 13 16,0 0-65-16,-2-1-127 0,0-1-253 0,1-1-444 15,-1-1 129-15,0 0 51 0,3-4 104 0,-3-1 60 16,5 2 97-16</inkml:trace>
  <inkml:trace contextRef="#ctx0" brushRef="#br0" timeOffset="67130.73">21333 2826 977 0,'0'-4'336'0,"-3"-1"-68"0,3 0-58 0,0 2-56 0,0-1-98 16,-3-5-163-16,3 9-567 0,0-5 106 15,0 5 74-15</inkml:trace>
  <inkml:trace contextRef="#ctx0" brushRef="#br0" timeOffset="67698.5">21378 2791 1328 0,'0'0'517'0,"0"0"-41"0,0 0-59 16,-10 14-40-16,8-9-75 0,0 0 25 15,-1 3 9-15,0 1-68 0,1-2-17 0,0 4 0 16,-1-1-36-16,3-1-23 0,0 0-26 15,0 0-17-15,3 1-19 0,-1-1-53 0,3-1-31 16,-2 0 6-16,5-2-27 0,0 1-63 0,0-2-24 16,0-1-17-16,3-2-21 0,-1 0 8 15,3 0-13-15,2-2-10 0,-2-4 5 0,3 2 13 16,4-3 15-16,-2-1-3 0,0 0 1 16,-1-1 35-16,-1 0 13 0,-3-2 3 0,3 2 33 15,-6 0 15 1,1 1 21-16,-3 1 15 0,-2 1 16 0,0-1 2 0,0 1 8 0,-5 1-13 0,2 0 23 15,-3 3 15-15,0 0-25 0,0 0-28 16,0 0 15-16,0 0-3 0,0 0 3 0,0 0-36 16,-20 3 23-16,20-3-7 0,-8 3-16 0,6 1-13 15,-2-1 1-15,1 0-9 0,1 0-14 16,0 0 7-16,-1 0-31 16,1 0-2-16,2-3-16 0,2 6-15 0,1-3 21 15,1-1-14-15,-4-2 14 0,7 2-14 0,-3 0-12 16,2-2-23-16,1 0 18 0,0 0 18 0,3 0-8 15,-2-2 2-15,1 1 3 0,1 0-2 0,0-1 5 16,3-1 12-16,-1-1 13 0,2-2 24 16,-2 1 25-1,3-2-8-15,-1-1 15 0,0-2 22 0,2 0 6 0,-3-1 37 0,2-3 5 0,-2-3 15 16,0-2-13-16,0 0 8 0,-2-1-3 0,-1 1-2 16,-3 2-5-16,1 3 15 15,1 1-3 1,-3 3 9-16,-1 1 4 0,-3 4-25 0,2 0-11 0,-2 4-5 0,-2 1-7 0,0 0 25 0,0 11-43 15,2-3 10-15,-2 3-2 0,0 2-14 16,3-1 21 0,2 2-25-16,3-1-11 0,2 0-7 15,0 0-60-15,1-2-25 0,4 0-30 0,2-2-52 0,0-2-25 0,3-1-21 0,3-2-28 16,0-3-28-16,3-1-64 0,-1 0-141 16,6-4-443-16,-3 1 0 0,-2-3 67 0,-1 0 94 15,-7-1 106-15,-5 0 48 0,0-4 130 0</inkml:trace>
  <inkml:trace contextRef="#ctx0" brushRef="#br0" timeOffset="69419.25">4826 3434 1356 0,'0'0'387'0,"0"0"-29"15,0 0-18-15,0 0-20 0,3 14-23 16,0-3 44-16,1 2-49 0,2 5-16 16,-1 5-23-16,3 1-25 0,2 8-5 0,2 2-103 15,-2 3-7-15,1-1-31 0,-1 0-23 0,0-1 2 16,1-2-28-16,-3 0-4 0,-1-8-22 15,1-4-22-15,-3-2-41 0,0-2-29 16,-2 1-33-16,2-5-17 0,-2 1-50 16,-1-3-14-16,0 2-183 0,-2-4-68 0,0-1-397 0,0-5 84 15,0 1 72-15,0-4 102 0,0 0 103 16</inkml:trace>
  <inkml:trace contextRef="#ctx0" brushRef="#br0" timeOffset="69655.11">4803 3371 1126 0,'0'0'489'0,"-10"6"-72"16,3-1-18-16,1 4-7 0,1 2-65 0,-3 6-42 15,3 3-29-15,-2 4-6 0,1 0-19 0,1 2-57 16,0-1-3-16,0 0-45 0,0 2-80 16,2-1-46-16,-2 1-28 0,2-2-64 15,1 1-118-15,-3-7-182 16,5 2-476-16,0-2 82 0,-3-3 85 0,3-2 77 0,3-2 48 16</inkml:trace>
  <inkml:trace contextRef="#ctx0" brushRef="#br0" timeOffset="69863.35">4760 3338 1149 0,'7'4'335'0,"4"0"-38"0,4 4-36 15,0 1-18-15,6 3-28 0,-1-3-25 0,6 3-16 16,3 1-36-16,-4-1-48 0,0-1-34 15,-1 0-74-15,1-1-123 0,-2-1-166 16,-4-1-397-16,-1-1 21 0,-3 1 84 0,0 1 64 0</inkml:trace>
  <inkml:trace contextRef="#ctx0" brushRef="#br0" timeOffset="70633.39">4042 2911 1044 0,'0'0'363'16,"0"0"-20"-16,2 17-25 0,-2-7-60 0,2 0 8 15,1 1-45-15,0 4-22 0,2 0-14 16,-2 0-40-16,2 2 1 0,0-1-38 16,0-3 2-16,0 1-5 0,0-1-113 0,-2-2 6 0,2-3 14 15,-3 1-4-15,1-2 15 16,0 0-2-16,0-1 12 0,-1 0 13 0,0-3 3 0,-2 1 43 16,0-4-10-16,0 0 66 0,0 0 6 15,0 0 10-15,0 0-24 0,-2-21 34 16,2 11-46-16,-3-6-2 0,1 0 15 0,-3-3-8 15,2-5-23-15,-2 0 36 0,3 4 2 0,1 1-40 16,1-3-47-16,1 3-64 0,0 2-4 16,3 3-1-16,-4 1 13 0,3 2-7 0,1 4-9 15,1 1 9-15,0 2 22 0,1 4-15 0,2 1 8 16,2 2 5-16,-3 6-25 0,3-1-6 16,1 5 28-16,-1 0-38 0,-2 2 3 0,2 2-11 15,0 1-38-15,0 0-5 0,-2-1-39 16,0-2-25-16,-3 2-11 0,2-2-25 15,1-1-61-15,-3 0-93 0,1-2-74 0,1-4-345 16,-2 3-60-16,1-5 29 0,-1-2 97 0,2 0 75 16,-1-3 53-16</inkml:trace>
  <inkml:trace contextRef="#ctx0" brushRef="#br0" timeOffset="71600.56">4370 2828 1098 0,'-3'-2'437'0,"3"2"-45"0,0-4-36 0,0 4-44 0,0 0-5 0,0 0-20 15,0 0-72-15,0 0-8 0,-4 10-17 16,4-4-24-16,2 0-20 0,-2 1 5 0,0 2-33 16,2 0-18-16,1 0-11 0,-3 0-10 0,3 0-9 15,1-1-14-15,-1 1 5 0,2-2-2 16,1 1-5-16,-1-1-28 0,3-1 22 0,-1-1-27 15,1-1 12-15,2-2-13 0,-2-1 14 0,0 0-24 16,1-2 23-16,0-1 6 0,-2-2 17 16,1 1 0-16,-1-3 16 0,-1-1 7 0,-2-2 39 15,2 3-41-15,-4-3 10 0,1-1-72 0,-1 0 29 16,1-2 4-16,-3 1 75 16,0 1-10-16,0 1-6 0,0 2 1 0,0 0-3 0,0-1 5 15,0 4-13-15,0-2-20 0,0 2-28 16,0 0-14-16,0 4-9 0,0 0-8 15,0 0 7-15,0 0 19 0,0 0-13 0,0 0 10 16,3 10-39-16,-1-4 1 0,-2 1-44 16,2-1-21-1,-1 1 19-15,2-1-31 0,1 1-11 0,-1 1 6 0,0-1-6 0,-1-1 34 0,1-1-8 16,2 0-23 0,-3 0-2-16,1-1 35 0,2-1 24 0,-4-1-19 0,3-1 29 0,-4-1-1 15,0 0 6-15,10 0 13 0,-10 0-1 16,6-3 14-1,-4 1-6-15,0-3 3 0,1 2 15 0,2-2 18 0,-3-2-3 0,2 1 1 0,-2 0-13 16,0-3 20-16,1 2-2 0,0 1-44 0,-1 1 36 16,1-2-18-1,-1 3 18-15,1-1-3 0,-1 0-2 0,1 2-13 0,0 0 8 0,2 1-29 16,0 0-2-16,0 0 26 0,-5 2-11 16,8 0 6-16,-1 0-21 0,-7 0 17 0,13 4-1 15,-8-2-1-15,1-1-7 0,1 2 7 0,-1 1-25 16,1 0-3-16,1-2 26 0,-3 3 7 0,0-2 4 15,0-1-30-15,0 1 27 16,0-1 4-16,-2-1 4 0,2 1-6 16,-3 1 7-16,-2-3-9 0,6 3 30 0,-6-3 3 0,4 3-3 0,-4-3 0 15,0 0-15-15,6 0 33 0,-6 0-25 16,0 0 27-16,3-6 9 0,-1 1-6 16,1 4-13-16,-3-4-12 0,0 5-29 0,5-7 11 15,-3 3-31-15,-2 4 18 0,3-3-8 0,0-1-25 16,1 2 15-16,-4 2 5 0,6-1 23 15,-6 1-18-15,0 0-4 0,10 1-6 0,-10-1-11 16,8 4 27-16,-3-2 4 0,-3 1-35 0,1 0 10 16,2 0 38-16,-3 1-23 0,1-2-25 15,0 3 20-15,-1-2-2 0,1 1 7 0,-3 0 49 16,3-2-24-16,-3-2-1 0,2 4 37 16,-2-4 34-16,3 4-35 0,-3-4-101 15,5 2 31-15,-5-2 7 0,0 0 17 0,0 0-32 16,3-10 16-16,-2 5-8 0,2 0 0 0,0 1 0 15,-1-2 0-15,4-1 0 0,-4 2 0 0,3 0 0 16,-2 0 0-16,2 2 0 0,0-1 0 0,2 1 0 16,-1 1 0-16,2 0 0 0,-3 1 0 15,-5 1 0-15,12 0 0 0,-6 1 0 16,-1 0 0-16,2 2 0 0,-4-1 0 0,3 0-113 0,1 1-38 16,-2-1-5-16,0 1-95 0,-2-2-20 15,2 1-34-15,-2 2-33 0,1-2-59 0,-1-1-115 16,0 2 3-16,1-2-497 0,2 1 110 15,-3-2 103-15,-3 0 45 0,7 1 95 0,-7-1 52 0</inkml:trace>
  <inkml:trace contextRef="#ctx0" brushRef="#br0" timeOffset="72248.33">5134 2789 1103 0,'2'-4'320'0,"-2"-3"-5"0,1 1 2 0,-1 1 5 16,0-1-9-16,-1-1-24 0,-1 0 33 0,0 0-4 16,2 0-16-16,-6 0-26 31,4 1 9-31,-1 0-58 0,-2 0-7 0,0 1-20 0,0 3-44 0,0 1 16 0,-1-2-21 0,6 3-26 0,0 0-22 15,-15 4-9-15,12-2 24 16,-1 1-54-16,1-1 3 0,0 1-1 0,1 1-20 0,0 0 11 16,2-4-29-16,0 6 8 0,2-2-16 0,0 0-23 15,1 0 19-15,0-1-24 0,4 3 18 16,1-2-5-16,2 2-12 16,0-1 2-16,3 0 28 0,-2 1-13 0,1 0-5 0,-2-1 3 0,1 1-1 15,-1 0 1-15,-2 1-3 0,2 0 16 16,-5 1-21-16,1 0-3 0,-2 0 11 15,1 0-11-15,-2-2 34 0,-1 1-18 0,-2-1-3 16,3-1 0-16,-3 1 0 0,0-2-2 0,0 0 10 16,0-4 31-16,-5 5-1 0,3-4 6 15,2-1 8-15,0 0-37 0,0 0 54 0,-8-7-12 16,6 2-21-16,1-2-25 0,-1 1 7 0,-1-3 41 16,3-1-26-16,0 0-4 0,3 0-9 15,-3-1 6-15,3 1-5 0,-1-2-21 0,3 1 18 16,-2 0-2-16,1 1 7 0,2 1-10 15,2 0-23 1,-1 3-15-16,-1-3 7 0,3 5 6 0,-1-2-42 0,0 3-2 0,-1-1 10 0,-1 1-23 16,2 2 24-1,-1-1-6-15,0 2 18 0,-1 0 2 0,-6 0-10 0,15 3 8 0,-9 0-15 16,-1 1 23-16,2 0-1 0,-4 1 21 0,4-2-10 16,-4 3-23-16,2 0-8 15,-2 0-7-15,2 1-1 16,-3-1-30-16,1 0-28 0,-1-1-3 0,1 0-46 0,-3 1-49 0,3-2-12 15,-3 2-80-15,0-1-90 0,2-4-186 0,-2 3-356 16,0-1 72-16,2-1 79 0,-2-2 61 0,0 0 85 16,0 0 66-16</inkml:trace>
  <inkml:trace contextRef="#ctx0" brushRef="#br0" timeOffset="72369.17">5401 2703 813 0,'-3'-7'287'0,"-2"0"-33"0,0 1-47 15,4 1 13-15,-3 0-31 0,1 3-38 16,0-2-23-16,-1 0-71 0,1 0-93 15,0 2-107-15,1-1-57 0,-1-1-409 0,3 4-6 0,1-9 86 16</inkml:trace>
  <inkml:trace contextRef="#ctx0" brushRef="#br0" timeOffset="72579.66">5472 2578 1141 0,'0'6'422'0,"0"4"-30"0,0-1-16 0,3 1-104 0,-3-1 7 16,2 4-18-16,-1-2-8 0,4 0-17 15,-1 1-11-15,0-3-61 0,1-1 2 0,2-2-12 16,1 2-29-16,-3-5 1 0,5 1-34 0,0-1-36 16,-1-3-15-16,3-3-33 15,1 2-60-15,-3-3-52 0,5-1-50 0,-4 0-97 0,4 1-141 16,-2-3-370-16,-1 4-42 0,2-2 82 0,-2 2 95 16,-1 0 89-16</inkml:trace>
  <inkml:trace contextRef="#ctx0" brushRef="#br0" timeOffset="73387.98">1035 4829 1231 0,'0'0'404'0,"0"0"-40"15,0 0-6-15,5 11-64 0,-3-1-35 0,3 0-29 16,1 5-15-16,1-1-7 0,0 4-47 15,1 1-23-15,2 4-51 0,0-3-41 0,-2 1-46 16,8 7-25-16,-6-5-37 0,1-3-45 0,-4-1-101 16,3 0-117-1,0-5-77-15,0 4-340 0,1-5 25 0,-4-1 113 0,0 0 67 0</inkml:trace>
  <inkml:trace contextRef="#ctx0" brushRef="#br0" timeOffset="73800.61">1050 5194 995 0,'0'-5'369'0,"0"5"-36"0,0-6-47 0,0 1-32 0,0 1-6 0,5-5-48 0,0 3 4 15,2-3-27-15,1 2-36 16,1-3-54-16,2 1-46 0,2-2-39 0,1 0-43 0,-2-1-74 0,1 3-31 15,0-3-53-15,2 2 2 0,1 0-18 16,-4-1 58-16,1 0-27 0,0 2 38 16,-3-1 72-16,1-1 28 0,-1 4 64 0,0 0 46 15,-2 1 41-15,0 0 7 0,-1 1 4 16,-2 1 4-16,1 0 16 0,-1 2 27 0,2-2-7 16,-1 4-5-16,-2-1-17 0,-4 1 9 0,16 1-7 15,-8 3-24-15,-1 0 21 0,3 2-7 16,-1 0-11-16,3 4 21 0,-2 2-42 15,0-1 9-15,-1 2-24 0,0 2 6 0,-1 1 7 0,-3-2-5 16,0 1-39-16,-2 2-27 0,0-1-39 16,-3-2-38-16,2 1-34 0,-2 0-64 15,-2-1-114-15,2-6-139 0,0 3-423 16,0-3 47-16,0 1 130 0,0-5 54 0,0 2 90 16</inkml:trace>
  <inkml:trace contextRef="#ctx0" brushRef="#br0" timeOffset="74004.23">1567 5000 931 0,'8'-6'433'15,"-2"0"-70"-15,1 1-30 0,0 1-13 16,1-1-46-16,-2 0-33 0,1-1-42 0,1-1-43 15,2 1-33-15,-2-1-64 16,2-1-41-16,1 1-59 0,-1 0-115 0,0 1-103 0,-2-1-61 16,2-2-412-16,3 1 90 0,-3 0 35 0,-2 1 18 15</inkml:trace>
  <inkml:trace contextRef="#ctx0" brushRef="#br0" timeOffset="74208.89">1819 4795 1305 0,'0'0'427'0,"0"-1"-27"0,0 1-42 0,0 0-87 15,0 0-17-15,0 0-6 0,0 0-30 16,10 6 22-16,-7-4 42 0,-1 2-31 16,1 3 12-16,2-1-53 0,-2 1-20 0,2 1-11 15,-2 3-69-15,1 0-13 0,-1 2-35 0,2-1 4 16,-3 1-38-16,-1 1-33 0,1 0-18 16,-2 2-54-16,3-3-33 0,-3 0-59 0,2 0-43 15,-2 0-103-15,0-7-54 0,0 5-509 16,0 0 49-16,0-4 135 0,0 1 16 0,0-3 64 0</inkml:trace>
  <inkml:trace contextRef="#ctx0" brushRef="#br0" timeOffset="75183.7">2032 4533 1062 0,'0'0'366'15,"0"0"-16"-15,0 0-32 0,0 0-37 16,-5 17-27-16,4-8-19 0,1 6-25 0,-2 0-20 16,0 3-27-1,-1 0-1-15,3 2-62 0,-5 4-57 0,2 1-56 0,-2-3-71 0,0 4-162 16,0-3-74-16,2-5-404 0,1 1 10 0,-3-2 104 16,2-3 50-16</inkml:trace>
  <inkml:trace contextRef="#ctx0" brushRef="#br0" timeOffset="75532">1906 4750 854 0,'0'0'318'0,"2"-4"-34"16,-2 4-15-16,0 0-49 0,8 0-23 16,-8 0-18-16,11 3 8 0,-4-2-41 0,1 0-44 15,2 0-7-15,-2 1-44 0,2 0-30 0,3-1-106 16,-2-2-74-16,3 1-27 0,0-4-19 15,0 2 3-15,2-2 10 0,-1-1 2 0,-1 1-40 16,0-5 138-16,-1 5 46 0,-2-4 33 16,2 1 72-16,-3-1 53 15,0 1 34-15,-2 0 39 0,-1 1 9 0,-1 0 16 0,-1 2-10 0,2-1 7 16,-1 2-7-16,-4 0-39 0,1 1 10 16,-3 2-20-16,7 0-17 0,-7 0-1 15,0 0 25-15,9 5-42 0,-5-2 1 0,-1 2-35 16,-3-1 26-1,3 3-19-15,-3-2-45 0,2 2-29 0,0 0-35 0,-1 1-21 0,1-1-95 16,-2 2-112-16,0-3-164 0,3 1-415 0,-1-1 54 16,-2-1 112-16,1-2 119 0,0 2 30 15</inkml:trace>
  <inkml:trace contextRef="#ctx0" brushRef="#br0" timeOffset="75771.95">2285 4570 939 0,'6'-4'363'0,"-1"1"-48"0,2-4-2 16,1 2-127-16,0 0-14 0,0-1-34 0,2 2-5 15,0-3-5-15,0 0-31 0,0 2-45 16,0-2-32-16,1 0-76 16,-3 4-103-16,-3-3-102 0,5 0-451 0,0-1 44 0,1 1 69 15</inkml:trace>
  <inkml:trace contextRef="#ctx0" brushRef="#br0" timeOffset="75958.31">2445 4275 1274 0,'-8'-2'397'15,"8"2"-39"-15,0 0-40 0,-8 4-55 0,5 0-86 0,3 0-59 16,-2 3-141-16,-1 1-236 0,1 0-493 16,2 2 91-16,0 0 49 0,0 1 26 15</inkml:trace>
  <inkml:trace contextRef="#ctx0" brushRef="#br0" timeOffset="76077.09">2532 4563 1343 0,'2'2'471'0,"-2"-2"46"0,0 0-17 0,3 3-53 0,-3-3-32 0,0 0-46 0,0 0-52 0,0 0-53 0,0 0-54 0,0 0-80 0,0 0-91 0,0 0-91 0,0 0-111 15,8 1-168-15,-6-1-536 0,-2 0 40 0,0 0 56 16,6 5 60-16,-6-5 117 0,4 1 26 0</inkml:trace>
  <inkml:trace contextRef="#ctx0" brushRef="#br0" timeOffset="89064.08">11149 9306 1351 0,'0'0'535'0,"-5"0"-61"0,5 0-55 0,0 0-53 0,-8-2 0 15,8 2-30-15,0 0-57 0,0 0-23 0,0 0-23 16,6 8-18-16,-2-5-39 0,2 1 11 16,1-1-18-16,1 0-15 0,5 3-39 15,-3-2-23-15,5-1 15 16,-2 2-17-16,2 0-11 0,-2-3-33 0,0 3 13 0,2-2-38 0,-2 2 10 0,0 0-21 16,-2-1 5-16,-1 0 8 0,0-1 18 15,-3-1-26-15,1 4-22 0,-2-1 14 16,-4 0-4-16,0 2 7 0,-1-2 1 0,-1 2 1 15,-3 1 4-15,-2 3-11 0,0-2 26 0,-5 4-26 16,0 2 2-16,-3 1 16 0,-1-1-23 16,-1 0 13-1,0-1-3-15,0 2 3 0,-1-3 18 0,3 0-16 0,1-1-40 0,-2-1-55 0,4-1-32 16,3 0-37-16,-4-2-40 0,4-2-59 16,2 1-119-16,0-2-139 0,2-1-472 15,3-2 118-15,0-2 41 0,0 0 117 0,7 2 96 16,-7-2 63-16</inkml:trace>
  <inkml:trace contextRef="#ctx0" brushRef="#br0" timeOffset="89633.72">11638 9331 1159 0,'0'-6'451'0,"0"6"-80"0,-2-5-59 0,2 5 0 0,0 0-28 0,0 0 13 0,0 0-43 0,0 0-29 16,-8 10-7-16,6-4-29 0,-1 1-15 0,1 0 21 15,-1 3-21-15,0 2-28 0,-2 0-11 16,0 4-9-16,0-2-11 0,2 4-20 31,-1-1-6-31,1 1 1 0,-2-3-21 0,2 3 0 0,0-2-3 0,3-2 24 0,-2 0-26 0,2-2-13 16,0 0-2-16,0-1-3 0,2-3-13 16,1 3-2-16,0-3-57 0,-1-2 26 0,1 1 5 15,2-1-38-15,3-2-28 0,-1-2-21 0,4-2-8 16,-1 0-48-16,1 0-21 0,1 0-56 0,1-3-71 15,2 0-83-15,0-5-69 32,-2 3-442-32,0-1 84 0,0 1 41 0,-1 1 130 0,-1-2 118 0,-1-2-7 0</inkml:trace>
  <inkml:trace contextRef="#ctx0" brushRef="#br0" timeOffset="90131.88">11667 9500 939 0,'-10'0'305'0,"10"0"-11"0,-5-1-41 0,5 1-7 0,0 0-26 16,0 0-25-16,0 0 50 0,12-5-9 15,-2 2-34 1,-1 0-46-16,3-4-33 0,0 1-46 0,4 1-21 0,-1-3-53 0,1 2-57 0,-1 0-64 0,1-1-46 16,-6 1-40-16,2-1 14 15,-3 1 11-15,-2 1 13 0,-2-1 58 0,1 0 26 16,-6 3 46-16,2-1 39 0,-4-2 30 0,2 6 44 15,-6-7 28-15,1 5-5 0,-3-2-11 0,0 2 39 16,1-2 13-16,-3 1-5 0,2 0 23 16,0 0-11-16,0 0-43 0,1 1 8 0,2-1 7 15,-3 1-30-15,4-1-3 0,0 0 7 0,4 3-22 16,0-6-6-16,0 1-9 16,0 5-24-16,8-7-25 0,-2 4 2 0,-1-3-5 15,5 0-18-15,0 0 8 16,3-4 15-16,0 4-12 0,-1-1-1 0,4-1 16 0,-5 2 0 15,1 1 7-15,-2-1 1 0,0 2 10 0,1 1 20 16,-3 1 3-16,-1 0-3 0,-2 4 33 16,-5-2-30-16,10 2 5 0,-4 1 28 15,-2 1-23-15,-1 2 5 0,0 3 23 16,0-1 5-16,-1 3-28 0,0 1 24 0,-2 1-24 0,0 1-41 0,3 0-3 16,-3 2-30-16,0-1 8 15,0-2-44-15,0 0-20 0,3-1-39 0,-1 1-44 0,4-1-53 16,-2 0-128-16,-1-6-113 0,2 1-404 0,3-4 36 15,-1 0 100-15,1 0 14 0,2-3 106 16</inkml:trace>
  <inkml:trace contextRef="#ctx0" brushRef="#br0" timeOffset="90478.7">12138 9358 1026 0,'3'-9'307'0,"-3"3"-25"0,0-1 81 0,3 2-7 0,-3 2-36 0,-3 0-33 0,3 3-1 15,0-7-25-15,0 7-38 0,0 0 13 16,0 0-47-16,0 0-12 0,0 0-6 0,-7 12-35 15,6-4-8-15,-1-2 13 0,2 5-8 0,-3 1-34 16,3 2-1-16,3-1 12 0,-3-1-33 16,3 1 10-16,-1 4-18 0,0-3 10 15,4 1 0-15,-4 0-7 0,0-1 0 0,4 2 33 16,-1-3-44-16,-2 0 16 0,1-1-5 16,-1 0-1-16,0 0 6 0,-1-2-33 0,1-1-16 15,-1 0-69-15,1-2 5 0,-2 0-8 16,1-1 26-16,-2 2-10 15,2-1 10-15,1-4 3 0,-3 3 10 0,2-1 5 0,-1-3-10 0,-1 3-6 16,2-1 21-16,-2-4-15 0,0 6 0 0,2-4 7 16,-2-2 1-16,0 5 2 0,3-2 0 0,-3-3 13 15,0 0-26-15,0 5-2 0,0-5 25 16,0 0-49-16,0 3-12 0,0-3-5 16,0 0-18-16,3 3-26 0,-3-3-36 0,0 0 3 15,0 0-15-15,0 0 2 0,0 0-28 0,0 0-34 16,0 0-32-16,7-8-57 0,-7 8-54 15,3-4-7-15,-1 1-433 0,-1 0 23 0,-1 3 82 16,2-7 64-16,1 5 97 0</inkml:trace>
  <inkml:trace contextRef="#ctx0" brushRef="#br0" timeOffset="91240.32">11987 9358 903 0,'-5'-3'307'16,"5"3"-12"-16,-5-4-37 0,5 4-12 0,0 0-23 16,-10 6-1-16,7-1-20 0,1-1-30 15,-1 2-6-15,0 2 6 0,1-1-26 0,0 0-8 16,2 2 13-16,0 1-20 0,2-4-21 16,-2 4-21-16,2-1 34 0,1-2-33 15,4 2-14-15,-1-3-17 0,-1-1 5 0,3-1 11 16,0 0-27-16,2-2 6 0,-3-2-11 0,4 0-14 15,1 0 27-15,-4 0-33 0,3-5 3 0,1 2 7 16,-2-2-5-16,1-2 3 0,-1 0-3 16,0 0 13-16,-2-1 48 0,-3 1 4 15,3 3 14-15,-1-4 11 0,-2 5-21 0,-2-2-79 0,2 3 15 16,1-2 1-16,-4 2-19 16,-2 2 5-16,0 0 34 0,8 6-23 0,-6-3-18 0,0 6 28 15,-1 0-34-15,1 4 37 0,1 4-21 31,-1 1 15-31,1 3-12 0,-1 4-11 0,1 3 3 0,0 0 10 0,2 11-2 0,-2-6-8 0,1-4 12 16,-1 6 1-16,0-3-13 0,-1-6 5 16,0-1 21-16,-2-1-9 0,-2-3-9 0,-3 3 10 15,2-5-13-15,-1-1 3 0,-2-1-26 16,-2-3 23-16,3 2-11 0,-3-5-24 0,1-1 9 16,2-3-7-16,-3-3-16 31,3-1-43-31,-3-1-46 0,1-4 0 0,7 2-47 0,-11-6-37 0,6 0-37 0,0-1-122 0,0-1-146 15,2 0-433-15,3-4 100 0,-2 2 71 0,4-3 152 0,1 1 10 16,0-2 61-16</inkml:trace>
  <inkml:trace contextRef="#ctx0" brushRef="#br0" timeOffset="91607.68">12356 9585 1300 0,'8'-7'407'15,"-3"1"-44"-15,0-3-22 0,0 1-32 16,1-3-19-16,-1 3-45 0,0-3-1 0,0-1-22 0,-5 3-2 16,3-1-22-16,-1 1-1 0,-2-1-92 15,2 4-6-15,-2-1 11 0,0 1-5 16,0 4-30-16,0 2 14 0,-7-3 11 0,7 3-10 15,-7 6 7-15,1 1 21 0,1 2-52 0,0 2 19 16,0-1-29-16,-3 3 8 0,3-1 95 31,0 3-19-31,3-2-27 0,-2 0-18 0,2-1 20 0,2 1-31 0,0-4-30 0,0 2-28 0,3-4-3 16,2 4-51-16,0-4-8 0,3 1-33 0,-1-4-49 16,2-2-36-16,3 3-7 0,0-5-82 15,2 0-82-15,3 0-154 0,4-5-401 0,2 3-6 16,2-4 82-16,4 1 106 0,7-7 106 0,-5 4 47 15</inkml:trace>
  <inkml:trace contextRef="#ctx0" brushRef="#br0" timeOffset="92928.48">13138 9242 854 0,'-5'-3'364'0,"5"3"-42"0,0 0 85 0,-12 6-41 0,6-1-15 0,-2 2-16 0,1 2-107 16,0 0-10-16,-1 2-44 0,-3 1-3 15,1 1 6-15,2 1-5 0,-2 0-27 16,2 4-17-16,-2 1-33 0,5-2 10 0,-3-1-18 15,1 0-15-15,4 1-18 0,1-3 4 0,2-1-24 16,-3-1-1-16,6-2-15 0,-1-1-3 16,1-1-5-16,4 0-4 0,-1-4-19 15,1 0 26-15,1-2-13 0,0-2-16 0,0 0 19 0,2-1-6 16,0-2 6-16,-3 0 4 0,4 1 6 16,-4-2 21-16,3 3-24 0,-2-1-20 0,-2 2 7 15,1-2 0-15,-7 2-2 0,13 4 8 16,-6-3 15-16,1 4-16 0,-2 0 9 0,1-2-4 15,1 2-27-15,0 1 35 0,0-1-10 0,-1-3-7 16,3 2 12-16,3-2-10 16,-3-2-8-16,1 0 11 0,-1 0 33 0,2 0-41 0,-1-6-6 15,2 3 29-15,0-4-23 0,-3 2 13 16,0-4 7-16,-2 1-2 0,-1 0 0 31,-1-2 15-31,-2-2-8 0,0 3 19 0,-2-2-3 0,-2 0-8 0,-2 2-3 0,2-1 14 0,-4 2-19 16,2 0-7-16,-3-1 10 0,0 5-18 0,2 1 16 15,-4 1-11-15,2 1 8 0,5 1 2 16,-18 3-2-16,10 1 0 16,-2 1 13-16,2 0-26 0,0 3 0 0,3-2 3 15,0 1-13-15,0-1-11 0,2 0-2 0,0-2 26 0,1 1 5 16,2-5-11-16,6 4-9 0,-2-4-9 0,-4 0 6 16,13-4 0-16,0-1 23 0,-2 1-3 15,3-5-28-15,0 0 5 0,1-1 16 0,3-3 4 16,-3-3 9-16,1 2-6 0,-1-1-10 0,-5-4 15 15,3 0 11-15,0 1 12 16,-3-1 19-16,0-3-9 0,-2 8-7 0,-3-4-15 0,3 5 48 16,-3 1 3-16,0 1 28 0,-2 3-44 0,0 2-4 15,-3 4-22-15,2 1 40 0,-2 1-22 16,0 0-4 0,0 0 2-16,0 0-2 0,-3 20 5 0,-4-9-16 0,4 1 6 0,-2 3 68 0,0 4-32 15,-1 0-29-15,-1 3 2 0,2-4-14 16,2 1-11-16,-2 0-20 15,3-3-24-15,2 0-32 0,0-1-6 0,2-2-25 0,0-2-16 16,4-2-2-16,-1-1-13 0,0-2 28 0,3-2-13 16,-1-4 26-16,4 4-26 0,-6-4 18 0,5-4 31 15,0 0-23-15,-2 0 15 16,2-3 19-16,-2 0-4 0,3 1-2 0,-4-1 23 0,0 1 8 16,-1 2-23-16,-1-2 17 0,0 4 1 15,-2-2 15-15,2 4-5 0,-5 0 15 16,0 0-12-16,0 0 9 0,7 3-12 0,-7-3 18 0,3 8-13 15,-3-6 8-15,3 4-13 0,-3 0-3 16,2-1 13-16,-2-1-5 0,2 0 28 16,1 1-2-16,0-1-11 15,-1-2-15-15,-2-2 21 0,6 4-6 0,-4-2 13 0,-2-2-2 16,0 0 17-16,0 0 21 0,0 0-18 0,13-6 49 0,-13 4-8 16,0 2-18-16,2-8 33 0,1 4-22 15,-3 0-8-15,2-2-14 0,-2 4 27 0,1-2-26 16,-1-2 0-16,0 6-13 0,2-7-5 15,-2 5-21-15,2-2 6 0,2 3 30 0,-4 1-15 0,4-4 0 16,-4 4 23-16,0 0-15 16,0 0 7-16,10 5-8 0,-7-2-19 0,0 0-9 15,1 3 29-15,-1 1-24 0,0-1-7 0,-1 3 0 16,-1-1-5-16,-1-1 10 0,2 0 33 16,-2-1-4-1,0 0 6-15,0-1-76 0,3-3 44 0,-3 4 51 0,2-6-85 0,-2 0 31 0,0 0-2 16,3 4-32-16,-3-4 70 0,0 0 44 0,12-12-3 15,-6 4-31-15,2-1-16 0,-3-3-30 16,3-1-33-16,2 1-8 0,-2-1-28 0,-1 0-59 16,3 0-56-16,0 1-46 0,1-1-52 0,-1 3-30 15,0 1-52-15,-2-6-293 0,0 7-493 16,-1 2 142-16,1 3 104 0,-5-1 80 16,1 2 100-16,0-2 56 0,0 3 77 0</inkml:trace>
  <inkml:trace contextRef="#ctx0" brushRef="#br0" timeOffset="94879.09">11577 10344 926 0,'-5'0'358'0,"5"0"-32"15,0 0-12-15,0 0-53 0,-5 3-74 0,5-3-46 16,0 0 8-16,0 0 7 0,0 0-31 16,16 2-5-16,-9-2-20 0,0 0-8 0,-7 0-33 15,16-1-13-15,-6 0-23 0,1-1 0 16,-1 1-30-16,0-2-39 0,2-1-26 0,-1 3-7 16,2-3-65-16,-3 2 16 0,0-3 0 0,1 2-2 15,1-2 22-15,-3-1 16 16,1 1 59-16,0-1-36 0,-3 2 25 0,-1-3 31 0,1 2 42 15,-2 0 19-15,1-1 21 0,-2 1 36 0,-1-1-5 16,0 3 15-16,1 0 24 0,-4-2-6 16,1 3-3-16,-1 2-27 0,5-6 25 15,-5 6-11-15,0 0 4 16,2-2-24-16,-2 2-13 0,0 0 1 0,0 0 15 0,-2 14-31 16,4-7 13-16,-2 0-18 0,0 5-16 15,0 0 1-15,0 1-8 0,0 3 2 0,0-1-2 0,0-1-18 16,0 2-30-16,0-2-4 0,0-1-40 15,1 3-54-15,1-3-20 0,-2 1-34 16,3-1-107 0,-3-1-92-16,2 0-454 0,-1-2 85 0,1-3 80 0,0 0 55 0,1-1 83 0</inkml:trace>
  <inkml:trace contextRef="#ctx0" brushRef="#br0" timeOffset="95299.09">11834 10281 1062 0,'7'-2'312'0,"-7"2"-23"0,0 0-40 15,11 2-22-15,-9 1 6 0,3 0-28 0,-5 3-36 16,3-1 10-16,-3 3-23 0,0-2-15 16,0 1-15-16,-3 3-21 0,3-2 12 0,0 0-9 15,0 1-31-15,0-1-13 0,0-1-6 0,3 2-73 16,-1-5-18-16,0 4 28 0,1 0 2 16,2-3-20-16,0 2 5 0,1-1 0 0,2 2 13 15,-1-1-10 1,-2-2 22-16,0 1 11 0,0-1-13 0,1 1-10 0,-1-2 28 0,-3 4-23 15,1-4 18-15,-1 1-25 0,-1 0 30 0,-2 1-11 16,-1-3-1-16,-3 4 2 0,2-1-13 0,-4-1 2 16,1-1-35-16,1-2 10 15,0 4-31 1,-2-3-46-16,1 1-105 0,1-4-71 0,0 1-477 0,5-1 16 0,-10 0 97 0,10 0 54 16</inkml:trace>
  <inkml:trace contextRef="#ctx0" brushRef="#br0" timeOffset="95513.27">11969 10250 921 0,'0'0'315'0,"0"0"61"0,0 0-38 16,0 0 5-16,8 7-44 0,-6-2-12 0,1 2-46 0,0 1-1 16,-1 2-22-16,1 3-29 15,-1-1-30-15,-1 1-90 0,-1 3-30 0,0-3-16 16,0 2-29-16,2 1-27 0,-2-2-18 0,0-1-54 15,0 1-49-15,2-1-101 0,1-5-50 16,2 2-504-16,-2 2 103 0,4-6 25 0,-4 1 100 16</inkml:trace>
  <inkml:trace contextRef="#ctx0" brushRef="#br0" timeOffset="95851.39">12246 10341 867 0,'-5'-4'320'0,"5"4"-8"0,-7 0-33 0,7 0-10 16,0 0-31-16,-16 4-25 0,8-2-3 0,1 2-36 15,1 0-5-15,-1 1-23 0,-1 1 2 16,0 3-25-16,1-1-23 0,2-1-3 0,-1 1-20 16,-1-1 0-16,4 2-8 0,1-1-36 0,-1-2-2 15,3-1-3-15,0 1-3 0,3-4 1 0,-1 4 0 16,1-5-16-16,2 2-5 0,-5-3 8 15,12-1 15-15,-4-1-10 0,0 0 0 0,0-3-13 16,-1 3 5-16,-1-2 5 0,1-1 3 16,1 1 18-16,-3 1 0 15,-2 0-13-15,2-1-8 0,0 4 14 0,-5 0-14 0,5-3-2 16,-5 3-16-16,0 0 24 0,0 0 61 0,5 7-21 16,-5-4-12-16,0 1-42 0,0 2-22 15,0-4-41-15,0 4-54 0,2 1-75 0,-1-1-109 16,-2-1-108-16,5-3-335 0,-2 3-49 0,3-4 100 15,0 2 87-15,-5-3 67 0</inkml:trace>
  <inkml:trace contextRef="#ctx0" brushRef="#br0" timeOffset="96391.73">12421 10332 954 0,'-3'-4'310'0,"3"1"-36"0,0 3-36 0,-5-3 5 16,5 3-41-16,-6-3-2 0,6 3-21 0,0 0-23 15,-12 9-25 1,10-7-19-16,-1 5 14 0,-2-1-34 0,2 0 8 0,0 1-11 0,1 1 75 16,-1 1-36-16,1-1-23 0,2 1-13 0,0-1 3 15,2-1-36-15,-2 0 15 0,1 0-25 0,1 0 12 16,3-1-12-16,-2-1-21 0,-1 1-15 16,4-2-13-16,-2-1 2 0,2-2 9 0,1 2-17 15,-2-2 9-15,-5-1-3 0,11 0 3 0,-11 0 9 16,10-2-14-16,-5-1 2 15,0 0 0-15,-2 0 15 0,2 0 6 0,-3-1 25 16,1-2 10-16,0-1-18 0,-3 1 3 0,0-3 5 16,0-1 21-16,0-1 5 0,0 1 5 15,0-2-1-15,2-2 29 0,-2 0 3 0,2 1-34 16,-1 1 10-16,1-1 1 0,1 0-19 0,-1 5 29 16,3-3-21-16,-2 4-10 0,0-1-5 15,2 2 10-15,-2 1-17 0,1-1-11 16,2 2-6-16,-4 3-4 15,-2 1 0-15,8 0-8 0,-8 0 5 0,0 0 5 0,3 7 8 0,-4-3-15 0,1 1-1 16,-5-1 6-16,2 5-28 0,-1-1 17 16,-2 0-4-16,2-2-1 0,-2 5-15 15,1-1 2-15,0-1 11 0,2-2-8 0,-2 0 3 16,0 1-13-16,3-1 18 0,-1-1 15 16,3-1 0-1,0 2-25-15,0-2 2 0,0 0-13 0,0 1 8 0,5 0-15 16,-3-5 27-16,1 3-9 0,3 0-44 0,1-1-2 15,-2-2-16-15,5 3-33 0,-4-3-26 0,1-1 10 0,1 0-71 16,2 0-21-16,-2 0-50 0,0 0-116 16,2 0-282-16,-2 0-253 0,-1 0 54 0,1-5 112 15,0 5 87-15,2-1 52 0</inkml:trace>
  <inkml:trace contextRef="#ctx0" brushRef="#br0" timeOffset="96597.55">12756 10315 1044 0,'8'4'338'0,"-6"-1"-16"0,1 0-20 0,0 2-23 16,-1 2 0-16,-1 0-30 0,-1 3-32 0,2-2 78 15,-2 5-47-15,0-2-13 16,-2 3-32-16,1-1-24 0,-1 3-41 0,-3-3-46 0,2 1-43 16,1-1-70-16,-4 3-56 0,4-3-168 0,-1-1-649 15,0-3 91-15,1 1 101 16,2-4 65-16,0 0 64 0</inkml:trace>
  <inkml:trace contextRef="#ctx0" brushRef="#br0" timeOffset="97071.74">13021 10212 1087 0,'0'0'320'0,"0"0"-5"0,0 0-28 0,0 0-6 15,-4 13-40-15,4-7-26 0,0 1-8 0,0 3-30 16,0-1 23-16,0 2-49 16,0 0-18-16,-2 1 0 0,2 0-46 0,0 1-13 15,0-3 44-15,0 2-23 0,-2 2-70 0,4-4-25 0,-2 1-31 16,0-3-35-16,2 2-80 0,-1-2-120 16,2-2-556-16,-1 0 75 0,1 1 27 15,-1-6 78-15,1 3 81 0</inkml:trace>
  <inkml:trace contextRef="#ctx0" brushRef="#br0" timeOffset="98165.19">13069 10228 1146 0,'3'-3'341'0,"-3"3"-32"16,5-4-7-16,-3 2-20 0,-2 2-21 0,8 0-38 15,-8 0-31-15,8 0-18 0,-8 0-13 0,0 0-5 16,8 3-20-16,-6 0 7 0,-2-3-22 15,0 6-9-15,0-2 3 0,-2 1-7 16,2-1-24-16,-3 1-12 0,0 0-11 0,3 1 24 16,-2-3-34-16,2 3-7 0,0 1-6 15,0-2-7-15,0 1-13 0,2 0-3 0,1 1 0 0,2-1 24 16,-3 1-16-16,1-1 5 0,2 0 10 16,1 3-4-16,-4-2-6 0,1-1 13 0,2 1-11 15,-3 1 68-15,-2-1 2 0,0-1-24 16,0 1 32-16,-2 2-39 0,-1-1-23 0,0-2 33 15,-4 1-43-15,4 0-13 0,-5-2-18 0,1 0-46 16,2 1-35-16,0 0-24 0,-3-3-26 0,1 1-43 16,4-1-66-16,-3-1-54 15,2-1-67-15,4-1-33 0,0 0 0 0,-6-6 20 16,4 1-7-16,4-1 107 0,-2-2 59 0,3 1 87 31,0-3-17-31,1-1 65 0,-1 1 45 0,2-1 27 0,0-1 41 0,1 0 11 0,1 3 48 16,-2-1-2-16,3-2 7 0,2 4 1 15,-2 1-11-15,0 0 3 0,2 1-6 0,0 2 11 0,-2 2 8 16,2 0-26-16,0 0 12 16,-2 4 14-16,2 1 12 0,0-1-46 0,-2 4 6 15,0-2-4 1,-3 2 9-16,1 1-21 0,1 2 10 0,-4 1-15 0,-3-2-23 0,2 2 2 16,-2-2-15-16,2-1 21 0,-4 3-14 0,2-4-19 15,2 0 7-15,-2 0 2 0,0 0-20 0,0-2-5 16,0 0 5-16,0-4-23 0,3 2 0 15,-3-2-33 1,0 0 2-16,0 0-23 0,13-6-23 0,-8 2-12 0,1-1-57 0,3-3-21 0,-1-1-50 16,0 1 12-16,2-1 59 15,-2 1 5-15,2 0 0 0,0 1 75 0,0 0 4 0,-2-1 14 16,0 5 42-16,-3-1 34 0,0 1 24 0,-2 0 4 16,2 3 21-16,-5 0-6 0,0 0 19 15,11 3-1-15,-9 0-12 16,-2 1-15-16,2-2 17 15,1 3-23-15,-3-1 8 0,5-1 3 0,-3 3 4 0,1-2-4 0,0 0-3 0,1-1-5 16,2-1 5-16,-1 3 17 0,1-4 4 16,1-1 7-16,-2 0 15 0,1 2-7 0,-6-2 5 15,12-2-10-15,-7 1 33 0,0-1 2 0,-2-1-9 16,2-1 9-16,-5 1-20 16,0-2-5-1,0 5-3-15,-3-7-12 0,-1 2 15 0,1-1-23 0,-3 2 20 0,-1-1-20 0,2 1-28 0,-3 1-26 16,3-1-5-16,-3 2-3 0,0-2-58 15,1 4 7-15,-1 0-59 0,8 0-45 0,-13 0-75 16,9 4-95-16,-2-2-394 31,1-2 11-31,5 0 43 0,-5 4 25 0,5-4 65 0</inkml:trace>
  <inkml:trace contextRef="#ctx0" brushRef="#br0" timeOffset="98727.58">13477 10287 883 0,'0'0'337'0,"5"4"-34"0,-5-4-22 0,5 3-4 0,0-1-32 0,-4 2-17 0,-1-4-13 0,4 5-38 0,-1-3-21 15,0 2-3 1,-1-2-14-16,1 2 9 0,2-2-20 0,-3 2-26 0,1-2-17 0,-3-2 12 16,5 5-66-16,-2-5-16 0,2 2-2 0,-5-2 0 15,5 3 2-15,-5-3-7 0,8 0 23 16,-8 0-11-16,8-1-5 0,-8 1 1 0,7-2-3 15,-2 0 22-15,-2 0-1 0,-3 2-11 0,7-3 0 16,-7 3-18-16,5 0 0 0,-5 0 0 16,6-1 0-16,-6 1 13 0,8 0-2 15,-8 0-14-15,0 0-4 0,10 1 12 0,-10-1-8 16,7 0 1-16,-7 0 17 0,8 0-7 0,-8 0 5 16,8-1 23-16,-8 1 74 0,5-5 11 15,-3 4 2-15,-2 1 0 0,5-5-3 0,0 2-76 16,-4-1-16-16,-1 4 18 0,4-6-12 0,-1 4-9 15,-2-2-7-15,-1 4-7 0,2-7 9 16,-2 6 16-16,0 1-23 0,0-5-23 0,2 1 0 16,-2 4-62-16,0-4-22 0,0 4-6 15,3-4-15-15,-3 4 5 0,3-3 21 0,-3 3 2 16,4-4 18-16,-4 4-21 0,0 0 29 0,6 0 5 16,-6 0-6-16,0 0 24 0,0 0 2 31,12 4 6-31,-11-2 4 0,-1-2 16 0,7 4 21 0,-6-2 1 0,1 1 19 0,3 1-13 0,-5-4 11 15,3 5 12-15,-1-2-8 0,0 1-5 16,-2-4 34-16,3 3-21 0,0-1 15 0,-3-2-2 16,4 2-15-16,-3 2-6 0,-1-4 6 15,5 2 2-15,-5-2-3 0,5 0-2 0,-5 0 16 16,0 0-22-16,8 0-6 0,-8 0 1 16,0 0-12-16,0 0 10 0,10 0-17 15,-10 0-19 1,0 0 31-16,10 0-51 0,-10 0-39 0,8 0-4 0,-8 0-55 0,10-1-50 0,-5 0-78 15,-5 1-176-15,14-4-430 0,-2 2 61 0,1-2 88 16,2 2 45-16,3-5 80 0</inkml:trace>
  <inkml:trace contextRef="#ctx0" brushRef="#br0" timeOffset="99288.19">14103 10029 929 0,'-3'8'381'0,"3"-1"-43"0,-3 3-8 0,1 0-48 0,0 1-16 0,2 2-31 15,0 2-27-15,-1 0-21 0,-2-2-18 16,3 2-8-16,0-1-46 0,0 0 10 0,0-2-25 16,0-3 5-16,3 2-23 0,-3-3 23 0,0 0-13 15,1 0 8 1,-1-2-36-16,2-2 20 0,0 0 6 0,1-1 25 0,2-1-12 15,-5-2-91-15,8-1 17 0,-8 1-17 0,13-4 11 16,-6 4-2-16,-2-2 30 0,5 0-28 16,-2 0-2-16,0 0 7 0,0 1 2 0,2-3 1 15,-3 4-21 1,1 0 26-16,0 0-5 0,2 1 79 0,-2 2 5 0,0-2-5 0,-3 1-35 16,0 3-55-16,-2-1-12 15,1-1-3-15,-4 3-3 0,0-1 24 0,0 0-13 0,-4 2-6 0,1 1 11 16,-2-2-15-16,-3 0 12 0,3 1-7 15,-5-1-21-15,2-1-20 0,0 0-23 0,0-2-34 16,1 2 0-16,-1-4-38 16,0 2-48-16,1-2-44 0,2-1-103 0,5 0-132 15,-6-5-431-15,4 0 80 0,2 2 58 0,0-3 113 16,2-1 67-16</inkml:trace>
  <inkml:trace contextRef="#ctx0" brushRef="#br0" timeOffset="99516.31">14344 9961 916 0,'0'0'333'0,"0"0"-21"16,0 0-18-16,4 8-4 0,-4-1-17 15,0 2-37-15,0 0-13 0,3 3-14 16,-3 0-29-16,1 2-4 0,-1-1-17 0,0 2-5 16,0 0-29-16,0 2 6 0,-1 2-9 0,-2-1-37 15,3-3-49-15,0 4-24 0,0-6-52 16,0 2-17-16,0 0-32 0,0-2-80 0,0-1-108 15,0-3-86-15,0 0-415 0,3-1 15 0,-2 1 108 16,1-3 104-16</inkml:trace>
  <inkml:trace contextRef="#ctx0" brushRef="#br0" timeOffset="100005.2">14489 10174 1077 0,'0'-5'422'0,"0"5"-68"16,-2-4-9-16,2 4-45 0,0 0-39 16,0 0-31-16,0 0 3 0,0 0-56 15,0 0 20-15,0 0-41 0,0 0 16 0,0 0-32 16,0 0 11-16,0 0-30 0,0 15-29 0,0-11-18 16,0-4 28-16,2 7-27 0,-2-5-17 15,3 2 6-15,-2 0-25 0,3-1 17 0,-1-1-12 16,2-1-14-16,0 1 4 0,2-2-4 0,-7 0 32 15,14-3-26-15,-4 3-6 16,0-4 9-16,1 1-21 0,-1-2-5 0,0-1 15 16,1 0-28-1,-1-1 30-15,0 1-12 0,0 0-41 0,-2-1 74 0,-1 1-30 0,-1 3 40 16,1 0-79-16,-4-2 6 0,2 2 17 0,0-1-21 16,0 3 1-16,-5 1 0 0,0 0 4 0,5 0 19 15,-5 0-13-15,0 0-18 0,0 0 13 16,0 0-11-16,11 3 21 0,-11-3 10 15,4 2-15-15,-4-2 0 0,6 1 18 0,-6-1-13 0,0 0 3 16,12-5 2-16,-9 4 5 0,4-3-7 16,-1 1-3-16,-3-2-3 0,4 2 13 15,-4-1-5-15,2 1-2 0,-2-1 30 0,1 0-5 0,-1 3-5 16,-3 1-7-16,5-2 7 16,-5 2-23-16,0 0 10 0,0 0 8 0,6 8-10 15,-4-3-24-15,0 0 90 0,1-2-7 0,2 3-31 16,0 0-57-16,1-3-9 0,2 0-55 15,1-1-15-15,-1 2-58 16,2-3-16-16,1-1-80 0,-1 0-201 0,3 0-485 0,-3 0 159 0,0-1 19 16,-2-1 65-16,-1-2 104 0,-1 4 19 15</inkml:trace>
  <inkml:trace contextRef="#ctx0" brushRef="#br0" timeOffset="100943.1">11787 11179 793 0,'6'7'246'0,"-4"-6"-34"0,3 5-10 0,0-1-7 0,3 1-21 0,0-1-23 0,-1-1 5 16,6 2-38-16,-2-1 15 0,1-2-31 0,-1 2 24 15,1-2-29-15,1-1 0 0,-3 1 11 0,1 0-11 16,-4-2-10-16,3 1 39 15,-2 1-19-15,-2-1 54 16,-2 1 29-16,2-1-47 0,-4 3 6 0,-2 1 7 0,0-1-21 0,-2 2-7 16,-1 1-23-16,-4 2 10 15,-1 0-15-15,-2 2-20 0,-1 0-27 0,-2 1 1 0,0 3-10 16,-2-2-39-16,-1-1-28 0,2 4-26 0,-2-3-35 16,1-1-49-16,4-1-136 15,-6 0-146-15,6-3-471 0,4 1 65 0,1-3 117 0,4-3 54 16,-1 1 76-16</inkml:trace>
  <inkml:trace contextRef="#ctx0" brushRef="#br0" timeOffset="101824.29">12397 11137 1121 0,'0'0'358'16,"-4"-3"-33"-16,4 3-28 0,0 0-33 0,-6 7-8 15,4-1-44-15,-1 1-20 0,-2 5-10 0,2 0-13 16,1 2-8-16,-1 3-30 0,0-1-3 16,-1 2-29-16,4 1 11 0,-3-1-25 15,0 1-29-15,1-2-15 16,0-1-28-16,-1 0-41 0,3-1 0 0,-1-1-57 0,1-1-17 0,0-2-72 16,1-1-46-16,-1-2-75 15,3 2-493-15,-1-3 51 0,0-2 102 0,-2-2 85 0,3 2 22 16</inkml:trace>
  <inkml:trace contextRef="#ctx0" brushRef="#br0" timeOffset="102502.66">12397 11196 1279 0,'0'0'382'0,"0"0"-24"0,3-3-38 16,-3 3-36-16,0 0 11 0,0 0-55 15,0 0 14-15,15 5-42 0,-12-2 29 0,2 2-42 16,-2 0-91-16,-3 2-21 0,0-1-3 16,2 2 1-16,-4 1-21 0,-1-1 5 0,1 0 13 15,-3 3-36-15,2-3-10 0,-2 1 38 0,2-1-20 16,-2-2-26-16,5 2 5 15,-3-3-12-15,1 2 2 0,2-2-11 0,0 2 6 0,2-3 10 16,1 2-17-16,0-1 9 0,1 0 1 0,-1 0-6 16,3 2-2-16,1-1 12 0,-4-1-7 15,2 1 8-15,0 0 10 0,-3-2-23 16,1 0 5-16,0 3 12 0,-3-2-4 0,0 0-24 16,0 0 9-16,-3 0 55 0,3 0 3 15,-5 0-25-15,0 2-60 0,-1-1-4 16,-4 0-52-16,2-1-22 0,1 1-24 0,0-3-23 15,-1 2-71-15,2-1-126 0,1-3-591 0,0 1 104 16,5-2 55-16,-10 0 109 0,10 0 70 16,-3-7 56-16</inkml:trace>
  <inkml:trace contextRef="#ctx0" brushRef="#br0" timeOffset="102710.43">12467 11169 1092 0,'2'-3'336'0,"3"-1"12"0,-5 4-23 0,8 1-10 15,-8-1 5-15,8 9-16 0,-5-2-35 0,1 0-46 16,2 4-3-16,-4 1-25 0,1-1-9 16,-1 4 1-16,1-1-31 0,-1 3-35 0,-2-2-42 15,0 4-53-15,-2 0-24 0,2-1-48 0,0-1-43 16,0-2-42-16,0 0-94 0,2-3-123 16,1-1-134-16,2 0-362 0,-2-4 140 15,4-1 8-15,-2-2 79 0</inkml:trace>
  <inkml:trace contextRef="#ctx0" brushRef="#br0" timeOffset="103214.4">12664 11329 947 0,'0'0'248'0,"0"0"3"15,0 0-57-15,0 0 14 0,0 0-32 16,0 0 1-16,-5 14-36 0,5-7-3 16,0-1-15-16,0 0-6 0,0 1 50 0,5-1 7 15,0 1-31-15,0-2-15 0,3 2-10 0,0-2 10 16,2 0-31-16,-2-3 36 0,5-2-17 15,-3 1 11-15,0-1 35 0,0 0-34 16,-2-1 20-16,0-1-76 0,0-1 7 0,-1-1-2 16,-2 0 13-16,-2-1-8 0,-1 2-19 15,-2-2 1-15,-2 0 3 0,2-1-16 0,-5 3 3 0,2-3-16 16,-2 2 14-16,0-2-35 0,-3 2 9 16,3 0-39-16,0-1-12 0,-1 0-24 0,2 2-17 15,1 0-39-15,0 0-41 0,-1 1-8 16,4 2 13-16,2-8 26 0,-2 8-21 0,2-3 3 31,1 0-5-31,2 1 28 0,-5 2 26 0,10-3-21 0,-2 3 33 0,-8 0-13 0,10 1 29 16,-5 1-8-16,1 0 18 0,1 3 28 0,-2-1 0 15,1 1-5-15,-1 0 18 0,2 0-10 16,1 4 15-16,0-2-10 0,-3 0 12 0,3 0-15 16,-1 0 13-16,1-1-5 0,2 0 23 15,-2-1 26-15,2-3 2 0,0 2 28 0,1-1 8 16,2-3 0-16,-3 0 20 0,0 0 29 15,0-1 20-15,-2-2-5 0,0 0 2 0,-1 0 67 16,-2-1-5-16,-2-1-44 0,0 2 3 0,-3-3 10 16,0 1-102-16,0 0-26 0,-3 0-7 15,-2 1-18-15,0 1 12 0,-1 1 3 0,-1-3-33 16,0 5-8-16,-1 0-41 16,0 0-36-16,0 0-28 0,-2 0-13 0,2 0-48 15,1 3-44-15,-1-2-77 0,8-1-140 0,-8 2-472 0,5-2 121 16,3 0 8-16,0 0 96 0,0 0 99 0</inkml:trace>
  <inkml:trace contextRef="#ctx0" brushRef="#br0" timeOffset="103583.22">13131 11110 941 0,'0'0'379'0,"0"0"-36"0,3 8-20 0,-3-1-21 0,-1-1-5 0,1 1-31 0,0 4-13 15,0 1-32-15,-2 1-4 0,2 3-35 16,0-1-26-16,-3 0-23 0,3 1 21 0,0-3-24 16,0 3-17-16,3-2-11 0,-3-3-7 0,0-1-3 15,2 1-10-15,-1-3-10 0,1 1 20 16,-2-2-15-16,2 0-19 0,1-3-9 16,-3 0 7-16,0 1-4 15,0-5-14-15,0 4-2 0,0-4-3 0,0 0-2 0,-10 1 12 0,5 0-30 16,5-1 0-16,-9 2 18 15,2 0-13-15,0 0 2 0,-1 0-2 0,-2 3-8 0,2-2-61 16,0 2 10-16,1 0 15 0,-1 1-4 16,0-2-1-16,3 2 90 0,0-3 28 0,0 3-31 31,0-1-12-31,2-3 7 0,-2 4-5 0,4-5-10 0,1 4 5 0,0-5-39 0,4 4-9 16,-4-4-24-16,7 0-36 0,-7 0-40 15,13-4-75-15,-3 3-64 0,3-4-145 0,0 1-541 16,5-1 59-16,8-2 151 0,-3 1-2 0,2-3 69 15,11-1 56-15</inkml:trace>
  <inkml:trace contextRef="#ctx0" brushRef="#br0" timeOffset="104249.38">13521 11106 1290 0,'0'0'368'0,"-11"0"-25"0,6 4-31 0,0-2-7 16,0 5-16-16,0 3-40 0,-3-2-6 15,0 3-15-15,0 1 7 0,1 1-43 0,-1 1-43 16,1-1-19-16,1 0 1 0,1-1-19 16,0 0-9-16,0 2-34 0,3-5 15 0,2 0-20 15,-3 0 16-15,6-2-19 0,-3 0 6 16,2-2-16-16,1-2 0 0,2 0 0 0,-2-2 11 0,4 0-14 15,-7-1 1-15,13-3 17 16,-3 0-17-16,-2-1-69 0,2-1 4 0,-2 1 6 16,2-1-8-16,-3-1-2 0,4 0 27 0,-3 3 16 15,-1-1-28-15,1 2 0 0,-1 1 5 16,-1 1 10-16,-6 0 77 0,13 3-5 0,-6 3-18 16,-2-1 10-16,3 3-10 0,-3-1-28 0,-2 3 26 15,2-1-55-15,-5 2-30 0,3-1-10 16,-1-1-46-1,-2 2-26-15,0-3 0 0,0 3-49 0,0-3-33 0,0 2-56 0,0-2-113 0,-2-2-261 16,2-1-243-16,0 0 21 16,2-2 125-16,-2-3 81 0,0 5 63 0</inkml:trace>
  <inkml:trace contextRef="#ctx0" brushRef="#br0" timeOffset="105616.2">13646 11281 1059 0,'5'-12'341'0,"-4"2"-6"0,3 4-102 0,-2-1 13 16,2 2-26-16,-4 1-18 0,2 1-15 15,1 1 7-15,-3 2-43 0,7-2 16 0,-7 2-16 16,8 5-5-16,-5-3-6 0,-1 4-19 0,3-2-24 16,-2 2-2-16,-1-2 7 15,1 4-5 1,0-2-30-16,-1 1 20 0,0 0-33 0,-2-2 2 0,3 0 8 0,-3 0 10 0,0 0-12 0,0-3 27 16,3 3 70-16,-3-5-11 0,0 4-4 15,0-4-1-15,0 0-30 0,5 2-24 16,-5-2 11-16,0 0-18 0,5-11 5 0,-2 7 3 15,2-2-42-15,-2-3-14 0,1 2-11 0,2 1 2 16,1-3-30-16,-2 2-13 16,1 1 18-16,-2 0-28 0,2 2-13 0,-1-2 13 15,2 4-33-15,-4-1 9 0,3 3-12 0,-6 0 18 0,10 2-38 16,-6 0 20-16,2-1-3 0,-2 3 24 16,0-1-14-16,1 0 24 0,0 1 5 0,0-1 2 15,0 2 8-15,0-2-5 0,3 0 16 16,-3 0 12-16,2-3 0 0,1 0-10 0,0 1 5 15,-8-1 31-15,13-1-31 0,-5-1 5 0,-1-2 33 16,1 1 6-16,0 0-14 0,-1-2-25 0,1 2 34 16,-3-2-26-16,3-1 15 15,-6-1 5-15,4 1-2 16,-4 0 15-16,0 0-10 0,1 3-6 0,0-2 14 0,-3 1-21 0,0 4-10 16,0-4 15-16,0 4-23 0,0 0 23 15,0 0-7-15,0 0-6 0,0 0-12 16,0 0-3-16,-16 9 12 0,14-5 9 0,0 0-24 0,1 0 14 15,-2 1-1-15,3-2-15 0,0 2-3 0,0 0 13 16,4-3-7-16,-2 4 2 16,0-3-6-16,4-1 19 0,-2-1-18 0,4-1 8 15,-8 0-14-15,13 0 9 0,-5-3 7 0,2 1 5 16,-2-2-20-16,0 1 33 0,-1-2-33 16,3-2 25-16,-4 4-23 0,1-4 6 0,-2 1 17 15,-2 0 3-15,2-1 0 0,-3 1-5 0,-1 1-3 16,1-1-10-1,-2 1 23-15,0 2-38 0,0 3 2 0,-3-5 0 0,1 1-10 16,2 4 13-16,-8 0 13 0,8 0-9 0,0 0 1 0,-12 4-5 16,6-1-10-16,2 0-1 0,1-1 21 15,-2 2-5-15,4-1-8 0,1-3-15 0,-4 6 20 16,1-3 1-16,3-3-4 0,0 3 1 16,0-3 26-16,3 4-32 0,-3-4 3 0,0 0 34 15,0 0-21-15,13-3-15 0,-6 2 9 0,-2-5-6 16,3 5 9-16,-3-4-17 0,2 2 17 15,1-2 3-15,0 1-5 0,-3-2-3 0,0 4 11 16,0-2 30-16,-2 1-20 0,2-1 23 16,0 3-36-16,-5 1 2 0,3-4 21 15,-3 4-28-15,0 0 8 0,0 0-3 0,0 0 7 16,10 7-7-16,-10-7 13 0,0 3 3 0,2 1-1 16,-2-4-7-16,1 4-11 0,1-1 16 0,-2-3-6 15,5 5-9-15,-5-5 7 0,3 3 31 0,-3-3-11 16,5 0-19-16,-5 0 22 0,0 0-28 15,11-3 25-15,-7 1 21 0,2-1-25 16,-4 0-6-16,1 2 3 0,2-2-8 0,-1-1 19 16,-1 2 6-16,2-1-9 0,-5 3 2 15,5-1-15-15,-5 1 23 0,8-2-8 16,-8 2-10-16,0 0 7 0,10 3-1 0,-7-1-9 0,2 1-18 16,0 1 19-16,-2-1-32 0,2-2 29 15,0 4-3-15,-2-4-35 0,4 2 12 0,-4-2-2 16,-3-1 17-16,12 1-7 0,-12-1-3 15,11-2-7-15,-3-1 12 0,0 0-4 0,0-2 20 16,-1-1 7-16,3-1-2 0,-2-1 0 16,-1-1-13-16,1 0 10 0,0-1-81 0,-3-1 38 15,3-3-6-15,-4 0-4 0,2 1 30 0,-3 1 13 16,2 1-15-16,-1 2-5 0,-1 0 5 16,-3 2 7-16,3 0 8 0,-1 2 10 0,-1 4-2 15,-1 1-2-15,0 0 104 0,0 0-8 0,-1 13-22 16,-1-4 30-16,2 1-49 15,0 5 14-15,-3 2 17 0,3 2 13 0,-2 5-33 0,-1 1-11 16,3 1 19-16,-5 3-13 0,3-2-24 16,1 3-35-16,-3-2 5 0,0-1-26 0,2-1 29 0,0-2-21 15,0-3 20-15,1-3-20 0,-2-4 44 16,1-3-6-16,2-2 31 0,0 0-23 0,-2-3-69 16,2-4 59-16,0-2-31 0,0 0 26 0,0 0-34 15,0 0-22-15,4-13 15 16,0 0 7-16,0 2 8 0,2-8 0 15,4-2 39-15,0 0-57 0,3 0-13 0,5-6 42 0,-3 7-32 16,1 4-14-16,-2 1 30 0,0 4 18 16,-4 1-11-16,1 3-12 0,-1 3 13 0,-3 0-21 0,1 3 16 15,-3 0 2-15,-5 1 5 0,0 0-18 16,3 6 31-16,-3-6-7 0,-3 9-14 0,-3-3 1 16,-4 2-72-16,3 1-41 0,-6 1-70 15,-2 1-83-15,1 0-65 0,0 0-115 0,3-2-447 16,1-2-150-16,2-2 70 0,3 0 182 0,2-3 28 15,1-2 122-15,2 0 37 0,0 0 66 16</inkml:trace>
  <inkml:trace contextRef="#ctx0" brushRef="#br0" timeOffset="106525.74">12026 12031 660 0,'0'5'276'15,"0"-5"6"-15,0 0 23 0,10 8 12 0,-2-5-56 16,0-1-20-16,4 1-11 0,1 0-41 0,2-1-25 16,0 2-5-16,1-1-13 15,2 1-13-15,-3-3-97 0,1 4 0 0,-1-3-6 16,-2 1-4-16,0 0-11 0,-1-1 8 0,-3 1 13 16,-2 1 15-16,0-1 18 0,-1 3-12 0,-4 0 14 15,1 0-1-15,-6 2-6 0,-1 0-8 16,-2 3-8-16,-4 1-7 0,-1 0 13 0,-6 4-8 15,-6 4-35-15,-3 0-9 0,1 2-22 0,-1-2-26 32,5-6-39-32,6 2-69 0,-3-3-112 0,0 1-120 0,7-3-423 0,-1-2 102 0,4-2 27 15,0 1 88-15</inkml:trace>
  <inkml:trace contextRef="#ctx0" brushRef="#br0" timeOffset="107235.45">12985 11973 1192 0,'0'0'351'0,"-10"-1"-28"0,10 1-34 0,-16 3-18 16,5 2-12-16,-1 1-47 0,-6-1-20 16,3 2-5-16,-3 0-13 0,0 1-10 0,2 0-23 15,-1 0-16-15,4-1-20 16,0-1 13-16,2 1-3 0,4-1-20 0,2 1-14 16,-1-1-19-16,4-1-6 0,2 1-17 0,0-2 14 15,2 1 1-15,4 0-15 0,1 0 7 0,1-1 15 0,0 0-25 16,5 1-13-16,-3-1 15 15,0 1-4-15,1-2-24 0,1-1 13 0,-4 3 13 16,2-3 2-16,-5 1-23 16,3-1 42-16,-3 2 63 0,0-1-25 0,-3 2 12 0,-2 1-17 15,0-1 2-15,-2 1 8 0,-3 0-16 16,0 0 11-16,-3 1-49 0,-2 0-8 16,-1 0-17-16,-3 1-24 0,0-1-48 0,-1 1 8 15,-1-1-49-15,2-1-26 0,3-1-51 0,-2-2-62 0,3 2-88 16,-1-2-219-16,4-1-409 0,2-2 128 15,5 0 56-15,0 0 59 0,-8-7 105 16,11 2 26-16</inkml:trace>
  <inkml:trace contextRef="#ctx0" brushRef="#br0" timeOffset="107457.62">12985 11924 954 0,'5'0'384'0,"-5"0"-28"0,0 0-18 16,10 5-18-16,-7 0-13 0,-1 1-23 0,1 0-25 15,2 3-32-15,-1 1-1 0,0 2 35 0,1 1-33 16,-3 3 5-16,3 1-31 16,-2 0-20-16,-1 0-37 0,1 2-9 0,0-2-28 0,1 1-39 15,0 1-56-15,-2-3-37 0,0-2-14 16,1 0-36-16,-3 0-41 0,3-2-72 0,-1 2-110 16,-2-4-200-16,2-2-409 0,1 1 141 15,0-3 66-15,-1 0 59 0,-1-3 26 0</inkml:trace>
  <inkml:trace contextRef="#ctx0" brushRef="#br0" timeOffset="108257.35">12997 12188 1167 0,'0'0'368'0,"-2"-4"-53"0,2 4-20 0,0-6-11 0,5 2-41 0,0 1-8 0,0-1-22 16,3-1-14-16,2 0-55 0,3-1 7 0,0-1 2 15,0 2-43-15,5-2 0 16,0 0-7-16,0 1-29 0,2-2 21 0,-2 0-29 16,2 1 3-16,-2 1-7 15,-2 0-1-15,-3 1-30 0,-1-1 28 0,-2 2-3 0,1 0 3 16,-4 1 10-16,-1 1-25 0,-3-1 17 0,1 1-10 16,-4 2-12-16,0 0-1 0,0 0-10 0,0 0 21 15,0 0 0-15,0 0-14 0,-10 14 14 16,5-9-28-16,0 0 4 0,-2 0 11 15,1 1-5-15,1-2-13 0,-3 2-6 0,3 0 4 0,0 0 7 16,0-1-26-16,0 2 8 16,-1-1-2-16,4-2 12 0,-3 1-10 0,2-1-15 0,3 0 8 15,-2 0-16 1,2-4 10-16,2 3 5 0,-2-3-7 0,6 2-15 0,-6-2 30 16,0 0-10-16,14-4 12 0,-8 3-20 15,-1-1 16-15,1 0 2 0,1 2-25 0,-4-3 7 0,-3 3-5 16,10 0 0-16,-10 0 3 0,10 0-11 15,-5 2-2-15,0 0-8 0,-2-1 11 0,2 2-6 16,0-1 8-16,1-1-5 0,-2 2-13 16,2-2 18-16,-1 0-3 0,2 0 6 0,-7-1 7 15,13-2-3-15,-5-1-17 0,2 1 20 0,-2-3-2 16,2 0 30-16,-2 0 3 0,2-2 28 16,-2 0 8-16,-1-1 7 0,3 1 27 0,-2-3 11 15,0 0 121 1,-3 0-56-16,0-2-8 0,0-3 26 0,1-1-15 0,-4-2-27 0,4 0 27 15,-2-1 22-15,-1 0-48 0,0 2-13 0,1 0 5 16,-1 4-18-16,-3 2-35 0,5-2-63 16,-5 5 4-16,1-1 12 0,1 5-25 0,-2 1 5 15,0 3 2-15,0 0-5 0,0 0 6 0,0 0 17 16,0 0-10-16,0 17-38 16,-2-10 38-16,2 1-31 0,-1 3 0 0,1-3-10 0,3 4 26 15,-1 0-39-15,1 0-2 0,0-1-18 0,-1-2-11 16,3 2-9-16,-2-1 4 0,2-1-4 15,0-1-1-15,0 0-10 0,0-1 13 16,1-4 15-16,-1 2-12 0,0-3 22 16,2-2 11-16,-4 2 2 0,-3-2 8 0,13 0 8 0,-5 0-31 15,-8 0 17-15,10 0-6 0,-5-2-4 16,3 4 37-16,-3-1-11 0,2 0-5 0,1 1 10 16,-3-1-17-16,3 3-14 0,0-3 6 0,-1 4-28 15,-2-5-50-15,1 2-22 0,-2 2-25 16,2-3-19-16,-1 1-20 0,2-1-49 0,-7-1-64 15,8 0-135-15,-3-1-487 0,1 1 108 16,-6 0 51-16,7-5 95 0,-4 3 69 0,2-2 61 16</inkml:trace>
  <inkml:trace contextRef="#ctx0" brushRef="#br0" timeOffset="108502.21">13175 11970 1328 0,'0'0'366'16,"0"0"-8"-16,0 0-30 0,30-4-34 0,-14 1-25 16,1 1-36-16,4 0-13 0,2-3-25 0,2 0-3 15,1 0-44-15,3 1-10 0,-1-2-43 16,-3 2-5-16,-2 0-57 0,-2 1-41 0,-1-1-33 15,1 3-51-15,-4 1-46 0,-1-2-69 16,-3 2-111-16,0 2-104 0,0-1-333 16,-1 2 18-16,-1-1 99 0,-1 3 83 0</inkml:trace>
  <inkml:trace contextRef="#ctx0" brushRef="#br0" timeOffset="109070.43">13656 12057 962 0,'0'0'353'0,"8"-12"-23"0,-6 9-25 16,1-1-21-16,2 0 10 0,-2-1-38 0,2 0-23 16,-2-1 16-16,-1-1-98 0,-2 0-13 15,3-1-10-15,-3 1 5 0,0-2-10 0,-3 3-8 16,1-1 13-16,-1 1 61 0,0 1-12 0,-2 2-69 16,0 1 40-16,0 0-46 0,5 2 16 15,-12 1-5-15,6 1-13 0,1 2-11 0,-3 2 3 16,1-1 24-1,2 3-50-15,-1 1 8 0,1-2 26 0,2 1-33 0,1 1 9 16,0 0-27-16,4-3 18 0,-2 2-44 16,2-1 10-16,4 0 3 15,-1-2-5-15,5 2-24 0,3-3-20 0,0 0-28 0,-1 0-81 0,4-2-29 16,-1 0-57-16,3-1-89 0,-2 1-184 16,4-2-499-1,-2 0 79-15,0 0 128 0,-2 0 69 0,-1 0 136 0,-5 2-16 0</inkml:trace>
  <inkml:trace contextRef="#ctx0" brushRef="#br0" timeOffset="110264.19">12072 13129 762 0,'7'1'323'0,"1"1"-31"16,0 0-31-16,2 0-54 0,1 0 5 0,1-1-14 0,1 0-17 15,0 0-22-15,-3 0-28 0,0-1-3 16,1 1-3-16,-3 2-2 0,-1 0-72 16,0 1 0-16,-4 0 39 0,2 4 102 0,-4 1-44 15,-2 2 42-15,-1 1-44 0,-3 4 30 16,0 0-4-16,-3 1-1 0,-4 2-35 0,1-1-11 16,-2 2 31-16,-5 4-46 0,2-2 13 15,1-5-23-15,2-1 0 0,3-3-21 0,-2 1-35 16,3-2 10-16,-1-1-36 0,2-1-21 15,4-2-53-15,-2-1-16 0,4-2-25 0,0 0-54 16,2-3-105-16,0-2-174 0,0 0-492 16,14 0 72-16,-6-2 116 0,3-3 71 0,1 0 74 15,2-3 85-15</inkml:trace>
  <inkml:trace contextRef="#ctx0" brushRef="#br0" timeOffset="110936.23">12583 13084 1325 0,'9'-2'379'0,"-1"0"-23"0,2 1-46 0,1 0-16 16,1 1-28-16,-4 0-43 0,5 0 5 0,-3 2-41 15,-2 0-11 1,2 2 4-16,-2-1-6 0,-5 3-13 0,4 0-15 0,-7 3-87 0,0 0-8 16,-3 2 67-16,1 2 30 0,-6 3-48 0,0-2 2 15,1 3 1-15,-3 1-16 0,-4 0 12 16,4 0 29-16,0-1-33 0,0-1-5 0,0-1-24 16,2-3-2-16,3 0 8 0,0-1-3 15,-2-1-18-15,3 1-10 0,4-3 18 16,0 1-36-16,0-3 5 0,3 0 0 0,0-2 19 0,4-1-35 15,1-1 6-15,0-2-36 0,5 0-2 16,-1 0-13-16,3-4-21 0,1 1-18 16,-1-3-35-16,3 0 9 0,-2-1-37 0,-1 1-4 15,-5-1-6-15,0 1-9 0,1-1-25 0,-6 0-3 16,-3 1-23 0,-1-1 47-16,1 2-16 0,-5-2 28 0,-1 1 30 0,-2 2 14 0,-2-1-3 15,-2 2 26-15,-2-1 10 0,-1 2 33 0,0 2 3 16,-2 0 22-16,-1 1 16 15,-1 0-5-15,-1 0 29 0,5 1-4 16,-3 0 19-16,1 0-6 0,4-1 18 0,1 0 1 0,0 0-16 0,3 0-3 16,1-1 3-16,6 0-8 0,0 0 1 15,0 0 19-15,0 0-12 0,6-9 0 16,4 4 3-16,0 0-14 0,5-2 6 0,3-1 0 16,0 0-10-16,0 1 17 0,5-1 3 15,-4 1-2-15,1 1 33 0,-2 1-3 0,-1-1 0 16,-1 2 21-16,-3 2-26 0,2 0 3 0,-4 0 9 15,1 1 4-15,-2 4-29 16,0-2 13-16,-2 2-17 0,0 1 22 0,-1 1-10 0,-1-1-33 16,-1 1-3-16,0 2-8 0,-3-2-40 15,1 0-26-15,-3 1-29 0,3-2-24 16,-3 0-124-16,-6 2-228 16,6-1-462-16,1-1 27 0,-1-4 138 0,2 4 85 0,-2-4 62 0,0 0 86 15</inkml:trace>
  <inkml:trace contextRef="#ctx0" brushRef="#br0" timeOffset="111435.83">12959 13036 1292 0,'0'17'438'0,"0"-1"-18"0,0 1-42 0,0-1-122 0,0 1-20 0,3 2 22 0,-3 0-71 0,0 2 0 0,2-1-26 16,-2 0-20-16,0 0-8 0,2 0-2 0,-2-4-21 15,0 0-5-15,1-2-16 0,-1 1 16 0,0-4-5 16,0-1 44 0,0-1 50-16,0-3-17 0,0-1 40 0,0 1 42 0,0-4-3 0,0-2-46 15,0 0-8-15,0 0-5 0,0 0-25 16,5-14-37-16,-3 2-84 0,3-4 21 16,3-1-23-16,0-2 2 0,0-1-18 0,2 1 23 15,2 0-43-15,-3 5-20 0,3 1 4 0,-4 2 8 16,2 2 28-16,-2 0-12 0,2 4 15 0,-5 1-6 15,1 2-7-15,1 2 3 16,-7 0 10-16,0 0-10 0,5 8 20 0,-7-4-18 0,-1 3-15 16,0-1-19-16,-1 2-19 0,-2 1-57 0,1-2-13 15,0 2-74-15,0-3-43 16,0 1-72-16,0-1-44 16,2 0-66-16,-2-2-192 0,3-1-461 0,2-3 123 0,0 0 66 0,0 0 124 15,0 0 119-15,10-9 47 0,-3 2 28 0</inkml:trace>
  <inkml:trace contextRef="#ctx0" brushRef="#br0" timeOffset="112794.56">13490 12951 870 0,'0'0'363'16,"0"0"-27"-16,0 0-22 0,0 0-17 0,-16 6-18 16,11-2-20-16,0 3 7 0,-3-1-25 0,3 2-11 15,-5 0-23-15,5 1 75 0,-3 1-41 16,1 0-16-16,-1-1-36 0,2 0 11 0,-1 3-11 15,2-1-40-15,2-2 30 0,-2 2-66 0,2-3 30 16,1 0-51-16,-1 1 0 16,3-5-15-16,0 2 10 0,3-1-13 0,0-2 6 0,2-2-32 15,0 0 14-15,-5-1-3 0,13-1-8 16,-6-1 13-16,1-2-34 0,2 1 19 16,-2-2 7-16,-1 0-40 0,1 1 32 0,0 1-22 0,-3 1 0 15,3-2-29-15,-3 2 21 16,0 1-18-16,-5 1-3 0,8-1 16 0,-8 1 23 15,8 4 5-15,-4-2-51 0,2 2 33 0,-2 0-16 16,0-1-14-16,0 2 12 0,2 0 18 0,-1 0-13 16,0-1-10-16,2 0-2 0,-1-2 14 15,2 0-96-15,-3 0 25 0,2-1-2 0,1-2-1 16,-8 1 34 0,11-2 5-16,-4 1-5 0,-4-1 7 0,1-2 3 0,-1 2-5 0,-3-2-7 15,3 0 22-15,-3 0-15 0,0-2 31 0,-3 3-3 16,0-1-3-16,1-2-20 0,-3 3 8 15,2 0 31-15,-1-1-32 0,-2 2 4 16,3-1-3-16,-2 1 15 0,0 0-34 0,5 2-6 16,-7-5 12-16,7 5-31 0,-3-2 5 0,3 2 21 15,0-4 8-15,0 4-16 0,0 0 2 16,10-6 17-16,-5 4-47 0,3-2 10 0,2 1-18 16,-2-1-15-16,4 0 23 0,-1-2 8 0,4 3 7 15,-4-3 16-15,2 1-16 0,2 0 8 16,-4 0 0-1,1 2 16-15,-2 0-9 0,-2 0 14 0,0 1-21 0,-1 0 31 0,-1 2-3 0,-6 0 3 16,8 0 30-16,-8 0-25 16,4 6 15-16,-4-3 3 0,0 1-3 0,-2 2-2 0,0 1-8 15,1 1 23-15,-4-1-8 0,3 2-12 16,-1 0 20-16,-2 1-8 0,2-2-17 16,1 1 17-16,2-1-5 0,-3 0-12 0,1-1-3 15,2-1-5-15,-1 0 33 0,2 0-23 0,-1-2 7 16,0 0 11-16,2-1-15 0,-2-3 4 15,8 3 4-15,-8-3-24 0,8-1 10 0,-8 1 8 32,12-5-5-32,-6 2 13 0,1-2 13 0,0-1-18 0,1 0 17 0,-2-2-2 0,1 0 8 15,-1-1 20 1,1-3 5-16,-2 2-7 0,-2-1-3 0,4-2 18 0,-4-1 8 0,2-1-26 0,0 0 0 16,-2 0-3-16,-1 0 1 15,-1 1 28-15,1 0-19 0,0 1 6 0,2 1 10 31,-4-1-17-31,2 4 12 0,-2 1 46 0,0-1-69 0,0 2 30 0,0 2 65 0,0-1 2 16,0 3-23-16,-2 0-23 0,2 3 8 16,0 0-41-16,0 0 38 0,0 0-33 0,0 0 13 0,-11 12-8 15,8-3-5-15,1 0-15 0,0 1 25 0,1 3-30 16,1 0 15-16,-2 1-42 0,2 0 22 16,2 1-1-16,-2-2-25 0,1 1 15 0,3 0-48 15,-1-1 7-15,0-2 13 0,5 1-5 0,-4-3-21 16,4 0-7-16,2-1-3 15,0-2-13-15,1-1 14 16,-1-1-19-16,0-1 0 0,1-3-35 0,-1-1 12 0,0-1 18 0,0 0 5 16,1-2-18-16,-1-1-7 15,0-1 56-15,-2 0-20 0,0 1-6 0,-1 0-5 0,-2 2 3 16,-2-1 2-16,2 2 6 0,-2-1-8 0,2 1 28 16,-5 2 17-16,0 0-11 0,0 0-1 0,10 3 30 15,-7 0-9-15,-1 1 7 0,3 1 11 16,-2 0-1-16,2 1-4 0,2 3-4 0,-1-3 9 15,1 0-26-15,3-1 46 0,1 2-29 0,-4 0-32 16,1-4-13-16,0 1 17 0,2-2-40 16,-2 1-46-16,2-2-44 0,-2-1-36 0,0 0 28 15,2-1-30-15,0-2-26 0,-2 3-79 0,2-3-156 16,-2 2-528-16,2-2 87 16,-2 0 88-16,-1 0 53 0,3 1 66 0,-4 0 86 15</inkml:trace>
  <inkml:trace contextRef="#ctx0" brushRef="#br0" timeOffset="116839.84">16454 9132 1167 0,'-6'0'327'0,"6"0"-14"0,-12-1-32 0,7 1-30 0,5 0-13 0,-8 1-20 0,8-1-8 16,-6 4-11-16,4-2-7 0,2 2-43 0,0-4 9 15,5 9-9-15,2-4-24 0,4 1-15 16,2 0-2-16,2 1-24 0,3-2 8 0,1-1-35 16,1 0 7-16,0 2-5 0,-1-2 5 15,1-2 7-15,-5 2-40 0,1-2 2 16,-1-1 36-16,-2 2 41 0,-1-1-35 0,-3-1 12 16,1-1-8-16,-5 5-7 0,2-1-3 0,-4 0-23 15,-1 1 36-15,-2 0-8 0,-2 2-30 16,-3 2 4-16,-3 2 19 0,-4 0-16 15,-4 3-13-15,1-1 3 0,-6 1 8 0,-3 6-21 0,-4-1 16 16,6-4 7-16,-4 5-15 0,5-4-16 16,4-2 16-16,-1-2-13 0,5-2-31 15,-1 0-33-15,2 1-25 0,2-4-26 0,2 3-39 16,0-5-22-16,3 0-32 0,0 0-55 0,3-1-98 16,2-4-115-16,0 0-361 15,10-1-5-15,-10 1 84 0,16-5 85 0,-4 1 43 0,6-3 47 16</inkml:trace>
  <inkml:trace contextRef="#ctx0" brushRef="#br0" timeOffset="118281.57">17220 9006 1238 0,'0'0'382'16,"-7"-1"-37"-16,7 1-25 0,-14 1-7 0,4 4-37 16,0 1-17-16,0 0-96 0,-3 2-22 0,0 5 8 15,-2-2-24-15,0 3 0 0,-1 2-22 0,1-1 7 16,-1 3 69-16,3-1 3 15,-2-1-54-15,2 2-41 0,3-3 15 0,0 0-43 0,4-1-8 16,2-1 1-16,-2-2-24 0,4 2-5 0,4-6 10 16,-2 3-2-16,5-3-13 31,0 0 28-31,1-2-39 0,2-3 11 0,-1 1 8 0,3-3-13 0,1-3-8 0,2 3 28 0,-1-3-30 0,1-1 15 16,2-2 7-1,-2 0 6-15,3-2-6 0,-3-1 6 0,-1 1-5 0,-2-1 38 0,1 0-21 16,-1 2-20-16,-3-1 18 0,1 1 26 15,-3 2-24 1,1-1 32-16,-1 1-29 0,-2 2-21 0,-1-1-7 0,0 3 8 0,-2 1-8 16,0 0-11-16,0 0 19 0,0 0-6 0,0 0 11 15,0 0-10-15,0 0-14 0,-4 14 24 0,4-10-31 16,-1-1-23-16,-1 3 10 0,2-1 16 16,-3-3-21-16,6 4 20 0,-3-1-9 0,2 0 2 15,-1-3-6 1,1 3-1-16,0-3-19 0,4 3 33 0,-2-5-32 0,2 1-1 0,-1 1 34 15,2-2-27-15,1 0 22 16,0-3-1-16,0 3 1 0,-1-2-6 0,1-3 3 0,0 1 13 16,2 2-3-16,-2-4 0 0,-1 0 8 15,-1 1-18-15,1 2 7 0,-1-3 19 0,1 1-14 16,-2 1 9-16,0 1 22 0,-2-2 6 0,2 3-19 16,-2 0-33-16,-1-1 29 0,-2 3 5 0,0 0-42 15,6-1 34-15,-6 1-23 0,0 0 10 16,0 0 5-16,2 8 6 0,-2-4 4 31,0-4-15-31,0 8 11 0,0-3-24 0,2 1-7 0,1-3 17 0,-3 2-25 0,0 1 23 0,3-2-36 16,-1-1 24-1,1 2-6-15,2-3 7 0,-2 2-1 0,-1-3-14 0,-2-1 11 0,10 1-14 0,-5-1 32 16,-5 0-13-16,8-1-3 0,-1 0 21 16,-1-2-6-16,-1 0-4 0,0-1 25 15,0 2-16-15,1-3-12 0,-2-1 13 0,-1 2 0 16,2-1 22-16,-2 1 6 0,0 0-28 0,1 0 17 15,-1-1 6-15,-3 3-10 0,5-2-11 16,-5 4 23-16,3-4-38 0,-3 1 13 16,0 3 5-16,0 0-19 0,5-4-1 0,-5 4 7 0,0 0 13 15,0 0-29-15,0 0 47 16,0 0-18-16,0 0-21 0,0 0 3 0,-5 12 5 16,5-12 10-16,0 7-20 0,0-3 18 0,0 0-16 15,0-4 8-15,0 8-5 0,0-6 0 0,0 3 2 16,0-5-7-1,0 6-3-15,2-5 21 0,-2-1-16 0,3 5 11 0,-1-3-1 0,-2-2 1 16,3 4-8-16,-3-4-29 0,8 0 60 0,-3 3-44 16,-5-3 5-16,0 0 3 0,13-3-16 15,-9 3-30-15,-4 0-18 0,11-2 7 0,-6-2 6 16,0 4 15-16,1-5-11 0,-2 2 14 16,4-1 10-16,-2-2 10 0,1 3 7 0,-2-1-17 15,-2-2 7-15,4 2 11 0,-4 1 12 16,3-1 1-16,-2 1-3 15,-1 1 12-15,0-1-24 0,-1 2 6 0,-2 1 16 0,5-3-10 0,-5 3 33 16,0 0-38-16,0 0 23 0,10 4 0 16,-10-4-16-16,6 7 26 0,-4-4 5 0,1 0 1 15,-1 3 12-15,1 1 2 0,-1 0-15 16,1 1-5-16,-1 0 23 0,-1-1-12 0,-1 1 7 16,0 2-11-16,0-2-9 0,-1-2 71 15,-1 4-20-15,-1-2 30 0,1-1-20 0,-1 0-18 0,-2-2-5 16,3 1-5-16,-1 0-57 0,-2-1-18 15,0-3-25-15,-1 4-12 0,2-5-37 16,1 3-10-16,-2-2-36 0,5-2-38 0,-6 1-44 16,6-1-102-1,0 0-95-15,-4-3-529 0,4 3 66 0,0 0 107 0,2-11 108 0,4 6 28 16,-4-1 108-16</inkml:trace>
  <inkml:trace contextRef="#ctx0" brushRef="#br0" timeOffset="118554.51">17856 8982 1118 0,'0'0'330'0,"0"0"-17"0,0 0-6 0,0 0-15 15,0 0-24-15,0 0-19 0,-5 13-22 0,5-3-14 16,-3-3-34-16,3 6 3 16,-2-2-39-16,2 2 11 0,0 1-21 0,0 2-15 0,-1-1-8 15,1-2 51-15,-2 4-43 0,2-3-19 31,0 4-63-31,0-5 0 0,-2 3-67 0,2-2-15 0,0-1-54 0,0-2-35 0,0-2-119 16,0 3-40-16,0-6-90 0,2 1-466 0,-2 2 116 16,2-2 35-16,-1-2 131 15,-1-1 53-15</inkml:trace>
  <inkml:trace contextRef="#ctx0" brushRef="#br0" timeOffset="119483.92">17789 9256 1162 0,'0'-6'343'0,"3"1"-41"0,-1 2 2 16,-1-3-38-16,3 1-2 0,2-1-51 0,1 0-4 15,-2 0-6-15,1 0-4 0,1 0-20 16,0 1-7-16,1 2-41 0,-2-2 45 0,1-1-33 16,-1 4-43-16,2-3 28 0,-4 3-30 0,2 1 7 15,-2-2-8-15,-4 3-2 0,9 0-80 16,-9 0-18-16,7 6 11 0,-5-6 2 0,-1 5 11 15,1-3-1-15,1 4-12 0,-1 0-11 16,-1-1 6-16,-1 3 22 0,2-2-19 16,-2 0-14-16,2 1 13 0,1-2 87 0,0 1-12 15,-1 0-29-15,1-1 8 0,-1-1-6 0,3 0-32 16,-2-1 20-16,2 1 0 0,3-3 7 16,-3-1-32-16,0 2 12 0,6-2 10 0,-4-3-17 15,1 3 12-15,2-3-10 0,-2-1-2 0,0 2 2 16,-1-2-16-1,1-2 16-15,-3-1 5 0,0 1 1 0,0 1-4 0,-3-1-30 0,-2 0 3 16,1 3 12-16,-2-3-20 0,-1 0-11 0,-3 1 26 16,4 2-38-16,-3 0 7 0,-1-3-2 15,0 5-8-15,-1-3-5 0,2 2 21 0,-2 2-1 16,6 0 16 0,-8-3-20-16,3 1-6 0,5 2 34 0,-7-1-39 0,7 1 25 0,0 0 14 15,-8 0-3-15,8 0-28 0,0 0 36 0,0 0-26 16,0 0 5-16,0 0 10 15,0 0-4-15,0 0-4 0,0 0 11 0,0 0-5 0,26 0 13 16,-19 0-3-16,-7 0-13 0,8 4 26 16,-3-2-15-16,0-2 15 0,3 4 12 0,-3-2-30 15,3 2 18-15,-3-1 5 0,0 2-2 0,0-4 4 16,1 4 9-16,-2-3-19 0,2 4-12 16,-4-2 9-16,1-2-22 0,2 3 49 0,-3-3-21 15,-1 3 22-15,3-4-6 0,-1 3-4 0,-3-4-12 16,3 3 41-16,-3-3-33 15,2 4 30-15,-2-4-64 0,5 3 1 0,-5-3-1 16,0 0-10-16,0 0 18 0,0 0 8 0,0 0 0 16,11-3-3-16,-9-1 18 0,1 2 13 0,2 0-19 15,-1-1-1-15,0 1-8 0,1-3 4 16,0 4-14-16,-2-3 2 16,1 3 2-16,-1-2-4 0,2 1 27 0,1 1-22 0,-6 1-6 0,7-2 6 15,-2 1 10-15,-5 1 20 16,10 1-28-16,-10-1-10 0,8 3 13 0,-3 0 7 0,-2-1-15 15,0-1 23-15,1 3 69 0,-1-2-28 0,0 2 8 16,-1-2 12-16,1 2-7 0,-1-3-26 16,-2-1 16-16,3 6-3 0,-1-4-23 15,-2-2 23-15,0 0 2 0,2 5 9 0,-2-5-83 16,0 0-7-16,0 4 22 0,0-4 60 0,0 0-21 16,4 2 3-16,-4-2-16 0,0 0 5 15,0 0-7-15,0 0 2 0,12-6-17 0,-9 4 4 16,-1-1 3-16,-2 3-13 0,8-2 18 0,-4 0 8 15,-4 2 3-15,6-3-11 0,-6 3-15 16,0 0-13-16,8-1 18 0,-8 1 15 16,5 0-2-16,-5 0-14 0,0 0 27 15,10 2-24-15,-6 1-9 0,-4-3 19 0,7 1-4 0,-5 2 0 16,-2-3-16-16,5 4 15 0,-5-4-50 16,3 4 15-16,2-2-39 0,-5-2-10 0,3 2-59 0,-1 1-25 15,-2-3-44-15,7 2-15 0,-6 1-39 16,2 0-56-1,-3-3-30-15,7 5-88 0,-2-4-43 0,0-1-538 0,1 2 57 0,0 0 148 16,0-1 36-16,0-1 64 0,-6 0 92 16</inkml:trace>
  <inkml:trace contextRef="#ctx0" brushRef="#br0" timeOffset="120232.83">18497 9266 1072 0,'2'-3'343'0,"-2"3"-15"0,4-4-24 15,-3 1-81-15,-1 3-16 0,3-6-5 0,-3 6-20 16,3-6-28-16,-6 4 2 0,6-3 13 0,-3 5-41 15,-3-6 8-15,3 1-16 16,-2 1 8-16,1 0 0 0,-1-1-36 0,-3 4-2 0,3-4-16 16,2 5 15-16,-6-6 6 0,4 5-26 0,2 1-2 15,-5-4-21-15,2 2-13 0,3 2 11 16,-5-1-6-16,5 1-2 0,0 0-23 0,-8 0-6 16,8 0 27-16,0 0-16 0,0 0-3 15,0 0 0-15,-5 5-15 0,5-5 10 16,0 0 19-16,0 0-17 0,3 5-4 0,-3-5-5 15,4 3 15-15,-4-3-1 0,6 5-4 0,-1-3-10 16,-2-2 10-16,1 3-3 0,-1 0 13 16,0 0-28-16,2 0 30 0,0-2 9 0,-2 4-16 15,-1-4-16-15,3 4 31 0,-2-2-30 0,-1 1 17 16,1 0-17-16,-3-2 102 0,3 3-21 16,-1-3-4-16,0 4-14 0,-1-3 11 0,-1-3-18 15,2 7 8-15,-2-6-57 0,0-1-3 0,3 5 11 16,-3-5 18-16,0 0 33 15,2 3-15-15,-2-3 15 0,0 0 0 0,0 0-28 16,0 0 5-16,0 0-12 0,11-7-4 0,-6 3-27 16,-2 0 33-16,4-2-23 0,-2 1 10 0,1-1-13 0,1-2 23 47,1 1-64-47,0-2 6 0,2 2-42 0,-2 1-17 0,-1 0-24 0,3-2-43 0,1 1-15 0,1 1-18 0,-2 0-75 0,1 1-151 15,-1-1-552-15,3-1 76 0,0 3 90 0,2 2 100 16,3-3 66-16,0 2 42 0</inkml:trace>
  <inkml:trace contextRef="#ctx0" brushRef="#br0" timeOffset="121793.65">19153 9269 944 0,'-5'0'366'0,"5"0"-26"0,0 0-30 0,0 0 5 0,0 0-28 0,0 0-90 0,0 0-18 16,18-9 5-16,-10 5-10 0,0-2-35 15,2-1 12-15,0-1 2 0,1-2-4 0,1-2 17 0,-2-1-35 16,1 1 30-16,-1-1-18 15,2-7-25-15,-1 1 87 0,-1-1-34 0,-2-2-27 16,0 0 24-16,0-1 7 0,2-9-24 0,-4 3-21 0,-2 5-7 16,-2 4-87-16,1 2-13 15,-1 3 20-15,-2 0 1 0,3 1 7 0,-3 5-2 16,2 0-3-16,-4 2-15 0,2 5 20 0,-3-2-21 16,3 4-1-16,0 0-4 0,-10 11-7 15,7-4 8-15,-4 5-11 0,2 6-2 0,-1 2 0 16,1 5 7-16,-3 10-5 0,1-2-12 15,0 5 20-15,1 2-10 0,1-1-18 16,0 2-13-16,0 1-5 0,0-2 0 0,2 2-23 0,-2-2-6 16,3-7-6-16,-1-6 6 0,0 1-9 31,1-7-16-31,1-2-5 0,-3 1 21 0,1-2-6 0,2-2 6 0,-5-3-18 0,3-3 25 16,-2 1-5-16,2-5-5 0,-4 1 5 0,4-2-2 15,-3-1-6-15,2-2 21 0,-2-1-3 0,2-1 16 16,4 0-3-16,-10 0-2 0,10 0 5 0,-9-2-1 15,4-2 19-15,5 4-6 0,-4-6 4 16,3 3 17-16,-1-2-18 0,2 0-5 16,2-1-3-16,-1-3 26 0,1 0-8 0,3 2 19 0,0-4-19 15,1 1 8-15,4-4 10 16,0-1 5-16,0 2-17 0,3-2 20 0,-1-3-16 16,1 1 16-16,0-2-2 0,0 2 2 0,-1 0 10 0,-1 0-3 15,2 0 19-15,-3 4 28 16,-2 0-29-16,2 0 31 0,-5 2-17 0,0 1 17 0,1 1 3 15,-1-1-1-15,-2 1-4 0,1 4 28 16,-1-3-36-16,-2 3 0 0,0 2-5 0,-1 0 2 16,0 3-20-16,-5-6 18 0,5 6-28 15,0 0-8-15,0 0 20 0,0 0-33 0,-12 9 6 16,9-6-21-16,-2 2 20 0,2-1-7 16,-2 0-3-16,4 1-8 0,-3 1 6 0,2 1 7 0,2-3 5 15,-3 3-2-15,3-2-31 0,0 2 0 16,3-1 1-16,-1-3-9 0,2 3-7 15,0-1-1-15,0-1-30 0,2-1-2 0,2-2 20 0,-1 1-5 16,3-2-1-16,0-2-4 16,-1 1-3-16,1-1 16 0,5-2-3 0,-4 1 7 15,1-3-4-15,-1 0 22 0,5-1 6 0,-6 0 17 16,2 2-14 0,-4-4 35-16,2 3-26 0,-3-1 16 0,-1 1 28 0,-1 2-8 0,0-1 8 15,-1 1-10-15,-3 1-6 0,2-1 14 0,-3 4-29 16,0-5 21-16,0 5-29 0,0 0 16 0,0 0-31 15,0 0 52-15,0 0-34 16,0 0-3-16,-18 9 9 0,15-6-19 0,-2 2 11 16,2 0-29-16,1-2 16 0,-3 3-6 0,4-1-17 15,-3 1 25-15,1-2-32 0,3-1-4 16,-1 3 11-16,1 1-13 0,1-3 7 0,-1 0-7 16,3 0-20-16,1 0 25 0,-1-2-8 15,3 0-12-15,1 0-21 0,-2-1 33 0,3 0-5 16,-8-1 6-16,15-2 25 0,-7-1-26 15,2 1 31-15,0-3-2 0,1 3 25 0,-1-3-13 0,0-2-7 16,0 1 30-16,-2-2-12 0,0-2 15 0,2-1-1 16,-5-1-17-1,3-2 16-15,-1-2-1 0,0-6 13 0,-3 1-17 0,4-2 17 0,0-1 0 16,-2 0 10-16,0 3-17 0,-1-3 9 16,-2 7 24-16,2 3-5 0,-3 1-13 0,2 1 2 15,-2 2 21-15,0 1-18 0,-2 3-23 0,3-1 13 16,-3 2-11-16,0 4 6 0,0 1-8 15,0 0-11-15,0 0 16 0,0 0 18 0,0 0-41 16,-8 12 8-16,5-5 10 0,-1 3-11 16,3 4-7-16,-4-2 3 0,3 3-3 0,-1 1 13 15,-2 2 10-15,4 0-21 0,-3 1-9 0,2-4 32 16,-1 3-32-16,2-4 4 0,-1 0-17 0,2 1 15 16,0-2-16-16,0-2 8 0,0-2 3 15,0 1-3-15,0-2-12 31,2 0 30-31,-1-2 0 0,-1-1-13 0,0-1 29 0,0-1-16 0,0-3 8 0,0 0-29 0,0 5 19 0,0-5-3 16,0 0 15-16,0 0-2 0,-8 1-13 16,8-1-8-16,0 0 1 15,-8 0 14-15,8 0 1 0,-7 0-23 0,2 1 27 0,0 2 14 0,5-3-21 16,-8 2 5-16,5 3 3 31,-2-3-18-31,2-2 15 0,-1 6-7 0,2-6 4 0,2 0-9 0,-4 6 15 0,2-3 5 0,2-3-3 16,0 4-30-16,0-4 15 0,0 0-11 0,5 6-14 15,-5-6-6-15,5 0-12 0,-5 0-19 0,10 2 1 16,-10-2-24-16,11-2-20 0,-3 2 0 0,-1 0-38 16,0 0 0-16,-1-1-34 0,2 0 6 15,-1 1-50-15,0-1-32 0,1-1-34 16,-3 1 34-16,3 1-98 0,0 0-391 0,-3 0-16 16,3-2 75-16,-8 2 130 0,10-2 10 0</inkml:trace>
  <inkml:trace contextRef="#ctx0" brushRef="#br0" timeOffset="122441.97">19854 8997 1034 0,'-1'-9'430'0,"1"3"-103"0,0 0-14 15,0 4-37-15,0 2-17 0,-5-3-24 16,5 3-33-16,0 0 3 0,-5 8-26 15,0-5-28-15,2 6 0 0,1 0-15 0,-2 2-16 0,0 1-23 16,1 1 16-16,-4 1-13 0,4 3-8 16,-4-2-36-16,4 3 3 0,-2-5-13 0,0 4 3 15,2-2-36-15,-2 2-6 0,3-4-4 16,-1-2-3-16,0-3-10 16,3 2 23-16,-2-1 30 0,-1-3-15 0,3 1 100 15,0-3 0-15,0-2-7 0,0-2 19 0,3 5-19 0,-3-5-4 16,0 0 22-16,10-2-19 0,-10 2-23 0,10-6 13 15,-5 2-15-15,3-2 0 0,0 1-16 16,2 3 13-16,-2-3-38 0,-1 2 12 0,4-1-7 16,-4 3-15-16,1-2 33 0,2 1-31 15,-4 2 5-15,1 0-5 0,0 0 8 0,-4 4 17 16,3-2 19-16,-4-1-31 0,3 4-39 16,-4-1 32-16,-1-1-63 0,-1 3-19 0,-4 0 17 31,2-1 5-31,-4 0 16 0,-1 0 20 0,1 3-8 0,-4-1-7 0,2-1-28 0,-2 0-6 15,0 0-4-15,1-3-42 0,1 2-22 16,0-1-16-16,-1-1-31 0,4-3-46 0,-1 3 1 0,2-2-75 16,5-1-21-16,-8 0-84 0,8 0-79 0,0 0-23 15,0 0-467-15,0 0 68 0,13-7 94 16,-5 4 87-16,0-1 90 0,4 0 46 31</inkml:trace>
  <inkml:trace contextRef="#ctx0" brushRef="#br0" timeOffset="123766.61">20097 9145 1128 0,'0'0'412'0,"-5"-4"-61"15,5 4-16-15,0 0-27 0,-13 3 1 16,13-3-66-16,-11 5-91 0,7-3 6 0,-4 2-43 16,3-2 11-16,-3 3-11 0,2 1-25 15,-1-1 9-15,0-1-24 0,1 1-14 0,2 1 31 16,-2 0-58-16,1-1 1 0,0 0-14 15,4-2-21-15,-3 2 7 0,4-3-7 0,0-2 3 0,0 6 25 16,0-6-30-16,4 5 2 0,-4-5-3 16,6 1 6-16,-6-1-6 0,10-1 21 15,-10 1-18-15,9-3-3 0,-5 0 9 0,1 1-9 16,0-1-7-16,-2 2 0 0,-3 1 15 0,8-2 20 16,-3-1-4-16,-5 3-19 0,5-1 1 15,-5 1 2-15,0 0-8 0,0 0 3 0,0 0 3 16,8 3 0-16,-8-3 2 0,4 3-18 0,-4-3 13 15,3 1-13-15,-3-1 8 16,5 3-3-16,-5-3 3 0,8 1 8 0,-8-1-14 0,8-1 11 16,-8 1 3-16,10-4-6 0,-3 2 14 15,-1-2-6 1,2 1 20-16,-1-2-2 0,-2 0 0 0,3 0 21 0,-3 0 10 0,2 1 25 16,0-3 70-16,-3 1-39 15,1-4 15-15,-2 4 11 0,1-2-13 0,0 1 2 0,-2-1 6 16,2 1 7-16,-3 0-38 0,-1 2-16 15,3 0-74-15,-1 1 13 0,-2-2-41 0,0 6 11 0,0-4 9 16,0 4-12-16,0 0 10 0,0 0 21 16,0 0-34-16,0 0 18 0,-5 15 10 15,4-11-10 1,-3 4 3-16,2-1-3 0,-1 1-15 0,0 1-13 0,1 1 28 0,2-1-20 0,-3 0-19 16,0 2-1-16,1-3-1 0,0 0-8 0,2 1-12 15,-1-1 0-15,0-1-3 16,2-1 0-16,-2-1 8 0,2 1 10 0,0 0 7 0,-1-2 11 15,0-1-25-15,2 2 22 0,-2-5-7 16,0 6 2-16,2-4 6 0,-2-2 4 16,3 3 13-16,-3-3 6 0,5 2-3 0,-5-2 5 0,0 0-13 15,0 0 0-15,0 0 8 0,13-5 36 16,-13 5-19-16,5-3 1 0,-5-1-8 0,0 4 36 16,5-4 0-16,-2 2-10 15,-1-1 13-15,-2 3 4 0,1-4 3 0,-1 4 8 0,2-6-15 0,-2 6 25 16,0-5-13-16,0 5-5 15,2-3 8 1,-2 3-13-16,0-4-20 0,0 4 15 0,0-6-5 0,0 6-16 0,0-5 39 0,0 5-23 0,4-2-13 16,-4 2 5-16,0-6 5 15,2 3-4-15,-2 3-4 0,0-4-12 0,2-1 10 16,-2 5-3-16,4-2-12 0,-3-2-10 16,-1 4 17-16,1-4-13 0,-1 4 11 0,2-3-10 15,-2 3-1-15,2-6 11 0,-2 6 0 0,3-2-18 16,-3 2 13-16,0-4-11 0,0 4 0 15,0 0 9-15,5-5-19 0,-5 5 33 0,2-3-22 0,-2 3 12 16,0 0-10-16,1-4-26 16,-1 4 14-16,0 0 1 0,0 0-17 0,2-2 0 15,-2 2-3-15,0 0-10 0,0 0 8 0,0 0-8 0,5-4 21 16,-5 4-1-16,0 0 6 16,1-4-19-16,-1 4 19 0,5-4 0 0,-5 4-8 15,4-5 12-15,-3 3-14 0,1-2 7 0,-2 4 3 16,3-6-8-16,-1 4 10 0,-1-3 13 15,1-1-13-15,-2 3 0 0,2-2 16 0,-2-2-1 16,0 1-17-16,3-1 28 0,-3-2-16 0,0 2 1 16,0 1 22-16,0 0-15 0,0 0-15 15,0 1 18-15,0 1-19 0,0 0 19 16,3-2-10-16,-3 6-11 0,0-5 0 0,0 5 13 16,0 0 15-16,0 0-10 0,0 0-10 0,0 0-5 0,-3 14 7 15,0-9 19-15,1 3-1 16,2 1-17-16,-2 0 2 0,-1 0 7 0,0 4 14 15,1-3-21-15,-1 0 23 0,1 0-23 0,-1-1-3 16,0-1-4-16,-2 1 12 0,5-3 33 16,-2 0-38-16,-1 1 8 0,3-1 20 0,-2 0 23 15,2-3-2-15,0-3 10 0,0 4-8 16,0-4-8-16,0 0-2 0,0 0 11 0,0 0-4 16,12-2-15-16,-12 2-7 0,11-5 12 15,-3 1-2-15,-1 2 3 0,4-1-9 0,-4 0-4 16,1 2-26-16,0-2-13 0,-1 2-7 0,-2-1 7 15,-5 2 13-15,8 0 13 0,-8 0-24 16,2 5 27-16,-2-5-21 0,0 0 12 0,-6 8 9 16,0-3-3-16,4 0-8 0,-4 1-18 0,1-3 21 15,0 4-14-15,0-1 4 0,2 0 4 16,0 0 4-16,1-1-12 0,0 1 4 0,4-3-6 31,-2 1 36-31,5 3-28 0,0-4-30 0,3 0 1 0,3 3-14 0,-1-6-29 0,4 4-17 0,2-1-44 16,2-2-24-16,-1 1-19 0,2 0-52 15,-1-1-51-15,0-1-148 0,2 0-129 0,-2 0-353 16,-2 0 70-16,0 4 91 0,1-4 80 16,-7 0 74-1,5 1 100-15</inkml:trace>
  <inkml:trace contextRef="#ctx0" brushRef="#br0" timeOffset="126680.58">17107 9912 1156 0,'0'-6'356'0,"4"4"51"0,-3-1-36 16,-1 3-58-16,0 0-9 0,0 0-27 0,-5-6-49 0,5 6-26 15,0 0 41-15,-18 9-66 16,8-6-26-16,0 4 18 0,-1-1-34 0,-3 5 32 15,-2-3-39-15,3 3-34 0,0 1-2 0,-5 0-25 16,3-1 15 0,0 2-13-16,2-1-18 0,0 0 16 0,2-2-14 0,1 1 9 0,2-2-24 15,1 0-17-15,-1-1 27 16,3 1-9-16,3-2-11 0,-1 2-10 0,3-4 5 0,0 2-15 0,3-1 22 16,2 0-30-16,0 0 11 0,3-1-14 15,0-3 3-15,4 3-10 0,1-2-24 16,4 1-19-16,-4-3-4 0,7-1-12 0,-4 0-38 15,2 0-11-15,0-1-33 0,3-3-31 16,-3 2-94-16,2 0-31 0,-4-2-98 0,-1 2-40 0,1-2-382 16,-1-2 62-16,-5 3 115 31,5-3 35-31,-5-1 83 0</inkml:trace>
  <inkml:trace contextRef="#ctx0" brushRef="#br0" timeOffset="126850.88">17235 9891 773 0,'-2'-5'355'15,"-3"1"-12"-15,2 4-25 0,3 0-1 0,0 0-38 0,-15 5-95 16,10-1-12-16,-1 3-8 0,2 1 25 16,-4 0-48-16,3 3-13 0,2 2 2 15,-4 2-14-15,3 1-4 0,0 2-9 0,-2 1 4 16,2 3-4-16,1-2-52 0,-2 1-8 16,2 0-32-16,-2-2-50 0,3 1-71 0,-1-2-59 15,0 1-64-15,3-4-120 0,-2-1-31 0,4 0-410 16,1-4 129-16,0 1 40 0,-1-3 75 15</inkml:trace>
  <inkml:trace contextRef="#ctx0" brushRef="#br0" timeOffset="127559.86">17395 10200 890 0,'-8'-6'428'0,"3"-1"-3"16,-3 0-29-16,0-1-109 15,-2-1-8-15,0-4 15 0,0 0-9 0,-1 2-24 0,3-3-26 16,-2 0 60-16,2-3-14 0,1 2-20 0,-1-8-53 16,3 2-91-16,0-1-9 0,0-3 2 15,5 4-26-15,3 2-12 0,-1-2 28 16,3 4-39-16,0 2 19 0,0 2-11 0,1 0-28 0,2 5 2 15,2 2 8-15,-3 1-22 0,3 3 1 16,-2-1-12-16,2 6-5 0,3-1 23 16,-2 3-21-16,1-3 6 0,1 7-1 15,0-2-15-15,0-1-10 0,0 2 0 0,-1 0-13 0,1-2-25 16,0 1 9-16,-3-1 1 0,1 2 2 16,-1-3-5-16,0 0-5 0,-2 1 6 0,-3-2 1 15,3-2 11-15,-3 3 5 0,0-3-2 0,-3 1-21 16,1 0 13-16,-1 0 2 0,-2-3 19 15,-5 6-37-15,3-3 8 0,-3 1 29 16,-3-2-17-16,0 4-14 0,-2 0 28 0,-2-1-16 0,-5 1 19 16,0 0-9-16,2 0 1 0,-1 0-8 0,-2-2 5 15,0 2-8-15,0 0 14 16,6-1 12 0,-2-1-16-16,2 0-17 0,2-1 12 0,2-1-4 0,0 2-8 0,5-4-8 0,3 0 15 15,0 0-15-15,0 0 31 16,0 0 15-16,0 0-15 0,16-10-3 0,-6 4-20 0,1 0 15 15,1 0 23-15,4-7-18 0,-3 6-5 0,7-7 5 16,0 1 13-16,-1-3-23 0,9-3-2 16,-3 4 25-16,-2 0-8 0,-2 5-2 0,0-2 5 15,-6 2 2-15,0 4-2 0,-4-1 15 0,-1 1 0 16,-3 0 16-16,1 6 7 16,-3-1-10-16,0 1-15 0,-5 0 30 0,5 4 3 0,-5-1-5 15,-2 4-15-15,-3 2 4 0,0-1-17 16,-3 3 20-16,2-1 18 0,-4 4-25 15,-2-1 17-15,1 3-7 16,-4 2-6-16,2-1 11 0,0-1-20 0,-2 1-14 0,0 1 3 16,2 1-38-16,-2-3-18 0,2 0-23 0,0 1-49 0,2-3-36 15,1-2-74 1,3 1-153-16,-4 0 19 0,8-7-490 0,1 4 61 0,0-4 110 0,4 0 87 16,-2-3 41-16</inkml:trace>
  <inkml:trace contextRef="#ctx0" brushRef="#br0" timeOffset="127772.87">17861 10056 1302 0,'0'5'389'0,"3"1"-5"0,-3-1-59 0,2 3-2 0,-4 0-26 0,2 2-26 16,0-1-35-16,-3 3-11 0,3 1-10 15,-7 3-46-15,4-1-8 0,-3 2-66 0,-1 0-13 16,-1 3-64-16,1-6-80 0,-1 4-91 0,0 2-216 16,3-4-524-16,0-3 115 15,3-1 102-15,2-4 51 0,2-1 57 0</inkml:trace>
  <inkml:trace contextRef="#ctx0" brushRef="#br0" timeOffset="128327.75">18407 9950 977 0,'3'-1'359'0,"-3"1"-96"0,7-2-25 0,-7 2-7 0,10 2-34 0,-10-2-5 0,6 1-8 0,-2 3-15 16,-4-1-15-16,1 2-26 0,-2 0 10 16,1 2-26-16,-4-2-4 0,1 2-1 0,1 0-30 15,-3 0 15-15,2-1-7 0,3 1-29 16,-3-1 11-16,1-1-29 0,0 0 26 0,2 1-13 16,-1-3 6-16,-1 3 7 0,2 0-6 0,0 0 17 15,2-1-16-15,-4 2-3 0,2-2-18 0,-3 3 8 16,3-1 13-16,-2-1-20 0,0 1 14 15,-4 2-30-15,3-1 11 0,-4-1 2 16,-1-1-13-16,1 4-18 16,1-5-5-16,-4 2-18 0,5-4 2 0,-3 4-50 0,2-4-21 0,2 0-21 15,-1 1-89-15,2-2-105 0,3-2-79 0,0 0-461 16,0 0 102-16,0 0 80 0,0 0 45 16,0 0 108-16</inkml:trace>
  <inkml:trace contextRef="#ctx0" brushRef="#br0" timeOffset="129087.83">18694 10194 1226 0,'-7'-3'430'16,"-1"-4"-85"-16,1-1-2 0,-2 1 16 0,0-2-37 16,1-1-43-16,-1-1-26 0,-1-2-20 0,3-1 8 15,0 0-41-15,1-3 86 0,1 3-53 16,0-4-28-16,3-2-18 0,1 1-90 0,1 3-5 16,1-2-17-16,-1 4 6 0,0 1-19 0,2-1 22 15,0 4-22-15,-2-1-3 0,4 3-11 16,-2 2-27-16,0 0 4 0,1 3 14 15,0-1-9-15,-3 4-19 0,10 0 19 0,-4 0-27 16,-2 4 10-16,4-1-3 0,-3 3-2 0,3 0-11 16,1 0 29-16,-1 1-36 0,0 2 2 15,0-1 13-15,1 0-20 0,-1 2-19 0,1-2 34 16,-2 3-38-16,2-3 15 0,-1 2 2 0,-2-1-22 16,-1-3-8-16,1 3 10 0,-2-2 10 15,-1 0-12-15,-1 0 2 0,-1 0 30 16,1-2-7-16,-4 1-2 0,2-3 5 0,-3 2-3 15,-2 2 25-15,0-4-35 0,-3 0 28 0,0 3-20 16,0-5-6-16,-4 3 11 0,-1-2 2 0,-2 0-8 16,0 0 34-16,-1 0-23 0,-2-2 2 15,3 0-10-15,2 0 31 0,-2 0-15 16,2 0-1-16,2 0-2 0,-2-1-5 0,6 1-8 16,-3-2 8-16,4-1-13 0,1 3-8 0,2-3-10 15,3 3 23-15,0-10-2 0,3 6 12 0,4-1-13 16,1-4 3-16,3 3 1 0,3-4-27 15,0 1 6-15,1-1 17 0,6-2-4 0,-3 0-11 16,2-1 10-16,1 1 0 0,2-1-9 0,5-5 4 16,-5 1 3-1,-2 9 18-15,-3-5 2 0,0 4-15 0,-3 1-5 16,-2 1 15-16,0 1 13 0,-3 1-13 0,-3 0 34 0,-1 4-21 31,-1-2 25-31,-5 3 11 0,8 1-33 0,-8-1 4 0,2 5 29 0,-2-5-18 0,-5 9-13 16,-3-1 3-16,0 2 5 0,-2 3-11 0,-2-2 11 0,-1 3 15 15,-3 4-23 1,-2-1-5-16,1-2 16 0,-4 10-11 0,-2-3 7 16,0 1-35-16,7-5-15 0,1-1-36 0,2 0-36 15,-2-1-41-15,4-3-69 0,3 1-139 0,-9 0-32 0,12-2-459 16,2-2 102-16,1-4 111 0,2 1 18 16,3-1 55 15</inkml:trace>
  <inkml:trace contextRef="#ctx0" brushRef="#br0" timeOffset="129282.53">19089 10080 1343 0,'0'5'348'0,"0"1"-5"0,-2 2-38 0,1 5 2 16,-3-1-53-16,0 1-37 0,0 4-9 15,-6 2-37-15,0 1-17 0,-1-1-21 0,-5 11 18 16,-4-3-72-16,0 0-74 0,1-1-74 0,5-5-184 16,-2-3-531-16,3-4 14 0,1 2 58 15,3-6 75-15,1 1 53 0</inkml:trace>
  <inkml:trace contextRef="#ctx0" brushRef="#br0" timeOffset="129726.65">19623 9991 1067 0,'0'0'374'15,"12"0"10"-15,-4 2-54 0,0-1-28 16,-1 5 2-16,-1-2-19 0,-2 2-88 0,-1 0-8 16,-3 1-2-1,0 1-31-15,-7 2-13 0,-1 3-22 0,-2-3 27 0,-1 4-25 0,-3 1-15 16,-2-1-4-16,0-2-32 0,1 0-3 15,2 0 34-15,0-2-24 0,0-2 16 0,3 0 17 16,0-3-22-16,2 2 7 0,0-2 3 16,1-3 69-16,3 4 5 0,0-5-18 0,-1 2-18 15,5-3-30-15,0 3-34 0,0-3 18 16,0 0-15-16,0 0-33 16,18-1-50-16,-8-1 12 0,0 1-45 0,6-2-33 0,-1 0-17 15,8-1-31-15,-2 4-31 0,2-3-93 0,0 1-196 0,-3 1-115 16,6 0-377-16,-1 1 64 0,1 0 111 15,-3 0 73-15,1 2 72 0,-1-2 70 0</inkml:trace>
  <inkml:trace contextRef="#ctx0" brushRef="#br0" timeOffset="130488.67">19999 10223 877 0,'-3'-4'454'0,"-1"2"-35"15,0-3-32-15,-2-1 7 0,0-2-33 16,-2-2-100-16,-2 0-25 0,3-1 17 0,-4-3-7 16,1-2-47-16,0-1-14 0,-3-3-6 0,3 1 64 15,2 0-23-15,-2-5-18 0,5 4-43 16,-1 2 13-16,4-1-27 0,-1 0-19 16,2 6 27-16,0 0-35 0,-2 2-26 0,1 0 11 15,1 3-14-15,1 0-32 0,-1 1-4 16,1 1-1-16,1 3 1 0,-1 3-19 15,1-4-24-15,-1 4 31 0,0 0 5 0,0 0-33 0,5 9 30 16,-4-3-17-16,1 2-19 0,-2 0-22 0,2 1 46 16,0-2-49-16,1 6 20 0,-3-4-12 15,5 1-10-15,-2 2-8 0,0 0-26 16,1 0 13-16,-1-1-13 16,0 1 21-16,-1-2-21 0,1 2 16 0,-1 1-19 0,1-2 19 0,-3-1-3 15,3-1-20-15,-3 1 27 0,2-2-19 16,-2 0 6-16,2 1 19 0,-2-2-15 15,3-1 15-15,-3-1-11 0,0 0 16 0,0 0-2 16,0-1-9-16,0-4 29 0,-3 6-15 0,3-4 33 0,0-2-24 16,-4 4-14-16,4-4 4 0,0 0 6 15,-8 1 33-15,8-1-31 16,0 0 26-16,-8-5-18 0,8 5 5 0,-5-6-5 0,3 6 33 16,-1-6-33-16,3 3 20 0,-1-3 3 0,-1 0-8 15,0-1 8-15,2 1-18 0,0-4 15 16,2 1-20-16,1-3-5 0,2-2 38 0,0-1-12 15,5-5-22-15,0 0 27 0,2-2-36 0,2-5 4 16,2 4 9-16,-4 4-16 0,-1 3 26 0,4 0 22 16,-5 3-40-16,3 0 5 15,-2 1 2-15,-1 1-17 0,2 2 17 0,-3 0 14 16,-1 2-37-16,-2 4 31 0,2-2-10 16,-5 1-18-16,4 3 18 0,-4 0-3 0,-3 1 11 0,0 0-11 15,0 0 8-15,7 7 10 0,-7-3-10 16,-4 2 8-16,0 3 7 0,-5 1 34 31,-2 2-47-31,-1 4 14 0,-4 1 9 0,-7 6-7 0,2-1-5 0,-4 3 18 0,2-2-24 0,0 1 1 16,2-2 0-16,3-2 0 0,3-3-37 0,0 1 6 15,-1-4-46-15,6 1-18 0,0-2-33 16,-1-3-29-16,6 2-4 16,-2-3-90-16,6-1-39 0,-3 0-133 0,4-2-422 0,2 1-12 15,0-2 91-15,1 2 49 0,3-1 95 16,2-2 73-16</inkml:trace>
  <inkml:trace contextRef="#ctx0" brushRef="#br0" timeOffset="131482.13">16554 11291 954 0,'-10'2'310'0,"10"-2"-18"0,0 0-16 16,0 0-40-16,0 0-19 0,14 9-14 15,-6-6-1-15,3-1-38 0,1 1-19 0,2-1-11 16,3 1 9-16,-4 0-28 0,2-2-23 0,1 3 0 15,-1-3-2-15,-5 1-18 0,4 1-8 16,-4-1 66-16,-3 1 24 0,1 0-19 0,-3 1-14 16,0-1 27-16,-2 3-17 0,-6 0-24 15,1 3-12-15,-4 0-21 0,-1 3 16 0,-6 0-13 16,-2 2-16-16,-3 2-79 0,-6 4 21 31,-4 1-19-31,2 1 16 0,1-3-13 0,5-4 6 0,1 1-19 0,1-1-12 0,-2 0-31 16,5 0-21-16,-1-2-30 0,1 0-77 0,2-1-54 15,6-2-159-15,-1-1-429 0,0 2 32 0,3-3 114 16,2-1 96-16,1-2 55 0</inkml:trace>
  <inkml:trace contextRef="#ctx0" brushRef="#br0" timeOffset="132865.74">17325 11275 1085 0,'0'0'299'0,"0"0"-27"0,0 0-4 0,-10 10-12 0,7-2 5 0,-2 2-56 0,1 2-18 0,-2 1-3 0,1 3-15 15,-1 1-2-15,-4 6 45 0,2-1-15 16,-2 1-35-16,3 0-11 0,-1 1-36 16,-2 0-21-16,2-1-42 0,0-2-24 15,1 3-49-15,0-4-50 0,1-3-55 0,3 2-120 16,-2-6-79-16,3 2-501 0,-1-2 55 0,1-1 129 15,2-3 35-15,-3-1 82 0</inkml:trace>
  <inkml:trace contextRef="#ctx0" brushRef="#br0" timeOffset="133262.69">17325 11298 1172 0,'11'-17'366'0,"1"5"54"0,-4 3-26 0,2 2-36 0,-2 2-20 16,0 3-54-16,-3 0-28 0,3 2-15 16,-8 0-21-1,8 7-36-15,-4-2 3 0,-4 1-21 0,-2 3 3 0,-1 1-51 0,-4 4 5 0,-4 0-5 16,-4 3 7-1,0 0-20-15,-9 5-18 0,4 0-20 0,-3 0-54 0,4-6-13 0,4 0-11 16,-2-2 14-16,1-1-21 0,3-3-5 31,3-2 25-31,2-1-2 0,-2 0 0 0,3-1 0 0,1 1 6 0,1-2-4 0,0 0-10 16,3-1 39-16,2-1-10 0,0 1 2 0,0-4-23 16,4 5 10-16,2-3 3 0,-1 0-3 15,4-1 10-15,-1-1-14 0,1 0-1 31,3 0 10-31,1 0-23 0,3-1-4 0,-4-1-37 0,4 2-2 0,-1-1-18 0,1-2-47 16,1 3-9-16,-4 0-59 0,3 0-31 0,-3 0-64 16,2 0-82-16,-2 0-59 0,0 0-443 0,4-1 75 15,-4 1 133-15,-2-1 89 0,1 1 3 0</inkml:trace>
  <inkml:trace contextRef="#ctx0" brushRef="#br0" timeOffset="133765.17">17654 11425 1192 0,'0'0'366'0,"-6"-4"-35"16,4 2-35-16,2 2-29 0,-10 2-16 0,10-2-36 15,-13 5-8-15,5 0-13 0,0 0-9 0,-2 1-24 16,0 1-20-16,2-1-11 0,-2 3 16 16,2 1-51-16,-2-3 12 0,2 4 29 0,1-3-62 31,-1 1-15-31,5-2 15 0,-2 1-12 0,2-2-11 0,1 0-7 0,0-1 9 0,2-2 27 16,0 2-70-16,0-1 18 0,4-1-5 15,-4-3-10-15,8 2 12 0,-3-2-1 0,-5 0-83 0,11-2-16 16,-4 0 22-16,-1 1 12 15,-2-3 10-15,4 2 16 0,-2-2-1 0,-2 1 16 16,2 0-10-16,-1 1 15 0,0-1-15 0,-2 1 33 16,-1-1-13-16,3 1 3 0,-5 2-10 0,5-2 12 15,-5 2-13-15,0 0-2 0,0 0 26 16,0 0-31-16,10 4 20 16,-10-4-12-16,3 5 7 0,-3-2-18 0,3-1 16 0,-3-2-5 15,0 7-42-15,2-2-17 0,-2-1-18 16,2-1-8-16,-1 1-62 0,-1-2-14 0,2 3-114 0,1-3-55 15,-1 2-24-15,1-2-463 0,0 2 67 0,1-2 71 16,-4-2 123-16,6 3 23 16</inkml:trace>
  <inkml:trace contextRef="#ctx0" brushRef="#br0" timeOffset="134598.72">17710 11457 1361 0,'0'0'379'0,"0"0"-15"0,0 0-52 0,0 0-28 16,0 0-10-16,-7 12-23 16,7-5-108-16,-4-2-2 0,2 1-26 0,0 3-15 0,1-2 0 15,-1 1-11-15,-1 0-9 0,3 0-9 16,-2 1 27-16,2-2-34 0,0-1-3 16,0 1 21-16,0-2 13 0,0 0-34 0,0-2 41 15,2 0-12-15,1 0 15 0,2-1 8 0,0-1-29 16,-5-1 3-16,10-1 13 0,-10 1-34 15,11-2 4-15,-6-1 11 0,3 2-11 0,-3-1-9 16,0 2 67-16,2-1 10 0,-7 1-33 16,11 1-5-16,-6 2-3 0,0 0-25 0,0-1-18 15,0 2 10-15,0 1 7 0,0-1-81 0,-2 0 5 16,2 1-69-16,-3-1-13 0,1 0-34 0,0 1-58 16,0-1-23-16,-1 1-67 0,3-2-120 15,-2-3-100 1,1 2-468-16,-4-2 110 15,10 2 71-15,-10-2 85 0,11-4 97 0,-3 2 36 0</inkml:trace>
  <inkml:trace contextRef="#ctx0" brushRef="#br0" timeOffset="134807.54">17948 11479 1008 0,'6'-17'351'0,"-4"3"-52"15,0 1-61-15,1 1-13 0,0 1 1 16,-1 3 2-16,0 1-16 0,0-2 59 0,0 6-17 16,-2-2-6-16,0 3-20 0,0 2-36 0,0 0-3 15,0 0-4-15,0 0-27 16,0 0-2-16,2 16 1 0,-4-7-4 0,1 0-7 0,-2 4-31 15,-1 0-66-15,4 1-24 0,-6 2-19 16,4 1 14-16,-1 1-20 0,-2-1-20 16,0 0-24-16,3-1-25 0,-2-1-23 0,0-2-41 0,4 0-26 15,-3 0-69-15,1-2-76 0,2-5-98 32,2 3-448-32,1-5 82 0,2 2 44 0,0-3 79 0,0-2 33 0</inkml:trace>
  <inkml:trace contextRef="#ctx0" brushRef="#br0" timeOffset="135114.1">18279 11462 826 0,'0'0'361'0,"-11"-2"-31"0,4 2-12 0,7 0-34 0,-16 2-15 0,6-2-21 0,-5 6-18 15,5-2-12-15,-5 0-21 16,-1 1 26-16,1 1-36 0,-3 1-8 0,5 1-31 15,-3 0 24-15,4-3-8 0,2 0-26 0,-1 0 8 16,1 2 5-16,0-2-26 0,4 1-10 0,-1-1-87 16,1-2 6-16,-1 2 19 0,6-1 27 15,-1-2-34-15,0 3 18 0,2-5-15 0,4 8-1 16,-3-8 1-16,2 4-11 0,2-2-38 0,2-2-2 16,1 4-21-16,1-3-16 0,0 0-32 15,-1 0-40-15,4 1-17 0,-1-2-43 0,-1 0 2 16,3-2-74-16,0 2-103 15,5-4-61 1,0 1-455-16,5 3 66 0,0 0 122 0,7-2 58 0,-1-2 75 0</inkml:trace>
  <inkml:trace contextRef="#ctx0" brushRef="#br0" timeOffset="135969.99">18651 11399 1080 0,'0'0'353'0,"-6"-1"-23"0,6 1-38 0,-8 6-8 15,1-1 44-15,2 2-44 0,0 2-18 0,-2 0-20 16,1 1-24-16,2 1-12 0,0 2-15 15,0 0-13-15,1-1 2 0,3-2-54 16,0 0-19-16,0 1 19 0,2-1-30 0,1-1 5 16,2-1-16-16,0 0-7 0,1-1 31 0,1-4-39 15,2 1-10-15,-3-2-23 0,2-2 23 16,-3 0-18-16,-5 0-7 0,14-2 7 0,-10-2 2 16,2 0-27-16,-4 0-47 0,3-3 11 0,-5 1-21 15,0-2 23 1,0-2-5-16,-3 3 3 0,1-3 5 0,0-1 5 0,0 2-8 0,-2 0 13 15,2 1 5-15,0 0-13 0,1 2 13 0,-2-1-15 16,3 4 23-16,0 3 12 0,0 0-40 16,0 0 10-16,0 0-3 0,0 0 6 0,6 17-3 15,-4-5-3 1,2 0 11-16,-2 4-19 0,-2 5 3 0,2 0 16 0,-4 6-8 0,2 2 18 16,-2 0-3-16,-4 9-13 0,0 0 1 15,-1-1-11-15,-1-5 3 0,-2-4 5 0,2-7 7 16,3-2-2-16,-2-3 18 0,1-1-3 15,-2-1 16-15,4-3 15 0,-2-1 13 0,1-2 3 16,0-3-9-16,2-3-12 0,-1-1 0 0,4-1-13 16,0 0 39-16,-4-7-8 15,6-1-29-15,0-1-22 0,2-4 20 0,4-2-7 0,2-4-24 16,1-1-10-16,4-7-22 0,3 1 9 0,2 1-33 16,1 0-23-16,2 0-15 0,2 3-67 15,2 1-18 1,3 0-43-16,1-1-100 0,7-1-133 0,1 6-471 0,2 0 69 0,2 2 135 15,1-2 55-15,0 2 50 0,1-1 72 16</inkml:trace>
  <inkml:trace contextRef="#ctx0" brushRef="#br0" timeOffset="136776.04">19307 11363 998 0,'-10'4'312'0,"5"-3"-28"0,-3 1-33 0,2 3-18 0,0-1-33 15,0 1-8-15,2-2-26 0,0 6-2 0,2-2-6 16,2 1 55-16,0 0-42 0,0-1 9 0,5 4-27 15,0 1 1-15,1-2-24 16,-2 0-22-16,4 0 2 0,-3 1-8 0,3-1-7 0,-3 0 2 16,2-2-30-16,-3-1-19 0,-2 2 14 15,3 0 35-15,-5-3-20 0,0 1-44 16,0-1 11-16,-3 1 25 0,-2-1-23 0,-3 3 13 16,-2-2-31-16,-5 1 13 0,2 0-13 0,-2-1-38 15,-3 1 2-15,2-1 8 0,1-2-59 16,0-2-12-16,4 3-27 0,-1-5-37 15,2 3-62-15,2-2-80 0,3-2-53 0,5 0-16 0,-8-1-319 16,8 1-95-16,0-6 76 0,2 0 37 16,4-5 66-16</inkml:trace>
  <inkml:trace contextRef="#ctx0" brushRef="#br0" timeOffset="136967.18">19268 11449 578 0,'14'-21'282'0,"0"0"12"0,-5 2-13 0,1 3 24 0,0-1 2 0,0 2-110 15,-2 1 13-15,0 0-23 0,-3 4 15 0,3 1-12 16,-4 2-11-16,2 2-10 0,-1 3 56 15,0-1-7-15,-5 3-11 0,8 5-20 0,-4 2 20 16,-1 0-20-16,3 3-44 0,-4 1-27 16,3 2 17-16,-4 2-49 0,1 3 19 0,-2 0-111 15,0 1-31-15,2 1 11 0,-2 1-51 0,0-1-11 16,0-1-4-16,0-2-39 0,3-1-6 16,-3 0-91-16,0 0-36 0,0 0-103 15,-5-1 18-15,7-2-498 0,-2-2 209 16,3-3-51-16,-3 1 94 0,0-2 16 0</inkml:trace>
  <inkml:trace contextRef="#ctx0" brushRef="#br0" timeOffset="137381.01">19376 11568 1016 0,'-2'-3'399'0,"2"3"-10"15,-2-7-33-15,2 3-36 0,2-1-28 16,0 0-52-16,1-2 3 0,2 2-25 16,0-3 7-16,2 2-23 0,-4 0-22 0,3 0-19 15,1 0-66-15,-2 0 10 0,1 3-34 16,-2-2 6-16,-1 0 15 16,2 5-7-16,-2-2-34 0,-3 2 21 0,8-1-9 0,-8 1-16 0,7 3 6 15,-6-1-14-15,1 2 17 0,3 1-12 16,-2 1-11-16,-1 1 5 0,0-1-15 0,2 0 23 15,0 1-30-15,-1-1 20 0,0-1-16 16,3-1 0 0,-5 1-12-16,6-1 23 0,-4-1-26 0,3 0 8 0,-2-3 7 0,-4 0 1 0,14 0-8 15,-7 0 7-15,1-1 39 0,0-1-59 0,1-1 2 16,0-1 14-16,-2 0-6 16,1 1 11-16,2 1-14 0,-3-1-7 15,-1 1 13 1,-1 0-5-16,1 2-8 0,-6 0-5 0,10 0-13 0,-3 2 2 0,-4 0 1 0,2 0-49 15,0 1-38-15,0 3-16 0,-2-1-51 0,1 0-28 16,-1 0-128-16,2-1-110 0,-2 1-454 0,2-3 52 16,-2 2 141-16,5-2 13 15,-2-2 68-15</inkml:trace>
  <inkml:trace contextRef="#ctx0" brushRef="#br0" timeOffset="138037.51">19915 11334 1072 0,'2'-8'315'0,"1"1"0"0,-2 3-36 0,-2 1-16 0,1 3-14 0,0 0-16 16,0 0-29-16,0 0-37 0,0 0-11 15,-11 16 0-15,9-10-2 0,-1 2 48 0,-2 0-20 16,3 1-11-16,1 0-40 0,-3 3 22 0,1-1-12 16,3 2-31-16,-3-2-33 0,1-1-6 15,2-1 9-15,-2-1-34 0,-1-1-5 0,3 1 31 16,0-1-29-16,-1-2-15 0,-1 0 5 15,2 0 21-15,-2 0-5 0,-1-2-24 16,3 1-2-16,-5-2-2 0,3 1 28 0,-4 1-31 0,6-4-3 16,-7 3 21-16,2 0-3 0,-1 1-2 15,1-3-24-15,0 3-4 0,-2-1 33 16,-1 2-36-16,2-1 0 16,-1 1 54-16,2 0-54 0,-3 1 5 0,3-3 25 0,0 2-25 0,0 0-10 15,2 0 16-15,0 0 17 0,1-2 13 16,0 1-21-16,2 0-17 0,0-4 25 0,2 4-26 15,0 0-2-15,-2-4 21 0,8 1-6 16,0-1-2-16,-8 0-5 0,15-1-18 0,-5-3 25 16,4 1-7-16,-4-2-19 0,3 0-53 0,-1-1-2 15,1 0 40 17,4-2-22-32,-6-1-1 0,-1 0 21 0,3 3 2 0,-5-2-7 0,0 2 41 0,0 0-29 0,0 2 21 0,-4-2 10 15,2 3 3-15,-2-1 13 0,-1 3-11 0,-3 1-20 16,5-3 15-16,-5 3 3 0,0 0-23 0,0 0 33 31,0 0-16-31,6 8 4 0,-6-8-19 0,0 3-12 0,0-3 9 0,0 6-7 16,0-6 8-16,0 3 5 0,0-3-8 0,2 3 8 15,-2-3 8-15,4 4-11 0,-4-4 11 0,4 3-6 16,-2-1 29-16,1 1 2 16,2 2 13-16,0-1 0 0,1 1 10 0,1 0-18 0,-2 2 6 0,0 0-4 31,-2-2 4-31,2 1 12 0,0 3-18 0,0-2 11 15,0 1-3-15,-2-2 10 0,-1 2 5 0,1-1-22 0,-1 0-34 0,-2 0-29 16,0-2-19-16,-2 3-39 0,-1-1-49 16,1-1-43-16,-1 0-57 0,-2 0-145 0,0-2-116 15,-1 2-432-15,-1-1 72 0,-1 1 79 0,-5 1 117 16,1-1 52-16,-1 2 41 16</inkml:trace>
  <inkml:trace contextRef="#ctx0" brushRef="#br0" timeOffset="139078.97">17528 12474 1208 0,'-1'7'276'0,"-1"4"-5"16,0 2-22-16,-1 0-21 0,0 0-11 16,-1 5-20-16,-2 0-38 15,2 1-3-15,0-1-5 16,-1 1-38-16,0-1-11 0,2 0-10 0,-1-3-20 0,-2 1 12 0,4-3-7 0,0-2 10 16,-1-1-28-16,2-2 67 0,-1 0 1 15,0-2-11-15,-1-2-11 0,3 0 33 0,0-4-5 16,-3 2-18-16,3-2 36 0,0 0 41 15,0 0 0-15,-4-12-82 0,3 4-23 0,1-3 5 16,1-1 26-16,-1-2-28 0,2-5-3 0,0 0 2 31,4-6-27-31,-2-1 12 0,4-10-36 0,0-1 24 0,0 0-6 0,3 4-12 16,-2 6 2-16,-1 4 18 16,0 5-16-16,-1 2 47 0,-1 2 0 0,1 6 7 0,1 2-25 0,0 1 7 0,-3 5-2 15,2 5-5-15,-1 1-8 0,-1 2-36 16,2 3 19-16,1 3-6 15,-5 3 0-15,4-1-18 0,-4 3-20 0,2 1 2 0,0 3-49 16,-2-1-1-16,2 2-7 0,-2 0-34 0,-1-3-45 16,-2-2-63-16,3 1-52 0,-1 0-15 15,0-2-95-15,-1-1-219 0,-1-1-424 0,2-3 86 16,1-1 61-16,-3-3 130 0,2-1 77 0,-1-3 79 16,-1 1 78-16</inkml:trace>
  <inkml:trace contextRef="#ctx0" brushRef="#br0" timeOffset="139271.73">17395 12650 998 0,'0'0'363'0,"-6"0"1"0,6 0 35 0,0 0-12 0,-3-3-50 0,3 3-19 0,0 0-19 0,0 0-43 16,9-5-30-16,-5 4-17 0,7-1-24 15,-4 0 17-15,4-1-54 0,-1 0-32 0,3 0-4 16,5-2-86-16,-5 0-52 0,4-1-20 16,1-2-46-16,1 1-95 0,-1 0-117 0,2-8-114 15,1 5-391-15,1-3-12 0,-3-1 117 16,1-1 38-16,-2-1 75 0</inkml:trace>
  <inkml:trace contextRef="#ctx0" brushRef="#br0" timeOffset="139471.71">17807 12300 703 0,'3'-20'246'0,"0"6"92"0,-1 2 25 0,0 1-81 0,-2 3-5 0,0 2 68 15,0 0-45-15,0 1-11 0,0 1-33 0,0 4 2 16,0 0-12-16,0 0-34 0,0 0-25 16,0 0 8-16,-10 15-24 0,8-6-4 0,1 2-19 15,0 2-20-15,0 0-18 0,-2 2 26 16,1 0-26-16,2 1-43 0,-2 1-16 0,2 0-26 16,-3-1-86-16,0 1-41 0,3-2-88 15,-2-1-63-15,1 1-124 0,2-6-58 16,-1 2-386-16,0-3 4 0,2-2 152 0,-2-1-1 15,3-2 85-15,-1 0 41 0</inkml:trace>
  <inkml:trace contextRef="#ctx0" brushRef="#br0" timeOffset="139645.26">17802 12457 688 0,'-3'-7'387'0,"3"1"-34"0,0 2-26 0,0-3-37 0,0-1-6 0,3 4-18 16,-1-3-5-16,1-1-5 16,0 3-43-16,2-2-24 0,0 3-5 0,2-1-28 0,1 0-20 15,0 0-5-15,0 2-16 0,-1 0-41 0,3 2-18 16,-2-2-30-16,0 3-52 0,3 1-35 15,-1 1-108-15,0-1-161 0,-2 4-489 0,4-1 76 16,-4-1 88-16,3 1 38 16,-4 3 44-16</inkml:trace>
  <inkml:trace contextRef="#ctx0" brushRef="#br0" timeOffset="139822.44">18158 12567 1254 0,'-2'16'455'0,"0"0"-17"0,1-2-26 0,-1 0-46 0,-1 0-74 16,-2 3 23-16,0 0-34 15,0 1-37-15,-1 0-32 16,-1 4-40-16,0-1-80 0,1-4-44 0,2 1-66 0,0 0-69 0,2-3-117 16,2-8-178-16,5 4-442 0,3-1 18 15,2-1 117-15,7-3 80 0,2-2 43 0</inkml:trace>
  <inkml:trace contextRef="#ctx0" brushRef="#br0" timeOffset="140217.6">18625 12456 1080 0,'-2'-2'448'16,"2"2"-105"-16,0 0 5 0,0 0-33 0,-8 7-11 15,6-1 6-15,-1 1-72 0,-2 0-5 0,2 4-16 0,-4-1 1 16,4 3 66-16,-3 2-56 15,-1 1-8-15,2 1-23 0,-3 0-33 0,3 0 10 0,-3 3-20 16,1-3-34-16,-1-1-23 0,3 0-20 16,-1-1-8-16,2 0-20 0,-2-5-42 15,4 3-14-15,-1-4-32 0,1-1-19 16,-1 0-47-16,1-2-26 0,1 1-10 0,1-3-17 0,0 1-37 16,0-5-43-16,1 5-62 0,1-3-122 15,1 1 28-15,-3-3-51 0,3 4-318 0,1-3 26 16,-4-1 94-16,8 0 21 0</inkml:trace>
  <inkml:trace contextRef="#ctx0" brushRef="#br0" timeOffset="141349.79">18620 12484 1238 0,'3'-6'412'15,"-1"0"-86"-15,3 1-37 0,2 0-10 16,-1-1 0-16,-1 2-3 0,3 0-40 0,0 2-16 16,0-1-13-16,-1 1 3 0,-2 2-36 15,-5 0 5-15,13 3-15 0,-8-1-8 0,-2 1 0 16,2 1 70-16,-3-2-62 0,-2 3 2 15,0 1-18-15,-2-1-9 0,-1-1-19 0,1 1-7 0,-1 1-6 16,-2 0-5-16,4-1-79 16,-1-2-12-16,0 2-11 0,-1 0 18 0,3 0-3 15,3-1-10-15,1 2 13 0,-3 0-21 0,4 1 27 16,3 1-9-16,-1 0-2 16,1 1 2-16,2 2 11 0,0-2-14 0,-2 1-19 0,1 1 17 15,-3 1 21-15,0-2 2 0,-1 0-2 31,0 2 2-31,-3-3-10 0,-1 2 10 0,-1 0 1 0,-3 1-14 0,-3 0 6 0,0-2-1 16,-4 2 14-16,-1 0 22 0,-2-1-30 0,0-1 17 0,-2-1-22 16,-1 0-8-16,-2-1-36 0,4-2 10 0,-2 1-35 15,3-4-6-15,0 2-12 16,0-2-42-16,3 0-48 0,0 0-12 16,2-2-45-16,3 2-50 0,2-3-52 0,3 0-118 0,-7 1-14 15,7-1-449-15,0 0 28 0,0 0 134 16,0 0 61-16,15-12 71 0,-10 7 55 15</inkml:trace>
  <inkml:trace contextRef="#ctx0" brushRef="#br0" timeOffset="141656.41">18938 12444 1220 0,'13'-8'356'0,"-8"7"-41"0,3-2-8 16,2 1-48-16,3-1-37 0,2 0-53 0,0 2-74 16,1-2-64-16,-3 0-118 0,5 0-159 0,-3 1-501 15,2 1 102-15,-1-1 5 0,-1-1 110 16</inkml:trace>
  <inkml:trace contextRef="#ctx0" brushRef="#br0" timeOffset="141847.67">19405 12510 1308 0,'-3'15'463'0,"0"3"-31"15,0 0 1-15,-4-4-82 0,2 5-21 0,-5 2-3 16,0 0-50-16,-6 4-49 0,1 4-29 16,-5-3-86-16,3-1-62 0,0-4-41 0,6-2-150 15,1-6-219-15,3 2-506 0,-1-3 84 0,3-2 67 16,2-3 90 15,1-2 63-31</inkml:trace>
  <inkml:trace contextRef="#ctx0" brushRef="#br0" timeOffset="143672.2">20021 12461 1116 0,'-4'-5'422'0,"2"2"-61"0,-4-2-31 15,4 1-31-15,-6 1-17 0,3 2-80 16,-5 1-43-16,0 0-8 0,0 3-10 16,-3-2 0-16,0 4-1 0,-2 2-4 0,-1 0 0 15,1 2-19-15,-3 3 4 0,2-4-9 0,3 5-2 16,1 0-23-16,2-2-12 0,0 1 4 0,4-1 8 16,3-1 61-16,1 0-7 0,2-2-20 15,3-1-16-15,1 2 23 0,7-2-24 0,-1-2-50 16,3 0-3-16,2-2-22 0,1-2-19 0,-1 0-38 15,3-2-8 1,2 0-10-16,1 0 7 0,-1-3-37 0,1-1-19 0,-1 2 13 16,1-3-31-16,-5 2-38 0,2-2-28 0,-4 2-38 15,0 1-65-15,1-2-82 0,-5 0-83 0,3 1-385 16,-3-1 87-16,1 3 46 0,-4-4 128 16,3 3 49-16</inkml:trace>
  <inkml:trace contextRef="#ctx0" brushRef="#br0" timeOffset="144210.7">20282 12192 852 0,'0'0'366'0,"0"0"-41"0,0 0-41 0,-8 8 0 0,5-1-35 0,0 0-22 15,1 3-14-15,0 2-24 0,-1 2 1 0,0 0-39 16,0 0-11-16,1 2-32 0,0 0-39 0,-3 0-10 16,2-2-46-16,0 1-44 0,0 1-94 15,1-3-60-15,0 0-101 0,-4-4-116 0,4 2-325 16,0-3 84-16,1 1 29 0,-1-4 38 0</inkml:trace>
  <inkml:trace contextRef="#ctx0" brushRef="#br0" timeOffset="144428.06">20097 12325 1136 0,'2'-6'353'0,"-2"6"-20"0,6-3-54 15,-2 0-13-15,4 2-20 0,-2-1-110 16,1 0-16-16,3-2-7 0,5 2-14 16,-2-1 4-16,5 1-21 0,1-1 5 0,1-1-26 0,1 0-20 15,1 2-33-15,2-2-29 16,-1 1-43 0,0 0-36-16,0-1-99 0,2 1-57 0,-4 0-59 0,2 0-384 0,0 2 29 0,-2-3 86 15,-1 1 85-15</inkml:trace>
  <inkml:trace contextRef="#ctx0" brushRef="#br0" timeOffset="-192759.89">21806 9451 1438 0,'-12'-2'497'15,"2"-2"-111"-15,2 3-40 0,4 0 4 0,4 1 88 16,-8-1-51-16,8 1-126 0,-6-1-18 0,6 1-33 15,-5-3 0-15,5 3-21 0,0 0 6 0,0 0-19 16,0 0-20-16,0 0-12 0,25 0-6 16,-14 3-13-16,2-6-27 0,2 3 1 0,-2 0-19 15,2 0-19-15,-2 0 29 0,3 0-47 0,-2 0-43 16,0 0-18-16,-2 0-33 0,-1-1-36 16,4-1-25-16,-2 2-47 0,-2-3-36 0,1 2-20 15,-2 0-30-15,1 0-98 0,-1 1-85 0,0-3 16 16,0 3-481-16,2-1 40 0,-3 1 152 15,-1 0 48-15,2 0 57 0</inkml:trace>
  <inkml:trace contextRef="#ctx0" brushRef="#br0" timeOffset="-192341.46">22256 9319 895 0,'-3'0'308'15,"3"0"-24"-15,0 0-13 16,0 0-20-16,0 0-16 0,0 0-4 0,15 6-24 0,-3-9-20 16,0 0-26-16,5-1-5 0,4-1-5 0,4-1-5 15,1-4-2 1,8 1-34-16,1-3-23 0,-1-5 7 0,-9 6-9 15,-2 3 2-15,-2-4 15 0,-2 0 13 0,-2 2 11 0,0 1 22 16,-8 1-7-16,1 2 33 0,-2 1-5 16,-1-1 13-16,1-1 2 0,-3 5-33 0,-2 0-20 15,-3 2-3-15,0 0-5 0,0 0-36 16,-8 17 12-16,3-10-24 0,-3 10 27 0,-4 1 41 16,-4 9 21-16,-3 3-43 0,-1 1-1 15,2 2-25-15,1 1 7 0,-2 0-51 0,1-2 31 16,2 0-33-16,-1-2-39 0,1 1-51 0,4-7-23 15,2-4-41-15,2 0-33 0,-2-1-47 16,5-2-53-16,-1-1-53 0,2-1-145 0,-10-1-111 16,12-3-493-16,0 0 175 0,2-3 10 0,-1-1 77 15,2-2 102-15,-1-1 83 0</inkml:trace>
  <inkml:trace contextRef="#ctx0" brushRef="#br0" timeOffset="-191899.47">22630 9419 1461 0,'10'7'397'0,"-7"0"-29"0,-1 4-7 0,0 1-23 0,-1 1-46 0,1 3-26 0,-2 4-10 16,0 0-15-16,0-1-26 0,-2 3-26 0,-1 0-25 15,-2 2-28-15,0-1-1 0,3-2-14 16,-1-2-37-16,-2 0 3 0,3-3-7 16,-2-1-14-16,2-3-12 0,-1 1 12 0,2-4 32 15,-3 0-11-15,4-2 33 0,-2-2 34 0,2-3 2 16,0-2 49-16,0 6-47 0,0-6-14 15,0 0-42-15,0 0-2 0,8-19 41 0,-4 11-31 16,2-6-31-16,2-1-7 0,2-4 2 0,0 0 3 16,0 1-1-16,0-2-37 0,-2 2 4 0,3 3 21 15,-4 1-25-15,3 2 4 0,-2 2-2 16,-2-1-48-16,1 3-11 0,-4 1-18 0,3 2-36 16,-2 2-61-16,0 0-36 0,-3 1-46 15,-1 2-41-15,0 0-61 0,0 0-142 0,10 2-470 16,-7 4-31-16,-3-6 65 0,3 7 55 15,-2-3 82-15,-1-2 95 0,1 3 75 0</inkml:trace>
  <inkml:trace contextRef="#ctx0" brushRef="#br0" timeOffset="-191333.48">22864 9545 1149 0,'2'-2'425'0,"-2"2"-23"0,2-4-29 0,-2 4-27 0,0 0-34 0,0 0-87 0,0 0-53 16,3 11 10-16,-3-6-11 0,-3 0 3 16,3 3-41-16,0-1 8 0,-2 3-13 15,2-1-43-15,0 1-9 0,0-2 14 0,0 3-29 16,0-2-20 0,0 2-23-16,2-3 23 0,2 3-2 0,-2-4-16 0,0 0-23 0,3 1 20 15,-2 0-2-15,3-3-8 0,-2-2-7 0,1 3 10 16,3-2-13-16,-1-3 33 0,-2-1-10 0,3 0 13 15,0-1 35-15,2-2-25 0,0 1-22 16,0-3 14-16,-1-1 3 0,3 1 25 16,-2 1 11-16,-2 0 23 0,1-1-21 15,-3 1-4-15,0-1 7 0,2 0-6 0,-2 4 14 0,-2-3-26 16,0 2 13-16,-1 0-39 0,-3 2 13 0,8-3-5 16,-8 3 11-16,0 0-24 0,0 0-2 15,13 4 7-15,-10-2 11 0,-1 0-31 16,3 1 12-16,-2-2-45 0,1 3 20 15,0-3 5-15,2 1-20 0,-2 1 18 0,1 0 15 0,2-2-23 16,-2 2 7-16,1-3-22 0,-6 0 0 16,12 0 7-16,-6-3 18 0,-1 3 13 15,4-2-25-15,-5-2-3 0,1 3 25 0,1-2-15 0,-2-1 16 16,1 4 9-16,-2-2-12 0,-3 2-18 16,6-4-2-16,-6 4-6 0,0 0 24 0,0 0-14 15,0 0 29-15,4 6-11 0,-4-1 16 16,-2 0-33-16,2-1 9 0,0 1 9 15,0 1-19-15,0 1 6 0,2-1-23 0,-2 0-31 0,4-1-13 16,0 1-28-16,-1 0-10 0,1-3-54 16,4 3-24-16,-1-3-37 0,1-1-41 15,-1 2-55 1,-1-3-78-16,-1 1-141 0,2-1-436 0,-1 1 170 0,-6-2 32 0,10 1 93 0,-10-1 100 16</inkml:trace>
  <inkml:trace contextRef="#ctx0" brushRef="#br0" timeOffset="-190883.88">21756 10948 1123 0,'0'-4'374'0,"0"4"0"0,0 0-42 0,8-3-17 0,-1 3-36 0,-2-3-23 0,5 2-33 16,1 1-6-16,1 0-14 0,4-1-14 15,-1 0-33-15,1-2-20 0,0 3-49 16,-2-2-41-16,2 1-56 0,-1 0-57 0,1-2-104 0,-2 3-119 15,2-1-534 1,-3-1 0-16,3-1 143 0,-1 0 46 0,1 0 106 0</inkml:trace>
  <inkml:trace contextRef="#ctx0" brushRef="#br0" timeOffset="-190596.42">22480 10693 1361 0,'-2'-5'489'15,"0"2"5"-15,2 3-36 0,-2-6-133 0,0 3-38 16,2 3-23-16,0 0-16 0,-9 9-18 16,2-4 3-1,1 5-2-15,-1 3-42 0,-1 5-5 0,-2 2-30 0,-3 9-6 0,0 3-9 0,-2 1 60 16,-1 1-32-16,4 0-24 15,-4 2-53-15,3-4-70 0,1-1-30 0,-1 1-41 0,3-4-29 16,2-7-78-16,0 1-42 0,3-2-92 0,-2-2-133 16,1-3-222-16,3-2-265 0,-2-1 96 15,2-1 35-15,3-4 108 0,-2-1 89 16</inkml:trace>
  <inkml:trace contextRef="#ctx0" brushRef="#br0" timeOffset="-190251.54">22378 10753 1466 0,'14'-6'446'0,"1"0"-50"0,1-1-48 0,1 2 3 16,-1-1-44-16,4 1-17 0,2-1-40 0,-3 1-6 15,3-2-42-15,-3 4-31 0,3-2-25 16,-3 1-18-16,-3-2-79 0,2 5-1 0,-3-2-81 15,0 1-59-15,-4 1-54 0,1 1-123 0,-4-2-109 16,0 4-513-16,-3 1 107 0,-3 0 75 16,1 1 90-16,-3-4 28 0</inkml:trace>
  <inkml:trace contextRef="#ctx0" brushRef="#br0" timeOffset="-189991.87">22202 10962 1244 0,'-8'0'343'0,"8"0"-31"0,0 0-28 0,0 0-5 0,0 0-28 16,0 0-11-16,0 0-7 0,0 0-30 15,0 0-6-15,25-5-31 0,-11 4 8 0,1 1-36 16,3-3 1-16,5-1 4 0,1 2-38 0,3-1-5 16,1 0-6-16,3-1-19 0,0 2-52 0,-3-1-34 15,0 1-53-15,-1 0-46 16,-3-1-43-16,0 2-65 0,-4 1-115 0,1-1-74 15,-4 0-432-15,1 2 94 0,1 0 59 0,-3-1 90 16,-2 1 38-16</inkml:trace>
  <inkml:trace contextRef="#ctx0" brushRef="#br0" timeOffset="-189585.99">22927 10916 977 0,'-8'0'420'0,"1"0"-3"16,-3 1-148-16,0 0-10 0,-1 1-26 0,3 1-36 15,-4 1-8-15,-1 1-10 0,2 0-30 16,-1 1-16-16,1 0-3 0,-1 4-14 0,2-2 1 16,-1 0-25-16,4-2-10 0,-1 5 3 0,0-4-24 15,3 1-30-15,2-3 20 0,1 2-33 0,2-2 3 16,0 0 4-16,2-2 11 0,1 0-8 15,2-1-7 1,1-2 7-16,-6 0-8 0,12 0 16 0,-4-1 0 0,2-3 5 0,-2 3 5 16,-1-4 3-16,6-2 15 0,-4 0-16 0,0 2 32 15,-1 1-6-15,-1 0 8 0,-1-1 10 16,-1 2 26-16,1 0-26 0,-4 2 100 0,-2 1-52 16,7-1 6-16,-7 1 5 0,0 0-23 0,3 5-46 15,-3-1 41 1,0 1-36-16,-3 2-18 0,3-1 11 0,-3 3-44 0,-1 0-47 0,1 0-32 15,-2 1-29-15,3-1-71 16,-1-1-16-16,-2 0-46 0,4 1-74 0,-1 0-130 0,-1-3-211 16,3 1-314-16,0-2 100 0,3 1 35 0,-1-4 77 15,-1 2 103-15,-1-4 27 0</inkml:trace>
  <inkml:trace contextRef="#ctx0" brushRef="#br0" timeOffset="-189334.77">23153 10721 949 0,'4'-8'430'0,"-3"4"8"16,2 0 12-16,-1 2-12 0,-2 2-16 15,2-3-35-15,-2 3-39 0,0 0-33 0,0 0 2 16,-4 12-130-16,1-3-26 0,-2 1 3 16,0 2-8-16,0 1-2 0,-3 4-23 15,0 3-11-15,-2-1-13 0,0 4 11 0,2-1 41 0,-10 6-24 16,5 0-7-16,2-3 6 0,-1-4-60 15,0 0-56-15,2-1-18 0,-1-1-85 16,1-1-10-16,2 0-53 16,-2-4-31-16,4-1-59 0,2-1-95 0,-2-2-194 0,4-2-456 0,2-2 128 15,0-1 36-15,5-2 110 0,-2 0 79 16,4-2 52-16</inkml:trace>
  <inkml:trace contextRef="#ctx0" brushRef="#br0" timeOffset="-188838.84">23296 10920 949 0,'0'0'302'0,"-8"-1"-18"0,8 1 0 15,-10 0-35-15,10 0-14 0,-7 0-22 16,2 3-24-16,0-1 70 0,1-1-14 16,-3 4-17-16,5 2 46 0,-1 0-131 0,-2 0 3 15,4 1 8-15,-3 1 5 0,1-1 2 0,-2 4-15 16,1-1 5-16,-2 1-28 0,4 1 33 15,-4-1-56-15,1 0 5 0,-1 1-11 0,-1 0 27 16,-3 0-29-16,3-1-16 0,-2 1-12 0,-3-2-2 16,2 1 2-16,0-3 2 0,1-1-7 15,0 0-7-15,0-2-4 0,2 1-22 0,0-1-6 16,1-4-35-16,1 2 10 0,2-2-26 16,-1-2-10-16,4 0 5 0,0 0 16 0,0 0-8 15,0 0-18-15,0 0 7 0,14-6-25 16,-6 4 8-16,3-3 30 0,-1-1-12 0,6-1-13 15,-2-1-3 1,2-1 13-16,-3 0-18 0,3 0 21 0,4-1 17 16,-5 0-27-16,-2 2 9 0,4 1 3 0,-8 0 16 0,3 1 20 0,-4 1 31 15,0 1-24-15,0 0 21 16,-4 1-7-16,-1 1 10 16,-3 2 4-16,6 0-14 0,-6 0 17 0,0 0-10 0,0 0 8 0,0 8-28 0,0-3 10 15,0-1-8-15,0 1 0 16,0 0-15-16,0 1 8 0,2 0-19 0,-2 1 11 15,5-1-61-15,-2 1-39 16,-1-1-21-16,4 0-37 0,1-2 19 0,-2 2-27 0,3-3-31 0,-3 2-98 16,3-4-99-16,-6 3-29 0,6-1-434 15,2-1 163-15,-4 0 33 0,1-1 24 0,1-1 71 16</inkml:trace>
  <inkml:trace contextRef="#ctx0" brushRef="#br0" timeOffset="-188520.1">22230 11609 1110 0,'13'-9'405'0,"-1"4"-44"0,7 1-11 0,9-3-35 0,13-2-36 0,5-1-33 15,2 1-11-15,1-1-37 0,13-2-17 0,-11 3-7 16,-2 2-30-16,2-1-32 16,3-2-48-16,8 0-23 15,-11 3-36-15,0-2-40 16,-4 0-58-16,-2 4-19 0,-4-2-101 0,-5 3-125 0,-15-1-20 0,5 3-430 15,-6-2 74 1,-2 2 35-16,-8 1 108 0</inkml:trace>
  <inkml:trace contextRef="#ctx0" brushRef="#br0" timeOffset="-188260.49">22268 11602 1092 0,'24'-3'346'0,"-9"1"-23"0,8-2-57 0,5-1-13 0,13-2-22 0,5 1-14 16,1-1-30-16,-2-3-46 0,2 0-36 0,0-1-44 16,-2 1-58-16,-2-4-90 0,3 3-95 0,-5-5-123 15,0 3-468-15,-4-1 103 16,1-2 20-1,-3-2 120-15</inkml:trace>
  <inkml:trace contextRef="#ctx0" brushRef="#br0" timeOffset="-187798.96">22299 10131 842 0,'8'-2'276'0,"7"-1"-20"0,6 0-18 0,9-1-10 0,14-2-26 0,3 2-25 0,3-2-11 15,4 0-51-15,13-3 47 0,4 1-47 16,-1 0-102-16,4-2-144 0,-1 2-153 0,-2-3-438 16,1-1 77-16,-3 0 20 0</inkml:trace>
  <inkml:trace contextRef="#ctx0" brushRef="#br0" timeOffset="64772.1">20538 4344 1172 0,'-5'1'345'15,"5"-1"-40"-15,-6 1-6 0,6-1-43 0,0 0-7 16,0 0-9-16,0 0-25 0,0 0-28 0,0 0-8 0,0 0-10 16,0 0-46-16,21-7 5 15,-11 6 18-15,3-4-26 0,0 3-22 0,2-3 4 16,3 0-10-16,0-1-20 16,3 0 2-16,4-2 3 0,-4 3-5 0,0-2-6 15,-1 1-25-15,1 0 3 0,-3 0-21 0,-1 3-8 0,-1-1-23 16,-4-1 11-16,1 2-29 15,-2 1 3-15,-1-2 3 0,-3 4 7 0,1-4-36 0,-2 3-27 16,1 0-17-16,-7 1-40 0,5-1-5 0,-5 1-62 16,0 0-45-16,0 0-98 0,3-3-484 0,-3 3 67 15,0 0 43-15,0 0 113 0,0 0 38 16</inkml:trace>
  <inkml:trace contextRef="#ctx0" brushRef="#br0" timeOffset="65179.95">20827 4131 767 0,'0'0'292'0,"0"0"-31"0,11-5 52 0,-4 4-14 16,1 1-33-16,0 0-23 0,2-2-25 15,3 1 15-15,2 0-21 0,1 1-27 0,2-1-32 16,-3 0 19-16,3 1-52 0,0 0 26 16,-3 0-21-16,3 1-15 0,-5 0 8 0,4 3 41 15,-6-2-62-15,2 3 8 0,-2 1 18 0,-4 0-28 16,0 4-16-16,-4 1-5 0,-3-1-2 0,0 3-11 15,-3 2-7-15,-4 3-10 0,2 4-11 32,-5-2 3-32,0 0-39 0,-1-1-12 0,-2 0-47 0,3 1-12 0,-3-2-44 0,3 0-35 15,0-2-37-15,2-3-91 0,-7 1-141 0,7-3-528 16,6-1 187-16,-1-4 31 0,0 1 95 16,1-3 145-16</inkml:trace>
  <inkml:trace contextRef="#ctx0" brushRef="#br0" timeOffset="66011.78">21799 3826 877 0,'-3'-1'331'0,"3"1"-32"0,-10 1-28 16,0 5-43-16,2 3 13 0,-4 2-24 0,-1 9-32 15,-5 8-9-15,0 4-17 16,3-1-10-16,-1 2-29 0,1-1-13 0,1 4 19 16,0-3-31-16,0 2 71 0,4-2-38 0,3-9 13 15,2 0-49-15,0-5 8 0,2-1-34 0,2-5 6 16,2 0 0-16,-1-4-8 0,0 2 0 0,3-5 25 15,1 1-35-15,2-4-57 0,-1-2 24 16,3-2 22-16,2-2-9 0,4-4 1 0,-5 1 4 16,7-2-14-16,0-2 21 0,-2 2-2 15,-1 1-26-15,3-2 10 0,-2 1 10 16,-3 2-15-16,-1 4-7 0,3-2 9 0,-3 4 16 0,-2 0 16 16,2 3-24-1,0 0 16-15,-2 3-8 0,0 4-18 0,0-2-8 0,-1 4 18 16,-2 0-40-16,0 2-16 15,-2-1-29-15,2 3-22 0,0 2-28 0,-4-5-6 0,1 0-61 0,-2-1-48 16,0 1-52-16,0-4-77 0,0 3-478 16,-2-2 10-16,2 0 115 0,0-1 42 0,0-2 19 15</inkml:trace>
  <inkml:trace contextRef="#ctx0" brushRef="#br0" timeOffset="66623.36">21858 4175 1238 0,'0'-6'384'0,"3"2"-30"0,-1-1-45 0,-2 5-9 0,5-3 40 0,-5 3-7 16,12 2-72-16,-8 1 39 0,4 3-57 15,-1 1-18-15,1 0-15 0,2 5-26 0,-2 0-5 16,0 1-10-16,-1 2-28 0,1 1-41 0,-1-1 25 15,-1 1-27-15,-1-3-24 16,2 0 23-16,-4-1-28 0,2-3 0 0,-2 1-7 0,1-3-3 16,0 0-70-16,-2-1 34 0,1-1 52 15,-3-3 55-15,0-2-15 0,5 1 3 0,-5-1-36 16,0 0 10-16,5-10-33 0,-3 4-18 0,-2-4 36 16,5 1 0-16,-2-2-29 0,-1 0-7 15,4-1 0-15,-1 0-10 0,-2 0-13 16,1 2-41-16,-1-3-34 0,4 3-12 0,-4-3-15 15,3 2 20-15,-1 2-16 0,-1 2 1 0,-1 0-49 16,3 2 3-16,-2-2-8 0,-1 4 23 0,2 0-13 16,-2 3 31-16,-3 0-19 15,0 0 14-15,13 3 31 0,-9 2-19 0,-3 0 21 0,4 0 36 16,-2 0-33-16,-1 3 12 0,3-4-2 16,-2 2-13-16,-1 2 18 0,3-1 2 0,-2-1 16 0,2 0-10 15,-2-3 20-15,2 2 18 16,2 0-23-16,-1-2 18 15,-1 1 20-15,2-3-5 0,0-1 34 0,-1 0 15 0,-6 0 17 0,13-1 11 16,-8 0 11-16,0-4 22 0,1 1-25 0,-4 1 2 16,3-4 18-16,-4 1-2 0,-1 0-8 15,-1-3 2-15,-2 3-30 0,-1-2-8 0,1 2-2 16,-3 0-19-16,-1-1-12 0,0 2 5 0,1 2-20 16,0-3-6-16,-3 3-20 0,1 2-26 15,0 1-33-15,0 0-51 0,0 1-39 0,0 2-30 16,0 0-28-16,-1 1-80 0,2 1-154 15,-4-3-76-15,7 3-422 0,0-2 73 0,0 0 121 16,4-1 80-16,0-2 30 16</inkml:trace>
  <inkml:trace contextRef="#ctx0" brushRef="#br0" timeOffset="67370.92">22192 4109 796 0,'2'-3'335'15,"2"-2"59"-15,-3 4-23 0,-1 1-38 16,0-6-8-16,0 6-43 0,0 0-39 0,0 0 0 15,0 0-43-15,0 0 2 0,8 7-28 0,-6-2-21 16,1 1-1-16,-1-3-9 0,-1 4-2 16,3-2-36-16,-1 1-8 0,0 1-2 0,-1-1-29 15,4-1 3-15,-2 0-2 0,-1-2 7 16,0 1-15-16,2-2 15 0,0 2-41 0,-2-2 19 16,2-2 17-16,-5 0-18 0,11 0-13 15,-5-1 29-15,-3-1 4 0,5-3-30 0,-1 1 0 16,-1 3 31-1,-2-1-16-15,2-3 11 0,-3 4-29 0,1-3 16 0,0 2 0 0,0 2-23 16,-4 0 22-16,0 0-25 0,10 0-15 0,-10 0 3 16,6 6-9-16,-2-2-17 15,-3 0-18-15,4 1-23 0,-2 1-18 0,-1-3 28 16,4 3-36 0,-2-1 5-16,2 0 1 0,-2-3 1 0,-1 3-1 0,2-3 9 0,1 1 26 0,0-2-17 0,-6-1 17 15,9-1 5-15,-9 1 8 0,12-5 23 16,-6 1 3-16,2 1 7 0,-1-4 13 15,0-3 10-15,-4 1 11 0,5-6-3 0,-3 3 25 16,0-4-17-16,1-2-6 0,-2 0 24 0,-1-1 0 16,2 2-3-1,1 1-13-15,0 0 0 0,-5 3-13 0,4 2 8 0,-3 2 21 0,-1 2-47 16,-1 2 6-16,2 3 15 0,-2 2 2 16,0 0-22-16,0 0 33 0,4 13-21 0,-3-5-10 15,-2 5 15-15,1 0 1 0,-1 5-6 0,1 1 23 16,-5 5-30-16,5-3-29 15,0 2 21-15,-1 3-105 0,1 0-2 0,-2 2 25 16,0 1-18-16,2-2-5 0,-3 0 25 0,3-3-7 16,0-6 3-16,-1 2 38 0,1-3-21 0,-2-3 21 15,0 0 5-15,2-3 18 0,0 1 35 0,0-5 1 16,-2 0 10 0,4-3 20-16,-2-1 1 0,0-3 27 0,5 3-48 0,-5-3 34 0,0 0 30 15,8-16-47-15,-1 4 27 0,-2-1-34 16,6-2-7-16,-1-4-9 0,3 0 32 0,-1 1-11 15,1 1-35-15,-3 3-14 0,1 1 32 16,-1 2-26-16,-2 4 20 0,0-3-18 0,0 4 49 0,-2 3-33 16,-2-1-13-16,1 2 8 0,0 2 25 15,-5 0-21-15,0 0-7 0,5 6 39 16,-5-6 27-16,0 6-14 0,-2 0 2 0,-1-3-54 16,-2 4-18-16,0-2-33 0,1 1-6 15,-4 1-63-15,0-1 25 0,2 0-76 0,-2-2-26 16,1-2-41-16,-3 2-46 0,4-3-36 0,0-1-92 15,-6 0-187-15,8-1-461 0,-2-3 116 0,3 1 78 16,-2-2 119-16,3-1 69 0,4 1 63 16</inkml:trace>
  <inkml:trace contextRef="#ctx0" brushRef="#br0" timeOffset="68401.75">22733 4256 1110 0,'2'-12'297'0,"3"8"-28"0,-2-3 18 0,2-1-18 0,0 2 63 16,-2-3-32-16,4 1-16 0,-2-3-18 15,1 1 36-15,-4-1-61 0,2 1-75 0,-3 1-17 16,-1-1-1-16,3 1 1 0,-3 0 4 0,-3 1 8 15,3 1 13-15,-1 2-25 16,-3-2-19-16,2 5-4 0,-1 1 10 0,3 1-19 0,0 0-30 16,-16 8-25-16,9-1 27 0,-1 0-30 0,3 3-10 15,1 0 12-15,-4 1-12 0,2 1-13 16,4 0-18-16,-1-1-21 0,0 1-5 0,1-3-33 16,2 2-51-16,0-3-2 0,2 0-45 15,3 1-19-15,-2-2-11 0,3-2-16 0,2 1-12 31,0-3-18-31,1-3-43 0,1 0-21 0,4 0 0 0,0-2 95 0,2-2-3 16,4-2-69-16,-2-1 46 0,-2 1 28 0,6-3 28 16,-2-2 9-16,-3-1 50 0,1-1 33 0,-4 5 21 0,-3-4 49 15,3 1 28-15,-5-1 20 0,0 4 31 16,-3 1 3-16,-3-2-3 0,2 2 10 0,-2 4 8 16,-3-1-18-16,0 4 10 0,0 0-17 0,0 0-14 15,0 0 3-15,0 0-12 16,-15 11-11-16,9-4 0 0,1 1-8 0,-2 2-4 0,4 0 1 15,-3-1-24-15,2 0 12 16,0 1-26-16,2-2-28 0,0 2 21 0,2-4-13 16,2 1-15-16,1-1 22 0,2-3-2 0,-2 2-5 15,5-1 13-15,-1-4 3 0,3-2-6 0,-2-1 13 16,6-2 30-16,-2-3 14 0,3-2-13 16,-2-4 33-16,2 0 2 0,-2-7 14 0,4-8-27 15,-2-3 39-15,-3-5 19 0,-2 0 1 0,0-4-20 16,-2 1 13-16,0 2-15 15,-3 0 22-15,2 8 40 0,-6 10 14 0,1 2-33 0,-2 3-2 16,0 2-27-16,0 4 17 0,-2 4-32 16,0 3 27-16,2 2-45 0,0 0 88 0,-15 14 7 0,5-1-53 15,0 6-11-15,-2 12 47 0,-1 4-42 16,3-2-17-16,0 3-16 0,2-3-10 16,5-3-28-16,0-6 23 0,3-3-23 0,2 0-41 15,-1 1-29-15,4-3-17 0,1-1-31 16,1 0-2-16,-1-3-29 0,3 1-58 0,-1-3-11 15,0-5 5-15,-1 1-12 16,3-1-52 0,-2-6-17-16,1 2-98 0,1-4-95 0,0 1-460 0,0-1 84 0,1-3 18 0,-1 1 170 0,2 1 27 15,1 0 56-15</inkml:trace>
  <inkml:trace contextRef="#ctx0" brushRef="#br0" timeOffset="69212.16">23658 3775 1118 0,'0'-12'410'0,"3"2"-37"0,0 1-14 15,-2 3-83-15,-1-1-2 0,1 2-41 0,-1 0-18 16,0 3-15-16,0 2-29 0,0 0-15 0,0 0 13 16,0 0-18-16,-8 12-36 0,7 0 77 0,-6 3-30 15,2 2-4-15,0 5 1 16,-2 12-46-1,-1 3-13-15,2-2-19 0,2 2-32 0,-2-5-36 0,4-4-34 0,0-2-7 0,2-2-5 16,1-2-21-16,-1 0-2 16,1-2 2-16,4-1 0 0,-5-3-10 0,5 0 13 15,-3-5-8-15,3 1 8 0,-2-4 15 0,1 2 11 16,-2-6 4-16,2 1 8 0,-1-4 11 0,0 2 12 16,-3-3 23-16,0 0-10 0,0 0 0 0,5-11 11 15,-6 6 19-15,-1-1-9 0,0 0-8 16,-1-1 18-16,0 1-6 0,-1-1 14 0,-2 1-14 0,1 0 9 15,-2 3-11-15,-2-1 2 16,2 4-22-16,-2 0 15 0,-3 2 0 0,2 1-18 16,0 2 2-16,-3 2 22 0,3-1-19 15,-2 2 5-15,-2 3-10 0,4-2-20 0,3 1-6 0,-1-1-33 16,2 2-25-16,2-4-11 0,2 3-35 0,2-4-24 16,0 1-38-16,2-2-59 15,2 0-33-15,2-2-77 0,1-1-97 0,4 1-425 16,1-3 77-16,1 0 87 0,5-4 48 0,1 2 103 0</inkml:trace>
  <inkml:trace contextRef="#ctx0" brushRef="#br0" timeOffset="69679.37">23835 4170 982 0,'-8'0'269'0,"8"0"-13"0,0 0-102 15,-15 5-34-15,10-4 3 0,0 2 13 0,-1 0-21 16,0 2-26-16,-1-3 16 0,0 3-48 0,3-1 9 15,-2 0-4-15,1 0-19 0,2 0-2 16,0 0 0-16,1 1-15 0,-1-3 17 16,3 2-4-16,0-4-14 0,3 7-15 0,-3-7-25 0,5 5 7 15,-2-2 1-15,2 0-4 0,1-2 17 16,0 0-37-16,0 1 8 0,1-2 5 0,0 3-8 16,1-3 24-16,0 0-16 0,0 0 28 15,-8 0-10-15,17 0-3 0,-9-4 37 0,2 2-9 16,-2-2 39-16,1 1 3 0,1-2-24 15,-2-2 42-15,2 1 27 0,0-1 78 0,0-3-3 16,-5 2-3-16,5-5-2 0,0 0-54 0,1-6 7 16,-3-2 11-16,2 1-20 0,-2-3 17 15,-1 0-7-15,0-5 94 0,-3 3-46 0,1-1 31 16,0 0-25-16,-1 3 4 0,-1 3 27 0,1 1-19 16,-2 5-5-16,0 2 20 15,-2 0-150-15,0 1 12 0,3 3 6 0,-3 2-37 16,-3 5 14-16,3 1-26 0,0 0-6 0,-10 10 9 0,5-1-21 15,-1 3-3-15,-1 7 36 0,0 2-69 16,1 2-15-16,1-1-5 0,-2 3-44 16,6-3-15-16,-1-3-21 15,-1 2-54-15,6-3-12 0,-2-1-28 0,1 1-24 0,0-4-28 0,0 0-15 16,3-2-97-16,0 1-3 0,-1-2-542 16,2-3 81-16,1 2 67 0,-3-4 92 0,3 0 64 15,-1-3 93-15</inkml:trace>
  <inkml:trace contextRef="#ctx0" brushRef="#br0" timeOffset="70105.18">23984 4123 1005 0,'0'0'315'0,"-3"-4"-59"0,0 1-2 16,3 3-37-16,0-3 85 0,0 3-51 15,6-7-20-15,-2 4-22 0,2 0-27 0,4-3-15 16,-2-1-6-16,5 2-10 0,-1-5-36 0,4 2-10 15,-1 0 0-15,1-1-3 0,5 0-25 16,-1-4-5-16,-5 6 22 0,2-3-17 0,-1 2-5 16,-1-1 15-16,-4 5 15 0,-1-2-15 0,0 0 6 15,-2 1-76-15,-2 3 14 0,0-1 33 16,-5 2-20-16,-1 1 7 0,0 0-5 0,0 0-3 16,0 9-7-16,-3-5 15 0,-1 3 1 15,0 0-22-15,-1 3-19 0,-2-1 1 0,2 1 4 16,0 1 2-16,0-2-8 0,1 1-8 15,2-3-17-15,-2 1 0 0,4-1-13 0,0-2 2 16,0 2 18-16,0-4-4 0,2 0-22 0,3 1 19 16,-5-4 2-1,10 0 8-15,-3 0-3 0,0-4 13 0,-1 4 6 0,0 0-24 0,4-3 21 16,-5 3 2-16,3 0-18 16,0 0 26-16,-2 1-13 0,0 1-15 0,0 1 38 0,2 0-61 15,-1 1 7-15,1-1-48 0,-1 1-59 0,-2 2-41 16,3-1-36-16,-2-1-72 0,1 1-150 15,-2-1-477-15,0 3 136 0,2-4 26 0,-6 2 168 16,4-1 29-16</inkml:trace>
  <inkml:trace contextRef="#ctx0" brushRef="#br0" timeOffset="70474.13">22381 4934 1044 0,'-8'1'430'0,"3"-2"-62"0,5 1-27 0,0 0-42 16,20-15-17-16,-1 5 12 0,17-2-63 0,2-4-3 15,14-2 10 1,3-4-31-16,7 0-74 0,5 0-2 0,4 1-24 0,5-3-5 0,0 3 1 16,6-1-21-16,-2 0-5 0,2 4 7 15,-1-4-25-15,-1 5 0 0,-1 0 0 16,-1 3-8-16,-6-2-8 0,-3 2-30 0,-5 3 8 16,-14 3-52-16,-8-2-36 0,-1 4-15 0,-13 3-56 0,-6-1-13 15,-7 3-31-15,-4 0-81 0,-4 2-32 16,-6 0-552-1,-3 4 49-15,-8 0 86 0,-8 2 57 0,-8 1 112 0</inkml:trace>
  <inkml:trace contextRef="#ctx0" brushRef="#br0" timeOffset="70743.28">22273 4963 796 0,'-25'6'307'0,"4"-4"-51"0,9 2-11 0,4-4-12 16,5 0 46-16,3 0 21 0,0 0-118 0,31-11 2 0,10-1-31 15,23-5 9-15,9 1-4 0,6-2-14 16,7-2-3-16,28-5 7 0,3 2-25 16,-1 3-18-16,-4-3 0 0,-22 8-3 0,23-8-33 15,-26 9 8-15,0 0 5 0,-5-1-8 16,-4 1 3-16,-4 1-18 0,-8 0-23 0,-6 2 0 16,-17 3-8-16,-3 1-10 0,-11 2-49 15,-3-1-25-15,-6 2 4 0,-5 1-35 0,-1-1 0 16,-1 2-2-16,-1-2-67 0,0 2-44 0,-4 1-110 15,-5 0-71-15,4-2-423 0,-1 2 77 0,-3-4 110 16,2 3-5-16</inkml:trace>
</inkml:ink>
</file>

<file path=ppt/ink/ink10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6:24.907"/>
    </inkml:context>
    <inkml:brush xml:id="br0">
      <inkml:brushProperty name="width" value="0.05292" units="cm"/>
      <inkml:brushProperty name="height" value="0.05292" units="cm"/>
      <inkml:brushProperty name="color" value="#FF0000"/>
    </inkml:brush>
  </inkml:definitions>
  <inkml:trace contextRef="#ctx0" brushRef="#br0">1226 7051 1351 0,'0'0'453'0,"0"0"-43"16,31 5-47-16,-7-3-22 0,6-1-34 16,16 3-18-16,3-4-41 0,2 1-25 0,3-1-13 15,2 3-18-15,1-6-41 0,2 3 0 0,0-1-36 16,2 0 8-16,12-5-26 0,-2 1-2 16,-14 3-18-16,-1-4-34 0,-2 1-22 0,-3-1-32 15,-2 3-32-15,-1-5-16 0,-4 5-28 0,-3-3-102 16,-11 1-24-16,-4 1-22 0,-5-3-170 15,-6 5-468-15,-2 1 75 0,-2-3 78 0,-4 3 68 16,-2 0 58-16</inkml:trace>
  <inkml:trace contextRef="#ctx0" brushRef="#br0" timeOffset="355.32">919 7315 1082 0,'0'4'389'0,"7"1"-28"0,7-3-15 0,1 1-21 15,7 0-33-15,23-1-100 0,8 1-5 0,22-1 2 16,7 0-28-16,3-1-10 0,2-1-2 16,0-3-9-16,-1 1 1 15,-3-3-5-15,4 2-3 0,-5 0-33 0,0-1-8 0,-8 0 18 0,-2-1-43 16,-13 5-3-16,-5-6 81 0,0 5-14 15,-5 0-23-15,0-4-9 0,-11 4-12 16,-5 0-25-16,-2-1 4 0,-10 0-53 0,-1 2-23 16,-4 0 0-16,1 0-36 0,-6 0-16 0,-1 0 6 15,-3 0-44-15,-1 0-51 0,-6 0-56 16,4 2-116-16,-4-2-189 0,-2 4-391 0,2-4 50 16,-10 4 129-16,5-2 74 0,-6-1 66 15</inkml:trace>
  <inkml:trace contextRef="#ctx0" brushRef="#br0" timeOffset="13567.72">15546 7348 980 0,'0'0'248'16,"0"0"-25"-16,0 0-18 0,0 0-3 0,0 0-8 0,0 0-17 15,-10-6-8-15,10 6 20 0,0 0 34 16,0 0-18-16,-1-4-8 0,1 4-31 0,0 0-12 16,0-4 7-16,0 4-7 0,0 0-16 0,1-7 8 15,-1 7-16-15,-1-3-14 16,1 3-9-16,1-5-86 0,-1 0 20 0,2 2-16 0,-2 3 8 16,5-7 8-16,-4 3 8 0,1-1-8 15,3 2-3-15,-2-1-12 0,1-1-6 0,0-2 75 16,3 4-3-16,-2-3-5 0,0 1 3 15,1-1-6-15,1 1-22 0,1 0-11 0,-3-1 5 16,3 4-2-16,-1-4-10 0,4 3 9 0,-4-1-14 16,1-1-11-16,2 3 33 0,-2-2-40 15,2 3 20-15,-2-2-23 0,2 1-11 16,-2 0 39-16,2 2-12 0,0-1-22 0,-2 1 11 0,2 0-2 16,0 0-1-16,0 0-7 0,1 0 5 15,-1 1-23-15,0-1 23 0,1 2-8 0,-1 0-5 16,-2 0-7-16,2-1 12 0,0 0-13 15,-2 3 32-15,2-3-40 0,-2 1 16 0,0 2-2 16,-1-2-18-16,1 1 38 0,0-1-26 16,0 2-2-16,-1-2 28 0,0 2-31 0,1-2 14 15,0 3 9-15,0-3-10 0,-3 3-5 0,3-2 23 16,0 1-28-16,-1 1 0 0,0-3 0 16,1 4 15-16,0-2-15 0,-3-1 0 15,3 2 12-15,0 1 6 0,-1-4-28 0,1 3 46 0,-1 1-47 16,2-2 16-16,-2-2 0 0,3 3 10 0,-2-2-17 15,-1 0 27 1,2 2-12-16,1-2 0 0,-2-1 4 0,2 2-22 0,-3-3 10 0,4 3 10 16,-4-2 3-16,1-2 0 0,2 4-5 15,-2-2-1-15,2-2 1 0,-2 1-5 16,2 2-19-16,-2-3 19 0,-1 1-1 0,3 1-14 16,-2-2 6-16,0 2-1 0,0-2 2 15,2 0 10-15,-5 1-26 0,3-2 29 0,0 1-21 0,2-2-7 16,0 0 17-16,-2 2-10 0,2-1 13 15,0-3 3-15,-2 2-11 0,2-2 0 0,-2 1 8 16,2-1 16-16,0 0-16 0,-2 1 13 0,0-2-8 16,-1 1 10-16,1 0-30 15,0-1 28-15,-3 0-8 0,0 2-16 0,0-2 24 0,2 1-8 16,-3 2 21-16,-2-3-3 0,1 4 13 0,-1-2-11 16,1-1 4-16,0 0-1 0,-3 4 8 15,2-4-6-15,-2 4-27 0,0-5 20 16,0 5 5-16,0-4-2 0,0 4-6 0,0 0 16 15,-2-7 0-15,2 7-21 0,0 0 16 0,-1-3-11 16,1 3-2-16,0 0 8 0,0 0-8 16,0 0-11-16,0 0 9 0,0 0 2 0,0 0 18 15,0 0-1-15,0 0-24 0,0 0-4 0,0 0 9 16,0 0-16-16,5 13 20 0,0-10-2 16,0-3 8-16,1 4-8 0,2-2-6 0,2-1 11 15,0 2 0-15,3-2-17 0,-1 3 14 0,2-2-10 16,1-1 11-16,0 0-37 0,-2-1 37 15,-1 0 2-15,1 0-33 0,1 0 20 16,-2 0-8-16,1 0-19 0,0 0 19 0,0-1 3 16,0 0 21-16,-1 0-31 0,2-2 12 0,0 1 14 15,-1 1-24-15,1-3-61 0,-2 3-7 0,1-4 19 16,0 3-1-16,0-2 35 0,2 3-10 16,-2-3 10-16,2 2-3 0,0-3 3 0,-2 4 3 15,-2-4 18-15,6 3-16 0,-4-2 5 0,0 2 11 16,3-4-3-16,-1 5-18 0,0-4 25 15,1 3-7-15,5-3 5 0,-4 4-5 0,4-4 8 16,-1 2 2-16,1-1-4 0,2-1-9 16,0 3-2-16,0-2 20 0,0 2-7 0,0-2-8 15,0 3 13-15,0 1-6 0,-5 0 4 0,0-1-4 16,0 1 9-16,0 1-1 31,-3-1-15-31,1 1 13 0,-1 2-6 0,-2 0 14 0,-3-3-1 0,1 4 3 0,-1-2-7 0,0 2 4 0,-2-3 3 16,2 3 0-16,-2-1-7 0,-3-2-1 15,3 4 0-15,-1-5-15 0,-2 5 6 16,1-4 6-16,-2 1-17 0,2 2 8 0,-2-3-42 0,-4-1-22 16,6 4-39-16,-6-4-20 0,5 2-26 0,-5-2-28 15,6 0-56-15,-6 0-73 0,0 0-155 16,2 1-61-16,-2-1-464 0,0 0 84 0,0 0 73 16,0 0 114-16,0 0 77 0,0 0 34 15</inkml:trace>
  <inkml:trace contextRef="#ctx0" brushRef="#br0" timeOffset="14549.79">16348 6695 1092 0,'-2'-3'361'0,"0"-2"-2"0,1 1-60 15,-4 1-4-15,2-1-32 0,-1 3-22 16,-4 1 38-16,8 0-21 0,-13 1-14 15,6 3-19-15,-1 0-28 0,-3 4-3 0,3-2-22 16,-2 3-8-16,0 2-21 0,2-3-17 0,1 3-19 16,-1-3-7-16,0 5-8 0,3-2-15 0,0-3 10 15,0 2-21-15,2-1-12 0,1 1-8 16,2-2 13-16,0-2-33 16,0 0 7-16,5 1-10 0,-2-3 5 0,1-2-7 0,2 3-3 0,-1-4 5 15,3-1-21-15,-8 0 26 0,12-1-12 16,-4 0 20-16,0-4-6 0,0 0 11 0,-1-1-5 15,0 2 25-15,-1-5-20 0,2 0 21 16,-3 0 7-16,0-1-3 0,0 0-17 0,0 1 36 16,-2 0-9-16,1 2-4 0,0 1 2 0,-2-1-5 15,0 1-5-15,-1 4-30 16,-1-2 30-16,0 4-26 0,0 0-5 0,0 0-12 0,0 0 17 16,0 0-10-16,0 19 11 0,-1-12-14 15,-1 3-4-15,0-1-16 0,-1 2 10 0,0 1-20 16,3 0-20-16,-2-3-19 0,2 2-22 0,-3-1-34 15,3-1-26-15,0 2-27 0,3-3-6 16,-3 2-51-16,2-3-54 0,0 1-127 0,-2-2-198 16,4 0-399-16,1-1 77 0,0-3 99 0,0 1 167 15,0-1 8-15,2-2 69 0</inkml:trace>
  <inkml:trace contextRef="#ctx0" brushRef="#br0" timeOffset="15086.23">16595 6471 790 0,'0'0'338'0,"0"0"-28"0,-8 10-51 0,5-5-9 16,1 3 32-16,-3 0-3 0,2 3-31 16,-3 1-20-16,2 0-44 0,-2 1 1 0,1 2-55 15,-2 1 34-15,4-2-56 0,-4-1 7 16,2-1 5-16,-1 1-23 0,4-1-28 0,-1-1 16 16,-2-3-19-16,0 2 11 0,5-4-8 0,-3 2 24 15,-1-2-12-15,4-1 45 0,-1-2-8 16,-2 2-16-16,3-5 13 0,0 4-20 0,0-4 0 15,0 0-75-15,0 0 8 0,0 0-12 0,0 0 4 16,16-4-5-16,-11 2 3 0,0 0 8 16,-5 2 2-16,13-1-2 0,-5 1-3 0,0 1-5 15,2 1 10-15,-2 0-10 0,-1 2-8 16,3-3 18-16,-4 5-7 0,2-3 30 0,-1 2-8 16,-2 0 1-16,0 1-13 0,-2-1 48 0,-1 1-38 15,0 1 23-15,-2-3 0 0,-2 4 0 16,0-2-16-16,-4-1 83 0,2 0 5 0,-4 1-47 15,-2 0 3-15,1 0-2 0,-3-1-18 0,2 0-6 16,0-3-27-16,2 0-39 0,-2 3-21 0,-1-5 1 16,3 0-32-16,1 3-27 15,0-3-34-15,-1 0-32 0,8 0-17 0,-11-3-32 16,6 3-49-16,0-3-77 0,5 3-80 0,-8-3-173 16,8 2-397-16,0 1 110 0,0 0 69 15,6-8 97-15,-1 4 34 0</inkml:trace>
  <inkml:trace contextRef="#ctx0" brushRef="#br0" timeOffset="15448.94">16751 6642 1026 0,'-7'0'422'0,"-1"2"-40"0,2-2-27 0,1 1-35 0,-3 3-46 0,4-2-23 15,-2-2-31-15,2 4-7 0,4-4-11 16,-6 6-23-16,6-4-25 0,0-2 2 16,0 7-54-16,2-2 13 0,1 0-12 0,-2-2-16 15,3 2 5-15,2 1-18 0,-2 0 3 16,-1 0 10-16,2-1-5 0,0 2-28 0,1-1 17 16,-1-3 6-16,0 2-23 0,0 1 48 0,-2-2-94 15,-1-1 20-15,0 3 31 0,1-2 31 16,-6 0-44-16,3 1 20 0,-2 0-27 0,-1 0 9 15,-4 1-9-15,2-3 4 0,-3 1-7 0,-2 3-15 16,0-2-14-16,0-2-32 0,-1 1 9 16,1-1-38-16,-3 1-22 0,5 0-6 0,-2-1-31 15,2-3-33-15,0 3-2 0,0-1-57 16,1-1-125-16,7-1-113 0,-7 0-151 0,7 0-279 16,0 0 169-16,0 0-7 0,0 0 89 0,0 0 77 15</inkml:trace>
  <inkml:trace contextRef="#ctx0" brushRef="#br0" timeOffset="16830.99">16838 6694 1036 0,'0'0'425'0,"0"0"-46"0,0 0-28 0,-15 6-34 0,12-1-33 15,0-3-10-15,1 3-51 0,0 2-3 0,-1 0-33 16,0-1-31-16,1 1-18 0,2-1-23 15,-2 5-10-15,2-4-18 0,0 0-13 0,0 0-17 16,0-1-3-16,4 3-29 0,-1-5-10 0,2 2 11 16,0-2-16-16,3 1-10 0,0-3 18 15,0 0-10-15,2 0-11 0,0-2 3 16,-2-2 8-16,-1 1 15 0,3 0-8 0,-2-3 19 0,0 1 12 16,-3-2-5-16,2-2 2 0,-4 1 6 15,0 0 0-15,-1-2 2 0,-2-2-69 0,0 2-8 16,-2 1 13-16,-1-3 6 0,0 3-11 15,1 1 25-15,-3-1-30 16,2 0 18-16,-1 2 28 0,-2 0-35 0,3 3-4 0,-4 0 26 16,4 0-22-16,3 2 9 0,-10 0 1 0,10 0 2 15,-12 3-16-15,8-1-12 0,0 2 13 16,1-2-8-16,0 2 5 0,1-2-10 0,0 3-1 16,2-5 6-16,2 7 5 0,0-6-15 0,3 2-5 15,-2-1 10-15,5-2 12 0,-3 1-25 0,3-1 13 16,2-1 15-16,0 0 6 0,0-2 9 0,0 1 16 15,1-3 3-15,2 0 22 16,-3-2 1-16,1 1 20 0,-1 0-6 0,0-1 19 16,-3-1 8-1,1 2 7-15,0-4 21 0,0 1 55 0,-1-1-22 0,-2 0 8 0,0 0-13 16,0 2 15-16,-2-1-36 0,2 1 8 0,-2 2-64 16,-1 0-2-16,1 1-11 0,-3 1 3 0,0 0-11 15,0 4 11-15,0 0-26 0,0 0 10 0,0 0-7 16,0 0-13-16,0 0 10 0,-13 12-2 15,8-5-16-15,0 3 16 0,0-1-29 0,2 2-2 16,-4 1-3-16,4-3-12 0,-2 2-1 0,3 2-2 16,1-3 10-16,-2-1-15 15,3 0 0-15,0 0 15 0,4 1-15 0,-2-2 0 0,3-1 10 16,0 0-5-16,0-1-3 0,0 0 14 16,3-1-1-16,0 0 5 0,-1-3-17 15,1-1 19-15,0 3-6 0,-3-3-6 0,5-1 20 16,-10 0 1-16,13-2-1 0,-6-1 19 0,-1 2 4 15,2-3 14-15,-4 1-16 0,2-1 10 0,-1 2-12 16,0-3 9-16,-2 5 1 0,2-5 13 0,-2 3-19 16,-3 2 3-16,4-6-10 0,-1 5 5 15,-3 1-15-15,5-5 18 0,-5 5-8 0,2 0-31 16,-2 0 20-16,0 0 9 16,0 0-3-16,0 0-11 0,0 0 8 0,0 0-2 0,0 0-8 15,6-1-5-15,-6 1-3 0,0 0 8 16,0 0-20-16,0 0 20 0,0 0-5 0,0 0-6 15,0 0 14-15,10 1 7 0,-10-1-10 0,5-1 3 16,0-3-1-16,-5 4 9 0,8-2-17 0,-3-2 29 16,0 1-25-16,-2 2 10 0,2-3 15 15,-2 3-16-15,1-3 27 0,-1 1-11 0,0 0 5 16,-3 3-3-16,5-2-9 0,-5 2 7 16,2-5 10-16,-2 5-18 0,0 0 1 0,6 0 2 15,-6 0 5-15,0 0-18 0,0 0 3 16,0 0 2-16,-3 10-5 0,3-10-3 0,0 8 1 15,0-4-11-15,-3-1-7 0,3 2-13 0,0 1 7 0,0-2-9 16,3-1-16-16,-3 3 5 16,3-4 10-16,-1 3-2 0,3 0-13 0,-2-3-13 15,2 2 10-15,0-2 36 0,3 1-25 0,-3-2 2 16,2 0 10-16,1-1 1 0,0-2 4 0,2 0 1 16,-2-1 4-16,-1 2 1 0,3-4 13 15,-1 0 9-15,-2 0 19 0,1 1-8 0,-1-5 33 16,1 2-13-16,-2-1 16 0,1-3-16 15,-4 2 1-15,2-3 2 0,0-4 7 0,-2-2-35 0,1 0 26 16,2-1 7 0,-4 0-13-16,3 0 16 0,-2 1-11 0,2 1 0 0,-5 1-12 0,3 0 10 15,-1 2-5-15,0 2-29 0,-1 3 21 16,1-1 13-16,-2 2-10 0,3 2-1 0,-3 0 3 16,0 2-10-16,0 4-2 0,-5-3 12 15,5 3 0-15,0 0-10 0,-5 10-10 0,2-2-1 16,-2 0 11-16,2 3 10 0,-2 2 64 0,1 1-7 15,0 4-11-15,0-1-30 0,1 0-32 16,0 0-4-16,1 0-16 16,1 2-61-16,-1-3 5 0,2-2-28 0,0-1-10 0,2 0-8 15,-1 0 5-15,-1 0 0 0,5-2 23 0,-3-4-8 16,1 3 11-16,3-4-3 0,-2-2 16 0,2 1 25 16,-2-2 2-16,2-3 1 0,1 1 5 0,-7-1 20 15,13-4 23-15,-5 2-18 0,-1-3 8 16,-1 3 21-16,2-2-11 0,-4 2 5 15,2-2 29-15,-1 4-29 0,0 0 8 0,-5 0-18 16,10 0 24-16,-10 0-4 0,8 4-9 0,-5-1-4 16,1 1-9-16,-1-1-11 0,0 1-17 0,1-3-14 15,-1 4-38-15,0-2-33 0,2 0-53 16,0-1-12-16,-5-2-57 0,8 1-58 0,-8-1-127 0,10-1-584 16,-7 0 70-16,1 0 104 15,-4 1 59-15,6-7 133 0,-4 3 64 0</inkml:trace>
  <inkml:trace contextRef="#ctx0" brushRef="#br0" timeOffset="17070.82">17223 6577 1013 0,'0'0'405'0,"0"0"-37"0,0 0-22 0,0 0-1 15,30 0-50-15,-19 2-47 0,1-2-15 0,4-3-3 16,-1 3-30-16,3 0-29 0,2-1 14 16,-4-3-9-16,7 3-61 0,-2 0-45 0,-1-1-24 15,0 0-51-15,-4 1-26 0,2 1-66 0,0 0-147 16,-2-2-114-16,-1 3-499 0,0 1 96 16,0 1 22-16,-4-2 134 0,2 1 63 15</inkml:trace>
  <inkml:trace contextRef="#ctx0" brushRef="#br0" timeOffset="18017.77">18743 6419 1292 0,'-2'-6'486'0,"2"6"-30"0,0 0-59 0,0 0-31 16,-6 12-118-16,4-6-25 0,-1 3-16 15,2 3-33-15,-3 4 3 0,2-1-29 16,-1 4-12-16,-2-1-36 0,3 5-31 0,-1-4-15 0,0 0-26 15,1 0-23-15,1 0 21 0,-1-5-29 32,2 3-15-32,2-4 18 0,-4-1-10 0,4-1-26 0,-2-2 39 0,1 1-26 0,-2-3 2 15,2-1 24-15,-1-3 2 0,0 2-3 0,0-5 6 16,0 4-8-16,0-4 23 0,0 0 0 16,0 0 10-16,0 0-10 15,0 0-5-15,-9-13 0 0,2 7 23 0,4 0-10 0,-1-1-6 16,-2 3 19-16,2-3-3 0,-2 1 2 0,1 2 6 0,-2 2-16 15,1 0 1-15,-1-1 1 16,1 3-14-16,-2 3 22 0,1-1-9 0,-1 0-11 16,-2 4 5-16,0 0-5 0,4 1-5 0,-1 3 8 15,0-4-11-15,1 1-13 0,4 0 14 16,-1-1-1-16,0 2-7 0,6 0-3 0,-3-5 3 16,3 4-6-16,3-2-22 15,-2 1 15-15,4-5-24 0,-1 2-40 0,3-1-20 0,1 0-24 16,-1-2-23-16,0 0-63 0,3-1-157 0,0 0-430 15,3-3-74-15,-2 2 113 0,-1-3 61 0,5-1 53 32,-5 0 81-32</inkml:trace>
  <inkml:trace contextRef="#ctx0" brushRef="#br0" timeOffset="18212.25">18917 6632 1274 0,'0'0'466'0,"0"0"-28"0,-15 6-41 15,12-1-31-15,1-2-36 0,1 2-18 16,1 0-51-16,-4 2-30 0,4-2-32 16,-3 2-55-16,1-1-27 0,4 2-48 0,-2-1-38 0,0 0-85 15,0 1-15-15,0-1-82 0,0 0-141 0,0-2-268 16,3 1-280-16,-3-3 49 0,0 3 105 16,4-6 87-16,-3 5 49 0</inkml:trace>
  <inkml:trace contextRef="#ctx0" brushRef="#br0" timeOffset="18393.47">18984 6561 1277 0,'-2'-5'384'15,"-1"1"-49"-15,3 4-33 0,-1-7-54 0,1 6-58 0,0 1-29 16,0 0-61-16,0 0-64 0,0 0-87 0,0 0-170 15,6 0-552-15,-6 0 36 0,0 0 131 16,13 5 86-16</inkml:trace>
  <inkml:trace contextRef="#ctx0" brushRef="#br0" timeOffset="19425.49">19251 6413 1448 0,'-6'-6'476'0,"1"-1"-35"0,2 1-37 16,-1 3-35-16,1 0-42 0,2 2-22 0,1 1-47 0,0 0-30 16,0 0 0-16,-16 6-28 15,12-3-19-15,0 6 58 0,-2 0-19 0,4 3-33 0,1 1-24 16,-3 6-4-16,1 1-16 0,1 6-12 0,-1 1 2 16,1 3-15-16,-2 8-29 0,-2 0 1 15,0 1 7-15,3-1-28 0,-4-1-33 16,-1-1-3-16,3-9-43 0,-5 8-26 0,0-10-33 15,0-4 10-15,2 1-17 0,-3-2 17 0,-1-3-18 16,2-3-2-16,0-1 22 0,-1-1-20 16,3-5-4-16,0 0 11 0,2-2 9 0,-3-2-11 15,4-1-2-15,-1-2 20 0,6 0-20 0,-7-5 41 16,7 5-23-16,-3-6 15 0,6 1-8 16,-3 0-10-16,3-2 0 0,1 1 8 0,2-2-21 15,2 0 11-15,-1-2-6 0,1-1-9 16,5 1 22-16,-1-5 0 0,1 0-2 0,3 1 10 15,1-2 2-15,-1-3 8 0,5-4 21 16,1 1-8-16,-1-3 15 0,-1 0 26 0,1-1 3 16,-3-3-6-16,0 2 36 0,0-2 18 0,0 2 31 15,-5 3-23-15,-3 5 25 0,2-1-2 16,-3 4 15-16,-2 2-2 0,1 1 5 0,-3 1 12 16,1 2-17-16,-2 1 12 0,2 2-30 0,-2 0 2 15,-3 3 1-15,4-1-19 0,-1 4 23 0,-4 1-20 16,0 0 3-16,0 0-1 0,8 12-15 0,-7-5 3 15,1 3-100-15,0 3 33 16,-2 2-3-16,0-2 4 0,3 4 4 0,-3 2-20 16,-3 1 10-16,1 3-13 0,0 1 23 0,-1-1-20 15,-2 1 17-15,0 0-35 0,-1-1-13 16,-1-2-7-16,0-2-9 0,1-2-9 16,-2-3 20-16,1 2-13 0,-1-3-10 0,2-1 28 0,-1-4-10 15,2 3-1-15,0-4-12 0,-2-1 13 0,3 0-3 16,0-4 6-16,-2 4 17 0,4-5-30 15,2-1 20-15,-3 4-16 0,3-4 9 0,0 0 7 16,0 0-18-16,0 0 10 0,0 0 1 16,0 0 32-16,0 0-37 0,11-12 4 0,-7 7 3 15,2 0-13-15,-1 1 23 0,2-2-10 0,1 0 0 16,0-3 13-16,2 2-11 0,0-2 16 16,-1-1 5-16,1 1 13 0,0-1-16 0,-3-4 6 15,3 2 2-15,1 1 20 0,-1-2-9 0,-2 1 12 16,-1 2 13-16,-1 0 0 31,-1-2 15-31,0 3-5 0,-2 0 8 0,-3 1 2 0,2 2 1 0,0-1 17 0,1 2-5 0,-3-2-10 0,1 2-13 16,-2 0 8-16,1 5 10 0,-3-3-2 15,3 3-14-15,0-6-19 0,0 6 1 0,0 0 4 16,0 0-3-16,0 0 2 0,0 0-12 0,0 0 17 16,0 0-17-16,0 0 22 0,0 0-17 0,4 14 15 15,-4-10-15 1,4 0-1-16,-1 2-14 0,2-1 4 0,0 2-2 15,-2 0-5-15,2 1-18 0,0-2 10 0,0 2 2 0,1-3-2 16,-2 2-5-16,2-1-5 0,-2 0 18 0,-1 0 5 16,2-3-11-16,-2 3 14 0,-1-2 15 15,1-2 12-15,-1 2 3 0,-1-1 29 0,1 0 12 16,-2-3 3-16,0 0 2 0,3 2-8 0,-3-2 14 16,0 0-21-16,0 0 51 0,0 0-49 0,7-8-15 15,-7 3 13-15,4 0-13 0,-2-1-10 16,0-1-8-16,3 1-18 0,-2-1-7 15,-1 1-19-15,1 0-7 0,4 0-35 0,-4 1-27 16,4 1-40-16,1-4-11 0,0 5-33 0,0-2-23 16,-1 2-43-16,1 0-75 0,2-2-128 15,-1 4-511-15,0 0 91 0,2 0 49 0,-3 0 85 16,2 1 89-16,0 0 67 0</inkml:trace>
  <inkml:trace contextRef="#ctx0" brushRef="#br0" timeOffset="20064.08">19730 6826 954 0,'0'0'346'0,"8"-12"-8"0,-3 11-29 16,0-5 34-16,2 3-10 0,1-1-23 16,-3-2-31-16,3-1-15 0,0-2-16 15,0 1-13-15,-1 0-20 0,1-3-25 0,-2 3-75 0,1-3-13 16,-4 5-10-16,3-2-10 0,-5 1-7 0,4-2 9 16,-5 3-10-16,3 3-17 15,-3-2 12-15,2 1-26 0,-2 4-2 0,0 0 23 0,0 0-10 16,-7-1-23-16,7 1 20 0,0 0-15 15,-12 6-8-15,8-1 3 0,0-1-16 0,0-1 16 16,2 3-24-16,0-2 1 0,2 0 0 16,-1 0 15-16,1 2-26 0,0-6 1 0,3 6 17 15,-1-5-12-15,4 3 2 0,-1-2 5 16,0-1-10-16,0-1 8 0,3 1 4 0,-1 2 1 16,1-1-23-16,0-2 5 0,-3 0 12 0,3 3 9 15,-3-1-16-15,4-1 15 0,-5 0 1 0,1 2-27 16,3 0 22-16,-4-2-9 15,2 3 11-15,-1-3 0 0,-2 3 0 0,1-3-8 16,-1 3 10-16,0-2 8 0,-3-2-10 0,5 6 15 16,-3-5-13-16,-2-1 31 0,5 4 16 15,-5-4 10-15,3 1 91 0,-3-1-4 16,0 0 18-16,5 2-37 0,-5-2 14 0,0 0-26 0,0 0 5 16,0 0-82-16,9-7-12 0,-9 7 4 0,4-2 1 15,-2 0-21-15,-2 2 18 0,6-3-39 16,-6 3 11-16,5-4-8 0,-5 4-23 15,7 0-7-15,-7 0-14 16,8-1-50-16,-8 1-34 0,0 0-38 0,11-1-29 0,-11 1-35 0,8 0-44 16,-4 0-28-16,4 0-156 0,0-5-82 15,-1 4-440-15,4-3 59 0,-4 1 155 0,3-2 34 0,1-1 98 16,-1 1 30 0</inkml:trace>
  <inkml:trace contextRef="#ctx0" brushRef="#br0" timeOffset="20245.49">20176 6670 957 0,'-5'-6'376'0,"5"6"18"0,-5-2-38 0,5 2-92 15,-8 0 5-15,8 0-16 0,-10 1-7 16,5 0-16-16,0 3-7 0,-3-2-19 0,3 3-19 16,2 0-3-16,-2-2-29 0,1 2-2 0,-2 1-25 15,4-2-16-15,2 3-26 0,-3-1-22 0,3-2-22 16,0 1 9-16,3 1-8 16,-1-2-18-16,3 0-31 0,0 0 8 0,1-2-2 0,1 3-42 15,1-5-2-15,2 3 3 0,0-1-31 16,0-2-31-16,1 0-31 0,-1 0-118 15,3-5-168-15,-6 5-456 0,5 0 77 16,-3 0 105-16,-1-3 61 0,0 0 41 0</inkml:trace>
  <inkml:trace contextRef="#ctx0" brushRef="#br0" timeOffset="20479.75">20364 6751 1392 0,'0'0'425'0,"-6"4"-49"0,6-4-35 16,0 0-42-16,0 0-22 0,0 0-27 16,0 0-35-16,0 0 0 0,0 0-41 15,0 0-23-15,0 0-20 0,0 0-49 0,0 0-18 0,0 0-49 16,0 0-43-16,0 0-56 0,0 0-24 16,0 0-107-16,0 0-97 0,13-6-323 0,-13 6-171 15,0 0 99-15,0 0 62 0,10 0 13 0</inkml:trace>
  <inkml:trace contextRef="#ctx0" brushRef="#br0" timeOffset="20881.72">20276 6751 1415 0,'6'-3'438'0,"1"0"-36"0,0-2-47 0,1 2-37 15,0-3-3-15,2 1-116 0,-5-2 3 16,5 0-4-16,-4 1-27 0,-1-5-30 16,3 4 10-16,-6-1 0 0,4-2 41 0,-4 2-8 0,-2-3-7 15,2 5 5-15,-2-2-11 0,-2 3-17 16,0 1-14-16,-1 1-22 0,-2-1 36 15,5 4-44-15,-11 2-8 0,4 0-20 0,-1 4-5 16,-2-1-13-16,-1 3 18 0,4-1-41 0,1 5 20 16,2-5 8-16,1 4-12 0,3-3 7 15,0 3-29-15,5 0-17 0,0-2 8 0,8 2-26 16,0 0 23-16,5 2-26 0,3-5-25 0,3 0-8 16,0 1-56-16,-3-6-23 0,1 1-36 0,-1-2-20 15,0 1-27-15,-1-3-50 0,1 0-79 16,-1-2-101-16,-2 1-560 0,3-1 61 15,-4 1 129-15,-1-3 71 16,2-3 69-16,0 2 54 0</inkml:trace>
  <inkml:trace contextRef="#ctx0" brushRef="#br0" timeOffset="23406.54">20661 6619 1592 0,'-5'-2'483'0,"5"2"-55"0,0 0-44 15,12-8-36-15,-2 4-33 0,1 0-29 0,4-2-45 16,2 0-8-16,0-1-33 0,3 1-26 16,4-1 0-16,1-1-41 0,1-1 0 0,-3 1-31 15,3-2-35-15,-3 2-11 0,2 2-28 16,-1-5-28-16,-2 3-2 0,-1 1-24 0,-3-1-15 0,4 0-30 15,-6 1-1-15,-3 4-20 16,3-4-46-16,-4 2-31 0,-4 0-44 0,3-1-76 0,-3 3-100 16,-4-1-469-16,1 0 116 0,0 1-16 15,-2-2 131-15,-1 5 64 0</inkml:trace>
  <inkml:trace contextRef="#ctx0" brushRef="#br0" timeOffset="23711.32">21123 6320 1300 0,'7'-1'412'0,"1"2"54"0,2-1-34 0,3 1-12 16,0 2-108-16,2-1-22 0,2 3-22 0,-1 0-37 16,-1 2-3-16,-4 0-18 0,2 0-18 15,-2 1 63-15,-1 2-32 0,-3-2 0 0,-2 3-21 16,0-2-43-16,0 0-29 0,-3 0 14 0,-2 1-19 15,0-1-5-15,-4 1-2 0,1-2-26 16,0 3-10-16,-1-3-8 0,-2 1-25 0,2-1-21 16,-2-1-41-16,2-2-7 0,-2 2-47 0,1-3-17 15,0-1-44-15,3 0-28 0,-4-1-46 16,6-2-54-16,-5 1-118 0,5-1-105 0,-3-1-488 16,3 1 63-16,0 0 95 0,0 0 52 15,0 0 109-15,-5-5 46 0</inkml:trace>
  <inkml:trace contextRef="#ctx0" brushRef="#br0" timeOffset="24314.62">21640 6413 1000 0,'0'0'313'16,"-1"-5"-19"-16,-1 3 29 0,2 2 14 0,0-8 17 16,2 4-34-16,-1-1-11 0,-1-1-2 0,3-1-51 15,-3-1 29-15,4-3-35 0,-4 3-27 16,1-4-13-16,2 0 5 0,1 0-95 15,-3 0-15-15,4 0 0 0,-2 3 3 0,-1 0-34 0,0 0 21 16,2 3-21-16,-2 0-5 0,0 0 5 16,0 5-17-16,1-3 12 0,-3 4-28 31,3-1 15-31,-3 1-15 0,0 0-3 0,8 6-2 0,-6-1-10 0,1-2-8 0,2 2-29 0,-3-1 14 16,1-1 5-16,2 2-3 0,-2-3 2 15,1 1-17-15,2-2 18 0,2 0-8 0,-1-1 10 16,1-1-12-16,2-3 7 15,0 2 2-15,4-4 6 0,-2 1 10 0,3-3 3 0,-1 2 2 16,2-4 3-16,-5 2 10 0,5 0 2 16,-4-3 83-16,-1 5-6 0,-1 0-25 0,0 0 4 15,-2 0-12-15,-2 4-2 0,1-3 2 0,2 5-38 0,-3 0 12 16,-6 0 6-16,11 5 4 16,-6-2-12-16,-2 2-15 0,1 2-1 0,1-1 19 0,-2 4-9 15,-1-2-25 1,0 1 13-16,0 0-23 0,-2-1 8 0,0 3-36 0,2-4-6 0,-2 3-30 15,2-3-15-15,-2 0-21 0,2 0-36 0,-2-1-20 16,0-1-28-16,1 0-39 0,-1-2-28 16,3 2-74-16,-1-1-103 0,-2-2-168 0,3 0-472 15,-1 2 108-15,-2-4 121 0,8 1 94 16,-3 0 51-16,-5-1 79 0,0 0 68 0</inkml:trace>
  <inkml:trace contextRef="#ctx0" brushRef="#br0" timeOffset="24615.5">22194 6088 1464 0,'2'-4'545'0,"-2"4"-38"0,2-5-123 16,-2 5-41-16,0 0-31 0,0 0-36 0,0 0-17 15,0 0-11-15,0 0-23 0,0 15-33 16,-2-9-18-16,0 3-10 0,2 1-23 16,-2 2-8-16,2-1-10 0,-3 1-10 0,2 2-34 0,-1-1-18 15,0-1-35-15,-1 0-39 0,2 0-20 16,-3 0-39-16,2-2-30 0,0 1-57 16,-2-3-28-16,4 1-92 15,0 0-135-15,-2-3-9 0,2 0-470 0,0-1 56 0,0-3 120 0,2 3 31 16,-2-5 98-16</inkml:trace>
  <inkml:trace contextRef="#ctx0" brushRef="#br0" timeOffset="24971.42">22176 6083 1272 0,'8'-8'399'0,"0"1"-25"0,2 2-21 0,0-2 3 16,1 3-29-16,1-2-25 0,3 4-15 0,0 2-28 16,1-1 48-16,2 1 13 0,0 1-34 0,2 1-32 15,1 3-24-15,1 0-7 0,-3 2-34 0,-1 0 11 16,0 2-29-16,-5 0-32 15,3 1-9-15,-6 0-7 0,-3 1-10 0,0 1-16 0,-6-1 28 16,2 1-30-16,-6 2 15 0,-2-1-2 0,-1 0-16 16,-4 0-18-16,-2 0-10 0,-4 5-8 15,1-5-7 1,-3 1-34-16,-1-1-66 0,2-2-61 0,1 0-42 0,1-3-7 0,-2 2-105 16,1-4-72-16,1 1-238 0,3-4-494 0,0 1 74 15,2 0 123-15,0-2 75 0,1-2 104 16,0 2 28-16,-2 1 88 0</inkml:trace>
  <inkml:trace contextRef="#ctx0" brushRef="#br0" timeOffset="28307.33">15669 8122 798 0,'-3'10'254'0,"1"1"65"0,-1 0-47 16,0-2-19-16,3 4-35 0,0 1 2 0,0 2-26 15,0-3-12-15,3 3-23 0,-2 0-23 0,3 1-16 16,-1-3 13-16,5 2-15 0,-3-2-18 16,5-1-3-16,-2-2 0 0,2 0-20 15,0-1-23-15,3-1 17 0,0-2-12 0,3 0-10 16,-1-1 7-16,3-3-15 0,0 3 5 0,2-5 8 15,-2 3-11-15,3-3-2 0,2-1 0 16,-3 3-15-16,1-3 23 0,1-3-37 0,2 3 24 16,1 0-8-16,1-2-2 0,2-2 15 0,3 1-18 15,0-1 15-15,2 2-12 0,11-2-3 16,-8 1 10-16,-3 0-7 0,13-2-11 31,1 2 29-31,-2-1-19 0,1 3 11 0,0-5-13 0,-1 5-2 0,-5 0 2 0,-7 0 10 0,16-1 5 0,0 2-91 16,0 0 9-16,0 0-2 15,2 3-5-15,2-1 15 0,-1-2 10 0,2 1 3 16,-1 4 5-16,-2-5 1 0,1 1 1 0,-3 2 8 16,2-1 21-16,-2 0-26 0,2 1 6 15,-2-1-3-15,2 1 2 0,-2-2 21 0,2 1-31 16,-3-2 20-16,-1 0 3 0,2 0 3 0,0 0 0 16,-1-1-11-16,0 1-10 0,-9 0 1 0,8-2 24 15,1 0-12-15,-9 1-7 0,-6 1 14 16,3-2-14-16,0 2 12 0,10-5 0 0,-8 5 3 15,-7 0-13-15,3-2 10 0,-1 1-8 0,0-2 11 16,-2 3-8-16,0-3-8 16,-1 1 11-1,-1 1 4-15,2-2 1 0,-6-1 5 0,3 4 10 0,-2-2-18 0,-1 2 8 0,-1-3 5 16,1 2 2-16,1 1 3 0,-1-1-10 0,1 1-10 16,2 0 17-16,-3 0 6 0,-1 1-21 0,2-2 15 15,0 1-7-15,-2 1-3 16,0-1 13-16,-3 0-2 0,2 0-8 0,2 0 5 0,-2 0-8 15,0 0-13-15,0 0 24 16,1 0-1-16,1 0-12 0,-2 0 15 0,0 0 5 16,0 0-13-16,0 0 11 0,1 0-3 0,-4 0 13 15,3 0-13-15,-2 0-3 0,4 1 6 0,-2-1-13 16,3 0 20-16,-3 2-5 0,0-1 0 0,0 1-7 16,3-2 2-16,0 0-3 0,-3 4-4 15,2-3 32-15,6 1-27 0,-4-2-11 0,-2 0 36 16,7 0-20-16,-1-1-16 0,2 0 18 15,3 2-20-15,-3-1-3 0,2 1 13 16,-2-2 13-16,3 1-37 0,-3 0 37 0,0-1 66 0,3 2-27 16,2-1-17-16,8 1 14 15,-7-1 5-15,-3 1-21 0,-3 1-3 0,13 1 11 0,-2-2-28 16,-5 1 12-16,-6-1-9 0,0 1-16 0,1-2 25 16,-1 2-38-16,0 0 31 0,0-1-13 15,-2-1 5-15,2 2-12 0,-2-2 4 0,0 0-2 16,0 3 0-16,-3-3 8 0,-2 0-16 0,-1 1 3 15,-1 0-1-15,0-1-6 16,-3 0 14-16,-3 1-20 0,2-1 3 0,-3 0 7 16,1 0-8-16,-3-1 19 0,-3 1-3 0,2 0-16 15,1-1-4-15,-2 0 9 0,-1-1-9 0,-1 1 17 16,3 1-12-16,-3 0 15 0,-1-2-16 0,4 2 3 16,-2 0 3-16,0 0-5 15,-1-1 17-15,-1 1-2 0,2 0-31 0,-3-2 23 16,1 2-4-16,0 0 9 0,3 0-28 0,-5 0 18 0,2 0 3 15,1 0-11-15,-4 0-2 16,3 2 3-16,2-4 2 0,-3 2-5 0,-1 0 10 16,2 0-13-16,0 0 23 15,0 0-15-15,0 0-5 0,0 0 10 0,-1-2-2 0,1 2 0 0,0 0 17 16,2 0-2-16,-3-1-23 0,1 0 12 0,0 0-12 16,0-1 13-16,3 1-11 0,-2 1 6 15,-1 0 10-15,1-3-31 0,-2 1 23 0,-1 1-8 16,2 1 1-16,0-1 10 0,2-1-1 15,-3-2-12-15,-2 4 26 0,3-3-16 0,-2 0 0 16,-2 3-5-16,1-2 31 0,1-2-8 0,-2 3-11 16,0 0 11-16,-2-3 0 0,1 2-17 0,0 1 47 15,-1-2-71-15,-1-3 1 16,2 2 9-16,-2 1-8 0,1-3 34 0,-3 0 5 16,0 1 90-16,1-3 2 0,-2 2-17 0,2-3-19 15,-2 0 18-15,0 1-28 0,0-2-2 0,3 2-11 16,-3-4-23-16,0-1 6 0,3 4-39 15,-1-5-16-15,2 0-22 0,-3 1-21 0,-1 1-38 16,3 0-5-16,-1 3-16 0,-4-2-51 0,-1 2-23 16,3 0-21-16,-7-1-63 0,-1 1-62 0,-2 3-176 15,-1-6 25 1,-1 6-528-16,-2 3 76 0,-6-2 157 0,2-1 47 0,-2 6 51 0,-3-2 82 16</inkml:trace>
  <inkml:trace contextRef="#ctx0" brushRef="#br0" timeOffset="28956.35">20630 8481 1167 0,'5'5'350'16,"-3"-1"-19"-16,-1 1-40 0,1 4-4 0,-2-2-28 16,-2 3 45-16,-1 4-35 15,-2 1-21-15,0 0-5 0,-3 6-43 0,0 0-8 16,-4 9-100-16,3-6-23 0,-3-3 11 0,2-2-19 0,2 0-15 15,1-1-2-15,-1-2-11 16,3-1 18-16,0-3 3 0,-1 1-18 0,2-2-11 16,3-2-9-16,-1 1 7 0,-1-2 0 0,3-2 5 15,0-1 0-15,3 0 5 0,-1-2 11 16,1 0-26-16,5-1 28 0,-3-1-13 0,5 2 6 16,0-2 7-16,3 0-3 15,0-2 21-15,2 0-5 0,3-2-23 0,0 2 18 16,3 1-34-16,-1-2 36 0,1-1 44 0,4 2 10 15,-2-1-18-15,-2-2 3 0,2 4-31 0,0-2 5 0,-5 1-20 16,-1-2-3-16,-1 3-13 0,1-1-12 0,-5 0-14 16,1 0-17-16,-3-2-10 15,0 3-26-15,0 0-11 0,-2-2-40 0,-3 1-23 16,3 0-47-16,-3-2-17 0,0 2-95 0,-3-2-97 16,-2 3-98-16,6-4-450 0,-4 0 77 15,2 2 110-15,-2-2 94 0,0 1 39 0</inkml:trace>
  <inkml:trace contextRef="#ctx0" brushRef="#br0" timeOffset="29238">20978 8699 1062 0,'0'0'463'0,"0"0"-43"0,11 0-23 0,-11 0-98 16,8 2-5-16,0 3-4 0,0-3-24 15,1 3-15-15,-1 1-29 0,2 0-7 0,-2 4 52 16,2-1-1-16,-2 3-13 0,0 0-33 0,-1 0 13 16,-4 0-20-16,-3 0-49 0,0 2-13 15,-2-1-8-15,-6 4-25 0,0-3-13 0,-4 4-54 16,-4-4-5-16,3 5-61 0,-3-3-16 0,1-2-54 16,-3-1-27-16,6 0-90 0,-1-1-116 0,0-4-91 15,2 3-149-15,5-5-423 16,-1-2 114-16,2-2 53 0,3-2 110 0,2 0 92 15,0 0 28-15</inkml:trace>
  <inkml:trace contextRef="#ctx0" brushRef="#br0" timeOffset="29762.26">21358 8711 808 0,'3'-5'354'0,"-1"5"-27"0,-2 0-27 0,0 0 71 0,5-1-26 0,-5 1-22 0,6 5-24 16,-4-1-35-16,3 4-108 0,-4 0-20 16,1 0 7-16,0 3-22 0,0 3 19 15,-1-1-40-15,-1 5-21 0,3-3-17 0,-1 1 7 0,0 1 3 16,-2-2-19-16,1 1 1 0,1-1 8 16,1-3-34-16,1 1 0 0,-1 0-2 0,0-2 4 15,0-4 1 1,2 1 5-16,-2-4 15 0,1 3 5 0,-1-7 6 0,2 1 40 0,-5-1-2 15,12-3 2-15,-8-2 65 0,0-1 27 16,4 0-27-16,-3-5-19 0,3-3-92 0,-2-1 1 16,0-1-16-16,3-4-5 0,0-3-11 0,0 1 19 15,1-8-16-15,0 4 8 0,-2 3-24 0,2 4-6 16,-2-5 4-16,2 5-5 0,-5 5-33 16,1 0-6-16,1 3-24 0,-2-1-45 15,-2 6-2-15,2 1 0 0,0-2-15 0,-3 6-49 16,3 0-36-16,-5 1-61 0,0 0-126 0,9 1-7 0,-7 3-520 15,3 2 77 1,-2-2 87-16,1 3 66 0,2 0 65 0</inkml:trace>
  <inkml:trace contextRef="#ctx0" brushRef="#br0" timeOffset="30590.09">21839 8682 1028 0,'-4'-6'387'15,"2"4"-21"-15,-1-1-38 0,3 3-44 16,-7-2-13-16,-1 1-20 0,8 1-28 16,-13 1 53-16,5 3-10 0,0-1-33 0,0 1-31 15,-2 2-15-15,0 0-18 0,0 2-7 0,1 0-104 16,-5 3-19-16,4 2-6 0,1-2 29 16,-1 1-47-16,3-1 0 0,2-1 3 0,-3 1-5 15,5-4-10-15,1 4 2 0,-1-3 7 0,1-2-27 16,4 1 18-16,-2-1-16 0,4-1 8 0,-2-3 23 15,4 2-44-15,-2-2 23 0,1 0 6 16,3-1-8-16,-8-1 2 0,15-3 14 0,-5 2-11 16,-2-4 15-16,-1 1 8 0,1-1-8 15,0-1 13-15,0-1 8 0,-3-1-13 0,1-1 21 16,-2 3-19 0,1-2 9-16,-2 1-11 0,-1 0 5 0,1-1 5 0,-3 4-2 0,3-1-3 15,-1-1 0-15,-2 1-18 0,0 5 3 0,0-5 15 16,0 5-10-16,0 0 21 0,-2-3-16 15,2 3-18-15,0 0 10 16,0 0-10-16,0 0 16 0,0 0-11 0,-8 8 5 0,8-8-15 0,0 7 3 16,0-7 12-16,0 5-20 15,2-1 5-15,0-1 5 0,2-2 6 0,-2 3-19 0,3-2 18 16,2 2-2-16,0-2 2 0,-1 1-10 16,2-1 10-16,0 0-12 0,0 2 12 0,-1-2-2 15,1 3-11-15,2-1-2 0,-2-2 25 0,0 5 1 16,0-1-31-16,-1 0 23 0,1 0-11 15,-2 1 19-15,-2-1-6 0,-2 0-38 0,2 1 41 16,-2-2-16-16,-2 1-7 16,0 1-5-16,0-3 23 0,0 2-8 0,0-4 18 0,-2 5-3 15,2-4 3-15,0-3 6 0,-4 3 1 0,4-3 24 16,-4 4 0-16,4-4 28 16,0 0 0-16,0 0-13 0,0 0-10 0,-1-10 17 15,2 4 86-15,-1 6-37 0,4-9 13 0,-1 1-10 0,0 0-7 31,2 2-106-31,0-3 16 0,0-1-1 0,3 2-19 0,-1 0 7 16,1-1-3-16,0 2 5 0,1 1-12 0,-3-2-13 0,2 2-5 0,2 0-31 16,-2 0-26-16,-1 1-20 0,1-1-13 15,0 3-15-15,0 0-10 0,-1 0-29 0,1-1-2 16,0 2 8-16,0-2 7 16,-1 4 26-16,0-2 7 0,-1 2-12 0,-6 0 25 0,12 2 21 15,-12-2-18-15,8 0 30 0,-5 3 9 0,-1 0 14 16,1 2 6-16,-2-3 33 0,1 4 5 15,-2 0-15-15,0-1 20 0,0 2-2 16,0-1 10-16,-2 0 23 0,2 1-34 0,0-1 16 0,-1 3-7 16,-2-1-6-16,3-1-41 0,-2 0 11 0,0-1-11 15,1 0-23-15,0-1-35 16,0-2-57-16,-2 2-13 0,3-1-51 0,0-4-118 16,0 5 16-16,-2-2-197 0,2-3-326 0,0 0 101 15,0 0 40-15,0 0 103 0</inkml:trace>
  <inkml:trace contextRef="#ctx0" brushRef="#br0" timeOffset="30711.3">22147 8736 826 0,'0'-6'287'0,"0"1"2"0,0-1-35 0,0 1-16 15,0 2 69-15,0 3-44 0,0-7-40 0,0 4-92 16,0 3-39-16,0-6-79 0,0 6-118 0,0 0-110 16,0 0-566-16,6 0 113 0,-6 0 28 15</inkml:trace>
  <inkml:trace contextRef="#ctx0" brushRef="#br0" timeOffset="31440.39">22450 8676 1082 0,'0'0'392'0,"-10"3"-41"0,3-2 56 0,-3 1-41 0,-4 3-29 15,4-3-29-15,-3 4-78 0,1-1-20 16,1 1-26-16,-2-1 0 0,0 3-27 15,1-2-19-15,2 3 3 0,1-1-39 0,1 1 6 16,-1-3-11-16,1 1-23 0,3-1-10 0,2 0 10 16,1 0-15-16,-1 0-5 0,3-2 5 15,0-4-34-15,0 5 14 0,5-2 9 0,-5-3-9 16,8 0-6-16,-3 0-2 0,-5 0-8 0,16 0 2 16,-9-6-7-16,1 4 34 0,0-2-27 15,0-2 6-15,-1 0-18 0,1 0 17 0,0-1-12 16,-1 1 21-16,-2 0-1 0,1-1-12 0,0 1 17 15,-2 2 8-15,1 0-17 0,-2-1-6 16,-1 3 5-16,-2 2-7 0,5-1 4 0,-5 1-1 16,0 0-9-16,0 0-7 0,0 0-3 15,-7 13 5-15,4-7 6 0,0-1-36 0,1 2-3 0,2-3 28 16,-3 2-5-16,3 0-2 16,0-1-1-16,0 1 1 0,0-3-16 0,0 2 5 15,0-1 6-15,0-4 2 0,7 2-8 0,-3 1 0 16,0-2 26-16,-4-1-2 15,11-1-6-15,-11 1-3 0,12-3-9 0,-4 1 30 0,0-1-7 16,2 1-4-16,0-2 14 0,-1 2-3 0,-1 0 3 16,0-1-3-16,-2 1-7 0,2 1-11 15,0 0 5-15,-3-1 16 0,-5 2-11 16,12 2 9-16,-6 0-6 0,-1 0 110 16,0 2-18-16,0-2-23 0,-2 3-2 0,1 0-26 0,-3-3 12 0,1 4 14 15,1-1-26-15,-1-3-10 0,-1 4 2 16,-1-1-2-16,2-2 7 0,-2 0 21 15,0-3 0-15,3 6 5 0,-3-6 23 0,2 5-77 16,-2-5 8-16,2 3 0 0,-2-3 3 0,0 0 2 16,0 0 23-16,0 0 54 0,13-6-56 15,-10 3-67-15,2-1 0 0,1 2 0 0,1-2 0 16,1 1 0-16,0 0 0 0,-1-1 0 0,1 1 0 16,-1 1 0-16,-1-2 0 0,1 4 0 0,-1 0 0 15,-6 0 0-15,10 0 0 0,-4 0 0 0,-2 4 0 16,1-1 0-16,-2-1 0 15,1 2 0-15,0-1 0 0,-2 0 0 0,0 2 0 16,1-1 0-16,-3 0 0 0,3 0 0 0,-1-2-21 0,0 2-225 16,-1-1-38-16,-1 0-10 0,2 0-39 0,-2-3 11 15,6 4-149-15,-6-3-126 16,4-1-470-16,-4 0 115 16,14-2 91-16,-7-1 99 0,6 1 48 0,-2-3 99 0,1 2 55 0</inkml:trace>
  <inkml:trace contextRef="#ctx0" brushRef="#br0" timeOffset="31828.86">23017 8666 1412 0,'-3'-3'482'0,"-2"3"-27"0,-2 0-112 16,7 0-7-16,-14 0-29 0,4 1-13 0,-2 4 52 16,1 0-24-16,-1 2-20 15,1 0-100-15,-2 0-4 0,1 4-19 0,-1 2-46 0,3-2 26 16,0 2-26-16,1-1-8 0,0-1-12 0,3-1-19 15,4-1-4-15,-1 0-13 0,1-3 7 16,2 3-10-16,4-5-25 0,-1 2-18 0,3-4 28 16,2 1-29-1,2-3-9-15,2 0 7 0,1-3-10 0,3 0-26 0,2-2-7 0,2-2 5 16,1-4-16-16,-1 2 26 0,1-2-10 16,1-1 2-16,-2 2 1 0,-5 1-4 0,-1 1 29 15,-2 3-2-15,-3-1 14 0,-1 1-9 0,-1 4-14 16,-4 1 1-16,-3 0 33 0,0 0 0 0,6 6-5 15,-6 1 5-15,-1-1 7 0,1 2-37 16,1 2 19-16,1 1-4 0,0-2-18 0,3 3-47 16,2 0-55-16,3-2-22 0,4-1 1 0,-1 0-41 15,2-1-28-15,1-3-57 0,2-1-125 0,-3 0-146 16,8-2-473-16,-2-2 109 0,2 3 67 16,-1-6 67-16,2 3 110 15,-4-2 30-15</inkml:trace>
  <inkml:trace contextRef="#ctx0" brushRef="#br0" timeOffset="62624.6">8980 687 1548 0,'0'0'451'16,"0"0"-34"-16,0 0-41 0,0 0-30 15,7-7-39-15,-1 6-51 0,2 0 2 16,2-2-25-16,0 3-18 0,0 0-43 0,5-1 4 16,-2-1-25-16,5 2-25 0,-2-2-31 0,2 2-26 15,-1-1-57-15,-1 0-35 0,-1 0-41 16,1 1-53-16,-4-1 48 0,1 1-59 0,-2 0-154 15,-1 0-99-15,-3 0-446 0,1 1-10 0,-2-1 95 16,-4 3 56-16,-2-3 48 0</inkml:trace>
  <inkml:trace contextRef="#ctx0" brushRef="#br0" timeOffset="62823.82">8946 860 1510 0,'0'0'414'0,"0"0"-27"0,0 0-3 0,0 0-62 0,0 0-22 16,0 0 33-16,26-1-24 0,-18-3-48 0,5 1-23 15,0 1-43-15,4 0-72 16,-2-1-39-16,1 2-66 0,-1-2-77 0,-1 0-145 0,-4 2-219 16,5-1-473-16,0 0 54 0,-4 1 110 15,1-1 64-15,1 1 69 0</inkml:trace>
  <inkml:trace contextRef="#ctx0" brushRef="#br0" timeOffset="63823.6">10195 640 1203 0,'0'0'401'0,"0"0"-29"16,0 0-40-16,0 0-22 0,0 0-23 15,8 11-39-15,-6-4 5 0,4 1-38 0,-4 1-28 16,0 1 3-16,1 0-44 0,2 3-26 0,-2-1-36 16,2-1 16-16,-2 0-43 0,1 1-19 15,0-2-12-15,0 0 2 0,-1-1-21 16,0-2 14-16,1 1-24 0,-1-2 6 0,0 0-1 0,0-1-4 16,1-2 20-16,-1 0-13 0,0-2 0 15,-3-1 18-15,7 2-28 0,-7-2 23 16,0 0 18-16,8-8-29 0,-5 2 9 0,1-1-11 0,-1-1 8 15,0-4-16-15,1-2 21 16,0-1-18-16,0 0 0 0,2-4 0 0,-3-1 0 16,1-2 8-16,-1-3 76 0,2-1-20 0,-5-1-8 0,2 0-4 15,2 2-1-15,-4-4 5 0,-1 3 3 16,1-1 2-16,-3 1 19 0,1 0-1 16,0 6 13-16,2 0-12 0,-3 1-1 0,3 4-2 15,-3 2-8-15,1 1 26 0,2 1-19 16,-2 2-17-16,1 0 23 0,1 1-15 0,-2 2-34 15,2 0 13-15,0 0 8 0,0 0-23 16,0 4 15-16,3-2-13 0,1 1 0 0,2 0 6 0,2 1-9 16,4 0-2-16,3-1-12 0,1 1 7 15,10 0 0-15,1 0 20 0,7 0-25 16,15-2 26-16,-5 1-31 0,6 0 7 0,0 2-7 0,3-1-11 16,1-1-71-16,2 0 13 0,-2 1 15 15,2-3 10-15,1 1-4 0,2 1 17 16,-5-1 7-16,2 1-24 0,-2 0 24 0,-3 0 4 15,1-1 4-15,-4 0 1 0,4 0-4 0,-6 2 14 16,0-1-13-16,-10 1 15 0,-2 0-7 16,-2 0 10-16,-1 0 15 0,-2 0-23 0,1 0-8 15,-7 0 3-15,1 1 13 0,-2 0 8 16,-3 0-4-16,-4-1-1 0,1 1 22 0,-2 0 1 16,0 0 2-16,-4 0 7 0,0 1 1 15,0 0 2-15,-2-1 0 0,-1 1-7 0,-7 0 12 16,11 0-5-16,-11 0-5 0,10 0-15 0,-5 1 20 15,-5-1 6-15,10 0 58 0,-10 0-15 0,0 0-36 16,5-1-41-16,-5 1-39 0,0 0-43 16,0 0-58-16,0 0-60 0,0 0-46 0,0 0-38 15,0 0-79-15,0 0-136 0,-20 7-615 0,15-2 93 16,-3-2 115-16,-4 4 82 0,-2 0 97 16,-3-1 46-16,-1 3 51 0</inkml:trace>
  <inkml:trace contextRef="#ctx0" brushRef="#br0" timeOffset="64653.4">10618 558 1141 0,'-2'-4'397'0,"2"4"-16"0,-1-5-43 15,1 5-26-15,-2-5-53 0,2 5-34 0,0 0 6 16,0 0-42-16,0 0 13 15,0 0-33-15,2 16 3 0,-1-7-9 0,1-1-9 0,3 5-36 16,-2 0-21-16,-1 3-7 0,1-3-3 0,2 3-3 16,1 1-17-16,-4-3 4 15,3 1-14-15,0 1-21 0,-2-3-1 0,4 1-9 16,-4-1 7-16,2-3 8 0,-2 1-15 0,4-2-16 16,-4-2 21-16,2 0-1 0,-2 0-37 0,1-3 48 15,-1 0-13 1,2-2-8-16,1 1 11 0,-2-1-10 0,-4-2 4 0,11-4 16 0,-6 2 15 15,0-3 6-15,1-2 20 0,1-1-16 0,-2-3-7 16,0 1 13 0,1-5 0-16,-2-3 66 0,2 0 10 0,1-4-33 0,1-2-30 0,-3 3 20 15,3-2-80-15,-3-1-22 0,2 3 10 16,-4 3-8-16,3 1 10 0,-2 0 3 0,-1 4-23 16,2 0 31-16,-3 2-26 15,2 1-13 1,-2 2-31-16,0 1-32 0,1 1-24 0,-3 1 2 0,3 1-17 0,-3 2-20 0,0 2-50 15,0 0-50-15,0 0-47 0,0 0-184 0,2 11-168 16,-2-5-308-16,2 1 97 0,-2 1 100 16,0 1 87-16,1 0 85 0</inkml:trace>
  <inkml:trace contextRef="#ctx0" brushRef="#br0" timeOffset="65160.75">11072 545 1121 0,'-13'4'335'0,"6"-1"-41"0,-1 2-12 0,0 0-13 15,-2 1-36-15,-1 0 20 0,-4 4-53 0,5-1-26 16,0 2 25-16,-3 0-30 15,2 1-13-15,1-2-22 0,0 2-12 0,2-1-12 16,3 0-15-16,-2-1-13 0,2 0 20 0,2-2-25 16,2 1 3-16,-1-2-4 0,2 0-19 0,2-2-19 15,-1 1 18-15,4-2-15 0,0 2-10 16,0-4 2 0,3 0-4-16,-3-2-1 0,5 0 5 0,-2 0-20 0,2-3-3 0,1 0 26 0,-1-2 5 15,2 0-8-15,-2 0 23 0,-2-2 16 16,1-1 7-16,0 0-7 0,-4-1 82 0,1 0 12 15,-1-1-7-15,0 1-82 0,-2 1 4 0,2 1-9 16,-5 1 0-16,4-1 5 0,-4 3-6 16,1-1-22-16,-1 0-6 0,0 5 3 15,0-5-2-15,0 5-6 16,0 0 8-16,0 0-15 0,0 0 0 0,0 0-13 0,0 0 18 0,-10 12-26 16,9-7 8-16,-1 0-11 0,0 2 1 15,2-1-3-15,0 1-5 0,-3-1-28 0,3 2-54 16,0-1-36-16,0 1-2 15,0-3-33-15,0 2-57 0,3 0-16 0,-1-1-65 0,0-1-121 0,-2-1-90 16,3 0-420-16,4 0 55 0,-4-1 88 16,3-2 73-1,-4 2 89-15,4-2 77 0</inkml:trace>
  <inkml:trace contextRef="#ctx0" brushRef="#br0" timeOffset="65635.28">11231 576 1392 0,'0'0'366'0,"0"0"-18"16,0 0-30-16,0 0-16 0,0 0-3 15,10 13-46-15,-7-8-12 0,1 1-13 0,0 1-18 16,0 1-31-16,2 1-10 0,-4 1-21 0,1 2-17 16,-1-1-11-16,1 1-7 15,-3 0-29-15,0-1-9 0,0 0-24 0,0-2 2 16,0 0 9-16,-3-1 17 0,1 0-2 0,2-2-18 0,0 1 36 15,-1-3 17-15,-1 0-17 16,2 0 23-16,-2-1 63 0,2-3 4 0,0 0-19 16,0 0-5-16,0 0-15 0,0 0 0 0,0 0-36 0,-3-11 11 15,3 11-32-15,5-9 3 0,-3 5-17 16,1-3-6-16,0 0 13 0,0 1-24 16,2-1-24-16,0 2-14 0,0-1-35 0,0 1-36 15,0-2-36-15,0 3-18 0,1-2-49 0,-2 0-15 16,2 2-43-16,1 0-16 0,-1 1-82 15,1-1-97-15,0 0-66 0,-3 0-103 16,6 0-379-16,-3 2 120 0,1-2 27 0,0 1 160 0,2 0 354 16,-5 0 184-16,3-1 163 0,-1 2 19 15,-1 0 43-15,1 0 113 0,-2 2 23 16,-5 0 5 0,9 0-67-16,-9 0 3 0,10 2 3 0,-6 0 79 0,-1 0-44 0,2 1 29 15,-2 1-44-15,2-1-16 0,-2 3-9 0,-1 0-37 16,3 0 8-16,-4-1-61 0,1 2-8 0,0-1-28 15,-2 1-58-15,3 0-91 16,-3 0-176-16,0-1-635 0,0 1 74 0,0-2 65 0,0 0 71 16,0-5 105-16</inkml:trace>
  <inkml:trace contextRef="#ctx0" brushRef="#br0" timeOffset="65787.23">11493 525 939 0,'-3'-4'351'0,"0"0"-52"0,1 2-33 0,2-2-84 0,0 4-100 0,0 0-156 0,-6-3-123 0,6 3-487 15,0 0 29-15</inkml:trace>
  <inkml:trace contextRef="#ctx0" brushRef="#br0" timeOffset="66564.64">11752 511 837 0,'-8'3'353'0,"2"1"-31"0,-1 2-27 0,0-1-14 15,-2 1-17-15,1 3-26 0,1 1-26 16,0-1-22-16,-1 1-19 0,0 0-15 0,0 3-17 16,3-2-1-16,0-1-33 0,0 1 13 0,-1-2-26 15,4 0-16-15,0-2-9 0,2-1 0 16,0 0-1-16,2-1 1 0,0-1 9 16,4-1-19-16,-3-1-16 0,6 0-5 0,-1-2-6 15,0 0 4-15,0-2 9 0,2 0-17 0,0-1 12 16,-2-2 11-16,2 0-6 0,-2-2 26 15,0-1 8-15,0 1-3 0,-3-2-15 0,2 0 8 16,-4 0-8-16,2 1 92 0,-3-2-26 0,1 4 8 16,2-1-18-16,-4 0 16 0,1 2-21 15,0 0-13-15,1 0-2 0,-3 2-39 16,3 0 13-16,-3 3-2 0,0 0-8 0,0 0 2 0,0 0 1 16,0 0-37-16,0 0 11 0,0 0 5 15,0 0-18-15,-6 12 5 0,6-8-15 16,0 0 25-16,0 1-22 0,-2 0-29 0,4-1 18 15,1 0 3-15,-3 1-11 0,0-2 6 0,3 0 5 16,-1 0-11-16,3-1 26 0,-5-2-5 16,5 3 13-16,0-2-24 0,-5-1-4 0,11 1-3 15,-11-1 28-15,10-1-25 0,-10 1-1 0,10 0 6 16,-5 0 2-16,3 1 18 0,-3 0-30 0,3 0 22 16,-3 1-7-16,2 2 2 15,-1-2-2-15,-1 1 0 0,0 2-28 0,0-1 32 0,0 2-11 16,-3-1 14-16,1 0-5 0,0 2-12 15,-1-2 15-15,-1 0-10 0,1 0-16 0,-2-1 18 16,0 2 23-16,3-4-4 0,-3 2 29 0,0-4 14 16,0 3 2-16,0-3 8 0,0 0-2 15,0 0 12-15,0 0-74 0,0 0-6 0,0 0 9 16,0 0 12-16,7-9 3 0,-2 3-3 16,-2 2 1-16,-1 0 7 0,1 0-3 0,2 1 5 15,-2 0-12-15,2-1-21 0,-3 2-2 0,4 1 23 16,-6 1-6-16,10-2-2 0,-5 2 0 15,-5 0-43-15,13 3-6 0,-8 0-15 0,0 0-25 16,0-2-39-16,0 3-20 0,-2-2-65 16,0 2-50-16,2 1-45 15,-1-2-27-15,-1 2-138 0,0-2-206 0,0 0-398 0,1 1 104 0,-1-1 111 16,0 0 96-16,2-1 70 0,0 1 46 16,0-2 79-16</inkml:trace>
  <inkml:trace contextRef="#ctx0" brushRef="#br0" timeOffset="66967.33">12356 486 1195 0,'0'0'435'0,"-7"-2"-31"0,7 2-12 0,-11 4-39 15,7-1-25-15,-5 3-11 0,2-1-27 16,-3 3-37-16,2 0 6 0,-2 3-42 0,-1 1-20 15,1 3-5-15,0 0-25 0,3 0-27 16,-1 1 4-16,2-1-14 0,2-1-20 0,3-1 8 16,-1-1-28-16,2-2-14 0,2 1 4 0,1-3-37 15,2 1-7-15,0-3-18 0,3-2-36 0,2 0-18 16,0-3 23-16,-1-1-15 16,3-2 5-16,0-3 3 0,2 1-3 0,-2-3-3 15,1 1 26-15,0-4-18 16,0 1 26-16,-3-1-18 0,0 2 20 0,-2-1 8 0,-1 4 13 0,-1-2 2 15,-3 3 5-15,2 0-4 0,0 1-9 0,0 3 31 16,-5 0-35-16,0 0 10 0,7 7-6 16,-1-1-2-16,-2 2-5 0,2 0 8 0,2 1-13 15,-1 2 2-15,1-2-30 0,2 0-44 16,0-1-56-16,-2 1-11 0,2-1-45 0,3-2-55 16,0-1-58-16,-2-7-197 0,1 5-481 15,1-1 130 1,2-2 30-16,-4-1 83 0,4-1 102 0,1-1 54 0</inkml:trace>
</inkml:ink>
</file>

<file path=ppt/ink/ink10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7:50.207"/>
    </inkml:context>
    <inkml:brush xml:id="br0">
      <inkml:brushProperty name="width" value="0.05292" units="cm"/>
      <inkml:brushProperty name="height" value="0.05292" units="cm"/>
      <inkml:brushProperty name="color" value="#FF0000"/>
    </inkml:brush>
  </inkml:definitions>
  <inkml:trace contextRef="#ctx0" brushRef="#br0">5708 9339 962 0,'3'-5'340'0,"4"-4"-27"0,-3 2 7 0,0-2-100 16,2-1-15-16,-2-1-6 0,2-3-12 0,-2 0-8 15,-1-1 6-15,0 1-1 16,0-3-8-16,2 2 11 0,-5-2-36 0,2 4-10 0,-1-1 10 15,1-2-31-15,-2 2 93 0,2 2-1 0,-2-1-20 16,3 2 13-16,-3 3-90 0,0-1-7 16,3 0 7-16,-3 3-20 0,2-1-26 15,-2 1 8 1,0 5-13-16,0 1-6 0,0 0 6 0,0 0 6 0,0 0-19 0,2 15 8 0,-4-4-18 16,2 1-3-16,0 2-2 0,0 4-18 0,-2-3-8 15,1 5-23 1,-1 0-12-16,2 0-22 0,0-1 4 0,0 0-21 0,2-1 0 0,-2-2 8 15,3-1-3-15,-1 2 0 0,-1-3 0 16,4-1-5-16,0-2-2 0,2-2 2 0,1 1 5 16,0-4 10-16,2 0-2 0,-2-4 12 0,2-2 14 15,-2 0-6-15,5 0-7 0,-3-3 12 0,3-2 6 16,-1-2 12-16,1-2-7 0,0 0 7 0,-2-2 10 16,1-2-7-16,1-2 34 15,0-2-17 1,-3 0 14-16,-2-3-6 0,0 2 9 0,0-7 12 0,-1 4 10 0,-5-2 10 0,3-3-22 15,-2 6 14-15,0-4-12 0,-1 5 28 0,-2 2 6 16,2 4-4-16,-2 1 16 0,1 0 3 16,-1 4-13-16,0-2 7 0,-1 7-22 15,1-1-1-15,0 4-12 0,0 0-3 0,0 0-31 16,-10 18 26-16,6-8 13 0,1 3-29 0,0 5 6 0,0-1-18 16,1 4 7-16,0-2-2 15,2 2 0-15,-3-2 5 0,6 3-10 0,-3-1 0 0,2-2-3 16,-1 3-15-16,3-4-16 0,1 2-9 15,-2-1-21-15,3-4-6 0,-2 2-25 0,4-3-23 16,-3-1 3-16,2-2-34 0,-1-2-15 16,-1-1-2-16,1-4-57 0,1 2-54 0,0-2-158 15,-4-3-72-15,5-1-423 0,2 0 78 16,0 0 89-16,0-2 77 0,4-3 74 0</inkml:trace>
  <inkml:trace contextRef="#ctx0" brushRef="#br0" timeOffset="250">6349 9155 1233 0,'0'0'394'0,"0"0"-45"0,0 0-19 15,0 0-33-15,0 0-44 0,26 2 47 0,-16-2-57 16,0 1-31-16,3-1-56 0,3-1-23 16,-3 1-69-16,4-1-84 0,-1 1-134 15,-3 0-112-15,-1 0-550 0,1 0 38 0,-3 0 138 0,0 1 10 16,-2-1 54-16</inkml:trace>
  <inkml:trace contextRef="#ctx0" brushRef="#br0" timeOffset="448.59">6329 9275 982 0,'-1'0'413'0,"-3"3"-37"0,4-3-23 0,-3 3 0 0,3-3 62 0,0 0-54 0,0 0 5 16,5 5-133-16,-5-5-8 0,10 2-30 0,0-2-34 16,1 0-8-16,2-1-22 0,2 0-21 15,1 0-38-15,-1-2-34 0,3 1-10 0,-3 0-69 0,1-1-43 16,4-1-57-16,-4 1-87 0,-1-1-140 15,1 1-549-15,1-2 114 0,-3 1 88 16,0 2 50-16,-1-4 102 0</inkml:trace>
  <inkml:trace contextRef="#ctx0" brushRef="#br0" timeOffset="1099.62">7152 8959 1412 0,'7'-3'425'0,"-1"3"-33"0,4 0-29 15,0 1-12-15,-2 3-16 0,0-1 47 0,-1 2-37 16,-1 1-20-16,1 1-30 0,-7 3-24 0,3-1-25 15,-6 2-8-15,0 4-105 0,-1-3-8 16,-2 4-27-16,-4-2 17 0,2 0-31 0,-2 0-4 16,2 0 2-16,0-4-13 0,1 0-23 0,2-2-10 15,-1 0-13-15,2-1 15 0,1-4-10 0,3 2-2 16,0 0-18-16,0-5 22 16,5 3-22-16,0 0 10 0,1-1-8 0,3-2 3 0,-1 0-11 15,3 2-12-15,1 1 36 0,-1-2-11 0,4 3 18 16,-4-1-7-16,3 1 0 0,-3-2 4 15,-1 4 1-15,0-1 20 0,-2 0 13 0,0-2 0 16,-5 3 13-16,2 0 36 0,-5 0 45 16,-5-1 4-16,2 1-6 0,-3 2 23 15,-4-2-125-15,-4 2-1 0,-3 1-1 0,-5 0-6 0,1-3-18 16,-5 4-3-16,3-3 4 0,-3-1 19 16,6 0-25-16,-1-3-38 0,1 2 15 0,-1-2-31 15,4-1-7-15,2-1-16 0,2-1-30 0,2 0-9 16,-2 0-42-16,6-1-49 0,-4-1-37 0,4-1-22 15,1 0-36-15,4 0-36 16,0-1-89-16,2 4-59 0,4-9-541 0,2 4 62 16,1 1 98-16,-1-1 58 0,6-1 92 0,-1 0 54 15</inkml:trace>
  <inkml:trace contextRef="#ctx0" brushRef="#br0" timeOffset="1608.14">7552 8956 1182 0,'0'0'440'0,"-13"0"-5"0,6 0-63 16,-1 4-6-16,-3-1-28 0,1 3-24 16,-3 0 1-16,3 1-69 0,-3 3-11 15,3-1-4-15,0 0 40 0,2 1-33 0,0 1-7 0,1-1-27 16,1 0-32-16,4 1-24 0,-1-3-20 16,3 2-30-16,0-3-4 0,3 0-14 15,2-1-4-15,0-2-4 0,3-2-18 0,0 2-13 0,2-3-5 16,0-2-3-16,0-2 0 0,1 2-12 15,1-5 17-15,1 0 3 0,-3-1-13 16,0 1 41-16,1-2 16 0,-1-2-26 0,-2 2 28 16,-1 1-82-16,1 2 8 0,-3 0 20 15,-2-2 23-15,2 3 21 0,-3 2-31 0,1 0 3 16,-3 2 10-16,0 0 17 0,0 0 4 0,5 12-16 16,-5-5-8-16,-2 1-5 0,2 5-7 0,-3-1 84 15,1 0-13-15,1 1-18 0,-3 5-15 0,1-4-28 16,0-1-26-16,-1 0-28 0,1 2-56 15,0-2-70-15,0 0-32 16,1-1-60-16,2-3-59 0,-3 2-42 0,3-10-250 0,0 6-570 0,0-1 115 16,3-1 93-16,-1 0 86 0,1-4 100 15,2 2 82-15,-5-3 21 0</inkml:trace>
  <inkml:trace contextRef="#ctx0" brushRef="#br0" timeOffset="1981.8">7983 8963 1384 0,'0'0'566'0,"-16"6"-28"0,8-1-42 0,-2 2-48 0,0 0-5 0,-3 2-123 15,0 0-21-15,-3 4-22 0,2-1-6 0,1 0-43 16,-3 2-11-16,1-2-4 0,4 0 48 0,1-3-33 15,0 1-18-15,3 0-16 0,-1-1-48 0,2-3 10 16,4 1 3-16,0-1-18 16,2 0-3-16,0 0-20 0,2-1-21 0,3 0-5 0,0-3-2 15,3 4-6-15,2-5 11 0,3 3-36 0,0-2 12 16,3-2 1-16,2 0-23 0,-1 2-18 16,4-2-31-16,0-2 0 0,1 2 0 15,-4 0 0-15,0-2 0 0,0-1-29 0,-2 2-101 0,-1 0-21 16,0-2-51-16,-5 0-29 0,1 3-27 15,-1-4-55-15,0 2-91 0,-4 0-205 0,1-1-477 16,-2 0 127-16,-2-1 65 0,2 2 131 16,-5-2 47-16,3 1 76 0,-1-2 148 15</inkml:trace>
  <inkml:trace contextRef="#ctx0" brushRef="#br0" timeOffset="2189.62">8113 8917 1643 0,'-16'9'604'0,"14"-3"-20"0,-3 6-121 16,2 0-20-16,1 3-16 0,0 3-51 15,-1 7-15-15,-2 0-28 0,3 3 61 0,1-1-53 16,-1 2-32-16,2-1-140 0,0 0-15 0,0 0-16 16,-3 0-46-16,1-2-56 0,1 0-69 0,1-7-67 15,0 3-54-15,0-3-81 0,0-3-93 16,0-3-94-16,0-2-643 0,0 2 105 0,0-3 116 15,1-2 73-15,1-2 95 0,-2-1 90 16,0-2 69-16</inkml:trace>
  <inkml:trace contextRef="#ctx0" brushRef="#br0" timeOffset="6243.64">10115 3950 783 0,'0'0'197'0,"0"0"-49"0,0 0-12 15,6 1-59-15,-6-1-82 0,3 3-72 0,-3-3-499 0,4 2 20 16</inkml:trace>
  <inkml:trace contextRef="#ctx0" brushRef="#br0" timeOffset="11166.28">4365 10787 1064 0,'0'0'423'0,"-2"-3"-52"0,2 3-44 0,0 0-19 16,0 0-22-16,0 0-19 0,0 0-6 15,2 17-39-15,0-7-30 16,-2 2-2-16,3 3-34 0,0 2-10 0,-1 4 53 0,0-1-4 15,-2 2-31-15,1-2-3 0,4 7-43 0,-5-2-26 16,2 1 3-16,-1-5-26 16,1 4-33-16,1-5 25 0,-1-1-33 0,-2-1-18 15,2-2 1-15,1-1-11 0,-3-2-11 0,5 2-1 16,-2-6-1-16,-1 1-5 0,1-2 0 16,2-3 36-16,-3-3 0 0,4-1 2 0,-6-1 29 0,10-3-11 15,-5-3 13-15,2-4 11 0,0 1-16 16,2-4-8-16,2-6 26 0,-4-3 8 0,1 1-16 0,0-3 13 15,2-11-30-15,-2 3 4 16,2-1 14-16,-2 4-9 0,-4 7-17 0,2 0 0 0,1 1-11 16,-4 3-4-16,2 4-4 0,0 2 4 15,-5 0-26-15,3 4-34 0,-1-1-17 16,1 2-16-16,-3 5-20 0,3-2-34 0,1 4-43 16,-4 0-21-16,0 0-71 0,0 0-169 0,9 11-466 15,-4-3 10-15,-1 1 100 0,-1-1 64 0,2 2 100 16,-2 0 33-16</inkml:trace>
  <inkml:trace contextRef="#ctx0" brushRef="#br0" timeOffset="11919">4793 10869 939 0,'0'0'335'15,"-8"-1"-17"-15,8 1-29 0,-8 3-43 0,1 0-11 16,0 2-28-16,1-2-40 0,1 7 76 0,-3-2-33 16,1 1-21-16,-1 0-27 0,3 2 4 15,-3 3-33-15,0-4 18 0,3 2-41 0,-2 2-2 16,2-3-16-16,1-1-8 0,0 1-22 0,1-3-24 15,3 1-5-15,-2-2-25 0,4 1 7 16,-2-3 3-16,3 0 3 0,-1-2 9 16,0 0-12-16,-2-3 18 0,8 1-20 0,-8-1 14 15,0 0 4-15,13-5 4 0,-8 0 8 0,0-2 18 16,1 1-13-16,-1 0-5 0,0-1 29 16,0-4-11-16,0 5-18 0,0-2 10 0,1 0 5 15,-1 1-4-15,-2-1-9 16,1 3-2-16,-1 1-7 0,0-1 4 0,1 2-2 0,-1 1 5 15,-3 2-25-15,0 0 10 0,11 5 27 16,-7 0-116-16,-1 1 1 0,2 1 47 0,0 1-39 16,-2 3 3-16,2 1-7 0,-2 0-24 0,2-1 0 15,-3 2 21-15,1 0-1 0,-3-1 1 16,0-2 20-16,0 1-5 16,0-3 18-16,3 1 44 0,-3-1 17 0,0-1 0 0,-3-3 34 0,3-2-16 15,0-2 24-15,0 6 2 0,0-6 5 16,0 0 0-16,0 0-13 0,0 0 16 0,0 0-29 15,-3-12 0-15,3 6-12 0,0-1 12 0,3 1 55 16,-3-1-11-16,3 1-41 0,1-3 5 16,-1 0-46-16,2 3-26 0,-2-2-38 0,2 1-46 15,3-3-5-15,-3 3-49 0,3-1-35 16,-1 1-62-16,1-2-41 0,2 3-59 0,0-2 8 16,0-1-85-16,1 0 105 0,-1 3 44 15,0-1 61-15,3 0 52 0,-5 2 81 0,-1 0 39 16,1 0 35-16,-2 0 21 0,-1 1 5 0,2 4 47 15,-2-1 4-15,-5 1 18 16,6-1 13-16,-6 1 11 0,5 2-9 0,0 4 6 0,-5-3-8 16,2 2-8-16,-2 0-7 0,3 1-8 0,-3 3-7 15,0 0-1-15,0-1-2 16,0 1-44-16,-3-1-31 0,1-1-42 0,-1 5-35 0,0-4-60 16,1 2-101-1,-3-2-150-15,2 2-474 0,1-4 74 0,0 0 74 0,1-3 59 0,1 2 67 0</inkml:trace>
  <inkml:trace contextRef="#ctx0" brushRef="#br0" timeOffset="12608.48">5242 10904 1087 0,'0'0'428'0,"0"0"-31"0,0 0-116 0,-10 12-25 0,7-9-10 0,-2 3-21 15,2-1-20-15,-2 2-34 0,0 0 6 16,-2 2-23-16,1-1-6 0,1 0-38 15,0 2 8-15,2-1-16 0,-4 1-17 0,4-3-9 16,1 1-9-16,-1 1-11 0,0-2-12 0,1 1-21 16,2-2-5-16,-2-1-3 0,2 0-5 0,2-2-4 15,0 2 17-15,1-3 0 32,-3 2-16-32,0-4 16 0,10 2 3 0,-10-2-34 0,11-2 26 0,-6 0-2 0,3-2 1 0,-1-1 9 15,-2 2 12-15,1-3 21 0,-2 0-2 0,2 0-16 16,-2 0 10-16,-1-2 13 0,2 0 5 0,-4 2-8 15,3-1 8 1,-1 1 21-16,-1 2 2 0,1-1-23 0,-3 1-2 0,3 1 2 0,-3-2-8 16,0 5 6-16,2-4 74 0,-2 4-24 0,0 0-4 15,0 0-8-15,0 0-15 0,0 0-24 16,0 0 8-16,-7 12-2 0,6-8-26 0,1-1 3 16,0 2 5-16,0 0-11 0,0-1-7 15,-2 1-8-15,2-1-2 0,0 1-1 0,0-2 6 16,0-3-26-16,0 7 23 0,2-4-7 15,-2-3-3-15,0 2-18 0,0-2 18 0,6 3 15 16,-6-3-18-16,0 0 16 0,10 0 10 0,-10 0-5 16,7-3-6-16,-7 3 14 0,10 0-11 15,-10 0-2-15,8-2 12 0,-2 2-76 0,-6 0 0 16,10 0 15-16,-10 0-5 0,10 0-5 0,-5 2 7 16,1-2 14-16,-2 1-16 0,2 1 2 0,-1 0 1 15,2-1-11-15,-4-1-20 0,2 4-24 16,0-2-6-16,-2-1-60 0,-3-1-23 15,10 2-51-15,-7 0-41 0,1 0-125 0,-4-2-172 16,1 1-479-16,4 1 111 0,-5-2 112 16,8 2 90-16,-8-2 68 0,7 1 104 0</inkml:trace>
  <inkml:trace contextRef="#ctx0" brushRef="#br0" timeOffset="13150.84">5687 10909 1062 0,'-7'2'445'0,"2"3"-33"0,-3 1-28 15,3 1-43-15,-3 1-32 0,0 2-4 0,1 3-36 16,0 2-13-16,4-4-34 0,-5 3-12 0,5-1-20 15,-4 3-34-15,4-3-8 0,1 1-12 0,0-2-39 16,2-2-2-16,0-1-26 0,1 0-2 16,2-1-11-16,0-1-2 0,0-1-24 0,4-4 6 15,1 2 3-15,-3-2-19 0,3-2 13 0,-1 0-15 16,1-4 3-16,0 1-6 0,0 0 18 16,-1-1 67-16,0-1 18 0,-1 0 5 15,-1 1-21-15,1 0 13 0,1-1-61 0,-5 3-3 0,1-2 11 16,-1 2-19-16,2 0 19 0,-4 2-19 0,0 0 37 15,0 0-24-15,0 0-7 16,4 7-14-16,-4-7 14 0,0 6-28 0,0 0-6 0,0-2-7 16,3 1-47-1,-3 0-33-15,0 1 1 0,0-2-78 0,3 0-25 0,-1 1-38 0,1-4-52 16,2 4-181-16,-1-3-123 0,4 1-377 16,0-1 62-16,2-1 107 0,3-1 88 0,3 0 45 15,1 0 85-15</inkml:trace>
  <inkml:trace contextRef="#ctx0" brushRef="#br0" timeOffset="13428.93">6618 10887 1548 0,'0'0'440'16,"0"0"-10"-16,0 0-66 0,0 0-29 15,0 0-28-15,18 5-48 0,-10-4-54 0,3-1-59 16,1 1-93-16,1-1-78 0,0 0-116 16,-1 0-192-16,1 2-512 0,-2 0 67 15,2 0 141-15,-3-1-6 0,-5 3 88 0</inkml:trace>
  <inkml:trace contextRef="#ctx0" brushRef="#br0" timeOffset="13578.91">6598 11047 1308 0,'-3'3'409'0,"3"-3"-38"0,-5 0-38 0,5 0-21 0,0 0-20 0,-2 4-36 0,2-4-26 15,0 0-17-15,0 0-26 0,20-1-57 0,-10-1-48 16,1 1-10-16,4 1-72 0,0-4-46 0,3 2-128 15,-2 1-182-15,2-5-509 0,-1 5 128 16,-1-1 58-16,-1 0 139 0,3 1-26 0</inkml:trace>
  <inkml:trace contextRef="#ctx0" brushRef="#br0" timeOffset="14120.91">8144 10703 1308 0,'10'-3'486'0,"0"3"-23"0,-1 1-28 16,1 2-110-16,-5 0 0 16,2 1-20-16,-1 3-36 0,-1-1-18 0,-3 1-11 15,1 3 55-15,-6-1-16 0,3 3-39 0,-5 1-17 0,-1 0-8 16,-4 1-28-16,0 1-26 0,-2-1-5 15,-1 2-23-15,0-3-30 0,0 1 27 16,1-1-35-16,-1 0-11 0,2-2 9 16,4-3-6-16,-3 1-8 0,4-1-82 0,1-3 6 0,0 1 20 15,2-2 3-15,-2 1 9 0,3 0 4 16,1-1-24-16,1 0 13 0,1 0-7 0,-1-4 15 16,5 7-3-16,-2-6 0 0,1 3-35 15,4-2 25-15,-2-1-5 0,1 1 0 0,1-1-54 0,1-1 8 16,2 0-34-1,-1 1-33-15,0-2-48 0,1 0-34 0,2-1-12 0,0-1-26 0,2-1-46 16,0 3-67 0,-2-4-148-16,2-1-8 0,1 2-440 15,0-2 77-15,1 1 120 0,-2-3 8 0,1-1 69 0,-1 2 53 0</inkml:trace>
  <inkml:trace contextRef="#ctx0" brushRef="#br0" timeOffset="14470.11">8483 10774 1087 0,'-10'-4'476'0,"10"4"-117"0,-9 2-8 0,0 0-29 16,3 1-38-16,-1 0-25 0,-1 4-6 0,0 0-38 16,0 1-15-1,1 1-8-15,1-1-34 0,-2 4-24 0,1-2 14 0,4 1 21 0,1-1-8 0,0 2-25 16,2-2-39 0,2 0-12-16,0 0 9 0,1-1-19 0,2-2 4 0,3 2-18 0,0-4 3 15,2-1-12-15,3 1-19 0,0-4 33 16,-1-1 3-16,1 0 8 0,-2 0 3 15,1-1 7-15,-2-4 38 0,-2 4 11 16,2-4 10 0,-5 0 2-16,3 1-25 0,-5-3 13 0,2 0 22 0,-5-1-27 0,0 1-11 0,-2 0-35 0,-1 1 4 15,0-2 8-15,-2 1-12 16,-2 0-11-16,1 0-7 0,-1 3-24 0,-1-1-43 0,2 0-20 16,-1 2-6-16,-3-1-48 0,5 3-39 15,0-1-38-15,-1-1-48 0,1 3-37 0,5 0-22 16,0 0-65-16,-10 0-107 0,10 0-110 0,0-4-458 15,0 4 63 1,0 0 157-16,15-4 8 0,-7-1 125 0,5 2 59 0,-1-2 56 16</inkml:trace>
  <inkml:trace contextRef="#ctx0" brushRef="#br0" timeOffset="14744.9">8803 10675 952 0,'2'0'366'0,"-2"0"-5"0,0 0 30 0,0 0-4 0,0 0-42 0,1 6-22 16,-2 1-34-16,-3 0-10 0,0 2-25 15,0 3-32-15,-2-2-25 0,-1 6 3 16,4-2-26-16,-2 4-33 0,0-1-8 16,3-4-18-16,1 1-41 0,2-1 16 0,1 0-111 0,1 0 19 0,0-2 20 15,4-3-5-15,-2 0-6 0,3 0 29 16,2-2-15-16,-2-3 4 16,-1 2 6-16,-1-5 48 0,1 3 21 0,-2-3 95 0,-5 0-1 15,10-3-4-15,-4 2-16 0,-2-1-34 16,-1-1 4-16,0 0-26 0,-3-1 4 0,0 4-29 15,0-7-42-15,-3 2 2 0,1 1-58 0,-1 0-43 16,-2 0-37-16,0 1-48 0,-1-1-56 0,0 1-21 16,-2-1-90-16,-2-1-189 0,1 4-534 15,-3-4 47-15,-1 2 134 0,0-1 46 16,0 2 115-16,-3-2 46 0,-1-2 93 0</inkml:trace>
  <inkml:trace contextRef="#ctx0" brushRef="#br0" timeOffset="15067.4">7895 10504 1116 0,'-18'12'447'0,"0"0"-14"0,5 2-23 0,-2 1 35 0,-8 9-35 16,2 6-27-16,4 0-6 0,-1 4-21 0,0 3-52 16,2 1 3-16,3 0-48 0,-2 5-36 0,5 0-1 15,5 1-20-15,0-1-25 0,5-1-31 16,3-2-49-16,4-3-51 0,8 1-25 0,3-6-37 16,5-1-48-16,8-6-33 0,5-4-28 0,5-4-44 15,2-4-51-15,2-2-100 0,3-4-156 16,0-4 2-16,4-3-460 0,7-5 112 15,10-2 41-15,3-6 108 0,2-3 46 0</inkml:trace>
  <inkml:trace contextRef="#ctx0" brushRef="#br0" timeOffset="15468.74">9028 10474 1205 0,'0'0'504'0,"16"6"-7"0,-6 1-29 16,1 3-20-16,1 2-48 0,1 4-57 0,8 9 0 16,-4 4-5-16,-1 3-39 0,-1 1-23 15,-1 3-22-15,-4-3-26 0,-6-2-34 0,-1-1-2 16,0-3-15-16,-3 3-113 0,-3-2 10 16,-2-2-18-16,0-1-17 0,-2 1-14 15,1-5-17-15,-2 1-21 0,1-6-28 0,-1 0-46 0,0-3-28 16,0-2-16-16,1-3-76 0,-1-1-41 15,0-2-162-15,3-4-493 0,0 3-29 0,5-4 110 16,-10-4 54-16,8-2 72 16,-4 0 84-16</inkml:trace>
  <inkml:trace contextRef="#ctx0" brushRef="#br0" timeOffset="15855.88">9380 10313 1105 0,'13'3'425'0,"-3"0"-41"0,0 1-36 15,-2 1-7-15,-3 3-29 0,3 0-18 0,-6 2-43 16,0-2-15-16,-2 5-8 0,0 0-34 0,-4 2 8 15,-2 1-43-15,1 0-18 0,-5-1 2 16,0 0-7-16,0-1-34 0,2-2 13 0,0-2-7 16,3 0-3-16,-2-2-3 0,4-2-15 0,-3 0 13 15,2 1-23-15,1-1 2 16,0-1 44-16,1-3-49 16,2 2 13-16,0-4-23 0,5 7-10 0,-2-7 10 0,2 4-15 0,3-4-11 15,2 2-5-15,0-2-5 0,2 0-22 0,-1 0-17 16,4 0-30-16,0-2-38 0,1 2-8 15,2 0-54-15,-3-3-58 16,3 3-34-16,-2 0-72 0,-1-2-153 0,-2 3-482 0,2-1 39 0,1 4 103 16,-6-2 94-16,3-1 67 0,-3 4 45 15</inkml:trace>
  <inkml:trace contextRef="#ctx0" brushRef="#br0" timeOffset="16244.48">10026 10600 1226 0,'0'0'496'0,"0"0"-2"15,0 0-48-15,0 0-27 0,-8 16-47 0,6-7-24 16,1 3-34-16,-1 3 1 0,0 2-38 15,-1 4-113-15,3 0-21 0,0-1-23 0,0 0-7 16,0 2-44-16,-2-2-18 0,1-1-43 16,1 3-72-16,0-3-56 0,0 1-44 0,0-6-97 0,1 0-182 15,1 2-497-15,1-3 129 0,-3-2 30 16,0-1 111-16,0-1 50 0</inkml:trace>
  <inkml:trace contextRef="#ctx0" brushRef="#br0" timeOffset="16485.34">9728 10826 1374 0,'0'0'404'0,"0"0"-32"16,8-3-29-16,-8 3-26 0,10-2-33 15,-2 0-20-15,5 2-3 0,2 0-15 0,1-1-31 16,4 1-36-16,4-1 10 0,1 1-58 15,5-2-29-15,1-1-17 0,0 3-39 16,-5 0-44-16,4-2-43 0,-7 1-53 0,3-1-83 16,0 1-166-16,-3-1-527 0,-2 0 25 0,1 1 131 15,-1-2 56-15,-1-1 28 0</inkml:trace>
  <inkml:trace contextRef="#ctx0" brushRef="#br0" timeOffset="16966.14">10703 10531 1133 0,'5'0'361'15,"2"-2"26"-15,1-1-34 0,0 2-20 0,3 1-5 16,-1-2-57-16,2 2-13 0,-1 0-4 15,1 2-42-15,-1-2-20 0,4 4 3 0,-4-2-93 16,-1 4-2-16,0 0 20 0,0 0-10 0,-5 2-18 16,3 3 42-16,-3 0-22 0,-2 4-15 15,2-2-17-15,-5 5-6 0,0 0-13 0,0 1-2 16,-3 0-18-16,1 0 23 0,1 0-18 0,-4-1 3 16,1 1-13-1,1-1-13-15,0-1-46 0,0-2-21 0,1-2-12 0,0 3-18 16,-1-3-39-16,3 0-30 0,0-5-47 0,-3 2-37 15,3-3-127-15,-4 1-88 0,4-2-434 0,2-2 70 16,-2 1 66-16,0-2 80 0,0-3 56 0</inkml:trace>
  <inkml:trace contextRef="#ctx0" brushRef="#br0" timeOffset="17207.73">10738 10769 1410 0,'-4'-4'484'0,"4"4"-24"0,0-3-32 0,0 3-88 15,0 0 24-15,8-6-52 0,-1 6-5 0,1-2-46 0,4-1-20 16,1 2-44 0,2-1-38-16,1 0-31 0,-1-1-54 0,1 1-69 0,5-2-64 15,1-2-92-15,-2 4-112 0,4-5-157 0,1 1-497 16,1-1 106-16,-3-2 79 0,0 2 95 0,-2-1 86 15,4-2 9-15</inkml:trace>
  <inkml:trace contextRef="#ctx0" brushRef="#br0" timeOffset="17481.82">11315 10519 801 0,'-4'-3'366'0,"4"3"33"0,-8 0 0 16,8 0-56-16,-10 5-5 0,2-1-13 15,0 3-56-15,0 2 10 0,-2 0-18 16,3 3-56-16,-3 2-11 0,2 1 4 0,0 0-29 15,3 3-29-15,-1-1 1 0,2-2-28 0,1 0-21 16,3-1 8-16,0-2-8 0,3 0-10 16,1-2-31-16,2 0 8 0,-1-2 23 0,2-2 10 15,-2 1-5-15,3-6 0 0,-2 2 26 0,-1-1-6 16,2-2-71-16,-7 0 28 0,10-2-3 16,-7-2 11-16,2 2-5 0,-5-2 14 15,1 0-11-15,-2-1 9 0,-1 1-18 0,-1-1-35 16,-2-2-6-16,0 1-27 0,-3 3-21 15,-2-3-49-15,2 2-38 16,-2-1-44-16,0 2-48 0,-3-2-44 0,2 0-110 0,-3 3-151 0,3-3-479 16,1-1 124-16,0 3 104 0,-4-3 20 15,2 0 78-15,-1-3 66 0</inkml:trace>
  <inkml:trace contextRef="#ctx0" brushRef="#br0" timeOffset="17779.78">10552 10269 1643 0,'-14'17'491'0,"2"-3"-99"0,2 5 71 0,-1 3-58 0,-1 9-11 15,4 4-41-15,-2 2-23 0,2 6-30 0,3 1-8 16,-1 4-49-16,2 1-3 0,1 1-32 0,3-1-24 15,0-1-110 1,5 0-33-16,3-3-10 0,5-4-26 0,5-6-5 16,4-1-41-16,5-5-41 0,3-5-20 0,1-1-39 0,2-5-43 15,3-6-54-15,-5-5-100 0,-3-4-105 0,3-1-443 0,0-4 24 16,-1-1 158-16,9-6-10 0,-1-1 125 16,-2-2 21-1</inkml:trace>
  <inkml:trace contextRef="#ctx0" brushRef="#br0" timeOffset="18087.25">11431 10274 1348 0,'10'7'464'0,"-3"1"-24"16,2 3-38-16,1 5 46 0,0 2-10 0,0 4-134 15,0 1-15-15,0 10-17 0,-1 2-32 16,-2 2-25-16,-4 0-18 0,-3-4-7 0,0 7-37 16,-3-2-25-16,-5-1-38 0,0-1-39 0,1-4-35 15,-3-2-34-15,3-6-59 0,-1-3-43 16,2 2-21-16,1-4-92 0,-2-4-190 0,2 0-524 15,1-5 69-15,0 0 77 0,2-4 131 0,1-3 40 16,-2 1 82-16</inkml:trace>
  <inkml:trace contextRef="#ctx0" brushRef="#br0" timeOffset="18565.86">11705 10178 1371 0,'8'-2'497'15,"0"4"-41"-15,-3-1-13 0,5 2-44 0,-2 1-31 16,0 1-4-16,2 2-39 0,-5 1-33 0,2 0-34 16,-2 3-7-16,-1-1-31 0,-2-1-28 0,-2 4-23 15,-2-1-8-15,-2 1 1 0,-1 2-32 16,-3-1-94-16,-1 0-15 0,1-2 9 15,-3 2 6-15,1-3-13 0,3-1-5 0,-1-1-8 16,0-2 29-16,3-1-14 0,0 0 16 0,0 1-18 16,0-2 0-16,2-1-18 0,0-2 16 15,1 0 5-15,2-2-19 0,0 0 21 0,0 0-7 16,0 0-16-16,8 4 8 0,-8-4-36 16,12-4-13-16,-4 3-13 0,2 0-35 0,3-4-39 15,0 4-33-15,0-1-52 0,0-1-55 0,2 3-177 16,-2-2-556-16,0 0 85 0,0 0 68 15,-3 1 116-15,0 1 72 0,1 0 61 0</inkml:trace>
  <inkml:trace contextRef="#ctx0" brushRef="#br0" timeOffset="18926.05">12223 10526 1331 0,'0'0'389'0,"0"0"-23"0,0 0-34 16,0 0-32-16,2 15-3 0,-2-7-36 0,0 3-23 16,1 3-10-16,-1-1-36 15,-1 6-13-15,1 0-38 0,0 4-18 0,1-3-47 0,-1 0-35 16,0 1-30-16,0-1-55 0,0-1-76 0,0 1-90 16,2-6-172-16,-2 1-457 15,3 0 25-15,-1-2 102 0,-1-2 54 0,-1-2 111 16</inkml:trace>
  <inkml:trace contextRef="#ctx0" brushRef="#br0" timeOffset="19194.5">12028 10726 1151 0,'0'0'515'0,"0"0"-49"0,0 0-26 0,0 0-30 15,20-2-42-15,-9 1-97 0,2 1-20 0,2-1-36 16,3 0-10-16,0 1-15 16,3 0-34-16,1 0-26 0,2-2-20 0,-1 1-33 0,2-1-39 15,-1 2-66-15,1-3-66 0,1 2-50 0,-3 1-165 16,0-2-278-16,-3 1-278 0,4-1 92 0,-6 0 56 15,2 0 95-15,-2-1 31 0</inkml:trace>
  <inkml:trace contextRef="#ctx0" brushRef="#br0" timeOffset="19659.47">13126 10343 1218 0,'-8'5'397'0,"-3"1"-36"0,-1 4-18 16,-4 5 48-16,1 0-45 0,-8 9 12 0,0 1-53 15,2 2-16-15,1 2-18 16,2 3-43-16,0-1-15 0,0 5-16 0,3-4-13 0,2 0-15 15,3 4-28-15,2-8-24 0,3-4-19 16,5-1 9-16,0-3-7 0,0-1-16 16,3 3-14-16,4-1-22 0,1 0-32 0,-1-4-32 0,1-1-14 15,2-2-45-15,1-2 1 0,4-3-46 16,-2 1-36-16,2-4-77 0,0-1-149 0,1-3-135 0,-1 0-422 16,3-2 79-16,-3-2 112 0,4-3 50 15,-1 0 55-15</inkml:trace>
  <inkml:trace contextRef="#ctx0" brushRef="#br0" timeOffset="19881.84">13203 10672 1377 0,'0'0'473'0,"0"0"-10"0,0 0-43 15,0 0-33-15,0 0-62 0,0 0-21 0,0 0-30 16,0 0-28-16,25 3 0 0,-15-3-54 0,0 3-16 16,1-2-66-16,4 0-53 0,-2 0-32 15,0-1-63-15,2 0-100 0,3 0-241 16,-3 0-550-16,-1 0 79 0,1 0 85 0,-2 0 91 16,0 0 17-16,-1-2 75 0</inkml:trace>
  <inkml:trace contextRef="#ctx0" brushRef="#br0" timeOffset="20244">13662 10563 1343 0,'7'3'433'0,"1"-1"-49"16,0 0-41-16,0 4 8 0,-1-1-26 15,3 1-26-15,-7 1-20 0,1 4-28 0,-3-1-31 16,-1 0-5-16,0 2-18 0,-5 2-107 0,2-3 2 16,-4 5-15-16,-3-2 5 0,2-1-11 0,2-2-2 0,1 0-35 15,-2-1 60-15,2-1-32 16,-1-1 12-16,2-2-12 0,-2 1-1 0,4-1-10 16,-1-1 8-16,0 1-13 0,1-3 13 0,2 3 69 15,0-6-8-15,5 6-30 0,-2-4 22 16,4 1-35-16,-2-1-15 0,5-2-24 15,-2 1-12-15,3-1-60 0,-1 2-32 0,5-5-26 0,-2 3-29 16,0 0-45-16,2-2-46 16,-2-1-185-16,0 0-599 0,3-1 108 0,-4 1 69 0,1-1 97 15,-3-1 51-15,0 1 26 0</inkml:trace>
  <inkml:trace contextRef="#ctx0" brushRef="#br0" timeOffset="20589.58">13984 10568 883 0,'5'0'348'15,"-5"0"69"-15,14 1-15 16,-7 2-44-16,-2-1-12 0,-2 1-6 0,2 1-28 16,-2 2-22-16,-1 1-22 0,-2 0-29 0,-2 2-14 0,1 0 3 15,-3-2-8-15,-4 4-113 16,0 1 1-16,0 0-8 0,0-4 28 0,1 2-3 0,-1-1 0 15,1 0-15-15,2-2-7 0,-1-1 2 16,2 0 15-16,0-3-2 0,0 2-16 0,1 0 52 16,-2-3 7-16,3 1 5 0,2-3-32 15,-1 6-9-15,1-6-18 0,0 4-9 0,3 0-6 16,2-2 10-16,0-1-33 0,3 1 11 0,0-2-57 16,2 1-54-16,3-2-33 0,-1 1-23 15,-2-2-69-15,4 2-59 0,-1-1-33 0,-1 1-90 16,0 0-236-1,2-3-508-15,-1 0 114 0,-1 1 123 0,1-3 88 0,0 2 89 0,-2 0 12 16,1-2 103-16</inkml:trace>
  <inkml:trace contextRef="#ctx0" brushRef="#br0" timeOffset="20919.91">14493 10544 1328 0,'0'0'435'0,"0"0"-48"0,0 0-9 16,0 0-114-16,-16 6-26 0,11-3 8 0,-1 1-29 16,-4 0-14-16,0 1-11 15,-1-1 5-15,-4 2-31 0,5 0 82 0,-7 3-2 0,3-2-69 16,1 0-1-16,1-1 1 0,2 1-44 16,-1-1 0-16,1-1-5 0,2 2-23 0,0-2 21 15,1-1-9-15,2 2-14 0,-1-1 12 16,4 0-26-16,-1 1 9 15,1-4-6-15,2 4-13 0,0-2-2 0,3-1-10 0,-1 1-9 0,4 0-9 16,1-1 0-16,0-1 2 0,1 1-8 16,3-2-17-16,1 0-29 0,-2 0-40 0,4 1-6 15,-2-2 19-15,1 0-60 0,2-2-94 0,-2 1-21 16,0 0-48-16,-3 0-119 0,0-2-209 16,-2 1-417-16,2-1 84 0,-2 0 90 0,0 1 51 15,-1-2 110-15,-1-2 23 0</inkml:trace>
  <inkml:trace contextRef="#ctx0" brushRef="#br0" timeOffset="21135.34">14464 10581 1246 0,'-6'5'407'0,"2"0"-5"0,1 1-28 0,-2 2-31 0,2 0-16 15,-2 5-17-15,3-1-41 0,-3 6-11 16,0-2-25-16,2 0-18 0,0 3-23 15,1-2 67-15,-1 0-60 0,-2 1-32 0,5-4-62 16,-3 0-67-16,-1 3-63 0,3-4-57 16,-1 0-100-16,2-8-223 0,-3 4-542 0,3-1 126 15,0-1 30-15,3-4 95 0,-3 3 63 0,0-6 60 16</inkml:trace>
  <inkml:trace contextRef="#ctx0" brushRef="#br0" timeOffset="21422.37">14577 10326 1162 0,'15'6'537'0,"-7"-2"-56"15,-1 1-33-15,4 3-20 0,-1 5-37 0,5 0-14 16,-4 6-50-16,1-1-4 0,-1 2-31 0,-3 3-26 15,-1 0-15-15,-2 1-16 0,-2 0-33 16,-1 1 3-16,-2 0-10 0,-2-1-37 0,-3 2-24 16,-1 0-37-16,-4 7 3 0,3-6-88 0,-3-5-35 15,-1 0-20-15,-2-3-44 0,3 0-36 16,-1-2-66-16,-1-3-73 0,2-3-50 16,-1 0-223-16,4-5-486 0,2-2 94 0,2-1 108 15,0-2 110-15,3-1 54 0,0 0 94 0</inkml:trace>
  <inkml:trace contextRef="#ctx0" brushRef="#br0" timeOffset="21767.74">14785 10281 1379 0,'10'0'458'0,"0"0"-33"16,-2 3-15-16,2 0-42 0,-5 1 11 16,3-1-59-16,-3 3-5 0,0 0-36 0,-3 1-3 0,-2 2-20 15,0-1-33-15,-4 3-10 16,1-1-103-16,-3 5 0 0,-1-6-5 0,-1 4-8 16,1 0 0-16,-1-2 0 0,3-1-22 0,-3-1-24 15,3-1 18-15,0-1-23 0,0 1 16 0,2-2-11 16,1-1-3-16,2-1-7 0,0 1 13 15,0-5 0-15,2 6 7 0,0-2-20 0,1-3-25 16,3 1 7-16,-2-2 0 0,4 0-3 16,0 0-22-16,2 0-24 0,-2 0 5 0,2-1-53 0,1-1-59 15,1 0-51-15,1 0-52 16,-3-2-102-16,0 3-207 0,1 0-461 0,2 0 103 0,2-2 68 16,1 2 126-16,-1 0 64 0,8-1 59 15</inkml:trace>
  <inkml:trace contextRef="#ctx0" brushRef="#br0" timeOffset="22126.21">15389 10544 1338 0,'0'0'556'0,"0"0"-34"0,-2 11-49 15,2-4-40-15,-2 0-47 0,2 5-35 0,-1 0-28 16,1 1-34-16,-2 4-33 0,-1 1-5 0,1-3-44 15,1 4-76-15,-1-1-96 0,0 0-35 0,-1-3-35 16,3 0-137-16,-3-1-225 0,3-1-481 16,0-1-23-16,3-1 105 0,-3-3 49 15,0-1 99-15,0-1 26 0</inkml:trace>
  <inkml:trace contextRef="#ctx0" brushRef="#br0" timeOffset="22352.06">15236 10718 1113 0,'0'0'502'0,"-5"-2"-1"0,5 2-32 0,0 0-29 0,0 0-100 0,0 0-25 15,12-4-25-15,-4 4-9 16,-1 0-27-16,4 0-19 0,2 0 16 0,2 0-67 0,1 0-10 16,2-1-15-16,-1 0 61 0,1 1-23 15,3-1-10-15,-1-1-26 0,1 2-35 0,2-2-32 16,0 2-37-16,-2-1-55 0,-3 0-48 15,2-2-59-15,1 2-64 0,-3 0-82 0,-3 0-150 16,3-1-616-16,-3 1 50 0,3-2 145 16,-2 0 59-16,-1 0 47 0,1-1 94 0,-4 2 33 15</inkml:trace>
  <inkml:trace contextRef="#ctx0" brushRef="#br0" timeOffset="22893.83">16115 10447 1116 0,'0'0'414'0,"13"3"70"0,-6-2-51 0,-1 3-21 16,-1-2-33-16,0 4-34 0,-2-1-15 16,-1 1-33-16,-2 0-36 0,-2 1-2 0,-1 0-31 15,-2 3-26-15,-3-2-28 0,1 1 3 0,1 1-24 16,-2 0-33-16,1-2 1 0,-1 0-11 15,1 3-23-15,1-5 8 0,4-1-34 16,-1 0 0-16,3-2 8 0,0 3-10 0,3-5 0 0,4 5-28 16,1-6 23-16,0 4-11 0,2-2-2 0,3-1-18 15,0 2 3-15,-1 0 22 0,-1 1-22 16,4-2 7-16,-4 2 21 0,1-2-13 0,1 3 5 16,-5-1 8-16,0-1 5 0,0 4 20 15,-4-2 6-15,-4 2-78 0,3-1-7 16,-6 3 39-16,1-1-21 0,-3 1-11 0,-5 0 19 15,-1 1-13-15,-2-1-39 0,-2 1 39 0,-1 0-11 16,-2-2-17-16,3 1-5 0,-3-2-16 16,3 0-28-16,2-2-59 0,0-2-59 0,3 2-18 15,0-3-58-15,2 0-42 0,3-2-119 0,-3 0-139 16,6-4-425-16,2 4 59 0,3-6 128 16,1 0 69-16,6-2 61 0,1-4 54 15</inkml:trace>
  <inkml:trace contextRef="#ctx0" brushRef="#br0" timeOffset="23218.2">16433 10470 1292 0,'-10'16'376'0,"7"-9"-15"0,-2 1-38 0,0 3-59 0,2 0-14 0,-1 1-22 16,-2 2-15-16,4-1-24 0,-1 1-7 15,0-1-39-15,1 3-15 0,2-2-2 0,0-1-16 0,2-1-21 16,3 0 8-16,1 1-7 0,-1-3-23 15,0-1 14-15,0-3 17 0,0-1 27 16,2 0 31-16,-1-2-5 0,-3-1-5 0,-3-2 5 16,7 0 13-16,-7 0 61 0,0 0-2 15,5-4-11-15,-5 4-12 0,0-6-33 16,0 6-42-16,-4-6-2 0,-2 3-16 0,1-1-4 0,0 0-57 16,-3 2-23-16,3-2-10 0,-3 3-49 0,-2-3-54 15,2 2-20-15,-2 1-64 0,-1 0-46 16,-1 0-44-16,0-3-163 0,1 4-554 0,1-1-7 15,-3-1 133-15,-2-1 93 0,-1 1 50 0,3-3 98 16,0 0 38-16</inkml:trace>
  <inkml:trace contextRef="#ctx0" brushRef="#br0" timeOffset="23487.84">15915 10218 1446 0,'-18'13'486'0,"3"5"-53"0,2-4-8 15,-8 14 48-15,4 0-33 0,-1 5-112 0,0 3-13 16,2 5-23-16,1 6-24 0,-3 6-42 16,3-1-1-16,7-8-31 0,0 0-32 0,3-2-32 31,5 0-45-31,5-2-29 0,7-4-28 0,4-3-48 0,3-2-31 0,8-4-52 0,1-4-17 15,6-5-49-15,4-4-56 0,-2-4-177 16,-3-5-159-16,-2-2-373 0,0-5 94 0,0-1 78 16,7-4 81-16,1-5 95 0,-3 0 40 15</inkml:trace>
  <inkml:trace contextRef="#ctx0" brushRef="#br0" timeOffset="23755.42">16654 10169 1139 0,'0'0'509'16,"10"6"-43"-16,-2 0-18 0,-1 4-28 0,3 3-8 0,4 2 51 0,-2 6-51 15,3 5-107-15,-1 5-31 0,0 0 53 16,-3 0-20-16,-4-3-23 0,-4-3-48 0,2 2-3 15,-5 0-39-15,0 1-32 0,-2 0-47 0,-3-1-54 16,0 0-53-16,-1-2-72 0,-2-1-67 0,3-2-45 16,-2-5-80-16,4-8-271 15,-2 4-536-15,0-4 142 0,2 0 56 0,3-6 102 16,-2-1 82-16,2-2 79 0,0 0 52 0</inkml:trace>
  <inkml:trace contextRef="#ctx0" brushRef="#br0" timeOffset="24094.1">16948 10038 1075 0,'6'5'478'0,"2"-1"-30"15,-4 0-25-15,4 4-50 0,-3 2-22 16,-2 0-31-16,-1-1-16 0,-2 4-42 0,0 2-6 15,-5-2-24-15,4 2-22 0,-8 1-23 0,2-1-18 16,-1 1-15-16,2-3-24 0,-1-3-17 16,2 1-6-16,-1-1-2 0,4-3-7 0,-1 0-27 15,1 0 4-15,-1-1-6 0,3-2 7 16,3-1-22-16,-3 1 10 0,0-4-8 0,7 4-9 16,-4-2-1-16,2 0-3 0,3-2 16 0,-1 0-31 15,2 0-23-15,1 0-10 0,0 0-31 16,0 0-61-16,1-2-51 0,-1 2-49 0,0 0 5 15,2 0-146-15,-1-2-704 0,1 2 102 16,-2 0 86-16,0 0 96 0,-2-1 115 0,0 1 37 16,-3 0 91-16</inkml:trace>
  <inkml:trace contextRef="#ctx0" brushRef="#br0" timeOffset="24456.73">17772 10362 1336 0,'0'0'514'15,"0"0"-91"-15,0 0-52 0,0 16-16 0,0-7 52 0,-3 3-66 16,2 1-19-16,-1 2-22 0,0 2-31 16,-1 2-44-16,3 2-31 0,-5-1-22 15,3 1-47-15,1-1-45 0,-4-2-47 0,3 3-64 16,1-1-63-16,-1-1-70 0,2-5-164 0,-2 0-642 0,2-1 74 15,-3-2 118-15,3-5 61 16,0 3 67-16,-2-4 105 0</inkml:trace>
  <inkml:trace contextRef="#ctx0" brushRef="#br0" timeOffset="24660.51">17572 10593 1108 0,'-3'-6'445'0,"3"6"-22"0,0 0-24 0,0 0 44 16,10-5-29-16,-5 4-27 0,5 1-29 16,1-2-40-16,4-1-50 15,3 1-4-15,2 1-23 0,6-3-57 0,2 3-36 0,-2-5-55 16,4 5-45-16,-1-3-89 0,1 1-61 0,-3 0-128 16,3-3-177-16,-4 5-561 0,-3-2 98 15,0 0 112-15,-3 2 59 0,1-1 85 0,-5-2 69 16</inkml:trace>
  <inkml:trace contextRef="#ctx0" brushRef="#br0" timeOffset="25010.39">18338 10163 1543 0,'-13'10'402'0,"3"-3"-5"0,0 6-36 0,0 0-31 0,-3 6-13 0,2 0-15 0,-6 11 39 16,0 2-16-16,0-1-16 0,2 3-71 0,4 0 1 15,-1 0-22-15,2 1-33 0,-1-2-12 0,6-2-19 16,3-6-17-16,2-2-16 0,0-3 6 15,2 2-29-15,3-2-12 0,0-2-19 0,3-3-27 16,2-2-45-16,1-2-27 0,4 0-51 16,0-5-34-16,-2-2-23 0,5-3-66 15,0 1-157-15,3-5-247 0,4-1-375 0,3-2 80 16,-2-1 120-16,7-5 41 0,-3 1 95 0,-9 0 56 16</inkml:trace>
  <inkml:trace contextRef="#ctx0" brushRef="#br0" timeOffset="25232.3">18515 10418 1121 0,'-5'0'496'0,"5"0"-38"0,0 0-30 15,0 0-52-15,0 0-33 0,0 0-31 16,0 0-38-16,20 2 46 0,-9 0-30 0,1-1-40 15,1 0-73-15,0 1-77 0,3-2-39 0,2 3-63 16,-1-3-50-16,1 0-101 0,6 0-182 0,0 0-620 16,-3-2 108-16,5 1 58 0,-3-1 111 15,0 2 79-15,1-5 33 0</inkml:trace>
  <inkml:trace contextRef="#ctx0" brushRef="#br0" timeOffset="25646.03">19135 10219 1538 0,'-20'3'514'0,"-1"0"-109"0,1 3-65 16,0-2-22-16,3 2 7 0,0 1 48 0,1-1-47 15,-1 2-40-15,4-1-14 0,0 3-24 0,0-2-51 16,6-1 0-16,-1 3-15 0,2-1-44 15,4-3-2-15,2 0-11 0,4 1-20 0,0-2-23 16,4 1-8-16,2-2-5 0,3-2-10 0,1 0-13 16,4-2 3-16,1-2 2 0,1-2-10 0,1 2 15 15,2-4-10-15,0 1 13 0,-5-2 3 16,3 1 30-16,-4-1-5 0,-1 1-8 0,-3 0 18 16,-1 2-9-16,-2 1-4 15,1 1-10-15,-2-2 11 0,-5 4-1 0,-4 0 6 0,7 6 4 16,-2-2-17-16,-4 2-3 0,-1 1-79 15,-1 2-10-15,-1 2-5 0,-3 2 14 0,0 1 1 0,-3 4-2 16,3-2-24-16,-3 2-51 0,1-3-31 0,-1 3-45 16,0-4-52-16,3 3-36 15,0-5-53-15,2-2-73 0,3-4-186 0,-2 3-460 16,4-2 68-16,0 1 62 0,4-5 138 0,2 0 77 16,-1-3 56-16,6 1 84 0</inkml:trace>
  <inkml:trace contextRef="#ctx0" brushRef="#br0" timeOffset="25938.93">19656 10282 1177 0,'0'0'512'0,"0"0"-97"16,0 0-19-16,0 0-14 0,-18 9 22 16,10-6-10-16,-2 3-17 0,-6 0-34 0,-2 1-26 15,-2 4-10-15,-1-3-48 0,-1 3-3 0,3 0-21 16,-3-1-17-16,4 1-24 0,2-1-25 0,1-1-28 15,5 0 0-15,0 0 5 0,2-2-18 16,0 3-8-16,5-4-7 0,1 2-6 0,-1-3-25 16,6 1 8-16,1 0-11 0,-3-3 0 0,4 2-20 15,2 0-82-15,1-3-5 0,2 2-31 16,1-3-13-16,-1 3 14 0,4-3-60 0,-2 0-5 16,0-1-79-16,-1 0-3 15,4-1-10-15,-2-2-67 0,-1 0-35 0,2-1-190 0,-1 1-514 0,-3-2 76 16,0-1 47-16,2 0 191 15,-3-1 34-15,-1 0 49 0,1-3 96 0</inkml:trace>
  <inkml:trace contextRef="#ctx0" brushRef="#br0" timeOffset="26133.2">19646 10305 1123 0,'-8'5'484'0,"3"1"89"0,-3 2-45 0,0 3-116 0,-2 3-15 16,2 1-44-16,1 2-13 0,-3 1-30 15,-1 2-36-15,4-2-16 0,-1 2-27 0,0-2-16 0,0 2-49 16,3-3-23-16,0 1-56 0,0-4-51 16,2-1-77-16,-2 0-38 0,3-2-52 15,0 0-73-15,1-3-124 0,-6-2-204 0,7-2-439 16,2-1 106-16,0 0 97 0,-2-3 100 0,0 0 18 16,0 0 105-16</inkml:trace>
  <inkml:trace contextRef="#ctx0" brushRef="#br0" timeOffset="26411.73">19846 10005 1297 0,'0'0'517'0,"10"8"-48"0,-5-2-19 0,-2 7-7 0,4 2-41 0,-2 4 87 15,-2 3-49-15,2 2-43 0,0 3-11 16,-2 2-96-16,-3 0-27 0,-3-1-43 15,0 13 82-15,-4-3-33 0,-1-1-36 0,0-3-38 16,-4-4 2-16,1-4-44 16,1-4-71-16,1-3-28 0,-3 0-39 0,2-4-71 0,0-2-51 0,0-1-55 15,2-1-63-15,3-3-82 0,0-3-167 16,0-1-629-16,3-2 56 0,-1-2 136 16,3 0 97-16,0 0 113 0,3-12 45 0,-1 1 96 15</inkml:trace>
  <inkml:trace contextRef="#ctx0" brushRef="#br0" timeOffset="26778.37">20033 9684 1220 0,'7'0'510'0,"1"2"-29"16,0-1-15-16,-1 5-57 0,-4-2-14 16,2 3-16-16,-2 2-26 0,-3 0-41 0,2 1-33 15,-4 2-26-15,-1 1 6 0,-2 3-44 0,-3-1-10 16,3 2 2-16,-8 1-25 0,6-4-31 16,-1 2-23-16,0-3-5 0,4-1-16 0,-2-3-22 15,4 4 15-15,1-6-6 0,2 3-20 0,3-4-2 16,4 2-13-16,2-3-28 0,1 0 12 0,4-2-17 15,3 2-1-15,5-4-17 16,0 2-13-16,3-1-41 0,5-1-8 16,0 0 29-16,1-1-27 0,-1 1-30 0,3-2-10 0,-1 2-41 0,-2-2-20 15,0 0-34-15,-5 1-21 0,-4-1-30 0,-3 1-12 16,-3-1-96 0,-2-2-140-16,-3 3-449 0,-2-1 73 0,-3-1 43 0,-6 2 104 15,-3-4 106-15,3 4 33 0</inkml:trace>
  <inkml:trace contextRef="#ctx0" brushRef="#br0" timeOffset="28141.26">7818 11565 593 0,'13'1'251'0,"0"-2"-5"16,2 1-18-16,6 0-18 0,4 0-11 0,6-3-4 15,3 3-11-15,12-3 0 0,5 0-25 16,3 3 46-16,15-5-8 0,5 2-18 16,1-1-38-16,4 0-13 15,0 0 13-15,1-2 12 0,2 1-22 0,5 2-11 0,5-2-17 0,4 1-14 16,1 1 8-16,-2-1 1 0,0 1 4 0,2 0-23 15,6-3-66-15,2 4 8 16,0-3-6-16,-2 4 0 0,2-1-7 0,28-3-18 0,-28 0 20 16,23 0-5-1,-20 2-5-15,-3-1 13 0,21-3 7 0,-21 2-7 0,21-1-13 0,-21 0 8 16,20-2 20-16,-25 3 0 0,2-2-5 0,2 1-18 16,0 0 18-16,-1 1 6 0,2 0-11 15,-2-3-1-15,-3 2 24 0,-1-1-12 0,-1 2-1 16,0-2-21-16,2 0-1 0,0 1 14 0,0-1 6 15,-5 0-1-15,2 2-12 0,0-2-3 16,0 1-17-16,1 0 32 0,0-1-15 16,2 1 13-16,-6-1-10 0,1 0-8 0,-2 1 6 0,1-4 9 15,4 6 6-15,-3-4-16 0,-1 4 3 0,-1-3 25 16,-1 2-25-16,1 1-11 16,1-3 21-16,1 2 3 0,-2 3 5 15,4-2-13-15,0 2 5 0,-2-2-5 0,3 2-8 0,-1 1 0 16,0 0 3-16,1-2-3 0,-3 3 23 15,0-2-2 1,4 1-3-16,1 1-17 0,0-2 14 0,1 2 1 0,-1-1-3 0,2 1 28 0,1 1-43 16,0-1 2-16,4 2 13 0,0-1 3 0,3 1-6 15,-2 1-15-15,23 1 0 0,-23-2 3 16,23 1 25-16,-26 2-28 16,21-1 11-16,-24 1 2 0,5 0-8 0,-1-1 3 0,-1-1 2 0,0 2-5 15,0 0 24-15,23 2-19 16,-27-2-23-16,-1-2 8 0,2 3 21 0,-2-1-9 15,-2 0-1-15,-4-2 2 0,1 0 4 0,-3 0-32 0,2 2 13 16,-1-2 7-16,-3 0 7 0,-2-1 6 16,0 1-10-16,-5-1-3 0,-6-2 13 15,0 1-18-15,0 2-15 16,-3-1 7-16,5-1 13 0,-7-1-5 0,0 0 3 0,-10 0-3 0,-2 0 7 16,-1 0-9-16,-2 0 15 15,0-1-3-15,0-1 3 0,-4 1-11 0,-1 1 3 0,-3-3-12 16,-1 3 12-16,-9 0 18 0,-6-1-28 15,0 0 2-15,-7 0-2 0,-3 1-10 0,0-2-8 16,-6 2-23-16,-3-2-11 0,-1 1-17 0,-1-1-18 16,-4 0-51-16,0 2-55 0,-3-1-50 15,-5 1-141-15,3 0-159 0,-3 0-332 0,0 0 35 0,0 0 128 16,-26 0 147-16,6 0-27 16</inkml:trace>
  <inkml:trace contextRef="#ctx0" brushRef="#br0" timeOffset="29065.7">14238 11417 1113 0,'5'-2'394'0,"0"-1"-51"0,1 3-18 0,-1-2-7 15,0-1-44-15,0 2-6 0,-5 1-37 0,8-2-21 16,-8 2-8-16,0 0-31 0,0 0-30 16,0 0 2-16,0 0-25 0,0 0-3 0,0 0 16 15,-25 7-21-15,14-2-36 0,-2-2 18 16,-2 4-12-16,-3-2-11 0,2 2-10 0,-1 0-3 15,-1 1 3-15,2-1-28 0,1-1 4 0,2 2 14 16,0-3-21-16,3 2 0 0,2-2 34 16,1-2-42-16,1 3-4 0,4 0 12 0,0-1-10 15,1 1-13-15,2 0 15 0,3-1-12 0,2 2 12 16,-1-2 11 0,5 2-13-16,0-1-10 15,0 0 12-15,6 2-2 0,-3 0-8 0,4-2 6 0,-4 4-1 0,3-2-64 0,-1 0 14 16,-2 0 6-16,-3-2 17 0,0 2 12 0,-2-1 20 15,0 0 26-15,-6-1-2 0,1 1 84 16,-3-2 15-16,-5 2-5 0,0-1-23 16,-1 2-12-16,-6-1 9 0,-1 2-9 0,-5-1-14 0,-5 2 4 15,-2-2-14-15,-12 3-23 0,2-2-2 16,4-3-51-16,0-1-9 0,5 0-24 0,0-4-32 16,3 2-45-16,1-1-52 0,1 0-33 15,3-1-66-15,2-1-213 0,1 0-566 0,5 2 110 0,0-2 80 16,2 0 97-16,0 0 59 0,8 0 54 15,-10-2 109-15</inkml:trace>
  <inkml:trace contextRef="#ctx0" brushRef="#br0" timeOffset="76957.32">7046 12661 1264 0,'-7'1'504'0,"0"2"-25"15,1-2-110-15,1 1-11 0,-2-2-20 0,1 1-21 16,1 1-28-16,5-2-35 0,-8 3-37 0,8-3 6 16,-5 4-26-16,3-3-15 0,2-1-13 15,5 6-10-15,-5-6-42 0,10 6 83 0,-2-4-26 16,-1 1-15-16,6 1-42 0,2-1-47 0,1-1-45 16,2-1-38-16,-1 2-53 0,4-1-55 0,-3 1-37 15,0-2-55-15,0 1-114 0,-5-2-170 16,0 4-483-16,2-1 112 0,-4-2 54 15,-3 4 120-15,-1-1 52 0,-4 1 84 16</inkml:trace>
  <inkml:trace contextRef="#ctx0" brushRef="#br0" timeOffset="77124.89">6987 12923 975 0,'-2'1'417'0,"2"-1"-20"0,-2 4-54 0,2-4-21 16,0 0-97-16,0 0-22 15,0 0-22-15,10 4-12 0,-2-4-15 0,-1-1-23 0,6 0-27 16,0-1-45-16,-1 0-51 0,4-1-82 16,2-1-103-16,3 2-99 0,-6-2-57 0,11-1-417 15,2-1 20-15,-2-1 126 0,2-1 54 16</inkml:trace>
  <inkml:trace contextRef="#ctx0" brushRef="#br0" timeOffset="77543.75">7759 12610 1441 0,'5'-4'442'0,"-2"2"-22"0,5 0-31 0,0 0-23 0,-1 1-15 16,4 1-3-16,-1 1-102 0,-3 3-18 15,1 0-29-15,0 1-14 0,0 4-11 0,-4 0-28 16,-3 4-13-16,-1 0-5 0,-1 1-16 0,-6 3-20 16,-1 4-7-16,-2-2 10 0,0 1-21 15,0-1-2-15,-3 0-16 0,5-5 8 16,-2 1 2-16,4-2-32 0,-4-1 14 0,5-2-12 0,0-1-3 15,0-2 16-15,2 1-23 0,-2-2-1 16,2-1 9-16,-1 0-6 0,4-1-13 0,0 0-12 16,2 0 35-16,-2-4-7 0,8 3-13 15,0-1-8-15,2-2-28 0,0-1-10 0,3-1-13 16,2 1-36-16,3-3-25 0,0 2-31 0,-2-2-49 16,-1 1-26-16,3-1-63 0,-3 0-159 15,0-1-90-15,1 0-360 0,-3 0 33 0,0-1 122 16,-1 0 80-16,4-3 54 0,-4 0 61 15</inkml:trace>
  <inkml:trace contextRef="#ctx0" brushRef="#br0" timeOffset="77781.69">8162 12591 1282 0,'0'-5'443'16,"0"5"-67"-16,0-3-20 0,0 3 53 0,0 0 1 15,0 0-26-15,0 0-33 0,-3 11-101 16,1-1-14-16,0-1-19 0,1 1-12 0,1 3-15 15,-2 1-19-15,-1 1-25 0,0 3-3 0,1 1-7 16,2 0-13-16,-2-1-8 0,-1 0-33 0,3 1-46 16,-3-1-34-16,3-1-22 0,0-3-42 15,0 2-55-15,0-3-37 0,3 0-84 0,-3 0-33 16,5-3-100-16,-3-1-136 0,4 0-376 16,-1-2 48-16,0-1 98 0,3-2 89 0,-1-1 67 15,-1-1 44-15</inkml:trace>
  <inkml:trace contextRef="#ctx0" brushRef="#br0" timeOffset="78196.2">8414 12578 901 0,'0'0'368'0,"-1"-3"39"16,1 3-26-16,0 0-55 0,0 0-9 0,8-4-38 16,-1 3-28-16,1 0-21 0,0 1-22 15,0 1-16-15,-1-1 10 0,4 0-56 0,-1 3 2 16,0-1-2-16,-3 3-18 0,2-2 8 15,1 3 17-15,-2 1-30 0,0 1-26 0,-1 3 39 16,0 0-5-16,-4 1-19 0,0 0-17 0,-1 3 5 16,-2-1-13-16,0 1 7 0,-2 2-19 0,-1 0-1 15,1 1 8-15,-1-1-28 0,1 1-3 16,-2-4 26-16,2 1-44 0,-2 0-25 16,0-2 4-16,2-1-42 0,0-1-19 0,1 0-15 15,-1-3-79-15,2 2 27 0,0-2-19 0,0-2-70 16,0 1-102-16,0-2-146 0,0 0-494 15,2-1 58 1,-2 0 152-16,3-1 13 0,-3-1 56 0,0-2 56 0</inkml:trace>
  <inkml:trace contextRef="#ctx0" brushRef="#br0" timeOffset="78708.1">8385 12818 1144 0,'0'0'404'0,"-5"-3"-35"0,5 3-49 16,-3-4-18-16,3 4-41 0,0 0-28 0,6-6-13 15,-2 3-36-15,4 0-23 0,2 0 3 16,1-2-38-16,4 1-16 0,0-2-33 16,1-1-42-16,2 0-22 0,5-1-13 0,-2-1-31 0,1 2-7 15,2-2-11-15,-4 2-2 0,-2 2 15 16,0-4 18-16,-2 2-25 0,-4 5 28 0,1-3 9 15,-3 0 30-15,0 3 11 0,-2 0-6 16,0 0 6-16,-5 1 9 0,-3 1-1 0,8 0 11 16,-8 0 15-16,4 4-10 0,-1-1 3 15,-3 1-9-15,0 1-14 0,0 1 9 0,0 0 11 16,2 2-38-16,-1-1 2 0,1 0 2 0,3 0 1 16,0 3 5-16,1-3 12 0,1-1-17 15,3-1-1-15,3-1 9 0,-5-1-6 0,7-1 13 16,-4-2 0-16,4 0 15 0,-2 0 23 0,2-4-7 15,0 0 79-15,1-1-82 0,-3 0 10 16,-1-1 26-16,-3 2 95 0,1-3-10 16,-2 0 7-16,-2-2-26 0,0 2-5 0,-4-2-22 0,-1 1 17 15,-1-2-23-15,-1 2-28 0,-3-1-17 16,0-1 4 0,-3 2-15-16,0 0-3 0,-1 2-2 0,-2-2-31 0,1 3 13 0,-1-1 0 15,0 2-44-15,0 1-23 0,0 0-51 0,2 2-66 16,1 1-41-16,-1 0-37 0,0 1-76 0,3 2-105 15,-3 0-253-15,3-1-428 0,3 1 80 16,2-3 158-16,0 0 31 0,0 0 59 0,0 0 128 16,0 0 28-16</inkml:trace>
  <inkml:trace contextRef="#ctx0" brushRef="#br0" timeOffset="79233.39">9193 12498 1049 0,'0'0'381'0,"0"0"-7"0,-13 12-33 0,5-7 58 0,0 3-31 0,-2-2-89 16,0 5-15-16,-3-2-3 0,0 3-13 15,1 1-22-15,-1-1-32 0,3 0-27 0,-4-1 9 0,4 1-2 16,0-2-28-16,3 1-5 0,-1-1-23 16,2-1-1-16,2 2-29 0,1-1 9 0,-2-1-13 15,5-2 1-15,0 1-16 0,0-2 0 0,5 1-20 16,0-2-8-16,3 1 23 0,2-3-16 15,2 0-17-15,1 1 2 0,3-3-15 16,4-1-3-16,1-1-17 0,2-2-29 0,0 2-23 0,2-5-15 16,-1 1-18-16,1 1-2 0,-4-1-16 15,-3-2-8-15,0 1-25 0,0-1-29 0,-5-1-1 16,-1 1-27-16,-4 0-35 0,2-1-47 16,-2-1-2-16,-5 0-25 0,2 0 14 0,-5 0-1 15,2 0-65-15,-2-2 82 0,-2 0 43 0,-1-2 24 16,-1 1 54-16,3 1 101 0,-4 1 78 15,0 0 43-15,-1 1 26 0,2 3 35 16,-2-1 29-16,2 2-8 0,-2 0 18 0,-2 4 8 0,3 0-19 16,-2 1 24-16,7 0 0 15,-13 5 5-15,5-1 0 0,-2 2 84 0,5 3-25 16,-3 2-19-16,0 1-83 0,-2 6-1 0,2-2 8 16,0 5-15-16,1 2-19 0,-1 0 11 0,1 1-35 15,-4 9 12-15,4-4-21 16,2-5-2-16,-1 0-13 0,2 0-31 0,-2-2-32 15,1-3-22-15,0-1-48 0,2-1-36 0,1-2-25 0,-3 0-34 16,4-2-63-16,-1-1-111 0,0-6-182 16,-1 6-422-16,3-4 88 0,-2 0 109 0,1-2 69 15,1 0 85-15,-2 0 69 0</inkml:trace>
  <inkml:trace contextRef="#ctx0" brushRef="#br0" timeOffset="79567.56">7587 13296 1133 0,'-7'0'364'0,"4"0"-16"0,3 0-18 0,0 0-23 0,18-6-7 15,-2 1 53-15,4 1-89 0,19-6 2 0,12-1-33 0,11-1-18 16,9 0-33-16,3-5-8 0,1 2-5 0,7 1-23 16,5 0-3-1,0-3-20-15,6 2-5 0,-3 0 4 0,2 2-17 0,-3 0-18 16,1 1-30-16,-5 1-4 0,0 0-27 0,-6 3-46 16,-5-1-1-16,-7 3-38 15,-14 1-43-15,-4 0-29 0,-12 3-58 0,-7 0-108 0,-9 0-123 0,-6 2-509 16,-2 2 105-16,-8-1 58 0,-3 0 124 15,-2-1 46-15,0 0 48 0</inkml:trace>
  <inkml:trace contextRef="#ctx0" brushRef="#br0" timeOffset="79887.75">7211 13580 1264 0,'-10'8'312'0,"6"-2"-28"16,12-2 6-16,0-1-6 0,8-2-13 0,9-1 21 16,11-1-31-16,20-1-38 0,16-4-11 15,13 1 52-15,7-4-44 0,6-1-5 16,22-1-33-16,1-1 15 0,2-3-18 0,0 1-5 16,0-3-46-16,-5 2 26 15,-23 2-29-15,-3 0-5 0,-5 0 8 0,-2-1-30 0,0 2-19 0,-6 0 21 16,-5 2-16-16,-7-1-40 0,-18 3 17 15,-3 0-5-15,-12 3 11 0,-6 1-3 0,-8 0-15 16,-2 0-42-16,-3 0-12 0,-2 1-36 0,-5-1-5 16,-1 1-54-16,-2-2-12 15,-2 1-50-15,-3-1-27 0,-5-1-80 0,0 0-153 0,-3 1-494 16,-7-4 53-16,0 0 13 0,-4-3 105 0,-11-6 103 16,-4-2 61-16</inkml:trace>
  <inkml:trace contextRef="#ctx0" brushRef="#br0" timeOffset="102613.85">10028 12650 1180 0,'0'0'394'0,"0"0"33"0,0 0-35 16,-2-2-11-16,2 2-53 0,0 0-41 16,0 0-14-16,0 0-45 0,0 0-20 0,0 0 9 15,0 0-53-15,0 0-21 0,0 0-4 16,0 0-19-16,0 0 5 0,5 10-2 0,-5-4-33 16,0-1 2-16,0 4-5 0,0-1-13 0,0 2-23 15,3 0 31-15,-6 0-13 0,3-1-20 16,0 2 7-16,0 1-15 0,3-1 0 0,-3-1 8 15,0 0-18-15,-3-2-16 0,3 1 28 0,0-2-25 16,0-1-2 0,0 0-1-16,0 0 0 0,0-2-9 0,0 1 11 0,0-5 32 0,0 5-16 15,0-5 16-15,0 0-18 0,0 0 20 16,0 0-5-16,0 0 13 16,7-12-5-16,-7 7-34 0,4-3 49 0,-4 1-13 0,2 0-15 15,0 0 18-15,1-1-95 0,0 3-7 0,-1-2 20 16,1 4-21-16,-1-2 14 0,1 1-6 0,-1 1 21 15,3 3-6-15,-5 0 26 0,6-1-5 16,-6 1 0-16,7 3-10 0,-4-1 20 0,-3-2-10 16,5 7 10-16,-2-4-25 0,1 2 2 0,-4-1-2 15,3 0-11-15,-3 1 26 0,3-1-2 0,-1 0-11 16,-2 0 18-16,0-4 10 16,3 5-15-16,0-1-7 0,-3-4 9 15,2 4 6-15,-2-4 12 0,2 3 14 0,-2-3-1 0,0 0-7 0,0 0 2 16,0 0 8-16,0 0-16 0,8-11 13 15,-7 7-2 1,1 1 7-16,3-3-2 0,-2 2-10 0,-1-1-1 0,1 0 1 0,2 1-8 16,0-1 23-16,-5 1-26 0,5 1 13 0,-2 0 3 15,2 0-15-15,0 2 4 0,0-2-10 16,-5 3 6-16,8 0-19 0,-8 0 3 0,10 4 21 16,-7 0-9-16,1 0 1 0,-1 1-3 0,4 2-10 15,-3 0 3-15,-2 1 15 0,0 0-23 0,1 0-11 16,0 1 6-16,-1 0-26 15,-2-2-7-15,0 1-16 0,0 0-43 0,1-1-11 0,-2-1-25 16,2 0-29-16,-1-1-66 0,0-1-20 16,-1 0-77-16,1-4-233 0,1 6-464 0,1-5 144 15,-2-1 44-15,0 0 160 0,8 1 34 16,-8-1 59-16</inkml:trace>
  <inkml:trace contextRef="#ctx0" brushRef="#br0" timeOffset="103277.98">10375 12720 1466 0,'0'0'407'0,"0"0"-33"0,0 0-23 0,0 0-47 0,0 0-12 0,0 10-18 0,0-5-39 15,0 0 1-15,0-1-36 0,2 1-16 16,-2 0-25-16,0 1-6 0,0 0-17 0,0-3 2 16,0 1-43-16,0 1-3 0,0-2 13 0,0 3-21 15,0-6 37-15,0 5-14 0,0-5 11 16,0 6-59-16,0-6 20 0,3 2-23 16,-3-2 26-16,0 0-20 0,0 0 4 0,0 0-4 0,0 0 7 15,0 0 8-15,0 0 48 0,10-6 0 0,-10 6-4 16,5-6-11-16,-3 4-3 15,1-3 11-15,0 4-39 0,-3 1-2 0,8-5-18 16,-4 3 5-16,-4 2-10 0,6-2-11 0,-6 2-2 16,7 0 3-1,-7 0-1-15,0 0-15 0,10 0-7 0,-10 0 22 0,6 2-9 0,-6-2-29 16,5 2 38-16,-5-2-17 0,3 3-16 0,-3-3 8 16,4 3 5-16,-4-3-2 0,3 0-24 0,-3 0 18 15,0 0 6-15,0 0-11 0,5 3-5 0,-5-3 18 16,0 0 3-16,0 0 0 0,3 2 20 15,-3-2-23-15,0 0 0 0,0 0 2 0,5-5 1 16,-5 5-3-16,3-6 8 0,-1 3-29 16,3 0-7-16,-2 0 46 0,-1 0-26 0,1 0 6 15,-3 3 10-15,5-5-85 0,0 4 0 16,-5 1 21-16,5-4-3 0,-5 4 26 0,8 0-6 16,-8 0 11-16,0 0-10 0,10 5 10 0,-7-3-8 15,-1 2 23-15,1 0-5 0,0 0 13 0,-3 1-23 16,2 0 18-16,0 0-26 0,1 0-2 15,-2 0 12-15,-1 0-12 0,0-2-31 0,2 0-13 16,-2 3-20-16,0-2-34 0,0-4-46 16,2 4-28-16,-2 0-38 0,0-4-46 0,0 4-62 0,0-4-64 15,0 0-148-15,-2 2-510 0,2-2 93 16,0 0 122-16,0 0 83 0,10-7 53 0,-7 4 69 16</inkml:trace>
  <inkml:trace contextRef="#ctx0" brushRef="#br0" timeOffset="103882.09">10605 12486 1251 0,'2'-5'556'0,"-1"2"-29"0,2 0-51 15,1 0-61-15,2 2-24 0,-1-2-35 0,0 2-23 16,2 1-100-16,1 0-3 0,-8 0-17 16,13 4-19-16,-8-2-12 0,0 3-16 0,-2 1-12 15,0 0-3-15,-1 1-41 0,-4 1 0 0,1 1 3 16,-1-1-16-16,-3 1-5 15,0 1 0-15,-1-1-12 0,-1 1 83 0,2-1-22 0,-1-1-21 16,2-1 3-16,1-1-20 0,-2-2-3 16,3 1 7-16,-1 0-15 0,0-2-38 0,1 1 20 15,1 0-5-15,1-4 13 0,0 0-97 16,3 6 12-16,2-6 31 0,-5 0-33 0,8 2 8 16,-1-1-6-16,1-2 14 0,2 1-4 0,1 1 32 31,-1-2 7-31,3 0-28 0,0 1 38 0,2-1-38 0,1-1 23 0,-1 0 18 15,1 2 43-15,1-2-63 0,-2 0-39 0,-1 1 0 0,1-1 0 16,-3 0 0-16,-1 1 0 0,-1-1 0 0,3 1 0 16,-5 1 0-16,-1 0 0 15,1-1 0-15,0 0 0 0,-8 1 0 0,10-2 0 0,-5 1 0 16,-5 1 0-16,10 0 0 0,-10 0 0 16,8-1 0-16,-8 1 0 0,8-1 0 0,-8 1 0 15,5-1 0-15,-5 1 0 0,5-2 0 0,-5 2 0 16,0 0 0-16,0 0 0 0,5-1 0 15,-5 1 0-15,0 0 0 0,0 0-62 0,0 0-307 16,0 0-81-16,0 0-305 16,0 0-405-16,0 0 106 0,-10 7 142 0,5-3 129 0,-1 2 51 0,-4 0 54 15,0 1 117-15,-1 4 29 16</inkml:trace>
  <inkml:trace contextRef="#ctx0" brushRef="#br0" timeOffset="107911.66">8977 10901 378 0,'0'5'105'0,"0"-5"5"0,0 5 18 0,0-5 3 15,0 4 63-15,0-4-2 0,0 4-10 16,0-4 0-16,0 5-8 0,0-5-20 16,0 0 9-16,-2 3-17 0,2-3 8 0,0 0-93 0,0 0 6 15,0 0 17-15,0 0 6 0,0 0-13 16,0 0-16-16,0 0-12 0,0 0 2 15,0 0-23-15,0 0 31 0,0 0-13 0,0 0-10 16,0 0-3-16,0 0-2 0,0 0 17 0,5-11-24 16,-5 11 9-16,0-6 18 0,3 2-15 0,-1 2-8 15,-2 2 5-15,2-6-15 0,-2 2 23 16,0 4 8-16,6-4-6 0,-6 1-25 16,0 3 8-16,2-3-13 0,-2 3 7 0,2-3 11 15,-2 3-11-15,0 0 8 0,4-2-7 0,-4 2 76 16,0 0-25-16,0 0 7 0,7 5-12 0,-4-2-6 15,-3-3-7-15,3 6-5 0,1-5-19 16,-4 3 9-16,3-1-1 0,-3-3-15 0,0 5 13 16,2 0-10-16,-1-3 2 0,-1-2-5 0,2 5 15 15,-2-5-12-15,2 4-19 0,-2-4 27 16,0 0 19-16,3 2-73 0,-3-2 2 16,0 0-10-16,0 0 23 0,0 0 5 0,0 0 15 15,0 0-5-15,8-8 34 0,-5 5-6 16,-3 3-15-16,2-4 21 0,0 1 30 0,-2 3-36 15,3-5 1-15,-3 5-1 0,3-3-10 0,-3 3 3 16,2-2 0-16,-2 2-24 0,0 0 14 16,5-2 2-16,-5 2-8 0,0 0 3 0,0 0-20 15,8 6-9-15,-8-6-27 0,2 5-13 0,1-4-8 16,-3-1-31-16,3 7-17 0,-3-3-42 16,0-4-22-16,0 7-95 0,0-7-90 0,0 5-507 15,0 1 62-15,0-6 69 0,0 6 74 0,0-3 80 16</inkml:trace>
  <inkml:trace contextRef="#ctx0" brushRef="#br0" timeOffset="108427.33">9128 10857 921 0,'0'0'289'0,"0"0"-38"15,0 0-33-15,0 0-26 0,0 14-3 0,0-9-23 16,0-2-17-16,0-3-3 0,0 7-3 15,0-3-30-15,0-1-13 0,0 1-8 0,0-4-10 16,0 8 33-16,0-8 56 0,0 5-17 0,0-3-16 16,0-2-7-1,3 4-1-15,-3-4 19 0,0 0-16 0,0 0 0 0,1 3-3 16,-1-3 21-16,0 0-104 0,0 0 32 0,0 0-20 16,0 0-5-16,0 0 2 0,0 0-8 0,0 0 4 15,12-3-17-15,-12 3 22 0,0 0 4 16,0 0-20-16,8 1 21 0,-8-1-37 0,4 2 14 15,-4-2-1-15,6 1-7 0,-3 2 2 16,-3-3-7-16,4 2-11 0,-4-2 0 0,4 2 6 16,-4-2 4-16,4 2-22 0,-4-2-26 0,0 0-15 15,0 0 4-15,3 1-30 0,-3-1-36 16,0 0-45-16,0 0-35 0,0 0-83 0,5-6-147 16,-3 5-481-16,-2 1 44 0,3-7 118 0,-3 3 40 15,0 1 98-15</inkml:trace>
  <inkml:trace contextRef="#ctx0" brushRef="#br0" timeOffset="109926.86">11313 10645 1080 0,'0'-4'317'15,"0"4"-17"-15,0 0-16 0,0 0-39 0,0 0-24 16,0 0 1-16,0 0-43 0,0 0 6 16,0 0-27-16,0 0-17 0,0 15-10 0,0-10-29 15,0 0 1-15,0-2-22 0,0 3 9 0,-2 0 2 16,2-2-10-16,0-1-26 0,0 3-2 15,0-1-26-15,0-3 29 0,0-2-34 0,0 6 25 16,0-6-2-16,0 5 13 0,0-5 3 16,2 4-9-16,-2-4-78 0,2 2 4 15,-2-2 1-15,0 0 5 0,0 0 27 0,0 0-9 0,0 0 10 16,9-8-3-16,-7 5 18 0,0 0 0 16,1-1 6-16,-3 4-11 0,3-6 15 15,-1 5-23-15,-2 1 6 0,5-6 12 0,-5 4-20 16,0 2 7-16,3-4 6 0,-3 4-21 0,0 0-2 15,4-3 4-15,-4 3 14 0,0 0-1 16,0 0-22-16,0 0 9 0,8 7 14 0,-7-4-8 16,1 0-11-16,1 0 11 0,-3 2-16 0,0-3-17 15,2 2-13-15,-2 2-6 0,0-1-2 16,2-2-18-16,-2 1 1 0,0 0-19 16,0 0-77-16,0 0-25 0,0-4-39 0,-2 7-86 0,0-6-136 15,2-1-372-15,0 7 57 0,0-7 115 16,2 3 64-16</inkml:trace>
  <inkml:trace contextRef="#ctx0" brushRef="#br0" timeOffset="110327.4">11421 10675 880 0,'0'0'294'0,"0"0"-20"0,0 0-13 0,0 0-23 16,0 0-28-16,-3 16-25 0,3-16-9 0,0 3-22 15,0-3-6-15,-2 5-10 0,2-5-12 0,0 0 33 16,0 5 7-16,0-5-25 16,0 0 5-16,0 0 0 0,0 0-80 0,0 0-12 15,0 0 20-15,0 0-23 0,0 0 18 0,0 0-5 16,12-10-7-16,-9 8 9 0,-1-2-2 15,-2 4 77-15,3-3-16 0,-1-1-22 0,-2 4 4 16,6 0-2-16,-6 0-5 0,8 0 0 0,-8 0-26 16,0 0-2-16,7 1 23 0,-7-1-24 15,5 4 11-15,-5-4-5 0,5 5-21 16,-2-2-7-16,-1 0-3 0,-1 0-20 16,-1-3-19-16,4 4 9 0,-4-1-32 0,0-3-43 0,3 4-20 15,-3-4-49-15,1 5-26 0,-1-5-127 16,2 3-182-16,-2 0-441 0,0-3-7 0,0 0 130 15,0 0 116-15,0 0 32 0,2 4 52 16</inkml:trace>
  <inkml:trace contextRef="#ctx0" brushRef="#br0" timeOffset="111543.49">14200 10906 998 0,'0'0'317'0,"0"0"-38"0,0 0-41 15,0 0-13-15,0 0-20 0,-7 7-26 0,7-7-15 0,-1 6-23 16,-2-3-13-16,3-3-13 0,0 7 57 0,0-2-21 16,-2-2-18-16,2 1 8 15,0-4-36-15,0 8-3 0,0-4 0 0,0-1-15 16,0-3 0-16,-2 5-12 0,2-5-11 0,0 5-11 15,0-5-7-15,0 0 11 0,0 3-1 16,0-3-5-16,0 0-5 0,0 0-15 0,0 0 13 16,0 0 2-16,0 0 0 0,0 0 7 0,10-7-9 15,-10 7 10-15,5-6-16 0,-2 4-10 0,-1-1 26 16,3 0-5-16,-2-1-13 0,1 3 12 16,-1-4-89-16,0 4 13 0,-3 1 18 15,8-5-13-15,-5 5 10 0,-3 0 3 0,7-2 7 0,-7 2-2 16,0 0 13-16,10 0-13 15,-10 0-3-15,5 6 5 0,-3-5 6 0,-1 3-13 16,-1-4 12-16,7 5-9 0,-7-2 4 0,3 1 85 0,-3-1-18 16,3 2-23-1,-3-1-8-15,0-1 8 0,2 1-28 0,-2-4-16 0,0 7-15 16,0-7-23-16,0 6-38 0,0-6-23 0,0 3-60 16,0-3-65-16,0 0-142 0,0 5-542 0,0-4 61 15,0-1 177-15,0 0 15 0,0 0 49 16</inkml:trace>
  <inkml:trace contextRef="#ctx0" brushRef="#br0" timeOffset="111966.89">14358 10932 803 0,'0'0'364'0,"0"0"-47"0,0 0 1 0,0 0-65 0,0 0 13 0,-6 6-56 0,6-6 8 16,-1 6-34-16,1-6-15 0,-3 5-23 0,3 0-5 16,0-5-21-16,-2 3-10 0,2-3 3 15,0 5-14-15,0-5-32 0,0 6 10 16,0-6 12-16,0 0-2 0,0 4 21 0,0-4-67 16,0 0-18-16,2 3 8 0,-2-3-1 0,0 0 14 15,0 0 2-15,0 0-5 0,0 0-8 16,0 0 23-16,10-8-2 0,-6 3-8 0,0 3-7 15,-1-2 19-15,2 2-17 0,-2-1-2 0,-1 1-8 16,-2 2 7-16,6-5-12 0,-2 4 12 16,-4 1-2-16,6-2-16 0,-6 2 16 0,0 0-26 15,10 2 8-15,-10-2 5 0,5 1 11 16,0 2-4-16,-2-1 1 0,-1 3-16 0,-2-3 11 16,3 2-8-16,-1-2 10 0,-2-2 18 0,1 9-31 15,-1-5 16-15,2-1-26 0,-2-3-20 16,0 6-18-16,0-6-6 0,0 4-30 0,3 0-33 15,-3-4-21-15,0 3-20 0,0-3-111 16,0 4-114-16,0-4-83 0,0 3-430 0,0-3 57 16,0 0 128-16,5 2 43 0,-5-2 93 0</inkml:trace>
  <inkml:trace contextRef="#ctx0" brushRef="#br0" timeOffset="113294.83">14115 10910 778 0,'0'0'274'16,"0"0"-29"-16,0 0-9 0,0 0-21 0,0 0 2 15,3 9-30-15,-3-4-5 0,0-1-31 0,0-4-15 16,0 9 7-16,0-5-28 0,-1 1 5 16,-1 0-4-16,2 0-24 0,-2-1-97 0,2 1 12 15,-3-2 1-15,0 1 0 0,3-4 15 0,-2 7 0 16,2-5 10-16,0-2-25 0,-2 6 7 15,-1-5 31-15,3-1-13 0,0 0-7 16,0 0 15-16,0 6-5 0,0-6-18 0,0 0-8 16,0 0-7-16,0 0 30 0,0 0-10 15,5-13 2-15,-3 11-9 0,1-2-19 0,0-2 11 0,-1 4 7 16,1-3-28-16,2 2-7 0,-3 0-6 16,-1-2-25-16,1 3-36 0,3-1-56 15,-5 3-118-15,0 0-46 0,3-3-443 0,-3 3 33 16,7 0 72-16,-7 0 51 0</inkml:trace>
  <inkml:trace contextRef="#ctx0" brushRef="#br0" timeOffset="115488.61">16317 10937 565 0,'0'0'251'0,"0"0"-39"0,0 0-30 16,0 0 3-16,0 0-27 0,0 0-32 16,0 0 25-16,-7 10-41 0,7-10 0 15,0 7-21-15,0-5 4 0,0-2-9 0,-3 6-15 0,3-6 3 16,-2 6-18-16,2-6 2 0,2 4-13 15,-2-4 14-15,0 4-21 0,0-4-16 0,0 5 11 16,0-5 10-16,0 0-16 0,0 4 21 16,0-4-38-16,0 0 20 0,0 0 5 0,0 0-10 15,0 0-7-15,0 0-21 0,0 0 25 16,0 0 13-16,16-7 3 0,-14 4 5 0,-2 3-5 16,6-4-10-16,-4 1 22 0,1 2-9 0,-3 1-16 15,7-5 28-15,-4 3-18 16,-3 2-7-16,5-3-16 0,-5 3 3 0,5-1 10 0,-5 1 3 15,0 0-9-15,10 0 9 0,-10 0 2 16,0 0 0-16,6 4-7 0,-6-4 2 0,5 2 2 16,-3 2-2-16,-2-4-15 0,3 3 5 0,-1 0 7 15,-2-3-7-15,3 3-15 0,-3-3 81 16,2 4-7-16,-2-4 12 0,3 2-12 16,-3-2-8-16,0 0 13 0,3 4-18 0,-3-4 12 15,0 0 11-15,2 2-13 0,-2-2-2 0,0 0 12 16,3 3-12-16,-3-3 2 0,0 0 2 15,0 0-19-15,0 0-4 0,0 0-4 0,0 0-1 16,0 0-7-16,0 0 5 0,0 0-20 0,0 0 4 16,0 0 16-16,0 0-18 0,7-5 13 15,-7 5-13-15,0 0-15 0,3-4 12 0,-3 4-4 16,0 0-11-16,5-2 13 0,-5 2 5 0,5-3-18 16,-5 3 10-16,0 0 0 0,0 0-12 0,8 5 10 15,-8-5-26-15,7 4 5 0,-6-3 8 16,-1-1-38-16,7 5-8 15,-6-2-13-15,-1-3-31 0,4 5-4 0,-1-4-6 0,-1 2-43 0,-2-3-78 16,3 4-122-16,-3-4-87 16,0 5-422-16,0-5 51 0,6 4 76 0,-6-4 83 15,2 2 51-15</inkml:trace>
  <inkml:trace contextRef="#ctx0" brushRef="#br0" timeOffset="116095.39">16544 10948 785 0,'0'0'318'0,"0"0"-21"0,0 0-16 0,0 0-20 15,0 0-23-15,0 0-94 0,0 0-14 0,4 13-35 16,-4-9-3-16,0-4-2 0,0 4-16 16,0-4-25-16,0 7 9 0,0-3 6 0,0-4 0 0,3 5-5 15,-3-5 16-15,0 0-6 16,0 6-13-16,0-6 8 0,0 3 5 0,0-3 10 15,2 3-9-15,-2-3-12 0,0 0-4 0,0 0-5 16,0 0 69-16,0 0-1 0,0 0-4 16,0 0-24-16,0 0 4 0,0 0-4 0,0 0-12 15,13-6-3-15,-13 6-7 0,3-3-3 0,-3 3-5 16,0 0-3-16,0 0 0 0,0 0-10 16,0 0 0-16,10 5-28 0,-7-4 34 15,-3-1-27-15,4 5 11 0,-4-5-23 0,3 4 20 16,-3-4-10-16,3 4-10 0,0-2 7 0,-3-2 3 15,2 3 11-15,-2-3-4 0,0 0 19 16,5 4-16-16,-5-4 29 0,1 2 17 0,-1-2-2 16,0 0-75-16,0 0 16 0,4 1 34 0,-4-1-29 15,0 0 2-15,0 0 6 0,0 0 7 16,0 0-15-16,13 0 13 0,-13 0-5 0,0 0-11 16,5 0-9-16,-5 0-27 0,0 0 1 0,0 0-6 15,8 0-17-15,-8 0-34 0,5 2-40 16,-5-2-39-16,6 1-21 0,-6-1-81 0,10 1-170 15,-6 0-519-15,4-1 57 0,0 2 99 0,0-2 77 16,-1 0 82-16,3 0 51 16</inkml:trace>
  <inkml:trace contextRef="#ctx0" brushRef="#br0" timeOffset="117029.98">19274 10859 780 0,'0'0'333'0,"0"0"-34"0,0 0-37 0,0 0-27 0,0 0-15 16,-2 12-15-16,2-7-23 16,-1 0-26-16,1-2-8 0,-3 0-7 0,3 3-23 0,0-2-16 15,0 0-17-15,3 1 4 0,-3-1-17 16,1-1 0-16,-1 2-6 0,0-1-17 16,0-4 10-16,0 5 2 0,0-5 11 0,0 3-6 15,0-3-68-15,2 4-16 0,-2-4 33 0,0 0-12 16,0 0 15-16,0 0-3 0,0 0 21 15,0 0-11-15,0 0 1 0,13-7 0 0,-11 4 4 16,1 1 1-16,1-1-3 0,-3 0 3 0,1-1-18 16,3 2 2-16,-4-2 13 0,3 2-7 15,-4 2-3-15,4-4-16 0,0 2 21 0,-4 2-7 16,3-4-6-16,-3 4 10 0,7-1-9 16,-7 1 1-16,0 0 22 0,0 0-19 15,0 0 13-15,11 3-10 0,-9-1-10 0,-2-2 5 16,3 6 66-16,-1-4 5 0,-2-2-7 0,3 6-3 0,-3-2-25 15,3-1 10-15,-3 1-10 16,2-2-9-16,-2-2-16 0,1 9-1 0,-1-6-31 16,0-3 16-16,2 4-31 15,-2-4 10-15,0 0-36 0,0 3-17 0,0-3-32 0,0 0-66 16,0 0-79-16,5 3-102 0,-5-3-70 0,0 0-460 16,0 0 107-16,0 0 107 0,0 0 37 0,0 0 61 15</inkml:trace>
  <inkml:trace contextRef="#ctx0" brushRef="#br0" timeOffset="117526.68">19445 10862 1095 0,'0'0'320'0,"1"-2"-23"0,-1 2-26 15,0 0-15-15,0 0-51 0,0 0-90 0,0 0-5 16,0 0-2-16,2 9-11 0,-2-9-33 15,0 7 0-15,3-4 3 0,-3-1-6 16,0 3-17-16,0-5 9 0,3 7 14 0,-3-6-39 0,0-1-2 16,2 6 2-16,-2-2 20 0,0-4-14 15,0 0-4-15,0 6 22 0,0-6 4 0,2 3-15 16,-2-3 84-16,0 0-4 16,3 4-6-16,-3-4-3 0,0 0-7 0,0 0-7 0,0 0 22 15,0 0-25-15,0 0-21 0,15-6 0 16,-12 5-18-16,-3 1 19 0,7-4-22 0,-4 4 6 15,-3 0-10-15,7-1 15 0,-7 1-31 0,3-2 8 16,-3 2 8-16,0 0 28 0,6-2-103 16,-6 2 11-16,0 0 17 0,0 0-7 15,8 4 20-15,-8-4-4 0,0 0 9 0,2 5-2 0,-2-3-8 16,0-2 13-16,2 3 41 16,-2-3-20-16,0 0-31 0,3 5 17 0,-3-5-4 15,2 3 15-15,-2-3-8 0,0 0 0 0,0 0 83 16,0 0-19-16,3 2 3 0,-3-2-34 0,0 0-22 0,5 0 30 15,-5 0-25-15,0 0-34 16,0 0-18-16,0 0-53 0,13-1-46 0,-13 1-21 16,5-4-59-16,0 3-69 0,-5 1-58 15,9 0-157-15,-5 0-515 0,-4 0 119 0,12-1 91 16,-6 1 55-16,-6 0 63 0,13 0 97 0</inkml:trace>
  <inkml:trace contextRef="#ctx0" brushRef="#br0" timeOffset="118091.87">19571 10919 696 0,'0'0'256'0,"0"0"-31"15,0 0-13-15,0 0-27 0,0 0-9 0,0 0-22 16,7 6-31-16,-7-6-8 0,1 7-2 0,2-3-49 15,-1-2-29-15,-2 3-63 0,0-1-89 16,0-4-83-16,0 6-189 0,0-3-259 0,0-3 44 16</inkml:trace>
</inkml:ink>
</file>

<file path=ppt/ink/ink10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20:02.013"/>
    </inkml:context>
    <inkml:brush xml:id="br0">
      <inkml:brushProperty name="width" value="0.05292" units="cm"/>
      <inkml:brushProperty name="height" value="0.05292" units="cm"/>
      <inkml:brushProperty name="color" value="#FF0000"/>
    </inkml:brush>
  </inkml:definitions>
  <inkml:trace contextRef="#ctx0" brushRef="#br0">5749 9513 1034 0,'13'-1'317'15,"-3"1"-15"-15,9-1-20 0,6-2-8 0,21 1-29 16,6-1-20-16,17-3-4 0,5 0-29 0,6-1-6 0,5-2-37 16,4 3-24-1,3-1-2-15,3-4-5 0,2 2-18 0,21-5-16 0,-20 5 1 0,-1 1-32 16,1 1-19 0,-6 0-4-16,-3 0-19 0,-4 3-50 0,-5-1 6 0,-4 0-59 15,-3 1-5-15,-17 1-24 0,1 1-66 0,-4 1-99 0,-7-2-24 16,-12 3-494-16,-9 0 62 0,-9 3 102 15,-7 0 41-15</inkml:trace>
  <inkml:trace contextRef="#ctx0" brushRef="#br0" timeOffset="358.4">5598 9906 1057 0,'6'1'350'0,"6"3"-35"0,4-4-36 0,6-1 3 0,11-2-31 16,22 0-26-16,19-3-20 0,5-5-6 15,9 3 6-15,6-3-23 0,24-3-103 16,0-1 16-16,-23 5-11 0,25-6-7 0,-24 6 28 0,29-5-8 16,-1 2-15-16,-2 0-18 0,-29 5 18 15,-1-3-18-15,-5 1-10 0,-2 0 7 16,-1 0-15-16,-2 2 3 0,1-3 0 0,-4 4-3 15,-4 1 2-15,-4-1-2 0,-14 1-5 0,-1 0-5 16,-8 2 3-16,-1 0-1 0,-11 3-15 0,-9-2-23 16,-6 2-18-16,-3 0-28 0,0 0 3 0,-5-2-6 15,0 3 0-15,-3 0-33 16,-3-1-20-16,1 0-23 0,-5 0-50 0,-3 1-73 16,8-2-62-16,-8 2 26 0,0 0-540 0,0 0 82 15,0 0 148-15,-13-8 13 0,3 2 28 0</inkml:trace>
  <inkml:trace contextRef="#ctx0" brushRef="#br0" timeOffset="3492.94">4247 9131 1133 0,'2'11'308'0,"-2"-8"-19"0,-3 3-20 0,1 0 5 15,0 1-29-15,-1 2-84 0,-2-1-40 16,0 0-3-16,0 3 12 0,-1-1-22 0,-1-1-3 16,0 1-8-16,1-2-15 0,-1 2 59 0,-1-1 4 15,0-2-35-15,-2-1-5 16,2 3 23-16,0-2-20 0,1-4-13 0,-1 3 2 0,0-2-8 15,0-2 14-15,2-1-26 0,0-1-13 16,6 0 30-16,-13-1-42 0,5-2-6 0,3-1 12 16,0-1 4-16,0-1-24 0,2-1-7 15,1-2 10-15,-1-1-15 0,3 1-3 0,0-2 0 16,1-1 33-16,3 0-28 0,-1 0-23 16,4 0 57-16,1-1-55 0,1 0-2 0,3 2 11 15,-2 1-11-15,3 0-2 0,2 2 22 0,1 1-12 16,-1-2 13-16,-2 7-9 15,3-3 6-15,-1 3 13 0,2 1-15 0,0 1 9 0,0 0-1 16,0 1-11-16,2 1 2 0,-3-2 11 0,1 0-8 16,-2 4-3-16,1-2 1 15,0-1 9-15,1 3 6 0,-2-1-28 0,-1 0-5 16,-2-1-6-16,1 0-28 0,-3 1-10 0,0-2-20 16,-2-1-52-16,0 3-45 0,0-3-42 15,-1 0-151-15,3-2-227 16,-2 1-377-16,2 0 141 0,-4-2 26 0,1 1 120 0,1-1 61 0</inkml:trace>
  <inkml:trace contextRef="#ctx0" brushRef="#br0" timeOffset="3854.02">4714 8790 970 0,'7'0'332'0,"-7"0"63"0,13 3-24 16,-8-2 13-16,1 5-62 0,1-1-25 0,-4 1-33 15,2 2 7-15,-3-1-48 0,1 4-6 0,-3-1-22 16,0-1-24-16,-3 4-17 0,3-1 0 16,-2-1-42-16,2 0-15 0,-3-2 8 15,3-2-5-15,0 3-26 0,0-3-4 0,3-1 11 0,-1 0-9 16,3-2-10-16,1 0-1 0,-1-1 6 15,3-1-34-15,2 0 3 0,2-4 12 0,-2 2-2 16,6-4-2-16,-3 3-1 0,3 0-17 0,1-2 2 16,-1 1-28-16,-1 0-18 15,3-1-10-15,-3 2-18 0,-2 1-18 0,3 0-43 16,-3-1-50-16,-1 1-19 0,1 0-57 0,-5 1-118 16,2 0-69-16,-5 4-501 0,-2-5 89 0,-1 5 64 15,-2-3 85-15,0 4 84 0</inkml:trace>
  <inkml:trace contextRef="#ctx0" brushRef="#br0" timeOffset="18151.02">15341 8832 1397 0,'-21'6'430'0,"1"0"-18"0,-1 1-48 0,3-2-29 0,-5 4-28 16,0 1-7-16,3 0-32 0,-1-1-42 0,5 0-4 15,1 0-17-15,-2-2-33 0,6 0-26 0,-1 0 10 16,2 2-28-16,2-3-18 0,2 1 7 16,4-2-17-16,1 1-18 0,1-1-8 15,3-1 11-15,2 1-19 0,0 1 11 0,3-3-23 0,2 2 18 16,3 1-29-16,0-1 1 0,5 0-11 16,0 0 3-16,-2-1-8 0,4 2-8 15,-2 0 32 1,0-2-22-16,-1 3 11 0,1-1-5 0,-5 0 5 0,1 1 21 0,-2-2 12 0,-2 2 10 0,-2 1 1 15,0-2 9-15,-5 2-4 16,-1 1 2-16,-2-2 11 0,-2 1-29 0,-4 2 8 16,-1-1 2-16,-1 2-33 0,-5-3 1 0,0 3-6 15,0-4 0-15,-2 4 2 0,-3-3 1 0,5-1-16 16,-5 2-2-16,3-3-18 16,-1 0-29-16,3-2-22 0,-1 1-39 0,-2-1-51 0,3-2-28 15,3 0-26-15,-3 1-20 0,5-1-36 0,-2-2-15 16,2 0-90-16,8 0-128 0,-12-1-538 15,9-2 80-15,0 0 77 16,3 3 58-16,0-5 149 0,0 5 21 0,6-8 48 0</inkml:trace>
  <inkml:trace contextRef="#ctx0" brushRef="#br0" timeOffset="18392">15462 8899 1241 0,'2'-1'456'0,"-2"1"38"0,5-2-11 0,-5 2-1 0,0 0-57 16,3 11-44-16,-3-5-25 16,2 3-6-16,-4 0-45 0,2 4-31 0,0 3-18 15,0-1-33-15,-3 4-29 0,3-1-15 0,-3 1-10 16,1 1-100-16,0-2-28 0,-2 0-18 0,2 0-28 16,0-2-59-16,-1 0-15 0,3-2-65 15,-5 0-14-15,3 0-27 0,1-4-47 0,-1 2-65 31,-1 0-133-31,1-3-41 0,2-1-441 0,0-1 50 0,0-1 122 0,0-2 98 0,0-1 37 0,0-3 109 16</inkml:trace>
  <inkml:trace contextRef="#ctx0" brushRef="#br0" timeOffset="18706.23">15423 8954 1415 0,'4'-17'438'0,"0"4"-26"0,1 2 31 16,3 2-36-16,-1-1-36 0,3 4-44 0,-2-1-73 16,7 3-8-16,-2 2-21 0,3 2-46 15,2 0 26-15,-3 4-23 0,5 1-14 0,-1 3 17 16,1 3-21-16,-2 2-16 0,-3 2-5 0,-2 4-27 16,0-2 4-16,-5 3-8 0,-3-2 1 0,-3 0-16 15,-4 2 6-15,1 0-3 0,-6 0 89 16,-4 3-30-16,-4 3-95 15,-5-1-18-15,4-2 18 0,1-5-21 0,-1-3-15 0,-2 3-7 16,3-5-34-16,-3 0-15 0,3-1-44 0,0-5-35 0,2 2-62 16,0-3-18-1,5-4-89-15,-2-1-37 0,3 0-124 0,4-2-147 0,-2 0-427 16,2-1 77-16,3 2 99 0,0-9 95 0,2 2 57 16,-1 1 61-16</inkml:trace>
  <inkml:trace contextRef="#ctx0" brushRef="#br0" timeOffset="18923.96">15895 8932 1279 0,'12'-2'448'15,"1"-2"-54"-15,0 4-33 0,-3-1-20 0,1 0-52 16,-3 0-28-16,4 2-38 0,-4-1-85 0,2 1-61 15,0 0-28-15,-2-1-75 0,-3 3-92 0,0-1-145 16,-2 0-567-16,-3 5 42 0,-3 1 120 16,1 0 30-16</inkml:trace>
  <inkml:trace contextRef="#ctx0" brushRef="#br0" timeOffset="19088.77">15820 9136 911 0,'-3'2'340'0,"3"-2"54"16,0 0-10-16,0 0-7 0,0 4-27 15,0-4-9-15,0 0-55 0,14-1-12 0,-14 1-36 16,15-3-15-16,-5 3-26 0,0 0-28 0,1-1-28 16,4-3-11-16,-2 3-32 0,-1 0-68 15,-1-1-40-15,4-2-33 0,-7 3-83 0,5 1-153 16,-5-3-560-16,2 1-11 0,0 1 59 0,-2-1 84 16,2-1 88-16,-3 3 69 0</inkml:trace>
  <inkml:trace contextRef="#ctx0" brushRef="#br0" timeOffset="19791.41">16536 8913 1282 0,'5'6'504'0,"-2"-1"-20"16,1 0-62-16,1 2-30 0,-2 1-29 16,3 3-38-16,0-2-33 0,-2 2-15 0,1 2-29 15,0 0-46-15,0-2-17 0,2 2-24 0,-4 0-23 16,3-3-13-16,-2-1-2 0,2 0-25 15,-4 0-11-15,3-3-18 0,-5 0-8 0,5-1 8 16,-2-3-12-16,2 2 14 0,-2-2 1 16,-3-2 2-16,0 0-25 0,8-8 7 15,-6 1 0-15,0-2 3 0,1-1 5 0,-3-3-15 16,2-2-16-16,-1-5 6 0,-1-4-4 0,0-2 4 0,0-5-19 16,0-8 1-16,0-3 12 0,-1-1-2 0,-1-1-3 15,-1 0 0-15,-2 5-15 16,-2-3 12-16,-1 4-19 0,0 1 14 0,-2 5 8 15,-1 8 8-15,1 4 10 0,0 1 3 0,3 2 10 16,-1 4-11-16,2 1 6 0,2 4 5 16,-2-2-10-16,2 2-11 0,1 2-15 15,0 1 15-15,1-2-4 0,2 5-37 0,0 2 11 0,7-6 10 16,-2 2-6-16,8 4 22 0,2-2-16 0,4-1 7 16,6 1-2-16,6-3-10 15,15 2-74-15,5-1 2 0,18-3 0 0,6-1 15 0,5-2 32 16,4-1-22-16,4 1 1 0,4-2 7 0,26-6 73 15,2 0 4 1,1 4-8-16,-1-3-12 0,2 2 7 0,-1-2-25 0,0 4 18 16,-24 2 7-16,-2-1-2 0,-5 4-5 0,0-2-16 15,-4 2-12-15,-3-3 10 0,-4 3 15 0,-6 2-13 16,-7-1-15-16,-12 2-10 0,-5 0-23 0,-14 2-29 16,-6 1 19-16,-9-1-19 15,-4 2-35-15,-3 0-29 0,-3-3 14 0,-3 4-11 0,-4 0-20 16,-3 0 4-16,4-2-12 0,-4 2-23 0,0 0-23 15,0 0-10-15,0 0-67 0,-24 1-179 16,13 0-49-16,1-1-473 0,-3 4 74 16,-2-2 102-16,-1 2 108 0,1-1 49 0,-1 0 58 15</inkml:trace>
  <inkml:trace contextRef="#ctx0" brushRef="#br0" timeOffset="20715.39">17256 8735 1418 0,'0'0'442'0,"0"0"1"16,0 0-82-16,0 0-82 0,5 9 0 16,0-2-43-16,-3 2-29 0,2 1-18 15,0 3-30-15,-1 4-16 0,2 0 19 0,0 2-55 16,0 1-25-16,-2-1-5 0,5 4-23 15,-3-5-34-15,0-1 6 0,0 0-11 0,0 0-12 16,0-2 15-16,3-3-6 0,-3 0 17 0,3-1-17 16,-3-3 14-16,0-2 0 0,2 1 7 15,-1-4 3-15,-1-2 7 0,0-1 29 0,-5 0 20 16,11-4-18-16,-4-3-2 0,-2 3 12 0,1-4-4 16,-2-3 73-16,-1 1 3 15,2-3-12-15,-2-4-24 0,2-1-2 0,-3-1-11 0,-1-1-81 16,1-3-3-16,3 0-18 0,-2 0 5 0,-1 2-12 15,1 2 15-15,0 0-13 0,-3 5-16 16,2 1-12-16,0 1-10 0,-2 0-75 16,3 5-25-16,-3-1-29 0,0-1 1 0,3 6-26 15,-1-1-36-15,0 1-94 0,-2 3-142 0,6-1-503 16,-6 1 120-16,0 0 71 0,10 4 110 0,-5 1 111 16,0-3-3-16</inkml:trace>
  <inkml:trace contextRef="#ctx0" brushRef="#br0" timeOffset="21198.55">17679 8705 1085 0,'-5'1'417'0,"-1"5"-128"0,-1-1-17 0,0 0-24 0,-1 3-31 0,0 0-25 0,0 3 0 15,1 0-43-15,-1 1-3 0,-2 2 7 0,0 0-30 16,4 0-10-16,-1 2-24 0,1-4 4 16,2 1-9-16,0-3-5 0,2 0-2 15,0-1-23-15,-1 0-13 0,3-2 0 0,3 0-8 0,-1-2 0 16,1-1 1-16,4-1-4 0,-1 0-7 16,-1-3 3-16,-5 0-18 0,18-5-3 0,-8 1 13 15,2-2 12-15,-3-1 19 0,1 0-13 16,0-4 23-16,-2 2 0 0,0-2 20 0,-4 0-7 15,2-2-1-15,-2 0 14 0,-1 2-6 0,0 3-2 16,0-1 20-16,-1 0 67 16,-2 2 8-16,2 1-16 0,-2 0-3 15,3 3-25-15,-3 3-15 0,0 0-26 0,0 0-5 0,0 0-3 0,0 0-86 16,-7 14-9-16,7-8-2 0,-1 2 23 16,-1 0-10-16,2 1 15 0,0-1-15 0,0 1-2 15,0 0-14-15,0-1-20 0,2 2-18 16,-1-3-12-16,1 0-9 0,-2-1-66 0,2 0-38 15,2 1 10-15,-2-3-23 0,3-2-67 16,-2 2-86-16,-3-4-129 0,7 2-432 0,-2-2 61 0,0 1 108 16,-5-1 40-16,11-2 57 0</inkml:trace>
  <inkml:trace contextRef="#ctx0" brushRef="#br0" timeOffset="21678.56">17804 8744 1310 0,'1'-3'451'0,"-1"3"-39"16,5-3-36-16,-5 3-100 0,0 0-9 0,0 0-17 15,13 8-17-15,-8-3 8 0,4 1-41 16,-1 3-24-16,0 1 14 0,0-1-39 0,-3 0-3 16,1 2-20-16,-2 0-18 0,-1 1 0 15,2-2-10-15,-5 3-31 0,0-2-10 0,0 0 0 16,0-3 0-16,-2 2-18 0,2-2 0 0,-3-1 10 15,3-1-5-15,0-1 5 16,0-2 11-16,-3 1 4 0,3-4 6 0,-4 2 5 0,4-2 79 16,0 0-41-16,-8-7 31 0,8 1-13 15,-3 0-18-15,3 2-7 0,0-3-6 0,0 0-7 16,0 0-90-16,0 0-10 0,0 1-5 0,5-3 7 16,-1 0-2-16,-2 2-31 0,0 0-23 15,3 0-18-15,-2 0-43 0,2 1-44 0,0-1-15 16,2-1-33-16,1 0-14 0,0 1-65 0,0 1-78 15,2-1-94-15,-2-1 66 0,2 2-494 16,0-3 62-16,1 6 135 0,-1-4 390 0,-3 1 204 16,1 2 107-16,0-2 86 0,-3 6 34 0,0-6 42 15,0 6 41-15,0-1-15 16,-5 1 35-16,0 0-86 0,10 1 4 0,-10-1 98 0,3 6 20 16,0 0-64-16,-1 1-76 0,1-1 14 0,-3 1-27 15,2-1-5 1,1 4 2-1,-3-1-21-15,2 1-7 0,-1-2 0 0,-1 3-13 0,0-2-48 0,0 1-37 0,0-2-50 0,-1 3-65 16,-1-3-132-16,2 2-421 0,-3-2-171 0,3-2 177 16,-2 0-26-16,2-1 82 0</inkml:trace>
  <inkml:trace contextRef="#ctx0" brushRef="#br0" timeOffset="21807.06">18071 8650 883 0,'0'-3'163'0,"0"3"-106"0,0 0-144 0,0 0-492 0</inkml:trace>
  <inkml:trace contextRef="#ctx0" brushRef="#br0" timeOffset="22534.56">18297 8614 1154 0,'-8'4'379'16,"3"0"-59"-16,-5 0-13 0,2 1-31 16,0 1 6-16,-2 1-39 0,0 4-25 0,2-2-37 15,1 3-14-15,-3 0-3 0,2 1-26 0,5 0-41 16,-4-2 0-16,1 2-10 0,4-2-28 15,-1 1-2-15,3-4-17 0,2 2-14 0,-1-2-13 16,4-1 2-16,0-1-10 0,2-4-5 0,1 3 5 16,0-5-12-16,2 2 2 0,1-4 17 15,-1 2 14-15,0-2-8 0,0-3 18 16,1 2 7-16,-4-4 16 0,1-1-10 0,0 2 40 0,0-4-12 16,-4 1 10-16,2-2 3 0,-4 0-8 15,1 1-16-15,-1-3 9 0,-2 2-1 0,3 3-8 16,-3 0 6-16,2-1-3 0,-2 2 0 15,0 1-25-15,2 0 9 0,-4 4 1 0,2 2-15 0,0 0 12 16,-5-3 44-16,5 3 2 16,0 0 0-16,0 0-18 0,-7 11-25 0,7-6-10 15,0 0-31-15,-3-2-13 0,3 3 2 0,3-1-17 16,-3-1 25-16,0 0-15 0,2 0 15 0,-2-2 5 16,2 3-15-16,-2-5 23 0,6 4-28 15,-2-3 21 1,-4-1-4-16,6 0 12 0,-6 0-24 0,11-1 10 0,-4-2 31 0,-2 2 12 0,0 0-19 15,0 0-4-15,1-2 19 0,-6 3-13 16,10 0 15-16,-5 0-38 0,-5 0 23 16,13 0 33-16,-10 3-20 0,1-1-11 0,2-1 0 0,-2 5-2 15,-1-2-13-15,2-1 10 0,-2 2-4 16,0 1-17-16,1-2 1 0,-3 2 8 16,1-3-16-16,1 4-3 0,0-5 29 0,-1 2 28 15,0-1-69-15,1 0-1 0,-3-3 29 0,3 3 18 16,-3-3 15-16,0 0-5 0,0 0-5 0,0 0 6 15,10-9 6-15,-5 8 103 0,-2-4-28 16,2-2-5-16,0 2-31 0,0 0 21 0,3 0 0 16,-1 1-21-16,1-3-84 0,-1 2-8 0,1 0 0 15,0 3 0-15,0 0 0 0,-1-1 0 0,1 3 0 16,2 0 0-16,-2 0 0 16,0 5 0-16,-1-3 0 0,1 3 0 0,0-1 0 0,-3 1 0 15,-2 2 0-15,3-2 0 0,-5 3 0 16,2-2 0-16,1 0-59 0,-4 0-254 0,1-2-19 15,2 1-32-15,-1 2-99 0,-4-3-185 16,4-3-486-16,1 4 144 0,-3-5 94 0,5 3 102 16,-5-3 90-16,5-1 77 0,-5 1 39 0</inkml:trace>
  <inkml:trace contextRef="#ctx0" brushRef="#br0" timeOffset="23001.87">18843 8526 1341 0,'0'0'414'0,"-8"0"-17"0,8 0-46 16,-10 6-18-16,5-1-26 0,-2 3-26 0,-1-2-9 16,2 4-24-16,-1-1-30 0,1 3-14 15,-1 0-42-15,2 4 1 0,3-3 58 0,-2 0-24 16,4-1-31-16,0-1-7 0,0-1-49 0,4 2-21 15,0-4-2 1,4 3-25-16,-3-5-11 0,3-1-74 0,5-1-36 0,-3-1 5 0,3-2 6 16,2-2-6-16,1-2 16 0,2-1 2 15,-1-1 5-15,-1-2-5 0,2-4 11 0,-5 2 2 16,3-3 10-16,-4-3 18 0,-2 1 0 0,2 2 13 16,-9-1 20-16,3 3-10 0,-2 1 39 15,0 1-13-15,-4 2-13 0,0 1 33 0,0 5-2 16,0 0-13-16,0 0 17 0,0 0-4 0,-11 10-13 15,8-2 0-15,0 0 33 0,-1 2-28 16,1-1-5-16,0 3-3 0,3 0-7 16,0-1 7-16,1 0-20 0,4 1-41 0,2-2-8 0,1-1 3 15,0 0-62-15,6-2-23 0,-2-2-35 0,1-1-44 16,1-1-8-16,0-1-59 16,1 0-50-16,3-8-201 0,-3 6-501 0,-2 0 107 15,2-3 72-15,-2 2 123 0,0 1 59 0,-3-1 43 16</inkml:trace>
  <inkml:trace contextRef="#ctx0" brushRef="#br0" timeOffset="24044.57">16015 10369 949 0,'0'0'422'0,"0"0"-17"0,0 0-62 15,0 0-23-15,0 0-21 0,0 0-43 16,0 0-23-16,31 0-33 0,-21 0 0 0,3 0-49 0,2 2-36 15,1-2-56-15,1 0-64 0,-1 0-11 16,-1 1-50-16,1-2-116 0,-1 1-156 0,0 1-481 16,-4 2 69-16,-1-3 87 0,0 0 72 0</inkml:trace>
  <inkml:trace contextRef="#ctx0" brushRef="#br0" timeOffset="24262.38">16035 10561 1174 0,'-2'2'320'16,"2"-2"-5"-16,0 0-54 0,0 0-15 0,11 5-39 15,-11-5-15-15,10-2 72 0,-2 2-34 0,4-4-33 16,-1 3-43-16,4-3-44 0,-2 1-41 16,2-1-53-16,3-1-132 0,2 1-168 0,1 0-558 15,-1-2 113-15,1 1 37 0,-1 2 99 0</inkml:trace>
  <inkml:trace contextRef="#ctx0" brushRef="#br0" timeOffset="24970.08">16905 10268 1082 0,'0'0'428'0,"0"0"-37"16,12 11-25-16,-6-5-35 0,-2 2 42 0,2 3-27 15,-1 0-52-15,3 4-28 0,0 0-7 16,-1 2 2-16,-2 1-64 0,3-4-5 0,-3 4-66 16,3-4 2-16,0 1-13 0,-1-2-59 15,-2-1 5-15,3-3-12 0,0 2-28 0,-1-4-29 16,-1-2 23-16,3-2 13 0,-3 0 8 15,4-1-28-15,-3-4 23 0,-1-1 10 0,2-3-29 16,-3-2 22-16,0-1-14 0,-2-2 1 0,1-3 17 16,-1-2-20-16,-3-1 5 0,-3-4-3 15,-1-5 29-15,-2-10-44 0,-1-1 13 0,-3-3-10 16,-1-1 15-16,-4-2 10 0,2 4-10 0,0-1-10 16,0-1 10-16,-2 8 0 0,2-1 15 0,3 7 8 15,3 7 3-15,1 1 23 0,3 2-26 16,1 3-5-16,5-2 15 0,1 3 3 15,7 0-18-15,6-2-8 0,12-2-10 0,10 0 0 16,12-2 11-16,8 5-9 0,0-3 6 0,7 3 5 16,6 0-34-16,3-3 16 0,2 3-8 15,2-3-7-15,-2 0 2 0,0 1 16 0,0-1 7 16,-1 1-28-16,1-1 7 0,-2 0-1 0,-1 2 4 16,-4-1-5-16,-4-2-3 0,-4 4-4 15,-14 1 28-15,-4 2-19 0,-3 1 9 0,-2 0 7 16,-9 2 7-16,-9-1-19 0,-3 5-1 0,0-1 5 15,-5 1-15-15,-1-2 8 0,1 3-3 0,-3-2-8 16,-2 0 37-16,2 3-27 0,-4-2 9 16,2 1-4-16,-2-1-12 0,-2 1-33 0,-2 0-33 15,3 0-37-15,-5 0-37 16,0 3-42-16,0 0-41 0,0 0-35 0,0 0-139 0,-13 1-197 16,5 4-412-16,-2 1 115 0,-1-1 70 0,-3 3 68 15,-2-1 80-15,-2 5 82 0</inkml:trace>
  <inkml:trace contextRef="#ctx0" brushRef="#br0" timeOffset="25798.73">17489 10156 1208 0,'3'-6'460'0,"0"3"-37"0,1 0-39 0,2 0-123 16,2-1-21-16,-1 3 11 0,3 0-43 16,3 1-14-16,-3 0-2 0,1 2-31 0,-3 2-7 15,2-1-6-15,-3 3-12 0,1 1 10 16,-3 2-23-16,-4 0-31 0,-1 3 0 0,-4 0 0 15,0 0-20-15,-2 2-13 0,-1 1-11 16,-1-1-1-16,0 0-6 0,-2-1-8 0,5-1 3 16,-3-2-1-16,1-1-1 0,1-2 9 0,1 3-9 15,0-3-9-15,2-2-2 0,-1-1 23 16,1 2 67-16,0-3-6 0,1 0-12 0,2 1 2 16,0-4-17-16,0 0-6 0,5 3-13 0,-5-3-9 15,7 0-6-15,-7 0-3 0,13-2-20 0,-5 2-10 16,0-2-34-16,4-1-25 0,-2 2-7 15,1 1-65-15,-1-4-51 0,0 3-28 0,1-1-97 16,-1-3-149-16,0 4-527 16,1-1 56-16,-1-3 115 0,0 1 72 0,1-2 39 0,-4 4 86 15</inkml:trace>
  <inkml:trace contextRef="#ctx0" brushRef="#br0" timeOffset="26043.7">17858 10088 1003 0,'0'0'481'0,"0"0"-25"0,0 0-36 15,0 0-34-15,0 15-20 0,0-8-28 16,0 1-36-16,3 3-31 0,-3 1 11 0,0-3-70 16,0 6-17-16,0-2-8 0,0 2-121 0,3-2-17 15,-3 0-21-15,0-1-43 0,2 1-31 0,-2-1-23 16,0 0-44-16,2-3-33 0,-2 1-56 15,2-1-82-15,-1-2-118 0,0-3-481 0,1 4 102 16,0-4 62-16,1 0 40 0,0-3 91 0</inkml:trace>
  <inkml:trace contextRef="#ctx0" brushRef="#br0" timeOffset="26443.56">17987 10094 1090 0,'2'-6'376'0,"-2"6"49"0,6-3-51 16,-2-1-16-16,4 4-40 0,-2-1-27 0,1-1-35 15,1-1-20-15,2 3-24 0,0 0 6 0,-2 0-26 16,0 0 13-16,0 0-34 16,-1 0 6-16,-2 0-103 0,3 3 13 0,-3 0-3 15,2 1-4-15,-4-1 2 0,3 3-8 0,-2 1 10 0,-1 1-22 16,0 1 25-16,-1-1-10 16,0 2-21-16,-1-2 11 0,-1 3-3 0,2-1 2 15,-2 0-28-15,0 0 11 0,0-1 74 0,3 3 0 16,-3-1-28-16,0-3-11 0,0 3-23 0,0-3-48 15,2 3-5-15,-2-4-31 0,2 0-26 16,-2 0-30-16,1-2-13 0,-1 1-49 16,3-2-2-16,-1-1-47 0,1 3-30 0,2-6-79 0,-2 3-129 15,-1-1-516-15,3-1 27 0,-5-1 108 16,0 0 72-16,0 0 79 0,0 0 80 16</inkml:trace>
  <inkml:trace contextRef="#ctx0" brushRef="#br0" timeOffset="26639.44">18054 10244 1028 0,'-6'0'374'0,"6"0"-23"16,-5-2-36-16,5 2 53 0,0 0-14 16,0 0-47-16,0 0-8 0,11-4-20 0,-11 4-51 15,10-2-26-15,-3 1-64 0,1-2-53 16,0 2-49-16,0 0-57 0,4-1-76 0,-2-1-159 15,1 0-363-15,2 0-247 0,0-2 114 16,-1 1 56-16,1-2 97 0</inkml:trace>
  <inkml:trace contextRef="#ctx0" brushRef="#br0" timeOffset="26982.73">18354 10088 1159 0,'-9'6'451'0,"1"4"-21"0,-1-2-57 0,4-1-4 0,-1 1-129 0,4 1-22 16,-1 1-16-16,-2 0-28 0,5 3-30 0,-2-2-21 0,4-3-29 15,-2 4-22-15,6-3-8 0,-2 1-13 16,4 0-15-16,0-1 13 16,2-3-21-16,1 0-3 0,-1-2 14 0,2-1 4 0,-1-1-12 15,1-2 10-15,1-2 8 0,-2 1 15 0,1-2 15 16,-1-1 5-16,-1-1 1 0,0-1 20 15,-4 0 15-15,1-1 16 16,-4 1-26-16,-1-1-13 0,-2-1 3 0,-2-2 20 0,-1 3-30 0,-4-4-13 16,1 4-26-16,-2-1-8 0,-2 0-9 0,3 1-40 15,-4 0-6-15,1 2-9 16,3 2-56-16,-1-2-35 0,-2 3-37 0,2 0-17 16,3 0-95-16,-3 2-205 0,4 2-473 0,-2-2 38 15,6 0 158-15,-10 3 29 0,7-2 95 16,3-1 45-16</inkml:trace>
  <inkml:trace contextRef="#ctx0" brushRef="#br0" timeOffset="27308.4">18738 10022 1192 0,'0'0'510'16,"0"0"-37"-16,0 7-122 0,0-7-52 0,-5 8 19 15,1-1-24-15,0 0-28 0,-4 1-17 16,4 2-16-16,-4 0-44 0,0-1-17 0,-2 3-19 16,2 0-20-16,-1 0 3 0,2-2-29 0,0 0-2 15,-1-1 8-15,3 1-36 0,0-4-3 16,4 1-7-16,-3 1-6 0,1-1-10 0,3-1-2 16,0-2 7-16,-1 1 3 0,2 1-8 0,-1-2-10 15,3-1 5-15,1 3 8 0,0-3-8 16,1 0-20-16,2-2-24 0,-2 3 8 0,3-2-15 15,2 0-23-15,-2-1-28 0,4 0-21 0,-4 0-10 16,1 0-46-16,1-2-10 0,0 1-19 16,-2-1-42-1,-1 0-96-15,1-8-168 0,0 8-431 0,0 1 42 0,-2-2 102 0,-2-2 63 0,1 1 55 16</inkml:trace>
  <inkml:trace contextRef="#ctx0" brushRef="#br0" timeOffset="27518.51">18748 10000 1267 0,'-5'6'442'0,"0"1"-30"0,2 3-22 16,-2 1-37-16,0 0-26 0,3 6-27 16,-1 2-24-16,3 0-45 0,-3 0-9 0,3 4-1 15,0-2-53-15,0 2-47 0,0-2-44 16,3 1-67-16,-3-1-54 0,3-1-43 0,-1 2-94 15,2-10-180-15,-3 8-545 0,2-3 63 0,-1-1 101 16,1-1 89-16,0-2 49 0</inkml:trace>
  <inkml:trace contextRef="#ctx0" brushRef="#br0" timeOffset="28113.14">16617 11478 1133 0,'0'0'328'0,"0"0"-26"0,0 0-31 0,0 0-7 0,26-4-26 16,-15 4-41-16,1-1 59 0,4 1-41 16,-3-1-56-16,5 0-52 0,-3-1-60 0,1 2-101 15,2 0-123-15,-1 0-619 0,-1 0 64 0,-4 0 33 16,-2 2 85-16</inkml:trace>
  <inkml:trace contextRef="#ctx0" brushRef="#br0" timeOffset="28336.68">16697 11643 1041 0,'10'-1'430'0,"-2"0"-35"0,2 0-27 15,6-2-38-15,-1 0-46 0,3-2-17 16,3 0-109-16,-1 0-4 0,3 2-49 0,-3-1-36 16,1 2-54-16,2-3-33 0,-5 0-43 15,0 4-95-15,0-1-126 0,-5-1-501 0,2 1 25 16,-2 0 118-16,0-1 13 0</inkml:trace>
  <inkml:trace contextRef="#ctx0" brushRef="#br0" timeOffset="30252.16">16633 11478 1067 0,'-2'-2'351'0,"2"2"-31"0,0 0-47 0,0 0-17 16,-6-2-18-16,6 2-15 0,0 0-21 16,0 0-22-16,0 0-14 0,0 0-7 0,11-5-3 15,-3 4-33-15,1-1-8 0,0 0-20 0,5 0-6 16,-3 0 62-16,4-1-23 0,-2 1-33 16,0 0-41-16,3-1-47 0,-2 2-35 0,2 0-54 15,-1-3-77-15,-1 3-68 0,0-2-168 0,2 1-434 16,-3 2 64-16,-1 0 40 15,2 0 124-15,-4 2 20 0</inkml:trace>
  <inkml:trace contextRef="#ctx0" brushRef="#br0" timeOffset="40021.99">17635 11294 1036 0,'0'0'384'0,"1"-6"44"0,-1 6-70 0,0 0-28 0,0-3-5 0,0 3-33 0,0 0-33 0,0 0 22 15,0 0-40-15,2 14-36 0,-2-6-6 16,0 0-2-16,0 3-89 0,-2 3-8 0,2 0-42 16,-3 1 14-16,0 3 5 0,-2-1 64 15,0 2-34-15,0 0 14 0,0-1-19 0,-2 3-20 16,1-4-5-16,1 1-6 0,-1-2-12 0,-1-2-5 16,2 1-36-16,0-3-18 0,0 0-21 15,2-3-20-15,-2 2-17 0,3-4-17 0,-1 2 6 16,0-4-28-16,0 0-52 0,1 0-58 15,0-4-64-15,2-1-149 0,0 0 0 0,0 5-463 16,0-5 97-16,0 0 59 0,0 0 44 0,0 0 87 16</inkml:trace>
  <inkml:trace contextRef="#ctx0" brushRef="#br0" timeOffset="40422.67">17903 11337 1218 0,'2'-1'420'0,"-2"1"-31"0,0 0-115 0,0 0-16 15,0 0-27-15,0 0-4 0,-10 14-12 16,2-8-33-16,0 3 0 0,0-1 10 0,-5 3 33 16,0-1-46-16,-2 2 11 0,5 1-29 15,-5-1-18-15,-1 2-66 0,6-2-26 0,-3 0-2 0,3 0-18 16,0-1 7-16,2-3-7 0,3 1-6 15,-1-3-14-15,2-1 19 0,-2 0 14 16,4 2-31-16,2-3 10 0,0-4 23 0,2 7-13 0,4-7 8 16,-1 1-3-16,5-1-7 0,0-1 5 15,3-1-16-15,2-2 1 0,3 3 12 16,1-3-15-16,1 0 8 0,1 0-24 0,1 0 29 16,1 0-36-16,-2 0-5 0,0-2 15 15,-1 4-21-15,-2-2-27 0,-2 0 15 0,-1 1-31 16,-2 2-15-16,-1-4-1 0,-2 5-30 0,-1-2-71 15,-2-2-32-15,0 4-81 0,-3-2-69 0,0-1-47 16,-1 1-455-16,-3 2 98 16,5-3 58-16,-5 3 94 0,0 0 37 0</inkml:trace>
  <inkml:trace contextRef="#ctx0" brushRef="#br0" timeOffset="40709.6">17987 11326 1374 0,'-3'-3'361'0,"3"3"-51"0,-2-4-11 16,2 4-33-16,0 0 3 0,0 0-15 0,0 0-45 15,-8 12-9-15,6-6-16 0,2 1 16 0,-1 3-18 16,1-1 56-16,0 3-23 0,-1 3-46 0,1-1 10 16,-2 1-18-16,2 3-35 0,0-2 7 15,-2 2-26-15,2 1-25 0,0-3 5 16,0 0-2-16,0-1-24 0,0-1-5 0,-2 0-38 15,2-1 16-15,0-3-9 0,0 1-27 16,0-3-24-16,0 3-23 0,2-5-20 0,-2 1-33 16,0-2-21-16,0 0-23 15,2-3-64-15,-2-2-102 0,0 0-77 0,0 0-469 0,0 0-30 16,11-7 151-16,-6 2 61 0,-2 2 59 0,4-4 72 16</inkml:trace>
  <inkml:trace contextRef="#ctx0" brushRef="#br0" timeOffset="41122.21">18156 11181 985 0,'-2'-5'323'0,"2"5"-6"0,0 0-46 0,0 0-15 16,10-2-20-16,-10 2-16 0,15-1 49 15,-8 0-1-15,2 0-48 0,1 1-12 16,-2 0-24-16,2 1 11 0,0-1-24 0,-2 1 1 0,2 0 4 16,-3 3-20-16,1-1 8 0,-2 1 3 15,1 2-9-15,-2 0-4 0,-2 2 5 16,2 2-21-16,0 0-82 0,-3 2 6 0,1 0-9 15,-1 1-4-15,-2 1 2 0,1 1 3 0,-1-1-23 16,0 2 15-16,-1-2 2 0,-1 1-14 0,-1 0-11 16,1-1-11-16,2 0 63 15,-2-1-22-15,2-3-19 0,-1 2-34 0,-1-3-16 0,2-1-48 16,0 2-2-16,0-3-31 0,0 0-19 0,3 2-40 16,-1-6-61-16,0 3-144 15,2-3-33-15,0-2-88 0,-1 0-411 0,-3-1 74 16,0 0 82-16,10-1 20 0,-10 1 90 0</inkml:trace>
  <inkml:trace contextRef="#ctx0" brushRef="#br0" timeOffset="41343.41">18128 11399 1139 0,'0'0'368'0,"0"0"-7"0,0 0 44 0,0 0-45 0,18-5-24 16,-10 4-24-16,2-1-46 0,2-1-46 0,1 2 18 16,3-1-51-16,4-1-18 0,0 0-38 0,1-1-47 15,0 1-12-15,7-1 2 0,-2-1-56 16,1 2-69-16,0-1-36 0,-5 1-90 0,14-10-143 16,-10 10-571-16,0 3 65 0,-6 0 104 15,-2 0 67-15,-5 0 58 0</inkml:trace>
  <inkml:trace contextRef="#ctx0" brushRef="#br0" timeOffset="41890.51">17456 11936 1269 0,'8'-3'302'0,"4"-1"-25"0,7 1-19 16,1-1-10-16,3 0-43 0,5-3-10 0,13 1-19 0,0-2-25 16,0-1 0-16,5 2-25 0,-2-2-3 15,-3-1-8-15,3 2-38 0,-1 0-1 0,3-1-29 16,-7 2-12-16,2-3-37 0,-8 5-14 0,-4 0-104 16,-4 0-3-16,-2 0-51 15,-2 4-25-15,-6-2-116 0,-8 1-39 0,4 2-385 0,-1 0 37 16,-4 0 111-16</inkml:trace>
  <inkml:trace contextRef="#ctx0" brushRef="#br0" timeOffset="42138.62">17354 12103 1190 0,'10'-2'338'16,"5"-1"43"-16,0-1-30 0,6 1-29 0,5-3-50 16,15-1 7-16,4-3-21 0,0 2-28 0,6-2-22 15,0 2-32-15,11-3-4 16,1-2-21-16,-1 0-41 0,-3 1-13 0,0-3-46 0,-3 0-17 16,-12 2-47-16,0-1-41 0,-3 1-84 15,0-3-103-15,-8 3-212 0,3 0-404 0,-6-3 45 16,-6 4 137-16,-4 0 53 0,-2 1 53 15</inkml:trace>
  <inkml:trace contextRef="#ctx0" brushRef="#br0" timeOffset="42445.99">18523 11410 1141 0,'0'0'341'0,"-8"1"-93"15,8-1-33-15,0 0-90 0,0 0-107 0,0 0-141 16,0 0-522-16,0 0 36 0,0 0 59 16</inkml:trace>
  <inkml:trace contextRef="#ctx0" brushRef="#br0" timeOffset="44575.48">19709 4269 1351 0,'4'-4'451'0,"-4"4"-11"15,0-3-115-15,0 3-3 0,-1-6-45 16,1 6-29-16,-10-2-10 0,10 2-25 0,-18 2-39 16,8 1 56-16,-3 1 11 0,-2-1-11 15,-2 2-46-15,-3 1-4 0,3 0-17 0,-1 1-12 0,0-1 0 16,0 2-12-16,3 0-24 16,-1-1-23-16,5-1 15 0,-1 0-20 0,2 1-23 15,2-1-15-15,4 0 15 0,-2 0-13 16,4-3-25-16,-1 1 7 0,5 2-5 0,-1-4-17 0,1 2 24 15,5-2-12-15,-2 3-2 0,5-3 17 16,1 1-27-16,2-2-22 0,0 1 22 0,2 2-17 16,-2-3-4-16,2 0 13 0,1 3 17 15,-1-4 11-15,-2 1-49 0,2 1-2 16,-3 0 25-16,-3 1-5 0,4 1 7 0,-6-3 4 16,1 1 4-16,-3 2 3 0,2-1 10 0,-3 1-8 15,-2 1 14-15,-2-3-16 0,-2 3 12 0,-1 1-9 16,-2-1-8-16,-3 2-16 0,0-1 16 15,-2 0 10-15,-1 1-26 0,-1-1-9 0,0 1 14 16,1-4-58-16,-2 5-47 0,0-4-25 0,1 1-20 16,-1 1-44-16,0-1-41 0,4-3-95 15,-3-1-148-15,4 2-517 0,1-1 59 0,1 2 122 16,-1-3 68-16,7-1 70 0,-10 0 45 16</inkml:trace>
  <inkml:trace contextRef="#ctx0" brushRef="#br0" timeOffset="44858.49">19845 4264 1438 0,'0'0'509'0,"3"-1"-120"16,-3 1-28-16,0 0-25 0,3 7-39 0,-3-1-29 15,0-1-14-15,0 3-24 16,-3 0 75 0,3 2-44-16,-2 2-26 0,2 0-12 0,-3 1-36 0,0-1-41 0,3 1-13 0,-2 0-41 0,1-1-13 15,-1 0-32 1,2 0-47-16,0-3-59 0,-2 2-8 0,2-3-40 0,0 2-29 0,0-3-59 16,2 1-102-16,-2-4-153 0,2 2-489 15,-1 0 186-15,1-4-28 0,1 2 90 0,0-3 79 16,-3-1 42-16</inkml:trace>
  <inkml:trace contextRef="#ctx0" brushRef="#br0" timeOffset="45174.11">19830 4281 1354 0,'5'-8'448'0,"3"1"-11"15,0 4-14-15,2-1-52 0,-3 1-36 0,4 1-28 16,-1 2-20-16,6 2-6 0,0-1-78 0,-2 1-11 16,5 3-18-16,-2 2 79 0,1 0-51 0,0 3 13 15,0 1-92-15,-5-1-13 16,2 1-10-16,-5 0-3 0,-2 2-33 0,-3-1 16 0,-3 1 7 16,-1 0-8-16,-2-1-12 0,-3 1-6 0,-2 1-33 15,-1 0-10-15,-3 1-23 0,-3-3-31 16,2 1-38-16,-1-4-21 0,-4 2-46 15,5 0-27-15,-3-4-24 0,3-1-49 0,-1 0-110 16,4-4-115-16,-2 2-476 0,4-3 70 0,1-1 104 16,5 0 18-16,-9-5 138 0,3 3 18 15</inkml:trace>
  <inkml:trace contextRef="#ctx0" brushRef="#br0" timeOffset="45390.74">20302 4277 883 0,'11'-1'343'0,"-3"1"-31"0,1 0-23 0,-1 1-25 15,1-1-62-15,-1 0-43 0,1 1-62 0,-2 2-66 16,-2-3-59-16,3 3-152 0,-3 1-50 0,-2-1-487 15,-1 2 93-15,-4-1 35 16</inkml:trace>
  <inkml:trace contextRef="#ctx0" brushRef="#br0" timeOffset="45565.66">20225 4444 1305 0,'0'0'399'0,"0"0"-46"16,0 0-22-16,0 0-119 0,0 0-10 0,0 0-22 15,0 0-17-15,21 0 22 0,-11-3-47 16,-2 2-8-16,2-1-22 0,2 1-31 0,-1-3-21 16,1 2-28-16,2-1-33 0,-2 1-56 0,0 1-60 15,-3 0-170-15,1-2-549 0,0 1 62 0,-4 2 102 16,1 0 34-16</inkml:trace>
  <inkml:trace contextRef="#ctx0" brushRef="#br0" timeOffset="46723.41">20905 4171 995 0,'2'-2'464'0,"3"1"-45"0,0-2-14 0,-5 3-44 15,13 0-29-15,-13 0-27 0,17 4-21 16,-9-2-18-16,1 2-30 0,1 2-24 15,-3-3-9-15,0 3-17 0,-3 1-14 0,0 2-11 0,-3-1-20 16,1 0-31-16,-2 2-59 0,0-2-43 16,-3 5-16-16,-1-3 13 0,1 0-12 15,-4 0 1-15,3-2 6 0,0-2 3 0,1 3 10 0,-2-3-18 16,3 1-11-16,2-4 1 0,-1 1 30 16,-1 0-25-16,2-4 5 0,0 0-5 15,0 0-3-15,7 2-5 0,-7-2 3 16,8-1 7-16,0 2-10 0,-3-1 21 0,3 0-11 0,2 1 16 15,-2 0 22-15,2-1-12 0,2 4-5 16,-1-1 13-16,2 1-16 0,-6 0 13 0,1-1 8 16,0 1 7-1,0 2 24-15,-3-2 4 0,0 1 3 0,-2 0-10 0,-3 1-3 0,0-2 21 16,-3 0 23-16,-2 3-41 0,0 1 2 16,-5 0-27-16,-1-2 1 0,1 0 11 0,-4 0 90 15,0 1-23-15,-2-1-13 0,-2 0-8 0,3 0-44 0,-1-3-9 16,2 0 7-16,-2 0-44 15,3 0-9-15,-3-2-19 0,3 0-23 0,-1-1-17 16,3 1-31-16,1-1-6 0,0 0-30 0,2 0-13 16,0-1-28-1,0 0-41-15,4 0-64 0,4 1-141 0,-9-3-202 0,8 1-294 16,1 2 84-16,0 0 67 0,4-7 84 0,2 3 18 0</inkml:trace>
  <inkml:trace contextRef="#ctx0" brushRef="#br0" timeOffset="47213.75">21268 4159 1284 0,'-12'-1'372'0,"3"1"-6"0,-3 1-46 0,2 0-13 16,2 2-21-16,-2 3 37 0,2-3-26 0,-2 3-31 16,2 3-7-16,-2-2-47 15,2 1 8-15,-1 0-51 0,2 1-2 0,-2 3-27 16,4-3-14-16,-1 1-14 0,4-1-14 0,0 1 4 16,2-2-25-16,0 0 0 0,2-1-39 15,0-2 46-15,1 0-27 0,5 2-1 0,-1-4-15 16,1 0-13-16,0-3-5 0,2 0 13 0,0 0 5 15,-2 0-18-15,2-3 26 0,-2 0 7 16,2 0 0-16,-2-3 6 0,2 0-65 0,-5 0 13 16,3 1 19-16,-1-1-19 0,-1 2 28 15,-3-1 8-15,4 1-18 0,-4-1 3 0,-1 3 10 16,2-1-25-16,-4 3 17 0,4-1-18 0,-4 1 3 16,0 0 8-16,8 5 7 0,-8 0-10 15,2 0 95-15,-2 2-24 0,0 1 14 0,2 3-26 16,-2-3-23-16,-2 3 7 0,2 1-9 0,0 2-4 15,0-1-25-15,-2 0-7 0,2-1-11 16,0 1-15-16,-3 2-64 0,3-4 13 16,-1 0-8-1,1 0-36-15,-4-3-13 0,4 0-15 0,-2 0-66 0,2-1-11 0,0-1-54 0,0-1-117 16,0-1-172-16,0-1-427 0,2-2 82 0,-2-1 38 16,0 0 143-16,0 0 39 0,0 0 77 0</inkml:trace>
  <inkml:trace contextRef="#ctx0" brushRef="#br0" timeOffset="47601.11">21596 4216 1295 0,'0'0'483'0,"0"0"-35"15,0 0-41-15,0 0-99 0,0 0-47 0,-14 10-18 16,6-4-10-16,0-1-21 0,-2 3-30 15,1 0-16-15,-3 2-10 0,-1-2-15 0,-2 2 5 16,2 0-23-16,0 0-33 0,-2 1 15 0,4-2 5 16,1 0-21-16,0-1 8 0,0-1-30 15,5 0 0-15,-2-1-9 0,1-1-11 0,1 1 4 16,2-1 0-16,1-2-15 0,2 2 12 0,0-1 1 16,0-4-5-16,5 4 7 0,-3 0 2 0,1-3 1 15,4 0 77-15,0 0-52 16,-1-1 24-16,2 0 12 0,4 3-41 15,-1-6 3-15,-1 3-18 0,4-1 2 0,-2 0 18 0,3 0-7 16,-1-3-26-16,0 4-33 0,0-3 2 16,-1 0-25-16,-1 0-33 0,0-2-29 0,-1 1-31 15,-1 1-27-15,-2 1-24 16,0-2-43-16,0 1-72 0,-1 1-104 0,-2 0-201 0,-2-1-419 0,3 0 105 16,-4 0 100-16,-2 3 61 15,5-6 97-15,-5 4 5 0</inkml:trace>
  <inkml:trace contextRef="#ctx0" brushRef="#br0" timeOffset="47868.38">21597 4244 1241 0,'0'0'461'0,"0"0"-29"0,0 0-17 15,0 0-29-15,0 0-96 0,0 0-37 0,0 0-12 16,0 15-21-16,2-9-36 0,-2 4 0 0,0-2 60 15,3 3-29-15,-3-3-16 0,0 2-12 16,2 3-31-16,0-4-7 0,-2 2-14 0,0 0-4 16,1 0-21-16,-1 1-26 0,2-1 1 15,-2-1-36-15,3-1-14 0,-3 1-14 0,1-2-19 16,-1 0-45-16,1-1-6 0,0-2-30 0,-1 0-31 16,0 2-21-16,0-3-17 0,2 1-44 15,0-2-100-15,-2-3-179 0,4 0-473 0,-2 4 104 16,-2-4 52-16,0 0 107 0,12-4 49 0,-6 1 63 15</inkml:trace>
  <inkml:trace contextRef="#ctx0" brushRef="#br0" timeOffset="48206.75">22058 4032 1487 0,'0'0'499'0,"0"-6"-31"0,0 6-30 0,0 0-41 16,0 0-42-16,0 0-42 0,0 0-34 16,0 0 7-16,-3 18-35 15,1-10-107-15,2 3-6 0,-3-3-15 0,3 3 0 0,-2 2-31 16,2 0-26-16,-1 0-20 0,-1 0 31 0,2-1-61 15,-2 1-32-15,-1-1 19 0,3-2-34 16,0 0-59-16,0 0-2 0,0-1-15 0,0 0-29 16,0-2-30-16,0 1-85 0,0-2-49 0,3 0-66 15,-3-5-7-15,4 5-495 16,-3-3 118-16,1-1 31 0,-2-2 99 0,5 5 26 0</inkml:trace>
  <inkml:trace contextRef="#ctx0" brushRef="#br0" timeOffset="48482.74">21943 4195 965 0,'0'0'414'0,"-6"-1"-30"0,6 1-31 0,0 0-51 16,-7-1-10-16,7 1-26 0,0 0-17 0,0 0-9 15,0 0-37-15,0 0-4 0,17-5-35 0,-11 4 69 16,-1-2-28-16,3 3-1 0,0-1-27 15,2-1-13-15,0 0-10 16,0 1-29-16,-1-1 3 0,1 1-28 0,0 1-41 0,0-3-8 16,-3 2-41-16,4 1-59 0,-1 0-12 0,-5-1-41 15,3 1-42-15,0 1-127 0,-8-1-154 0,14 0-517 16,-11 4 72-16,3-4 61 0,-2 3 90 0,-1 0 107 16,-2 0 21-16</inkml:trace>
  <inkml:trace contextRef="#ctx0" brushRef="#br0" timeOffset="48771.18">21930 4382 1197 0,'0'0'464'0,"10"-5"-44"16,-7 4-26-16,4-1-38 0,1-1-93 0,0 1-35 16,0 0-23-16,2 0-6 0,0 0-35 15,-2 2 0-15,3-4-26 0,-1 1-5 0,0 3 0 16,0-4-35-16,0 2-14 0,1 2-12 16,-1-3-29-16,0 0-45 0,-2 3-26 0,-1-4-29 15,1 3-40-15,-1 0-77 0,-2 1-207 0,1 0-520 16,-6 0 92-16,10-1 69 0,-10 1 82 15,8 0 133-15</inkml:trace>
  <inkml:trace contextRef="#ctx0" brushRef="#br0" timeOffset="49329.67">22374 4040 1348 0,'0'0'410'15,"0"-6"-59"-15,0 6-29 0,0 0 1 0,0 0-44 16,0 0-26-16,0 0 3 0,0 0 51 16,0 17-28-16,4-9-18 0,-1 2-38 15,0 3-16-15,2-1 3 0,0 0-20 0,0 4-19 16,-2 1-45-16,2 0-9 0,0-1-12 0,-2 1-36 15,-1 1-69-15,0 1-2 0,2-5-31 0,-4 2-16 16,0-3-7-16,2-1-37 0,-2 1-47 16,0-5-42-16,0 3-138 0,0-4-159 0,2 1-470 15,-2-3 122-15,3 0 39 0,-1-2 107 32,-1 0 61-32,-1-3 83 0</inkml:trace>
  <inkml:trace contextRef="#ctx0" brushRef="#br0" timeOffset="49710.01">22733 4112 1026 0,'0'0'376'0,"2"-5"-25"0,-2 5-44 0,0 0-2 0,0 0-29 0,0 0-28 0,0 0 1 15,0 0-37-15,-10 16-2 0,2-8-8 16,-2 1-46-16,1 1-2 0,-5-1-18 0,-4 7-14 15,5-7-6-15,0 2 60 0,-4 1 1 0,6 0-26 16,-2-4-28-16,3 0-26 0,2 1 18 16,0-3-20-16,1 2-3 0,2-2-25 0,-1-1 4 15,1 1-9-15,3-3 38 0,2 2-42 0,0-1 12 16,0-4-4-16,7 4 3 0,-4-1-12 16,5-1-6-16,-1-2-15 15,1 1 17-15,3 1-14 0,-1-2-24 0,2 0 31 0,1-3-13 16,0 3 3-16,2-2-74 0,-2 0-11 0,0 0-12 15,4 0 2-15,-3 1-15 0,-1-3-8 16,2 2-23-16,-2-1-15 0,-3 2-19 0,0-1-27 16,-2-2-29-16,0 2-61 0,1-1-135 0,-5 2-57 15,1-1-494-15,-3-2 128 0,3 3 72 16,-5 1 35-16,1-5 70 0</inkml:trace>
  <inkml:trace contextRef="#ctx0" brushRef="#br0" timeOffset="49967.01">22719 4138 1090 0,'-4'-3'384'0,"4"3"-13"0,0 0-23 0,0 0-15 0,-6 9-26 0,4-6-25 16,2 2-8-16,0 3 53 0,0 1-40 15,2 1-41-15,-2 0 4 0,3 2-4 0,-1 2-102 0,-1 0-6 16,-1 1-44-16,2 0-1 0,0 1-22 15,1-3 3-15,-2 1-17 0,1-1-6 0,0 3-31 16,-2-3-25-16,4-1-18 0,-3-2-25 0,0-1-27 16,1 0-37-16,0-3-16 15,0 1-41-15,-1-1-54 0,4-2-125 0,-5-4-64 16,8 0-476-16,-3 1 102 0,0 0 59 0,-5-1 85 16,11-4 35-16</inkml:trace>
  <inkml:trace contextRef="#ctx0" brushRef="#br0" timeOffset="50406.28">22913 4038 1180 0,'-7'-1'340'0,"7"1"-12"15,0 0-19-15,0 0-32 0,0 0-34 0,0 0-5 16,0 0-33-16,0 0-16 0,0 0-12 0,29 1-6 16,-21-1-35-16,2 0-3 15,0 1-2-15,0-1 7 0,-2 1-10 0,2 0 0 0,-2 2 10 16,0-2-18-16,0 4-7 0,-1-3 12 0,-2 3 1 15,3 1 56-15,-3 0-6 16,2 1-9-16,-6 1-11 0,4 1-13 0,-1 1-2 16,-3 0-18-16,2-2 5 0,-3 2-34 0,2 0 9 15,-2 0-98-15,0-1 13 0,-2 2-13 0,2 0 10 16,0-2-10-16,0 1 18 0,-3-1-30 16,3 0-19-16,-1-1-12 0,1 0-8 0,-2 1-6 15,0-3-35-15,2-2-33 0,0 1 10 0,0 0-26 16,0 0-20-16,0-2-43 15,2 1-37-15,0 1-71 0,2-5-133 0,-4 0 20 16,4 2-448-16,-4-2 23 0,8 1 119 0,-8-1 132 0,8-1 5 16,-8 1 41-16</inkml:trace>
  <inkml:trace contextRef="#ctx0" brushRef="#br0" timeOffset="50674.41">22902 4210 1256 0,'0'0'487'0,"-6"-1"-65"16,6 1-5-16,0 0-25 0,0 0-54 0,0 0-36 15,0 0 2-15,23-2-25 0,-15 1-53 16,5 1-11-16,-3 0-18 0,6 0-21 0,-1-3-30 16,3 2-2-16,2-1-32 0,-2 0-30 15,0 1-23-15,1-1-33 0,3 0-32 16,-5-1-32-16,0 2-46 0,0 0-19 0,-3-3-22 15,-2 4-93-15,-1-2-153 0,-1 1-591 0,-2 1 127 16,-1 0 98-16,-1 1 28 0,-6-1 115 16,0 0 62-16</inkml:trace>
  <inkml:trace contextRef="#ctx0" brushRef="#br0" timeOffset="62792.18">18854 4369 883 0,'0'0'355'0,"0"0"-17"0,7-2-41 16,-7 2-20-16,0 0-11 0,0 0-26 16,1 8-17-16,-1-8-3 0,-1 8-2 0,-2-4-34 0,1 2-15 15,0 1-5-15,-1-1-16 16,-2 1-4-16,0-1 7 0,-1 0-34 0,1 2 9 0,-2 0-29 16,-3 1 8-16,2-1-5 0,2-1-28 15,-4 3-11-15,3-4-2 0,-1 1 28 16,-2-1-26-16,2 0-9 0,3 0-14 0,-3-2-2 15,0 0-11-15,2 1 19 0,-3-3-6 0,4-1 11 16,0 1-6-16,0-1-2 0,5-1-15 16,-9 0 18-16,9 0-29 0,-7-4 8 0,4 2 10 15,1-4-15-15,0 2 0 0,2-2-23 0,0 2 18 16,2-6-11-16,0 2 6 0,-1-1-3 0,4 2 0 16,0-2-7-16,2-1-6 15,-1 2 92-15,1-2 6 0,1 1-29 0,0 2 11 16,2-2 10-16,-2 1-10 0,3 3-11 0,-1-1-10 0,0 3 34 15,0-1-90-15,-3 2-6 16,6 2 14-16,-5 0 7 0,2-1-10 0,1 2 8 16,-1 0 2-16,0 0-2 0,0-1-6 0,-2 4 16 15,2-3-7-15,3 0-34 0,-3 0 38 0,1 1-18 16,1-1 21-16,-2-1-10 0,-1 1 5 16,3 1 5-1,-2-2-18-15,0 0 12 0,0-2-1 0,-4 2-16 0,1-1-34 0,4 1-9 0,-6 0 4 16,3-1-25-16,0-1-5 0,-3 2-49 0,-5 0-31 15,10-1 6-15,-4 0-44 0,-6 1-44 16,6-3-32-16,-6 3-114 0,4-4-102 16,-4 4-419-16,0 0 102 0,0 0 12 0,0 0 121 15,0 0 79-15</inkml:trace>
  <inkml:trace contextRef="#ctx0" brushRef="#br0" timeOffset="63157.44">18561 4259 1057 0,'-8'-1'499'0,"-2"2"-28"16,0 4-59-16,2 0-95 0,0 1-25 0,1 0-10 16,-4 3-39-16,4 2 10 0,-3 3-30 0,0 4-13 15,-1 2-21-15,-2 11-12 0,2-1-24 16,-1 2-2-16,4-3-7 0,3-4-16 0,0-3-13 16,2 2-10-16,1-1 0 15,2-1-28-15,2-1-13 0,1-2-21 0,3 0-35 0,1 0-39 16,1-6-15-16,5 0-23 0,-3-2-41 15,3-1-41-15,2-2-28 0,3-5-36 0,-2 1-118 16,-1-4-123-16,8 0-470 0,-3-4 130 0,1 1 35 16,0-2 81-16,3-5 45 0</inkml:trace>
  <inkml:trace contextRef="#ctx0" brushRef="#br0" timeOffset="63604.09">19089 4090 1141 0,'0'0'550'0,"16"6"-56"0,-6-1 0 0,2 2-122 15,2 3-32-15,-1 0-20 0,1 6-23 0,0 2-10 16,1-1 84-16,3 10-110 0,-3 1-41 0,0 1-5 15,-4-4-18-15,-3-1-10 0,-4 1-10 16,0-2-31-16,-5 0 5 0,-4 3-36 0,-3 9-23 16,-7-3-38-16,-5 0-49 0,-4 0-74 0,1-2-77 15,-10 7-74-15,-5-5-93 16,9-4-281-16,-1-5-404 0,1 1 79 0,-1 0 64 0,1-6 90 16,1-3 151-16,-5 2-21 0</inkml:trace>
  <inkml:trace contextRef="#ctx0" brushRef="#br0" timeOffset="67192.47">19617 5538 793 0,'0'0'312'0,"0"0"42"16,-2 4-19-16,2-4-13 0,-3 2-30 0,3-2-18 15,-3 5-21-15,3-5-9 0,0 0-1 0,-2 3-110 16,2-3-3-16,-2 3-12 0,2-3 18 0,0 0 2 15,0 0-15 1,-1 6-10-16,1-6-3 0,0 0 5 0,-2 2 0 0,2-2 62 16,0 0 4-16,0 0-9 0,0 0-13 0,0 0-8 15,0 0 2-15,-3-11-25 0,1 8 15 16,2-3-20-16,0 1-94 0,0-2 14 0,0 1-10 16,0-4-12-16,0 2 10 0,-1 0-14 15,1-3-1-15,-2 1 4 16,0 1-12-16,2-2 7 0,0 2 11 0,0-2-6 0,0 4-4 15,0-3 2-15,0 3 2 0,0 1-2 0,0 0 5 16,0-1 0-16,0 5-8 0,0-3-2 0,0 1-10 16,0 4-6-16,0 0 21 0,4-3-20 0,-4 3 12 15,0 0 15-15,0 0-14 0,6 8-6 16,-3-3 8-16,-1 0-16 0,3-2-5 0,-2 4-10 16,-1-2-7-16,4 2 2 0,-2-1-18 0,-1 0 2 15,2-1 4-15,-2 1-34 0,4 0 12 16,-4-4 3-16,3 2-4 0,-2 2-19 15,2-5 31-15,-2 0 25 0,2 2-9 0,-6-3 4 0,10 0 13 16,-5 0-5-16,-5 0 5 0,10-4-7 16,-4 0 12-16,1 0 3 0,-2-1 28 0,1-2-7 15,1 1-11-15,0-4 7 0,-1 2 1 16,-1 2-5-16,2-4 2 0,-4 4 21 0,3-1 10 0,-2 1-10 16,-1 0 15-16,2 3-13 0,-2-3 8 0,0 2 0 15,-1 0 18-15,2 0-31 16,-3 2 15-16,-1 2-9 0,3-4-9 0,-3 4 11 15,0 0-3-15,0 0 1 0,0 0-4 0,13 8-12 16,-11-4 3-16,0 3-1 0,2 0 11 16,-2 1 2-16,0 1-12 0,1 0-16 15,-2 1 10-15,1-1-7 0,-2 2 12 0,2 0-22 0,0 0 15 16,0-2 4-16,-1 1-17 0,-1-1-5 0,0 1-15 16,0-3-1-16,3 0-12 0,-3-1-28 15,0 2-16-15,2-3-23 0,-2 0-13 0,0 1-22 16,3-4-60-16,-3 3 1 0,2-2-39 15,-2-3 2-15,3 5-71 0,0-4-76 0,-3-1-12 0,5 2-93 16,-5-2-400-16,10-3 127 16,-10 3 42-16,10-2 64 0,-5-1 51 0</inkml:trace>
  <inkml:trace contextRef="#ctx0" brushRef="#br0" timeOffset="67390.08">20022 5401 1302 0,'0'0'451'0,"1"-4"-26"0,-1 4-44 0,0 0-48 0,0 0-16 16,0 0-38-16,0 0-18 0,0 0-84 0,0 0-16 16,0 0-12-16,-10 11-16 15,10-5-26-15,-4 1-7 0,2 2 3 0,2-2-27 16,-2 5-14-16,-1-4 4 0,0 0-2 16,1 3-33-16,-1-1-10 0,1-2-50 0,-1 3-35 0,3-3-25 15,-1 0-21-15,-1 1-16 0,2-4-58 16,2 2-98-16,-2 0-71 0,1-4 3 0,-1 1-475 15,0 2 70-15,5-4 82 0,-3 0 105 0,-2-2 25 16</inkml:trace>
  <inkml:trace contextRef="#ctx0" brushRef="#br0" timeOffset="67771.5">19992 5409 1318 0,'0'-7'481'0,"0"2"-77"15,2 0-20-15,0 1-30 0,-1-3-32 0,1 1-15 16,1 1-20-16,2 3-34 0,1-3-17 16,1 4-72-16,-2 1-31 0,-5 0-23 0,13 3 5 15,-5 1-5-15,-1 1-23 0,2 1 80 16,-3 2-11-16,2 1-23 0,-2 0 2 0,1 3-14 0,0-3-1 15,-4 1-5-15,2 2-33 16,-4-3 18-16,-1 2-23 0,0-2 28 0,-1 2 0 16,-4 1-18-16,3-1-5 0,-3 2-21 0,1-4 6 15,-2 1-32-15,-2-1 9 0,0 1-16 0,0-2-25 16,4-3-11-16,-5 2-30 0,2-3-16 16,-1 0-31-16,1-1-40 0,1-1-36 15,2-2 7-15,-2 3-43 0,6-3-49 0,-10 0-69 0,10 0-130 16,-5-3-543-16,2 1 61 0,3 2 118 15,0 0 44-15,0 0 84 16,3-8 126-16</inkml:trace>
  <inkml:trace contextRef="#ctx0" brushRef="#br0" timeOffset="68100.95">20397 5412 1121 0,'0'0'435'0,"0"0"-38"0,0 0-29 0,0 0-38 16,12-4-33-16,-4 4-48 0,0 0-40 0,2-2-19 16,0 2-54-16,0 2-62 0,1-2-28 15,-3 0-46-15,2 1-108 0,0 1-145 0,-2-1-105 16,-3 1-446-16,3 2 105 0,-3-3 21 16,-2 2 58-16</inkml:trace>
  <inkml:trace contextRef="#ctx0" brushRef="#br0" timeOffset="68272.8">20371 5549 1156 0,'0'0'428'0,"0"0"-57"0,0 0-28 0,0 0-28 0,11 1-10 16,-7 0-39-16,-4-1-26 0,13-1-20 0,-3-2-38 15,1 1-28-15,-1 1-47 0,-2 0-4 16,7-2-108-16,-4 2-72 0,1 0-136 0,-4-2-137 15,5 1-508-15,-1 1 139 0,0 0 5 0,-3 0 69 16,4-2 71-16</inkml:trace>
  <inkml:trace contextRef="#ctx0" brushRef="#br0" timeOffset="70215.39">21017 5244 1282 0,'3'-4'389'0,"-1"2"-36"0,1-2-5 16,2 1 36-16,0 2-36 0,0-1-15 15,3 1-26-15,0 4-20 0,2-2-49 16,-2 2-10-16,0 1-5 0,-1 0-21 16,1 1-20-16,-3 4-19 0,0-3 1 0,-3 1-15 15,1 4-103-15,-3-1 0 0,0 0-16 0,-3-1 4 16,1 2 12-16,-1 0-15 0,-4 1 2 0,2-3-2 15,-3 1-6-15,2-1 47 0,-1 1 33 16,0-2-13-16,1-2-28 0,1 1-31 0,0-1 13 16,2-1 0-16,1 1 13 0,-3-4-31 0,2 1 1 15,3-3-12-15,-2 2 14 16,2-2-36-16,0 0 20 0,0 0 11 0,0 0 7 0,0 0-15 16,0 0 8-16,0 0-19 0,18-4-4 0,-18 4 10 15,10-1 7-15,-5 1-4 0,3 1-16 16,-2 1 5-16,2-1-5 0,-2 1 7 0,2 3-12 15,-3-3 13 1,2 4-5-16,-1-1 12 0,-1 0-15 0,0 0 23 0,-2-1 3 0,-1 1 9 16,1 1-12-16,-1 0 11 0,-2-1 4 0,-2 2 21 15,2-2-21-15,-3-1 31 0,1 1-17 16,-4 1 1-16,2 1 9 0,-2-2-11 0,1 0-10 16,-2 1 3-16,-1-2-16 15,0 0 28-15,1 0-18 0,-1-2-12 0,-2 3 7 0,1-3-7 0,-1-1 5 16,-2 2-31-16,4-3 7 15,-3 2 6-15,1-2-36 0,-2 0-18 0,4 0-20 16,-5 0-16-16,5 0-13 0,0 0-7 0,1 0-59 16,7 0 0-16,-13-2-47 0,8 2-4 15,5 0-39-15,-7-1-25 0,7 1-85 0,0 0-69 16,-3-5-110-16,6 2-442 0,1 0 96 0,-1-1 85 16,5 2 90-16,1-4 45 15,0 1 62-15</inkml:trace>
  <inkml:trace contextRef="#ctx0" brushRef="#br0" timeOffset="70821.75">21340 5281 1133 0,'-1'-4'395'16,"1"4"-50"-16,-6-3-27 0,6 3-50 15,-8-2-14-15,8 2-11 0,-10 3-15 0,4-1-16 16,1 2-33-16,-3-2-12 0,1 3 9 15,0 1 27-15,-1 0-11 0,2 3 5 0,-1-3-41 16,1 4-18-16,-1-2 26 0,2 2-54 16,-1-3-20-16,2 1 14 0,1 0-29 0,3 0-19 0,0-2 21 15,0 1-21-15,3-2-15 0,-1-2 3 16,3 2-3-16,-2 1-8 0,2-4 3 0,2-1-1 16,-1 2-1-16,-1-4-1 0,-5 1 13 15,15-3-10-15,-8 1 20 0,-1-2-89 16,2 2 36-16,-3-3 12 0,2-1 3 0,-4 1 23 15,3-1 0-15,-2-1 5 0,-1 2 18 16,0 0-21-16,1 1 11 0,-1-2 20 0,-3 2 6 16,3 1-14-16,-1 0-22 0,-2 3 12 0,2-4-5 15,-2 4-18-15,0 0 8 0,0 0 72 0,0 0-18 16,0 0-11-16,1 13 8 0,-2-7-12 0,1 0-1 16,-2 3-2-16,0 3-18 15,-1-1-11-15,3 3 11 0,0-1-13 0,-1 0 3 0,-1 3-13 16,0-3 2-16,0 0-25 0,2 0 0 15,-3 0-39-15,3 0-30 0,0-3 25 16,-3 0-40-16,3-1-40 0,-2-1-32 0,2-1-3 0,0-2-36 16,0 2-38-16,0-3 0 0,0-2-64 0,2 3-110 15,-2-5-164-15,0 0-461 0,3 1 90 16,-3-1 87-16,0 0 105 0,0 0 115 16,0 0 33-16</inkml:trace>
  <inkml:trace contextRef="#ctx0" brushRef="#br0" timeOffset="71280.47">21647 5310 988 0,'1'-4'481'0,"-1"4"-28"0,0 0-62 15,0 0-17-15,0 0-23 0,0 0-41 16,0 0-24-16,-9 14-96 0,3-9-37 0,-2 1 11 16,0 0-5-16,-2 1-18 0,0 0-19 15,-1 3 6-15,1-2-35 0,-2 0 4 0,4 2-15 16,-1-3-16-16,2 0 1 0,-3 0 15 0,5-1-31 16,2-1-5-16,-4 0 0 0,5-2-5 0,-4 2-8 15,6-1 24-15,-1-2 65 0,1-2 12 0,0 6-6 16,0-6-31-16,7 5-23 15,-3-4 8-15,2 0-15 0,1 0 22 0,3-1-12 16,-2 0-8-16,5 0-5 0,-2-1-20 0,1 0 7 16,1 1 5-16,3-1-25 0,-2-3-11 0,2 2 21 15,-3-1-23-15,4 0-26 0,-4 0 16 16,-2 2-10-16,-1 0-11 0,0 0 10 16,0-3-45-16,-2 4 1 0,-3-2-50 15,3 1-26-15,-3-2-30 0,-5 3-16 0,5-2-56 0,-5 2-62 16,3-1-115-16,-3 1-182 0,-3-5-378 0,3 5 104 15,0 0 70-15,-5-4 105 0,5 4 61 16,0 0 107-16</inkml:trace>
  <inkml:trace contextRef="#ctx0" brushRef="#br0" timeOffset="71561.39">21666 5303 1223 0,'-5'-3'451'0,"5"3"-44"0,0 0 0 0,0 0-29 16,0 0-40-16,-10 8-31 0,10-2-10 0,-3-1-46 15,3 3-90-15,0 2 6 16,-1 2-26-16,1 0-13 0,-4 1-3 0,4 1-20 0,-3 0-5 0,3 3-3 16,0-2-25-16,0 2 2 0,0 0 16 15,-1-2-29-15,1 2-18 0,-2-2-25 16,0 1-7-16,2-2-14 0,0 2-5 0,0-2-20 15,0-3-28-15,0-1-18 0,0 0-11 0,-2-1-20 16,2 1-30-16,0-4-11 0,2-1-41 16,-2-2-69-16,5-1-149 0,-5 0-452 0,0-2 56 15,0 0 71-15,16-7 70 0,-9 2 74 0</inkml:trace>
  <inkml:trace contextRef="#ctx0" brushRef="#br0" timeOffset="72162.34">22078 5146 1397 0,'0'0'474'0,"-2"-2"-24"16,2 2-51-16,0 0-45 0,0 0-4 16,0 0-48-16,0 0-30 0,-2 11-4 0,2-4-32 15,0 0-41-15,0 1-3 0,0 1-18 0,-1-1-11 16,0 3-14-16,1-1-24 0,-1 0-12 16,1-3-16-16,-3 3-7 0,3 0-26 15,0 0-26-15,0-3-25 0,3 4-11 0,-3-4-32 16,0 2-34-16,0-3 0 0,1 0-41 0,-1 0-13 0,1 0-18 15,-1 1-22-15,0-3-62 16,1 1-93-16,-1-2-37 0,0 2-349 0,0-5-136 16,2 3 34-16,-2-3 102 0,0 4 121 0,0-4 74 15</inkml:trace>
  <inkml:trace contextRef="#ctx0" brushRef="#br0" timeOffset="72514.5">21982 5271 995 0,'0'0'438'0,"-1"-2"-126"0,1 2-12 0,0 0-19 0,3-6-27 15,2 4-6-15,0-1-25 0,0 3-31 16,2-2 25-16,1 2 55 0,0-4-29 0,1 3-26 15,0 0 1-15,1 1-39 0,1-3-5 16,-1 1-18-16,0 2-10 0,1-1-102 0,-1 1-9 0,1-1 17 16,-1 0-11-16,0 1-8 0,-3-2 8 15,3 2-28-15,-4 0 2 0,3 0-18 32,-9 0 6-32,13-1-13 0,-7 1-6 0,-6 0-37 0,10 0 1 0,-10 0-1 0,8 0-11 15,-8 0-26-15,5 1-2 0,-5-1-46 0,5 4-3 16,-5-4-43-16,3 5-59 0,-3-3-60 0,0 3-45 15,0-5-84-15,0 7-367 0,0-1 88 16,-1-3 27-16,0 5 49 0</inkml:trace>
  <inkml:trace contextRef="#ctx0" brushRef="#br0" timeOffset="72951.77">22043 5501 1302 0,'0'0'420'0,"0"0"-44"0,0 0-35 0,0 0-16 16,0 0-13-16,0 0-33 0,0 0-18 0,0 0-20 16,15-7-3-16,-10 7-120 15,-5 0 7-15,11-3-15 0,-1 1 5 0,-2 2-20 16,2 0 2-16,0-1-20 0,-3 1-5 0,5 0 17 16,-3-1-17-16,1 0-3 0,-2 1 16 0,2-2-26 15,-2 2-3-15,2-1-2 0,-2 1-13 16,0 0 17-16,-3-2-9 15,3 2 7-15,-4 0-17 0,-4 0-3 0,14-3-8 0,-10 3-26 0,-4 0-12 16,10-1-13-16,-10 1-51 0,6 0-44 16,-6 0-18-16,0 0-30 0,8-1-151 15,-8 1-162-15,2 1-468 0,-2-1 105 0,0 0 64 16,0 0 84-16,0 0 103 0</inkml:trace>
  <inkml:trace contextRef="#ctx0" brushRef="#br0" timeOffset="73825.42">22615 5186 1098 0,'0'0'432'0,"2"-3"-25"0,-2 3-48 16,0 0-29-16,0-5-82 0,0 5-36 16,0 0-20-16,0 0 0 0,0 0-30 0,0 0 14 15,0 14-27-15,-2-9-3 0,4 5-18 0,-2-2-26 16,0 3 21-16,0 2-33 0,-2 0-24 16,2 1 6-16,0 0 17 0,-1-1-20 0,1 0-25 15,-1 0-18-15,0-1-6 0,-2 1-25 0,3-2-10 16,0-4-24-16,-2 2 8 0,2 0-38 15,0-1-31-15,0-2 3 0,0 0-44 0,2 0-38 16,-2-3-120-16,0 1-16 0,0-4-89 16,3 5-385-16,-3-5 42 0,3 1 112 0,-3-1 38 15</inkml:trace>
  <inkml:trace contextRef="#ctx0" brushRef="#br0" timeOffset="74299.35">22699 5218 1382 0,'5'-5'366'16,"-2"0"-26"-16,5 4-43 0,-1 0-26 0,-2 0-20 0,5-2 51 16,-2 3-5-16,0 3-5 0,2-1-28 0,-1 0-36 15,0 2 10-15,-2 2-52 0,-1 0-35 0,-1 0 29 16,2 1-52-16,-4-1-16 0,0 2 19 16,-3-1-88-16,0 2-2 0,-3-2 5 0,1 1-12 15,1 2-1-15,-3-3-2 0,1 1-3 0,-2 2-5 16,0-3 5-16,2-1 10 0,-2 1-20 15,0-1-7-15,3 1-1 0,-1-1-3 16,-2-2 16-16,4 0 8 0,-1 0-26 0,0 1 3 16,-1-4 0-16,1 2-1 0,2-3 24 15,-1 5-23-15,1-5-8 0,-2 4 18 32,2-4-11-32,0 0 4 0,8 2-9 0,-8-2 3 0,7 0 0 0,-7 0 21 0,13 0-21 0,-6-1 3 0,1 0 5 15,0-1-13-15,1 1-44 0,1-1 21 16,0 1-21-16,0-2-25 0,0 2-30 15,1-1-29-15,-1 1-44 0,0-3-5 0,0 3-61 0,2-3-110 16,-1-2-84-16,-1 4-497 16,0-3 109-16,1 3 83 0,-2-2 64 0,0 1 97 0</inkml:trace>
  <inkml:trace contextRef="#ctx0" brushRef="#br0" timeOffset="74710.36">23015 5156 1461 0,'0'0'323'0,"4"-6"-1"15,1 6-33-15,1-4-25 0,-1 4-11 16,0-2-22-16,3 2-16 0,1 0-16 0,-3-1 1 16,2 2-10-16,2-1-14 0,-1 2-35 0,0 2 20 15,-1-3-15-15,0 4-20 0,0-2 9 16,-1 2-20-16,-2 0 6 0,0 1-19 0,2 0 70 16,-4 2-14-16,0-1-17 0,1-1-10 0,0 1 20 15,-2 2-46-15,-1-2-6 0,1 2 4 16,-2 0-32-16,2-2-14 0,-2 1 32 15,3 0-30-15,-3-3 5 0,1 1-23 0,-1 0-28 16,-1 1-23-16,1-2-47 0,0 0-24 16,1 1-32-16,0-2-28 0,0 0-18 0,1 1-53 15,-2 0-59-15,2-3-252 0,1 0-467 0,0 3 73 16,-1-1 103-16,2-3 108 0,-2 2 56 16,0 0 105-16</inkml:trace>
  <inkml:trace contextRef="#ctx0" brushRef="#br0" timeOffset="75002.95">23074 5293 1272 0,'0'-6'412'0,"0"6"-13"16,6-4 11-16,-2 3-154 0,2 0-8 15,2 0-36-15,0-2-22 0,1 1-1 0,3 1-30 16,1 1-3-16,0-3-33 0,2 1-8 0,-2 2-5 16,4-1-20-16,-3-3-26 0,-1 3-3 15,2 1-30-15,-5-1-26 0,3 1-31 16,-2-1-12-16,1 1-8 0,-2-2-31 0,0 2-41 0,-1 2-81 16,-2-2-47-16,-2 0 3 0,3 0-57 15,-8 0-45-15,10 1-400 0,-5-1 44 16,-5 0 91-16,11 1 52 0</inkml:trace>
</inkml:ink>
</file>

<file path=ppt/ink/ink10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05:08.510"/>
    </inkml:context>
    <inkml:brush xml:id="br0">
      <inkml:brushProperty name="width" value="0.05292" units="cm"/>
      <inkml:brushProperty name="height" value="0.05292" units="cm"/>
      <inkml:brushProperty name="color" value="#FF0000"/>
    </inkml:brush>
  </inkml:definitions>
  <inkml:trace contextRef="#ctx0" brushRef="#br0">3895 2187 1290 0,'-4'-1'340'0,"4"1"-25"0,0 0-26 0,0 0-20 16,15-4-36-16,1 4 0 15,8-1-39-15,13-1-17 0,16 1 2 16,6-1 0-16,19 2-61 0,6 0-8 0,4 0 0 0,3 0 8 31,2 1-34-31,-1 0-12 0,1 2-8 0,-3 1-3 0,1-2-2 0,-6 2-7 0,-3 0-4 0,-5 2-20 16,-5 1 13-16,-6-1-25 0,-11-1-24 15,-7 0-20 1,1 0-16-16,-6-1-30 0,-4 0-13 0,-11 0 46 0,3-2-56 0,-6-1-59 0,-2 1-187 16,1-1-5-16,-6-1-477 15,-3 0 52-15,-3 3 121 0,-3-6 24 0,-2 3 109 0</inkml:trace>
  <inkml:trace contextRef="#ctx0" brushRef="#br0" timeOffset="357.36">4226 2301 998 0,'0'0'409'0,"16"-4"-12"16,-4 2-51-16,4 1-80 0,17-1-20 0,16 0 66 15,10 2-20-15,21 2-39 0,4 0-7 0,6 1-29 16,10 1-40-16,2 1-6 0,4-3-7 0,-2 2-10 16,-6 2-26-16,-3 2 8 0,0-3-32 15,-6 1-19-15,-1 1 5 0,-4-1-3 16,-5 1-11-16,-1-2-7 0,-9 0 1 0,-15 0-19 0,-3 1-15 16,-7-1-11-16,-9 0-22 0,-6-2-11 15,-6-2-28-15,-3 1-25 0,-2 0-21 0,-2-1-26 16,-6 2-14-16,0-1-58 0,-5-1-73 0,-2 2-198 15,-3-1-403-15,-3 3 19 0,-2-2 67 0,-8 4 103 16,-4 2 58-16,-17 5 72 0</inkml:trace>
  <inkml:trace contextRef="#ctx0" brushRef="#br0" timeOffset="1571.15">10649 2863 1415 0,'0'0'407'0,"0"0"-26"0,0 0-17 16,-13 10-36-16,11-1-6 0,-4 3-46 0,1 2-30 0,-2 3-23 15,2 2-39-15,1 2 11 16,-3 2-19-16,4 2-32 0,-4 0-32 0,4 1-22 0,-2-2-47 16,3 0-27-16,-1 2-32 0,1-6-37 15,2-1-32-15,0 0-53 0,0 1-69 0,0-5-203 16,2 0-437-16,1 1 25 0,-1-3 100 0,1-4 82 15,-3 1 47-15</inkml:trace>
  <inkml:trace contextRef="#ctx0" brushRef="#br0" timeOffset="1807.61">10326 3085 1220 0,'-5'-4'489'0,"-1"1"-46"0,4 2-125 0,0-1-27 15,2 2-24-15,0 0-17 0,0 0-32 0,0 0-6 16,12-3-4-16,-4 6-34 0,5-3-23 0,2 1 2 16,1 1-25-16,4-1-28 0,1 2-59 0,5-1-28 15,1 2-46 1,4-4-52-16,0 2-71 0,2-2-107 0,-10 1-96 0,8 2-483 0,3-6 84 16,-1 3 65-16,-3-2 25 0,1 1 112 15</inkml:trace>
  <inkml:trace contextRef="#ctx0" brushRef="#br0" timeOffset="2070.32">11277 2967 1072 0,'-13'7'399'0,"-5"0"31"0,0 1-25 0,1-2-29 15,-4 5-100-15,-2 2-37 0,-8 1-14 0,6-2-18 16,1 1-23-16,3-2-2 0,-1 2-3 15,1-1-23-15,6-2-33 0,2-1 13 0,0 0-8 16,3 0-38-16,2-1 7 0,1-1-18 16,4 0 13-16,-2 0-33 0,8-1 3 0,-1-1 4 15,3 0-4-15,3 2 9 0,7-3 52 0,-2-1-28 16,7 1-18-16,1-1-8 0,2 0-44 16,8 0-32-16,-3 0-29 0,0-3-38 0,3 0-49 15,-3 0-54-15,-2-2-156 0,-1 1-396 0,-1-2-216 16,-1-1 103-16,-3 2 92 0,-2-4 82 0,-2 0 59 15</inkml:trace>
  <inkml:trace contextRef="#ctx0" brushRef="#br0" timeOffset="2274.63">11346 2972 977 0,'-12'6'418'0,"4"0"-19"0,0 1 74 0,1 3-61 16,-1 2-43-16,0 3-31 15,-2 4-108-15,2 0 1 0,0 4-50 0,1 0-6 16,-6 9-24-16,5-5 2 0,1-4-22 0,-1 2-32 16,3 0-32-16,-1 0-3 0,2 0-46 15,-2-3-33 1,4-1-47-16,-1-2-30 0,3-3-49 0,0 0-92 0,3-4-153 0,1 0-328 16,2-4-118-16,-1-3 66 0,5-2 103 0,-2 0 54 0</inkml:trace>
  <inkml:trace contextRef="#ctx0" brushRef="#br0" timeOffset="2495.42">12023 2941 1395 0,'3'-1'504'0,"-3"1"-69"0,0 0-13 0,0 0-28 15,0 10-104-15,0-3-50 0,-3 1-9 16,3 5-6-16,-5 0-28 0,3 4-25 0,1 1-11 0,-1 0-26 15,2 1-30-15,-3-1-28 0,0 1-31 16,3 0-66-16,-2 0-37 0,2-4-45 0,0 1-46 16,-2-2-188-16,-4-1-122 0,6 0-425 0,3-2 87 15,-3-2 79-15,0 0 62 0,0-2 89 0</inkml:trace>
  <inkml:trace contextRef="#ctx0" brushRef="#br0" timeOffset="2688.1">11821 3096 1640 0,'-5'-2'466'0,"5"2"-13"15,0 0-59-15,0 0-38 0,5-6-33 16,0 3-24-16,5 2-40 0,0 1-19 0,3-2-43 16,3 1-69-16,2-1-53 0,4 1-70 15,4-2-67-15,-3 0-155 0,0 1-472 0,6 0-176 16,1-2 54-16,-2-1 86 0,1 2 147 15,1-3-34-15</inkml:trace>
  <inkml:trace contextRef="#ctx0" brushRef="#br0" timeOffset="2975.79">12534 2941 1461 0,'0'0'530'0,"0"0"-59"15,-18 9-120-15,10-4-26 0,0 2-16 16,-2 0-27-16,-3-1 56 0,0 5-23 15,3-1-36-15,-6 1-28 0,3-2-42 0,1 3 4 0,-1 0-24 16,3-2 3-16,-1-1-30 0,4 1-19 16,-1-1-5-16,3 0-28 0,0-2 5 15,0 0-17-15,4 1-11 0,1-2-16 0,0 0 42 16,4 1-36-16,3-1-26 0,0-1 23 0,4 0 0 16,2 1-25-16,0-3-31 0,7 2-21 0,-2 0-4 15,5-3-27-15,3 2-32 0,-3-4-47 0,2 0-22 16,1 0-65-16,-3 0-41 15,0-3-63-15,1 1-234 0,-4-2-486 0,0 0 80 0,-4-2 76 16,-1 0 116-16,-2 0 55 0,-3-3 62 0</inkml:trace>
  <inkml:trace contextRef="#ctx0" brushRef="#br0" timeOffset="3183.35">12631 2984 1267 0,'-6'13'509'16,"-1"0"-51"-16,4 2-23 0,-2-3-35 0,2 2-104 0,-1 3-22 0,-2 2-41 0,2-1 31 0,1 1-31 15,-2 0-31-15,2 0 0 0,-2-2-33 0,2 0-48 0,1 1-60 16,-1-1-46-16,0-1-71 0,1-1-54 0,2-2-59 16,0 0-174-16,0-4-82 15,3 1-471-15,4-2 75 0,1-3 127 0,0-4 18 0,2 1 72 16</inkml:trace>
  <inkml:trace contextRef="#ctx0" brushRef="#br0" timeOffset="3454.95">13231 3160 1159 0,'-8'0'497'0,"8"0"-42"16,0 0-25-16,-5-2-46 0,5 2-59 16,0 0-18-16,0 0-35 0,16-5-34 0,-6 3-36 15,2-2-59-15,4 1-35 0,2-1-72 0,0 0-54 16,5 0-79-16,0 0-26 0,-2 0-225 15,7-1-574-15,-5 1 100 0,-1-2 103 16,-1 4 54-16,2-3 78 0</inkml:trace>
  <inkml:trace contextRef="#ctx0" brushRef="#br0" timeOffset="3802.48">14033 3003 1374 0,'5'-1'425'0,"-5"1"-3"0,0 0 106 16,0 0-103-16,-10 11-95 0,5-5-15 15,-5 1-39-15,-6 2-33 0,1 1 5 0,-5 2-22 16,1 0-22-16,-1 0-27 0,2 1-31 16,3-5 2-16,1 3 37 0,0-2-1 0,3 0-15 0,1-1-8 15,2 0-28-15,1-1-20 0,-1 2-3 16,5-3-15-16,1 0 12 0,2 1-25 15,4-2-10-15,2-2 2 0,4 3-2 0,1 1-13 16,7-2-24-16,2 0 14 0,1-2-23 0,2 0-39 16,-1-1-15-16,4-1-36 0,0-1-21 0,-3 3-27 15,0-3-11-15,0 0-51 0,1-3-13 16,-7 3-41-16,-1-1-59 0,4-4-191 0,-4 3-569 16,-4-3 87-16,1 2 138 0,-3-3 88 15,-2 0 50-15,-3-1 55 0,2-3 109 0</inkml:trace>
  <inkml:trace contextRef="#ctx0" brushRef="#br0" timeOffset="4003.69">14064 3072 1313 0,'-8'12'412'0,"0"0"46"16,1 1-23-16,2-1-20 0,0 1-49 15,-3 3-80-15,3-2-47 0,-3 1-32 0,1 1-15 16,1 2-26-16,-2-3 3 0,-2 2-18 0,5-2-36 15,-2 0-56-15,2-1-49 0,1-3-40 16,0 1-65-16,2-3-64 0,2-3-222 0,0 1-523 16,4-1 67-16,2-2 72 0,1-3 74 15,3-1 77-15</inkml:trace>
  <inkml:trace contextRef="#ctx0" brushRef="#br0" timeOffset="4261.13">14605 3172 1336 0,'0'0'570'0,"0"0"-52"0,0 0-27 0,0 0-23 0,-5-2-38 15,5 2-33-15,0 0-41 0,0 0-31 0,17-4-23 0,-9 2-72 16,5 1-53-16,0-3-67 15,8-1-61-15,-4 2-72 0,4-2-72 0,0 0-59 16,4 2-242-16,-2-3-615 16,0 2 84-16,0 1 113 0,0-3 59 0,3 0 97 0,-3 0 90 15</inkml:trace>
  <inkml:trace contextRef="#ctx0" brushRef="#br0" timeOffset="4534.64">15446 3019 1400 0,'0'0'468'0,"0"0"-20"0,0 0-23 0,-18 6-21 16,8-2-45-16,-3 1-9 15,0 1 4-15,-5 1-93 0,-2 2-13 0,-1 1-23 16,-2-1-17-16,7-2 45 0,-1 2-23 0,2 0-12 16,-1 0-6-16,6-3-40 0,0 3-1 0,2-2-30 15,3 1 15-15,-1-2-46 0,4 2-7 0,2-3 15 16,0 3-8-16,5-3 12 15,0 1-29-15,5 2 4 0,1 1-20 0,1-3-13 0,4 2-13 16,2-2-38-16,0 0 5 0,0-1-44 16,2-2-28-16,-2 1-28 0,0-3-53 0,0 0-52 0,3-2-38 15,-3 0-21-15,-1 0-51 0,-1-2-141 16,-1 3-389 0,1-6-196-16,-1 3 122 0,-2-2 58 0,-3-3 106 0,0 1 67 0,-2-2 88 15</inkml:trace>
  <inkml:trace contextRef="#ctx0" brushRef="#br0" timeOffset="4753.18">15433 3096 1226 0,'-8'14'532'0,"1"0"-5"0,2-2-107 0,-1 2-39 16,-1-1 39-16,2 1-38 0,-3 3-9 0,3 0-48 15,-3 0-22-15,3-1-24 16,0 0-49-16,-1 2-41 0,2-2-84 0,1-2-46 15,0 0-67-15,-1 1-40 0,3-2-113 0,-1 0-116 16,-8-1-258-16,7 0-440 0,3-4 94 0,0-2 96 16,3 1 111-16,-3-3 16 0,0-1 60 15</inkml:trace>
  <inkml:trace contextRef="#ctx0" brushRef="#br0" timeOffset="5138.8">16413 3128 1302 0,'2'-7'415'0,"-2"7"-39"16,5-1-28-16,0 0-38 0,-5 1-10 16,16 0-47-16,-6-2-48 0,1 0-49 0,4 2-43 15,0 0-62-15,3 0-67 0,-3-2-122 0,-7 2-228 16,7 0-476-16,1 2 120 0,-3-2 52 0,-3 0 73 16</inkml:trace>
  <inkml:trace contextRef="#ctx0" brushRef="#br0" timeOffset="5329.39">16372 3288 1397 0,'5'0'476'0,"5"0"-46"0,3 0-43 0,2-2-37 16,5 2-22-16,1-2-41 0,5 2-52 0,-1-1-53 15,4-1-39-15,-3 0-76 0,6 1-62 0,-3-2-156 16,-9 3-274-16,9-3-420 0,-6 2 67 15,2-1 59-15,-4-2 84 0,-4 1 103 0</inkml:trace>
  <inkml:trace contextRef="#ctx0" brushRef="#br0" timeOffset="9859.52">17723 2828 1512 0,'-13'6'512'0,"0"4"-25"0,2 2-60 0,1 1-120 0,-5 2-18 15,5 4-7-15,-6 9-29 0,4-2-20 16,4-5-36-16,6-2-30 0,-1 3-16 0,3-4-16 15,3 1-24-15,4 2-24 0,6-3 0 0,2-1-3 16,6-4-12-16,4-4-3 0,1 1-20 0,5-7 2 16,0 0 10-16,10-9-5 0,2-2-12 0,-4-3 43 15,-1-5-31-15,-5-3 16 16,-5-5-8-16,-7-2 8 0,-3-1 27 0,-10-2 70 0,-5 3-18 16,-4-1-17-16,-7-10 14 0,-4 5-10 15,-8 1-23-15,-4 7-15 0,-4 2-8 0,-5 7-43 16,2 8-57-16,2 3-51 0,2 4-79 15,-15 7-84-15,1 3-91 0,-18 5-322 0,26 3-473 16,2 1 128-16,1 3 94 0,1-1 93 0,4 3 48 16,2 0 105-16,7-3 113 0</inkml:trace>
  <inkml:trace contextRef="#ctx0" brushRef="#br0" timeOffset="10967.7">15418 3208 877 0,'0'0'351'0,"-3"-16"-18"0,3 16 2 15,0 0-38-15,0-8-15 0,0 4 58 0,0 4-20 16,0-9-18-16,2 4-23 0,-1-3-46 0,1 1-13 16,-2-3-15-16,3 0-28 0,-1-2-39 15,1 0-23-15,0 0-48 0,1-1-37 0,-3 1-50 16,4 0-80-16,-2 1-141 0,1 4-593 15,-1-1-11-15,0 1 59 0,-1 1 103 0,0 0 38 16,1 3 95-16</inkml:trace>
  <inkml:trace contextRef="#ctx0" brushRef="#br0" timeOffset="12033.27">14052 3115 1103 0,'2'-6'350'15,"0"-2"-50"-15,0 1-60 0,2-3-55 16,-2 1-98-16,3-9-210 0,0 10-537 0,0-1 27 16,1-1 47-16</inkml:trace>
  <inkml:trace contextRef="#ctx0" brushRef="#br0" timeOffset="13185.11">12454 2982 883 0,'0'0'276'0,"0"0"-23"0,0 0 39 0,0 0-26 15,0 0-7-15,12-11-24 0,-9 9-30 0,5-4 21 16,-2 3-45-16,4 0-22 0,0-4 5 15,-3 3-21-15,4-2-17 0,1 1-11 0,-4-1-10 16,5 2-16-16,-3 0 3 0,-2 1-15 16,-1 1-8-16,1 0-15 0,0 1 18 0,-3 1-26 0,-5 0 2 15,13 5-12-15,-8-1 3 0,-2 3-1 16,1 2-12-16,-3 4-24 0,-1 1-27 16,-1 0-14-16,-3 3-112 0,-1 3-205 15,-1-2-532-15,3 1 95 0,-4-2 40 0,2 1 126 16,3-5 77-16</inkml:trace>
  <inkml:trace contextRef="#ctx0" brushRef="#br0" timeOffset="26979.66">11897 6421 1149 0,'-4'7'399'0,"3"0"-51"0,-4 3-35 0,3 0 47 15,-1 3-42-15,-2 1-31 0,3 0-29 0,-1 4-30 16,0 1-18-16,1-1-44 0,-1 2-5 0,3-1-76 15,-5 0-62-15,5 0-33 0,-3-1-108 16,1 0-179-16,2-1-555 0,-2-2 66 16,2 1 72-16,0-2 58 0,-4-2 134 0</inkml:trace>
  <inkml:trace contextRef="#ctx0" brushRef="#br0" timeOffset="27192.93">11669 6639 1146 0,'0'0'417'0,"0"-6"-43"15,0 6-23-15,8-7-36 0,-3 5-18 0,3-3-23 16,5 0-31-16,-1 3-26 0,1-4-35 0,5 1-39 16,0 2-27-16,3 0-52 0,2-4-44 0,0 3-40 15,-2 1-62-15,6-2-82 0,1 0-156 16,1 3-463-16,1-3-8 0,-1 2 125 15,-1-1 31-15,-3-1 41 0</inkml:trace>
  <inkml:trace contextRef="#ctx0" brushRef="#br0" timeOffset="27467">12352 6496 1331 0,'-16'6'463'16,"3"2"-43"-16,-2 0-59 0,2-1-18 0,0-1-11 0,-2 2-37 15,0 3-1-15,-1-3-35 0,1 2-34 16,1-2-15-16,2 4-6 16,0-5-17-16,3 3-38 0,2-2 4 0,-1-2-20 0,3 1-20 15,3 0-3-15,-2-2-5 0,4 2-18 0,0-1 5 16,4-1-10-16,0 1 5 0,4-4-28 0,0 4-13 16,2-6-7-16,1 0-27 15,3 5-40-15,2-5-26 0,-1 0-30 0,1 0-31 16,2 0-23-16,-3-2-42 0,3-1-170 0,-2 3-162 0,-1-3-440 15,1 0 84-15,-4 1 115 0,1-3 1 0,-3 3 135 16,0-2 23-16</inkml:trace>
  <inkml:trace contextRef="#ctx0" brushRef="#br0" timeOffset="27675.46">12334 6533 1348 0,'-11'5'479'0,"9"-1"-51"0,-4 2-106 0,4 2-28 16,-4 1-15-16,4 2-30 0,-3 2-24 15,2 0-23-15,1 4-23 0,-3 1-2 16,2 0-54-16,-2 0-44 0,0-2-35 0,0 2-34 16,-1 1-54-16,2-5-48 0,-4 2-125 0,0 1-157 0,3-2-473 15,-2-1 81-15,1-2 45 0,1-1 111 16,-3-2 68-16</inkml:trace>
  <inkml:trace contextRef="#ctx0" brushRef="#br0" timeOffset="28001.03">11664 6332 1261 0,'-8'19'407'0,"0"-2"-35"0,1 4-27 15,-1 2 52-15,-2 10-46 0,2 5-37 16,0-1-27-16,1 5-18 0,0 1-36 0,1 1-11 15,1-4-53-15,0 3-38 0,0-2-41 16,2-1-39-16,1-9-38 16,4-5-39-16,1-1-64 0,-1 0-68 0,6-1-234 0,-3-4-512 15,8-1 88-15,-5-8 84 0,5 2 48 0,0-6 73 16</inkml:trace>
  <inkml:trace contextRef="#ctx0" brushRef="#br0" timeOffset="28300.45">12541 6370 1415 0,'0'0'430'15,"0"11"-46"-15,0-4 46 0,-3 3-20 16,1 3-47-16,-1 3-30 0,1 2-126 0,-3 6 0 15,5-1-17-15,-1 2-19 0,-1 2-17 16,0 0-21-16,-1 2 5 0,3 1-23 0,-2-3-20 16,2 2-31-16,-1-2-20 0,1 0-32 0,0-4-42 15,0 0-34-15,0-4-59 0,0-4-56 0,3 1-146 16,-6-3-118-16,6-1-471 16,0-3 85-16,-1-2 81 0,1 0 111 0,2-3 28 0</inkml:trace>
  <inkml:trace contextRef="#ctx0" brushRef="#br0" timeOffset="28543.5">12934 6413 1561 0,'0'0'484'0,"0"0"-16"0,0 0-51 0,-3 19-46 0,-2-6-12 0,4 0-42 0,-1 3-99 16,2 2-21-16,-2 2-31 0,-1-1 11 15,0 1-31-15,3 0-46 0,-5 4-21 0,5-6-35 16,-3 2-55-16,1-2-42 16,2 1-50-16,0-3-68 0,0-3-103 0,0 0-108 0,0 1-506 15,2-4 72-15,-1-1 86 0,1-2 70 0,1-1 84 16</inkml:trace>
  <inkml:trace contextRef="#ctx0" brushRef="#br0" timeOffset="28746.8">12813 6639 1369 0,'0'0'417'0,"5"-6"21"16,-5 6-44-16,8-1-23 0,-3 0-30 15,5-2-37-15,0 2-38 0,1 0-30 0,1 1-31 16,4-1-62-16,-1 1-58 0,3-1-52 16,3-2-77-16,-1 2-117 0,-7 0-238 0,7 1-495 15,-2 0 75-15,0 0 85 0,-3 0 63 16,3 1 67-16</inkml:trace>
  <inkml:trace contextRef="#ctx0" brushRef="#br0" timeOffset="29247.1">13438 6375 1338 0,'0'0'433'0,"0"0"-26"0,0 0-33 16,0 0-24-16,-2 19-22 0,-1-8-54 15,1 2-13-15,-1 4 49 0,1 3-16 0,-3 2-54 0,-1 2-27 16,1 2-44-16,0 2-13 0,-3 5-31 15,3-7-66-15,0-3-2 0,2-4-57 16,-4 5-29-16,4-6-45 0,3-3-23 0,-2-1-123 16,2-3-167-16,0 1-560 0,0-3 77 0,2 0 92 15,1-3 79-15,2-3 90 0,-2-2 41 0</inkml:trace>
  <inkml:trace contextRef="#ctx0" brushRef="#br0" timeOffset="29477.51">13731 6450 1290 0,'0'-5'527'0,"0"5"-10"15,0 0-46-15,0 0-49 0,0 0-122 0,-5 11-11 16,2-3-28-16,-3 3-18 0,-1 0-28 0,2-1-20 16,-3 6-13-16,1-2-31 0,-1-1-6 0,0 3-22 15,0-2-43-15,-2 1-19 0,2 0-43 16,1-1-46-16,-1-1-26 0,1-2-30 0,2 2-44 15,-1-4-62-15,1 2-76 0,-2-1-97 0,4-2-531 16,0 0 88-16,-1 1 43 0,3-3 54 16,-1-3 102-16,-1 1 55 0</inkml:trace>
  <inkml:trace contextRef="#ctx0" brushRef="#br0" timeOffset="29754.66">13556 6584 1395 0,'-2'-3'399'0,"2"3"49"16,0 0-41-16,0 0-39 0,8-4-40 15,-8 4-80-15,10 0-35 0,-3 0-26 0,4 2-18 0,-4-2-6 16,3 0-35-16,1 0-35 0,-1 0-42 15,3 0-44-15,0-2-40 0,-1 1-36 0,1 1-95 16,1-1-230-16,0-3-453 0,0 3 48 16,1 0 59-16,1 0 85 0,-4-3 125 0</inkml:trace>
  <inkml:trace contextRef="#ctx0" brushRef="#br0" timeOffset="30036.82">14033 6450 1295 0,'0'0'427'0,"0"0"-56"0,-12 4-7 0,4 0-34 0,0 1-31 16,-2 1 6-16,0-1-59 0,-1 3 69 15,-4 0-39 1,2 3-12-16,-5 2-13 0,0-1-18 0,3 1-21 0,-1 3-33 0,3-6 0 16,-1 1-20-16,3 1-36 15,-2-2 18-15,3-2-26 0,2 0 0 0,3-2-28 0,0 0 3 0,0 1-8 16,2-3-3-16,1 2 3 0,2-3 0 15,0 2-5-15,3-2-19 0,1-1-4 16,2-1 2-16,4 1-35 0,0 0-8 0,1-2-44 0,3 1-12 16,2-1-32-16,-1-3-37 0,3 1-27 15,-2 0-9-15,4-2-52 0,-5 2-76 16,3-4-169-16,-5 2-577 0,1 1 75 0,-2-1 97 16,0-2 108-16,-1 0 66 0,-3 0 72 0,0 0 108 15</inkml:trace>
  <inkml:trace contextRef="#ctx0" brushRef="#br0" timeOffset="30275.67">14010 6512 1246 0,'-5'1'404'0,"0"1"-17"0,-2 6-13 0,1-4 33 0,-2 6-23 16,1-2-26-16,1 4-15 0,2 0-20 0,-4 1-47 15,2 5-12-15,2-1-37 0,-2-1-19 16,1 2-29-16,3 1-20 0,-3-1-39 0,0-1-43 0,2-1-49 15,0-1-64-15,1-1-25 0,-1-2-34 16,3-3-100-16,0 2-135 0,-3-5-174 16,6 1-461-16,-3-1 107 0,3-3 83 0,1-1 99 15,-4-2 82-15,0 0 67 0</inkml:trace>
  <inkml:trace contextRef="#ctx0" brushRef="#br0" timeOffset="30509.05">14156 6285 1597 0,'-2'10'445'0,"2"-1"-20"0,-2 6-33 0,2-1 35 0,-1 5-15 16,1 4-59-16,1 2-12 0,-1 5-111 0,0-1-33 0,2 2-23 15,-2-1-46-15,-2 1-33 0,2 0-67 0,0-1-56 16,2-3-82-16,-2-1-38 16,2-2-116-16,-6-1-156 0,6-3-476 0,3-1 49 0,2-2 115 15,-1-5 46-15,-1-4 82 0</inkml:trace>
  <inkml:trace contextRef="#ctx0" brushRef="#br0" timeOffset="30844.22">14551 6407 1208 0,'0'0'458'0,"0"0"-38"0,0 0-13 0,5 12-5 16,-5-5-44-16,2-1-48 0,-2 7 58 16,0 0-17-16,0 2-54 0,0 0-13 0,0 3-38 15,0 1-47-15,-2 0-32 0,2 1-44 16,-2 1-85-16,-1-4-43 0,3 0-69 0,0 0-49 15,0-2-85-15,0-9-229 0,0 7-539 0,-3-2 73 0,6 0 130 16,-3-5 51-16,0-1 74 16,0-1 90-16</inkml:trace>
  <inkml:trace contextRef="#ctx0" brushRef="#br0" timeOffset="31028.66">14489 6557 1379 0,'0'0'425'0,"4"-7"-44"0,-4 7-22 0,12-1-37 16,-4 0-35-16,4-2-39 15,1 2-30-15,5 1-41 0,0-1-62 0,3-3-49 16,2 4-71-16,-3-2-77 0,4-2-212 0,-1 4-551 16,2-2 62-16,-4 1 87 0,-1-2 63 0,-5 1 88 15</inkml:trace>
  <inkml:trace contextRef="#ctx0" brushRef="#br0" timeOffset="31439.66">15107 6295 1594 0,'-4'11'397'0,"4"-4"-11"15,-1 1-37-15,-1 4-29 0,2 1-29 0,0 1-9 16,-3 5 43-16,3 0-23 0,-2 2-36 16,0-1-30-16,1 3-32 0,1-3 4 0,-3 0-47 15,3 2-38-15,-2-2-26 0,0-2-48 0,2 0-41 16,0-3-52-16,2 1-23 16,-2-3-84-16,2-1-69 0,1-4-161 0,-2 0-543 0,3 3 41 15,-1-4 105-15,0-2 84 0,1-3 54 0,-1 2 69 16</inkml:trace>
  <inkml:trace contextRef="#ctx0" brushRef="#br0" timeOffset="31645.45">15287 6518 1418 0,'0'0'455'0,"0"0"-15"0,0 0-48 0,7-5-34 16,-7 5-45-16,9-1-14 0,-9 1-43 0,10-2-36 16,-3 2-56-16,0 0-61 0,1 0-47 15,1-1-64-15,-2 1-58 0,4-2-116 16,-1 2-264-16,2-1-429 0,-1-1 87 0,1-1 74 0,1-2 104 16,2 3 27-16</inkml:trace>
  <inkml:trace contextRef="#ctx0" brushRef="#br0" timeOffset="31947.52">15784 6364 1210 0,'0'0'469'0,"0"0"-11"16,0 0-49-16,0 0-20 0,0 0-33 0,-18 6-23 16,13 0 51-16,-5 1-31 0,2-1-61 15,-2 3-85-15,-3-1-20 0,3 0-26 0,-3 3-22 0,1-2-19 16,-1 2 11-16,3-5-16 0,-1 4-8 0,4-2-22 15,-1-2-9-15,3 1-6 0,-1-2-19 0,1 1 3 16,0 0 89-16,3-3-28 16,2 2-10-16,0 0 5 0,2-3-13 0,0 2-15 15,1-2-10-15,5 2-3 0,0-3-18 0,2 0-15 16,0 0-26-16,3-1-22 0,3-1-42 0,1 1-26 16,-1-1-30-16,2-1-15 0,2-1-31 15,-4 0-39-15,-1 0-33 0,1 1-58 16,-4-3-229-16,1 2-253 0,0-1-192 0,-3-2 139 0,0 1 63 15,-5 2 54-15,1-2 98 0,-4-2 42 0</inkml:trace>
  <inkml:trace contextRef="#ctx0" brushRef="#br0" timeOffset="32144.02">15817 6386 1320 0,'0'0'438'0,"-10"2"-80"15,6 1-22-15,-2 1-24 0,-2 2-13 0,4 0-27 16,1 2 4-16,-3 3 57 0,2 0-11 0,1 2-81 15,-2 4-36-15,2-1-16 0,-2 3-33 16,3-1 1-16,-1 4-22 0,-2-3-40 0,3 0-41 16,-1 0-36-16,0-1-59 0,1-3-41 15,2-3-59-15,0 1-82 0,0-2-181 0,2-3-410 0,1 0-77 16,0-3 139 0,-1 0 53-16,0-1 51 0,-2-4 88 0</inkml:trace>
  <inkml:trace contextRef="#ctx0" brushRef="#br0" timeOffset="32387.1">16023 6171 1423 0,'-3'11'494'0,"0"1"-28"15,1 7-49-15,-3-1-38 0,2 7 56 16,-1 0-33-16,-2 12-47 0,4-9-137 0,-4 10-6 15,1-1-22-15,-2-2-21 0,4-5-28 0,-2-6-54 16,0-1-44-16,2-1-53 0,-2-2-36 0,3-3-39 16,2-1-45-16,-3-3-75 0,6-1-179 31,-1-3-519-31,0-1 35 0,4-3 72 0,-1-3 135 0,3 3 24 0,2-4 43 0</inkml:trace>
  <inkml:trace contextRef="#ctx0" brushRef="#br0" timeOffset="32828.61">16428 6319 1456 0,'0'0'586'16,"0"0"-51"-16,0 0-49 0,0 0-114 15,0 0-47-15,0 0 30 0,0 0-24 0,0 20-68 16,0-8-12-16,0 0-28 0,0 1-21 0,0 4-28 16,0 1-61-16,0-3 2 0,-1 4-69 0,-1-1-61 15,2 1-72-15,-2-2-29 16,2-2-63-16,-3-2-72 0,6 3-204 0,-3-3-515 0,0-4 89 15,0 2 123-15,0-5 57 0,0 1 107 16,0-1 0-16</inkml:trace>
  <inkml:trace contextRef="#ctx0" brushRef="#br0" timeOffset="33040.18">16325 6454 1105 0,'0'0'446'0,"0"0"-29"0,3-4-23 0,-3 4 49 15,8-1 0-15,-1 1-59 0,1 0-23 0,3 0-47 16,1 0-27-16,3 1-16 0,3-1-38 16,6 1-46-16,1-1-61 0,1 1-103 15,2 1-31-15,-2-1-66 0,0 0-103 0,-2-2-301 16,0 2-467-16,-1 1 47 0,0-2 125 0,-5 0 53 0,0 0 98 16,-5 0 36-16</inkml:trace>
  <inkml:trace contextRef="#ctx0" brushRef="#br0" timeOffset="33543.18">16903 6220 1059 0,'0'-6'469'0,"0"6"-24"15,0 0-35-15,0 0-19 0,-1 17-20 0,-2-5 52 16,1 1-55-16,2 1-30 0,-2 5-43 0,1 5-22 15,-4 1-96-15,3 2-11 16,-3 10-7-16,2-7-21 0,0 0-30 0,-1-5-29 0,1 2-25 16,-2-2-31-16,3-3-18 15,1-2-54-15,-2-1-40 0,1 0-42 0,2-5-63 0,2-2-108 16,-2-2-92-16,4-2-559 0,-2-1 111 16,3-4 67-16,2-1 81 0,1-2 62 0,0-1 66 15</inkml:trace>
  <inkml:trace contextRef="#ctx0" brushRef="#br0" timeOffset="33735.6">17120 6475 1238 0,'0'0'482'0,"0"0"-34"15,7-4-34-15,-7 4-55 0,9-1-27 16,-9 1-14-16,10 0-37 0,-2 0-43 15,2-1-35-15,2 1-78 0,-1 0-61 0,4-2-61 16,-2-1-75-16,-1 2-123 0,-6 1-219 0,9-1-464 16,1-2 79-16,-1 2 123 0,1-1 44 15,-1-2 72-15</inkml:trace>
  <inkml:trace contextRef="#ctx0" brushRef="#br0" timeOffset="34034.54">17627 6364 1453 0,'0'0'492'0,"0"0"22"0,0 0-25 0,-12 8-118 0,4-4-20 0,0 1-5 0,-2 2-24 15,0-1-51-15,-1 2-9 0,-3 2-17 0,1-1-25 16,0 1-38-16,0-1-10 0,1 2-11 0,1 0-25 16,1-4-3-16,2 2-18 0,-2-1-26 31,4 0 9-31,2-1-9 0,-2-2-22 0,4 2-1 0,2 0 9 0,0-2-1 0,2-4-18 0,1 6-10 15,2-3-5-15,3 1-2 0,0-3-37 0,4-1-35 16,-1 0 0-16,4 1-44 0,2-2-5 16,1 0-33-1,-2 0-21-15,2-3-28 0,2 2-25 0,1-4-18 16,-5 4-19-16,-1-3-63 0,0 1-110 0,-2-2-36 0,-3-1-518 0,0 4 65 16,1-2 107-16,-6-1 90 0,0 1 100 15,0-1 20-15</inkml:trace>
  <inkml:trace contextRef="#ctx0" brushRef="#br0" timeOffset="34227.87">17676 6428 1080 0,'-7'0'386'0,"7"0"-15"15,-8 4-7-15,3-1 58 0,0 1-33 0,-1 2 8 0,-1 0-126 16,-1 4 6-16,3-1-26 0,0 4-18 16,-2 3-18-16,1-2-29 0,1 3-19 15,0 1-1-15,0-1-12 0,0 0-21 0,0 2-46 0,-1-1-26 16,2-1-58-16,0-2-31 0,2-1-44 15,-3 1-43-15,2-3-39 0,3-4-58 16,-2 0-159-16,4-1-123 0,-2-1-418 16,0-2 70-16,3-3 90 0,-3-1 61 0,0 0 120 0</inkml:trace>
  <inkml:trace contextRef="#ctx0" brushRef="#br0" timeOffset="34498.78">17758 6200 1420 0,'-2'5'492'16,"-1"3"-32"-16,-2 3-53 0,3 1 39 0,-1 2-19 15,1 4-58-15,-1 2-42 0,0 5-14 16,-2 2-91-16,0 10-22 0,-3 3-28 0,1-2-50 0,-1-3-58 15,0 0-74-15,0-2-28 16,1-6-75-16,2-4-28 0,-3 0-43 0,6-4-118 0,-11 1-118 16,10-4-506-16,3-4 78 0,0-2 96 0,0 0 97 15,3-2 50-15</inkml:trace>
  <inkml:trace contextRef="#ctx0" brushRef="#br0" timeOffset="36986.35">18779 6412 1525 0,'0'0'461'0,"0"0"-29"0,0 0-119 0,0 0-24 0,0 0-18 16,0 0-35-16,0 0-24 0,0 0-4 0,0 0-27 16,0 0-19-1,28 2-73-15,-15-2-33 0,-3 0-43 0,5 0-46 0,-4 1-36 0,4-1-74 16,-7 3-90-16,5-3-131 0,-3 3-468 0,-2 2 67 15,-5-1 64-15,1 0 78 0,-4 1 83 16</inkml:trace>
  <inkml:trace contextRef="#ctx0" brushRef="#br0" timeOffset="37141.04">18741 6585 1095 0,'0'0'435'0,"-6"3"-20"0,6-3-47 0,0 0-22 0,0 0 2 16,0 0-130-16,0 0-21 0,0 0-15 15,27-4-44-15,-17 2-28 0,2 2-31 0,1-1-40 16,3-1-73-16,1 0-101 0,4-1-175 0,2-1-545 16,-1-1 85-16,2 2 107 15,2-2 33-15,-1-2 85 0</inkml:trace>
  <inkml:trace contextRef="#ctx0" brushRef="#br0" timeOffset="37358.4">19407 6284 1546 0,'0'0'476'0,"2"-3"-64"0,-2 3-44 16,0 0-7-16,0 0-15 0,0 0 43 15,0 0-21-15,-4 14-42 0,3-7-45 0,-1 4-33 16,-3 1-12-16,4 1-31 0,-6 5-13 0,2 2-11 16,-3 4-99-16,-4 7-15 0,4-4-42 15,-2-4-27-15,2-3-31 0,0 4-24 16,1-4-58-16,-1 2-59 0,2-5-10 0,2 0-88 0,1-4-122 15,0 1-573-15,3-4 78 0,0 1 81 16,0-5 83-16,5-2 134 0,-2 0 48 0</inkml:trace>
  <inkml:trace contextRef="#ctx0" brushRef="#br0" timeOffset="37669.47">19743 6282 1663 0,'-13'7'505'0,"3"1"-129"16,-3 3-33-16,-2 5-31 0,-1 0 44 16,-4 11-44-16,1 0-15 0,2 0-49 0,-1 3-30 0,5 1-11 15,3-7-38-15,5-3-20 0,2 0-21 16,0-1-13-16,6-1-20 0,2-4-3 16,1 2-18-16,4-3-7 0,2-2 14 0,-1-2-14 15,1-3-11-15,-1-4 11 0,2 0-3 0,-2-3 20 16,-2-3 14-16,2 1 4 0,-4-4 8 0,0 3 15 15,-4-2-30-15,0-2-74 0,-3 1-6 16,-3-2 3-16,1 1-18 0,-6 0-18 0,-2 1-33 16,-3 3-49-16,-2-1-48 0,-3 4-70 0,0 0-112 15,-5 3-300-15,-3 1-399 0,0 2 102 16,-1 3 98-16,3 0 112 0,-1-2 54 16,1 4 88-16</inkml:trace>
  <inkml:trace contextRef="#ctx0" brushRef="#br0" timeOffset="52545.43">23439 1677 1328 0,'0'0'525'16,"0"0"-36"-16,0 0-72 0,0 0-97 15,-2 13-21-15,2-2-27 0,-2 0-22 0,2 4-22 16,0 0-23-16,-2 5-23 0,2 1-13 0,-3 3-18 15,-2 1-18-15,3-4-23 0,-2-2-49 0,2 4-27 16,-1-3-27-16,1-2-60 0,-1 0-29 16,1 0-36-16,0-4-61 0,-1 0-134 15,0-3-145-15,3 0-440 0,0-2 92 0,0 0 66 16,0-2 138-16,0-1 37 0</inkml:trace>
  <inkml:trace contextRef="#ctx0" brushRef="#br0" timeOffset="52699.82">23340 1928 1187 0,'0'-5'456'0,"0"5"-26"0,0 0-46 16,0 0-46-16,5-4-23 0,-5 4-26 0,12 0-49 0,-5 0-86 16,3 0-44-16,2 0-51 0,1-2-41 15,3 0-62-15,2 2-81 0,2-2-185 16,1 0-512-16,-1 0 83 0,3 0 32 0,0-2 108 15,-2-1 46-15</inkml:trace>
  <inkml:trace contextRef="#ctx0" brushRef="#br0" timeOffset="52898.83">23865 1709 1528 0,'0'0'422'0,"0"0"-23"15,0 0-12-15,-12 11-39 0,6-4-33 0,-1 3-36 16,-1 0-16-16,0 4-55 0,-2 3 25 15,0 1-46-15,-2 2-1 0,1-2-22 0,1 1-20 0,0 0-52 16,-1 0-46-16,6-2-21 0,-1-2-40 0,-1 1-23 16,0-1-29-16,1 1-66 0,4-3-67 15,1-1-158-15,1-1-569 0,0-1 49 16,0 0 131-16,1-1 51 0,1 0 102 0,-2 0 59 16</inkml:trace>
  <inkml:trace contextRef="#ctx0" brushRef="#br0" timeOffset="53226.43">23376 2459 1461 0,'0'0'438'0,"0"0"-31"0,-4-1-26 0,4 1-33 16,0 0-18-16,0 0-53 0,0 0-8 0,22 3-31 15,-12-1 41-15,1-2-28 0,5 0-47 16,-2 1-40-16,-1 1-59 0,5-2-69 0,-2 0-67 15,1 1-61-15,1 1-154 0,0-2-276 16,0 0-389-16,-3 0 112 0,1 0 83 0,-3-2 55 16,3 1 101-16,-2-2 17 0</inkml:trace>
  <inkml:trace contextRef="#ctx0" brushRef="#br0" timeOffset="53421.64">23896 2328 1494 0,'0'0'499'0,"0"0"31"0,0 0-64 0,-12 16-151 16,6-10-21-16,0 3-12 0,-1 2-29 0,0 0-17 16,-1 3-26-16,1 1-31 0,1 1-28 15,0-2-51-15,0 3-34 0,3-3-40 0,-2 3-31 16,4-4-51-16,-1 0-52 0,0 1-99 0,2-4-203 16,2 3-506-16,0-1 48 0,-1 0 179 15,4-3 11-15,-2 2 66 0</inkml:trace>
  <inkml:trace contextRef="#ctx0" brushRef="#br0" timeOffset="54253.17">23550 2866 1535 0,'0'-3'548'15,"0"3"-72"-15,-2-5-28 0,2 5-49 0,0 0-45 0,0 0-32 16,0 0-25-16,0 15-15 0,0-5-19 16,0 1-37-16,0 3-29 0,-1 0-21 0,-1 4-37 15,2 1-22-15,0 0-53 0,-2 0-30 16,-1 0-37-16,3 0-30 0,0-3-49 0,-3-1-41 15,3 0-41-15,-2-1-76 0,0 0-132 0,2-4-186 16,0 2-338-16,0-3 75 0,-1 1 73 0,0-2 44 16,0-1 95-16</inkml:trace>
  <inkml:trace contextRef="#ctx0" brushRef="#br0" timeOffset="54535.3">23392 3064 1479 0,'-2'-1'497'0,"2"1"-29"0,0 0-151 0,0 0 1 0,0 0-47 15,0 0-25-15,12-4 2 0,-12 4 34 16,13 0-21-16,-3 0-13 0,4 2-38 15,-3 0-5-15,5-2-41 0,2 0-47 0,-3 1-63 0,3 1-46 16,0-2-54-16,0 3-62 0,0-3-140 0,-3 2-267 16,4-1-437-16,-1 2 105 0,-1-3 153 15,-2 0 36-15,1 0 44 0,-3 0 107 16</inkml:trace>
  <inkml:trace contextRef="#ctx0" brushRef="#br0" timeOffset="54817.38">23904 2939 1579 0,'5'-1'425'0,"3"-2"-41"0,0 5-21 0,2-1-35 16,0 2-8-16,-2 0-31 0,3 1-5 0,-3 1 34 16,-2 2-4-16,0 2-9 0,-2-2-116 15,-2 5-15-15,-4-3 3 0,-2 4-36 0,-2 2-16 16,1 0 1-16,-3 1-14 0,0-2-2 15,-2 0-12-15,3-2-9 0,0 0-20 0,1-1-7 16,3-2 7-16,-2-3-3 0,3 1-14 0,2-1-11 16,0-2 2-16,2-1 3 0,3 0-25 15,2-1-32-15,2-1-12 0,1-2-18 0,4-1-20 16,0 1-59-16,2-1-1 0,4-1-60 0,-3 2-50 16,2-3-53-16,-1 3-194 0,0 0-178 15,1 1-275-15,0 0 53 0,-3 2 117 0,2-1 75 16,-2 5 110-16,-4 0 82 0</inkml:trace>
  <inkml:trace contextRef="#ctx0" brushRef="#br0" timeOffset="55369.07">23409 3710 1044 0,'0'0'435'0,"-4"-1"-28"16,4 1-38-16,0 0-44 0,0 0-21 16,0 0-9-16,0 0-47 0,0 0-2 0,12 6 38 15,-4-3-15-15,0-1-39 0,4-1-38 0,1 2-39 16,3-1-27-16,-2 0-13 0,4-1-42 15,-1 1-22-15,0 0-57 0,1-1-69 0,-2 2-53 0,2-2-129 16,-4 0-207-16,3-1-447 16,0 0 132-16,-2 0 23 0,1 0 106 15,-6 0 134-15,5 0 24 0</inkml:trace>
  <inkml:trace contextRef="#ctx0" brushRef="#br0" timeOffset="55923.71">23958 3616 1272 0,'0'0'373'0,"0"0"-42"0,14-4-29 0,-8 1 33 0,2 2-20 16,4 1-21-16,-4 0-30 0,2 1-3 15,-1 2-108-15,1-2 1 0,0 2 2 0,-2 2 21 16,3 0-31-16,-2 2-8 0,-4 0 72 0,1 3 13 15,-2 3-32-15,0-1-6 0,-2 4-1 16,2 3-25-16,-4 0-16 0,0 0-28 0,0-1-10 0,-2 3-25 16,0-2 4-16,0 0-28 0,-2 0-25 15,2-4-41-15,0 2-34 0,1-2-35 16,-1 0-34-16,-1-2-66 0,3-3-100 0,0 1-220 16,4-1-499-16,-3-3 107 0,0 1 159 0,1-1-21 15,2-2 103-15,0-1 110 0,-2-1 10 16</inkml:trace>
  <inkml:trace contextRef="#ctx0" brushRef="#br0" timeOffset="56154.11">23940 3869 1446 0,'3'-6'458'15,"-3"6"-18"-15,6-3-28 0,-6 3-69 0,12-2-84 16,-1 1-26-16,0 0-28 0,4-1-21 0,3 0-38 15,3 2-6-15,3 0-32 0,1 0-41 16,1-1-52-16,1 0-56 0,-1 1-64 0,0 1-115 16,2-8-185-16,-4 9-449 0,-2 2 101 0,-3-2 67 15,-4 3 84-15,-2-3 47 0</inkml:trace>
  <inkml:trace contextRef="#ctx0" brushRef="#br0" timeOffset="62358.57">23874 4587 240 0,'-6'7'105'0,"1"0"5"0,0-1-13 0,2-1-7 0,-2-2-13 15,5 1-21-15,-3-2 21 0,1 2-16 0,0-3-38 16,2-1-18-16,-6 5-202 0,2-5-396 16</inkml:trace>
  <inkml:trace contextRef="#ctx0" brushRef="#br0" timeOffset="63862.78">23291 4250 1034 0,'0'0'261'0,"-7"1"-21"0,7-1-2 0,0 0-33 0,0 0 13 0,0 0-14 16,0 0-37-16,0 0-8 15,31 2 68 1,-11-4-37-16,6 1-6 0,18-3-15 0,4 2-18 0,4-2-20 0,4 1 32 0,0 0-42 16,3 1-6-16,-2-4 10 0,1 1-43 15,-4 0-8-15,5 2-10 0,-2-2 13 0,-2-1-26 16,-3 0-28-16,-1 0 11 0,-4 4-19 0,-4-3-12 16,-7 3-11-16,-7-1-23 15,-5 1 8-15,-6 1 0 0,-1 1-36 0,-1 0-2 0,-5-3-26 16,1 2-18-16,-6 1-13 0,2 0-7 0,-3 1-24 15,-5-1-12-15,1 4-16 0,-1-4-40 16,0 0-83-16,-11 12 16 0,3-9 8 16,-2 4-443-16,-3 1 40 0,-2 1 147 0,-1 1-6 15</inkml:trace>
  <inkml:trace contextRef="#ctx0" brushRef="#br0" timeOffset="64159.75">23771 4500 1072 0,'0'0'328'0,"0"0"-19"0,0 0-7 0,0 0-30 15,-3 17-14-15,1-7-30 0,-1 8-18 0,-2 0-23 16,0 3-21-16,-3 3-5 0,2 2-15 16,-6 6 44-16,2 2-32 0,2-7-35 0,1-3-20 15,1 0-42-15,2 1-33 0,-4-4-40 16,5-1-37-16,-2-2-38 0,3 0-110 16,0-3-113-16,1 0-494 0,-2-4 13 0,6-3 131 0,-2-2 51 15,0 0 20-15</inkml:trace>
  <inkml:trace contextRef="#ctx0" brushRef="#br0" timeOffset="64391.45">24040 4529 977 0,'0'0'348'0,"0"0"-17"0,0 0-22 0,0 0-12 0,0 0-48 0,-9 18 1 0,5-6-24 16,0 4-34-16,-2 1 5 15,1 3-46-15,0 5 0 0,0-2 64 0,-1 4-18 0,2-1-46 0,-2-1-18 16,4 0-41-16,0 1-15 0,-2 1-21 16,4-2-22-16,-2-2-40 0,2 0-35 0,-2 2-61 15,2-4-100-15,-1 2-139 0,-4 2-496 0,3-6 49 32,1 1 79-32,-3-1 64 0,-2 0 36 0</inkml:trace>
  <inkml:trace contextRef="#ctx0" brushRef="#br0" timeOffset="64685.44">23281 5282 862 0,'-5'0'338'0,"5"0"-10"0,0 0-16 0,0 0-36 0,0 0-22 15,18-11-1-15,2 6 39 0,6-3-10 0,18-3-116 16,7 2-12-16,16-4-14 0,3 0 1 0,3 2-23 15,1-1 15-15,3 4-26 0,-1-3-17 16,-3 4-23-16,1-1-3 0,-1 2-21 0,-16 2-12 16,-2 0 0-16,-2 1-14 0,-5 1-17 15,-10-1-17-15,-5 2-17 16,-7 1-30-16,-3-1-23 0,-5 0-18 0,-1 1-30 0,-1-3-52 0,-4 6-5 16,-1-3 36-16,-1 1-34 15,-3-5-112 1,-4 8-463-16,2-3 53 0,-5-1 62 0,1 4 97 0</inkml:trace>
  <inkml:trace contextRef="#ctx0" brushRef="#br0" timeOffset="76802.36">2860 6900 916 0,'0'0'284'0,"0"0"-28"0,-8-1-8 0,8 1-38 16,-13 6-8-16,8-2 72 0,-2 6-13 16,1 1-25-16,1 4-24 0,-3 5 1 0,4 7-85 15,-2 10-26-15,4 3 3 0,1 2-13 16,1 4-10-16,3 3 0 0,0 2-10 16,0-1-3-16,1 11-26 0,0-12 11 0,0-3-8 0,1-1-13 15,-2-2-2-15,-1-5 31 0,-1-6-14 0,-1-5 6 16,0-6-13-16,0 3 10 15,-1-5-5-15,-1-1 23 0,0-4-28 0,1-1 16 16,-1-2 12-16,-1-3 15 0,1-2-17 0,-1 0-14 0,0-3-6 16,3-3-12-16,0 0-9 0,0 0 2 15,0-17-2-15,6 6 56 16,-1 0-3-16,5-1-12 0,3-2-19 0,0 4 32 0,7-1-37 0,-1 0 6 16,3 7-3-1,-3 2 13-15,6 4-26 0,11 7-72 0,2 6 16 0,-2 9-10 16,5 10 10-16,-2 7 13 0,-1 8-3 0,0 2 11 0,1 3-9 15,-3 3 4-15,2 1 1 0,0-2 19 16,-1 0-15-16,1-2 9 0,1-4-14 16,2-4 12-16,2-3-5 0,1-5 8 0,4 0-16 15,-1-7-15-15,2-1-8 0,4-9-33 0,1 2-28 16,2-7-28-16,-7-6-36 0,0-3-103 16,0-3-184-16,2-3-496 15,0-6 135-15,-2-2 16 0,12-10 137 0,-4 0 17 0,-4-5 94 0</inkml:trace>
  <inkml:trace contextRef="#ctx0" brushRef="#br0" timeOffset="85050.52">19284 6877 1366 0,'0'0'451'0,"0"0"-29"0,0 0-25 16,0 0-21-16,0 0-43 0,0 0-16 0,0 0-20 15,0 0-7-15,31-1-50 0,-13 1-27 16,0 0-32-16,5 0 6 0,5 0-20 0,5 0-11 0,4 0-31 15,11 1-5-15,-2-1-15 0,3 2 0 16,-1-1-12-16,-9-1-12 0,-6 0-17 0,0-1-46 16,-2 2-23-16,-7-1-46 0,-1 1-26 15,-3-1-30-15,-2 0-26 0,-3 0-39 0,-1 1 39 16,-4-1-33-16,0 0-159 0,-5 5-136 0,0-4-481 16,-2 0 92-16,-3 3 133 0,0-2 16 15,0-2 110-15,-9 7 22 0</inkml:trace>
  <inkml:trace contextRef="#ctx0" brushRef="#br0" timeOffset="85379.95">19876 6992 1318 0,'3'2'571'0,"-3"-2"-52"0,0 0-22 16,-11 7-26-16,1-1-98 0,-3-1-94 15,-2 3 64-15,-8 3-76 0,0 0 42 0,-8 3-24 16,-1 0-14-16,0 2-100 0,1-1-12 0,8-2-5 16,3-2-19-16,4-3-7 0,3 2-18 0,1-2-7 15,2-1-26-15,1 2 12 0,0-2-12 0,3 0-21 16,3 0 16-16,1 0-18 16,2-1-19-16,2-1 17 0,1 2-14 0,3-1-5 15,4-2 8-15,2 0-28 0,2 1-15 0,1-1-29 16,5-2-26-16,-2-2-14 0,5 1-47 15,-2-2-25-15,2 1-36 0,0-2-36 0,-2-2 56 0,1 2-38 16,-1-3-172-16,-3 0-117 0,-3-2-111 31,0 2-342-31,-1-2 76 0,-1-2 93 0,-6 1 99 0,6-2 77 0,-8-1 39 0</inkml:trace>
  <inkml:trace contextRef="#ctx0" brushRef="#br0" timeOffset="85568.19">19948 7075 703 0,'-3'-5'277'0,"-2"4"74"15,0 1-8-15,5 0 12 0,-12 0-101 16,4 2 12-16,0 3 16 0,0 2 73 0,1 4 19 0,-3 1-28 15,-1 2-44-15,2 4-16 16,-2 1-66-16,-2 4-17 0,-2 8-19 0,1 0-10 0,1 1 5 16,-1 0-30-16,0-1 12 0,2-1-43 0,2-5-6 15,1-4-53-15,2-3-46 0,2-1-49 16,2-4-36-16,2 2-40 0,0-4-65 0,1 0-66 16,1-4-182-16,1 0-586 0,5-2 90 15,-2-4 91-15,3-5 108 0,5 1 39 0,2-7 71 31</inkml:trace>
  <inkml:trace contextRef="#ctx0" brushRef="#br0" timeOffset="85850.17">20699 6694 1318 0,'0'0'504'0,"10"-1"-48"0,-10 1-44 16,13 0-56-16,-5 0-44 16,2-1-31-16,4 2-58 0,-2-1-49 0,4 0-87 0,-2 0-66 15,2 0-98-15,-3 1-328 0,-3-1-460 0,2 1 54 16,-1 2 107-16,-3-1 72 0,-3 1 43 0</inkml:trace>
  <inkml:trace contextRef="#ctx0" brushRef="#br0" timeOffset="86018.61">20582 6850 1732 0,'-4'2'453'15,"4"-2"72"-15,0 0-49 0,0 0-23 16,0 0-43-16,0 0-62 0,24-1-15 0,-13 0-23 15,1 0-39 1,3-2-20-16,3 1-47 0,2 1-35 0,-1-3-56 0,1 3-67 0,3-3-69 0,0 1-61 16,-2 2-67-16,-1-3-134 15,1 2-769-15,-1-2 86 0,-4 2 131 0,1-2 95 0,-3 3 43 16,1-5 82-16,-1 3 77 16</inkml:trace>
  <inkml:trace contextRef="#ctx0" brushRef="#br0" timeOffset="86460.27">22312 6638 1249 0,'0'0'458'0,"0"0"-33"0,0 0-18 15,0 0 74-15,0 0-66 0,-8 13-42 0,2-8-27 16,-3 2-29-16,1 0-89 0,-5-1 8 16,1 5-52-16,-1-2-15 0,0 2 7 0,-2 0-17 0,-1-2 5 15,5 2-39-15,-3-1-15 0,5-2 6 16,0-1 1-16,1-1-24 0,0 1 6 0,3-1-12 15,2 0-2-15,-2 0-6 0,3 0 1 16,4-4-6-16,1 3-15 0,2 0 12 0,3-3-25 0,2 4-7 16,3-6 7-16,2 5-5 0,6-4-21 15,0 3-15-15,3-3 11 0,2-1-34 16,0 0-28-16,-2 2 2 0,1-2-50 16,1 0-32-16,-1 0-30 0,-2-2-18 15,-2 2-26-15,-3-1-30 0,-3-3-57 0,1 4-86 0,-2-1-549 0,-5-4-56 16,-1 5 105-16,2-6 88 0,-6 3 86 15,-1-2 84-15,-3-1 70 0</inkml:trace>
  <inkml:trace contextRef="#ctx0" brushRef="#br0" timeOffset="86689.43">22439 6625 1241 0,'-6'3'494'0,"0"1"-74"0,1 1-29 16,-3 4-30-16,0 2 82 0,-2 6-21 0,0 3-27 15,2 1-45-15,-4 9 16 0,-1 2-33 16,0 2-118-16,0-1-64 0,1 0 5 16,1 3 59-16,-1 0-18 0,-4-2-23 0,3-4-7 0,-2 2-44 15,6-8-26-15,-3-1-53 16,4-3-27-16,2-5-52 0,0 2-55 0,1-5-38 0,-1 0-49 0,2-3-9 16,1-2-78-1,2-3-171-15,1 0-592 0,0-1 93 0,0-3 87 0,6 0 71 0,-6 0 75 16,10-7 69-16</inkml:trace>
  <inkml:trace contextRef="#ctx0" brushRef="#br0" timeOffset="86927.03">22873 6775 1763 0,'3'-2'614'0,"-3"2"-158"0,0 0 2 0,0 0-58 0,0 0-37 0,-3 15 13 0,-4-3-58 16,-1 0-34-16,-3 3 0 0,-3 3-28 16,-4 8-54-16,-1 3-15 0,-5 1-39 0,-1-3-2 15,-3 4-25-15,-5 5-37 0,3-10-45 16,-1 0-39-16,4-1-70 0,-3-1-55 0,5-3-52 0,5-4-45 16,4-3-70-16,8-2-77 0,-7-1-94 15,9-5-469-15,4-1 41 0,4-3 90 0,-2-2 69 16,14 0 97-16,-4-5 77 0</inkml:trace>
  <inkml:trace contextRef="#ctx0" brushRef="#br0" timeOffset="87125.49">23184 6776 1607 0,'-13'7'512'0,"3"0"-59"15,-3 3-51-15,0-1 66 0,-5 6-27 0,-7 6-47 16,-3 5-26-16,-1 3-32 0,-7 7-98 0,-2 1-34 15,-1-3-24-15,-2 4-37 0,0-1-59 16,3 1-89-16,-6-3-105 0,3-1-100 0,5-3-168 16,0 1-646-1,8-4 105-15,3-1 112 0,1-3 86 0,6-4 47 0,7-4 73 0</inkml:trace>
  <inkml:trace contextRef="#ctx0" brushRef="#br0" timeOffset="95266.34">10567 10600 1479 0,'2'-3'484'0,"-2"3"-57"0,0 0-12 0,0 0-62 16,3 10-15-16,-3 0-38 0,0-1-32 0,-3 3 24 16,3 4-67-16,-2 3-10 15,-1 0-7-15,3 1-37 0,-2-1-15 0,-1 3-10 16,1-1-28-16,1-1-23 0,-1 5-44 0,0-4-43 15,-1-1-29-15,0-1-48 0,1-1-56 0,2-4-80 16,-2-6-228-16,2 7-534 0,0-2 48 16,0-4 143-16,0 1 47 0,0-4 68 0,0-2 108 15</inkml:trace>
  <inkml:trace contextRef="#ctx0" brushRef="#br0" timeOffset="95429.28">10474 10845 1036 0,'0'0'430'0,"1"-5"-13"16,4 2-45-16,2 1-40 0,1-2-27 0,5-1-34 15,2 2-40-15,4-1-11 0,3 0-26 16,-1 0-27-16,2-1-39 0,0 0-46 0,2 1-31 16,1-2-56-16,0 1-70 0,-6-1-122 0,1 3-222 15,5-1-442-15,-6-1 78 0,0-1 118 16,-1 0 66-16,-1 0 46 0</inkml:trace>
  <inkml:trace contextRef="#ctx0" brushRef="#br0" timeOffset="95725.14">11085 10538 975 0,'12'-3'437'0,"-2"3"47"0,-2-3-49 16,3 3-40-16,-3 3-24 0,0-1-15 0,-2 2-37 16,2 0-6-16,2 2-42 0,-2 3-28 15,-2 0-7-15,1 3-19 0,-4 0-9 16,2 2-27-16,-3 2-19 0,1-2-14 0,-3 3-22 0,-3-2-22 16,3 3-19-16,-2-2-57 0,0 2-51 0,-1-2-61 15,3 0-44-15,-3-2-39 16,1-1-148-16,-1 0-609 0,1 0-25 0,-1-3 55 0,1-1 162 15,2 0 51-15,-3-3 65 0</inkml:trace>
  <inkml:trace contextRef="#ctx0" brushRef="#br0" timeOffset="95902.68">11049 10794 1164 0,'-3'-3'553'0,"3"3"-56"0,0 0-24 0,8-6-58 16,-5 3-26-16,6 1-41 0,0 0-51 0,6-2-21 16,-2 3-17-16,7-3-47 0,-1 1-55 0,1-1-42 15,3 2-82-15,0-2-64 0,5 1-63 0,2 0-96 16,-6 0-255-16,4 0-482 0,3 0 100 16,15-2 57-16,0 1 79 0,0 3 69 0,0-4 48 15</inkml:trace>
  <inkml:trace contextRef="#ctx0" brushRef="#br0" timeOffset="96249.08">12033 10569 1233 0,'0'0'428'15,"0"0"-49"-15,3 12-29 16,-3-7-30-16,-2 2-41 0,2 0-13 0,0 3-20 0,0 2-26 15,0 0-25-15,0 2-24 0,-3 0-4 16,3 0-37-16,-3 1-66 0,3-1-46 0,-2 0-43 16,1-1-78-16,-1-1-201 0,2 3-577 15,-2-5 85-15,2-1 38 0,0 0 108 0,0-3 67 16</inkml:trace>
  <inkml:trace contextRef="#ctx0" brushRef="#br0" timeOffset="96455.5">11956 10705 1057 0,'0'0'466'0,"6"-4"-39"0,-4 3-25 0,-2 1-34 16,11-1-45-16,-3 1-47 0,2 1-2 0,2-1-46 16,-2 3-49-16,6-1-40 0,-3 0-73 0,2 0-48 15,0 1-126-15,-4-3-304 0,7 1-448 16,0 2 62-16,-1-3 96 0,4 0 80 0,-3-3 59 15</inkml:trace>
  <inkml:trace contextRef="#ctx0" brushRef="#br0" timeOffset="96721.93">12697 10560 1261 0,'0'0'556'0,"0"-5"-52"0,0 5-46 16,0 0-25-16,0 0-80 0,0 0-7 0,0 0-24 16,-7 15-43-16,4-8-18 15,1 1-35-15,-4 3-14 0,2-1-20 0,1 3-8 0,-2 0-17 16,2 0-16-16,-2 3-26 0,0-2-38 0,3-2-23 16,-4 0-38-16,4 1-34 0,-1-1-51 0,0-4-28 15,1 3-56 1,0-3-36-16,2 1-90 0,0-8-174 15,0 4-542-15,2 1 61 0,0-3 110 0,1 0 69 0,-3-3 107 0,3 2 47 16</inkml:trace>
  <inkml:trace contextRef="#ctx0" brushRef="#br0" timeOffset="97498.12">10359 10553 1044 0,'-5'26'343'0,"3"-1"-28"0,-1 1-8 15,-2 10-54-15,-1 1-30 0,2 3-11 0,-2 2-14 16,1 1-42-16,-3 0-23 0,4-1-51 15,-2 1-59-15,4-2-87 0,2-7-274 0,5 4-448 16,0-3 95-16,5-8 23 0,-2-6 84 16</inkml:trace>
  <inkml:trace contextRef="#ctx0" brushRef="#br0" timeOffset="97943.17">11716 10453 1139 0,'-6'21'368'0,"-1"0"-50"15,1 3-16-15,-1 11-41 0,-6 4-21 16,3 0-17-16,-5 10-26 0,1-6-7 0,-1 8-73 16,-1-1-60-16,4-7-75 0,0-5-133 15,3 2-200-15,4-1-440 0,3-12 118 0,4-2 25 0,-2-6 67 16</inkml:trace>
  <inkml:trace contextRef="#ctx0" brushRef="#br0" timeOffset="98456.2">12472 10566 1172 0,'0'0'425'0,"0"0"-49"0,0 0-38 0,0 0-26 0,0 0-43 16,-3 19-13-16,3-11-28 0,-2 3-26 0,1 3-48 15,-1 0-55-15,0 1-50 0,-4 0-103 0,4 4-135 16,-3-1-497-16,2 1-95 0,-2-5 39 15,2 4 143-15,-2-5 41 0</inkml:trace>
  <inkml:trace contextRef="#ctx0" brushRef="#br0" timeOffset="98633.59">12395 10710 826 0,'5'-5'328'0,"-2"4"-31"0,2-2-34 15,2 2-27-15,1-1-11 0,0 1-40 16,-1-2-63-16,3 3-47 0,1-2-73 0,-3-2-199 16,2 4-507-16,0-1 44 0,0-1 76 0</inkml:trace>
  <inkml:trace contextRef="#ctx0" brushRef="#br0" timeOffset="98865.16">12318 10450 857 0,'-5'13'371'0,"0"3"-25"0,2-1-24 0,1 3-45 15,-1 1 2-15,-2 7-54 0,2-2-15 16,-2 14-13-16,0-8-56 0,5-1-34 15,-7 9-50-15,4-6-81 0,0-5-196 0,1 0-563 0,2 0 84 16,0-6 34-16,2 0 58 0</inkml:trace>
  <inkml:trace contextRef="#ctx0" brushRef="#br0" timeOffset="99069.02">12913 10397 1259 0,'-3'21'366'0,"0"0"-44"16,1 1-17-16,0-1-34 0,-1 4-33 15,-2 13-12-15,0-2-52 0,-1 1-49 0,1-6-74 16,1-4-99-16,1 0-216 0,0 1-535 0,3-3 62 15,-2-2 97-15,2-3 64 0</inkml:trace>
  <inkml:trace contextRef="#ctx0" brushRef="#br0" timeOffset="99478.53">13697 10518 1364 0,'0'0'402'16,"0"14"-31"-16,-2-2-46 0,2 1-15 0,0 4-34 15,0 2-38-15,-2 4-25 16,2-2-27-16,-1 4-40 0,-1 4-51 0,-1-2-67 0,1-2-51 15,1 1-110-15,-4-10-179 0,3 8-518 16,-1-3 52-16,1-2 115 0,-1 0 11 0,1-6 109 16</inkml:trace>
  <inkml:trace contextRef="#ctx0" brushRef="#br0" timeOffset="99678.82">13566 10778 1041 0,'3'-5'471'0,"0"2"-43"16,2 2-42-16,3 0-43 0,0 0-89 15,2 0-32-15,4 0-7 0,2-1-64 0,-1 2-12 0,6 0-42 16,3 0-82-16,0 0-97 16,5-1-261-16,-1 1-478 0,-2 0 76 0,5-2 59 15,-3-2 95-15</inkml:trace>
  <inkml:trace contextRef="#ctx0" brushRef="#br0" timeOffset="100086.75">14456 10579 1371 0,'-2'14'420'16,"-1"-4"-38"-16,3 2-32 15,-3 5-25-15,1 2-30 0,-1 1-39 0,-2 1-44 0,3 3-33 16,-3 0-43-16,2-1-46 0,-2 1-57 0,2 0-89 15,0-4-136-15,1-1-320 0,2-3-325 16,-2-1 69-16,2 0 110 0,2-5 62 0</inkml:trace>
  <inkml:trace contextRef="#ctx0" brushRef="#br0" timeOffset="100315.6">14503 10816 1041 0,'0'0'392'0,"0"0"-49"15,2-4-23-15,-2 4-39 0,8-1-27 0,-3 0-42 16,3-2-50-16,2 2-68 0,0 1-60 0,2-4-134 16,-1 1-195-16,5 0-465 0,4-2 102 15,3-2 21-15,3-2 51 0</inkml:trace>
  <inkml:trace contextRef="#ctx0" brushRef="#br0" timeOffset="100596.75">15025 10569 1415 0,'0'0'399'0,"-18"7"-58"0,13-2-16 0,-5 1-28 16,-3 7-23-16,3-3-34 0,-1 4-17 0,-1 5-18 15,1 0-24-15,-1 0-9 0,2 3-26 0,0 1-51 16,4-2-29-16,1-3-33 0,2-1 6 15,3-1-8-15,3-2-24 16,0 3 14-16,2-5-3 0,2-1 0 0,-1-1 17 0,-1-3 4 0,2-2 2 16,-1 0-5-16,-1-3 28 0,0-1 2 0,-5-1 19 15,0 0-14-15,7-3 14 16,-7 3-14-16,3-7-7 0,-3 3 21 0,-3-2-19 0,1 3-12 16,-1-2-21-16,-4 1-10 0,-1 2-30 15,3-2-44-15,-3 0-24 0,0 1-42 0,-2 1-65 16,2 1-151-16,1-2-463 0,-1 1-97 15,0-1 89-15,4 2 87 0,-4-5 85 0,5 4 51 16</inkml:trace>
  <inkml:trace contextRef="#ctx0" brushRef="#br0" timeOffset="100793.05">15118 10502 1177 0,'5'4'463'0,"-3"2"-43"0,1 0-23 0,-3 1-49 0,3 4-20 16,-1 3-21-16,-2 2-77 0,3 2-10 0,-1 2 8 16,-2 1-33-16,3 3-26 0,0 2-34 15,-3-2-55-15,2 3-68 0,-2-3-53 16,2-1-48-16,1-3-111 0,-3-1-194 0,7 5-507 0,1-3 105 16,2-4 38-16,1-4 118 0,4-2 46 15</inkml:trace>
  <inkml:trace contextRef="#ctx0" brushRef="#br0" timeOffset="101446.42">15761 10569 1425 0,'0'0'384'0,"0"0"13"0,0 0-49 0,0 0-46 0,0 0-20 16,1 18-24-16,-1-5-20 0,0 0-33 0,-1 3-8 15,1 0-30-15,-3 3-47 0,3 2-41 16,-2-1-61-16,0-1-67 0,-1 5-48 0,-4-3-154 16,6-3-153-16,-6 1-459 0,4 0 100 15,-3-6 34-15,-1 1 94 0,4-4 103 0</inkml:trace>
  <inkml:trace contextRef="#ctx0" brushRef="#br0" timeOffset="101618.73">15592 10801 1067 0,'0'0'489'0,"2"-5"-69"0,-2 5-103 0,6-5-12 15,-1 2-32-15,0 2-27 0,3 0-38 0,2-1-6 16,3 0-23-16,2 0-20 0,1 1-57 15,4 0-74-15,-2 0-38 0,0-1-90 0,5-1-197 16,0 3-565-16,0-2 86 0,-3 1 80 16,1-1 94-16,-1 0 39 0</inkml:trace>
  <inkml:trace contextRef="#ctx0" brushRef="#br0" timeOffset="101977">16546 10525 1558 0,'0'0'443'0,"-11"10"-20"15,7-4-29-15,-2 3-28 0,1 3-10 16,0 2-47-16,0 3-25 0,0 2-46 0,-1 4-17 16,-1-2-91-16,1 3-20 0,-1-1 10 0,2 0-17 15,-1 1-19-15,2-6-17 0,-2 0-39 0,4 0-20 16,-3-3-36-16,2 0-16 15,1-1-48-15,0-3-18 0,2-1-36 0,-1-2-72 0,1-1-79 16,0-1-145-16,1-3-454 0,1 1 100 16,0-1 56-16,4-3 179 0,-6 0-4 0</inkml:trace>
  <inkml:trace contextRef="#ctx0" brushRef="#br0" timeOffset="102285.64">16764 10731 1200 0,'0'0'376'0,"5"-4"-46"0,0 3-27 0,0-1-40 16,-5 2-20-16,13-1-17 0,-8 0-29 0,3 0-31 15,0-1 36-15,-1 2-51 0,0 0-69 0,-7 0-82 16,14 0-161-16,-7-1-297 16,1 1-349-16,-2 0 50 0,-6 0 104 0,12 0 108 0</inkml:trace>
  <inkml:trace contextRef="#ctx0" brushRef="#br0" timeOffset="102562.22">17099 10613 934 0,'11'-2'374'0,"-4"2"-8"0,1 0-34 16,2 0-14-16,-1 1 50 0,-2 0-12 0,0 1-18 15,1 2-10-15,-5-1-37 0,2 0-17 16,-3 2-33-16,-4 1-13 0,2 1-18 0,-6 2-26 0,-1 1-10 15,0 1-33-15,-1-3 10 0,0 5-18 0,0-3-92 16,1-1 0-16,1 1-13 0,1-2-10 16,0-2 15-16,3 1-20 0,0-1 0 0,2 0 0 15,2 0 7-15,-2-1 0 0,5 0-14 0,-2-2-1 16,4 0-23-16,1-1-26 0,2 0-32 16,0 0-29-16,3-2-39 0,0-2-38 15,0 0-63-15,2-1-144 0,-2 0-546 16,0-2 52-16,2 1 90 0,-2-5 89 0,-1 3 59 15,-1-3 92-15</inkml:trace>
  <inkml:trace contextRef="#ctx0" brushRef="#br0" timeOffset="102797.84">17315 10432 1200 0,'13'12'445'0,"0"-1"-20"15,-1 1-7-15,-1 0 29 0,1 2-27 16,-1 3-61-16,1 3 4 0,-4 0-43 0,0 2-18 16,-3-1-36-16,-2-1-20 0,-3 3-44 0,-3-3-10 15,-2 5-41-15,-7 7-59 0,-4-1-66 16,-2-2-54-16,-3-1-77 0,-2-3-90 0,1 1-245 16,-2-4-581-16,3 1 99 0,6-8 134 15,0-3 43-15,2-6 72 0,3 1 66 0</inkml:trace>
  <inkml:trace contextRef="#ctx0" brushRef="#br0" timeOffset="103613.23">18327 10656 1241 0,'0'0'402'15,"0"0"-41"-15,0 0-26 0,0 0-20 0,16 6-54 0,-6-6-31 16,1 6-61-16,1-5-23 0,4 1-74 15,-1 0-62-15,-2 0-128 0,-3 2-209 0,5-2-480 16,-2-1 86-16,1 4 70 0,-4 0 60 0</inkml:trace>
  <inkml:trace contextRef="#ctx0" brushRef="#br0" timeOffset="103795.55">18279 10841 1156 0,'-5'3'397'0,"5"-3"-61"0,0 0-22 0,10 3-12 0,-10-3-46 0,13-2 13 0,-3 1-36 16,0 1-33-16,6-1-39 0,2-1-30 0,-1 1-19 15,2-2-32-15,1 1-34 0,3-2-69 0,-2 3-77 16,-4 0-136-16,1-2-573 0,-1 2 34 16,-3-1 61-16,-1 0 92 0,0 0 12 0</inkml:trace>
  <inkml:trace contextRef="#ctx0" brushRef="#br0" timeOffset="105052.34">17345 10450 1167 0,'1'-4'458'0,"1"1"-10"0,-2 3-113 0,3-6-25 16,-1 4-18-16,-2 2-31 0,1-4-8 0,-1 4-7 15,0 0-16-15,0 0 52 0,2 12-11 16,-4-5-23-16,2 4-9 0,0 3-7 0,0 4-24 15,-1 1-19-15,-1 7-35 0,2 2 12 16,0 0-7-16,-5 10-31 0,5-4 13 0,0-6-13 16,-1 0-18-16,-1 0-16 0,2-1-24 0,-5 0-9 15,3-3-33-15,-1 0-13 0,-2-3 6 16,4-1-49-16,-3-3-8 0,1-2 18 16,0-3-41-16,3 2 8 0,-2-5-8 0,2-1 21 15,-2 0-8-15,2-3-3 0,0 2 11 0,2-3 7 0,-2-4 3 16,0 3 2-16,0-3 13 0,0 0-12 0,0 0 12 15,10-7-31-15,-8 3 39 16,1-4-5-16,0 1 0 0,0-5 12 0,2 1-9 0,0-6 7 16,0-2-13-16,0-4 21 0,5-14-14 15,0 3 1-15,-2-5 5 0,5-1 18 0,0 1-2 16,-3-3-27-16,5 3 1 0,-2 1 10 16,0 4 15-16,-5 8-12 0,2 8 18 15,-5 3 2-15,-2 3-3 0,2 1-20 0,-2 4 26 0,-1 5-3 16,-2 2-3-16,0 0 6 0,0 0-1 0,-8 20 6 15,1-3-5-15,-1 3 9 0,-5 10-4 16,0 2-13-16,1 2 0 0,-1 3-3 0,0 0 3 16,-2-2-18-16,2-1-25 15,0-4-37-15,2 2-55 0,-1 0-45 0,4-7-22 0,0-3-82 0,5-7-151 16,-1 3-602-16,1-1 74 16,0-4 108-16,3 0 67 0,-2-5 107 15,4 2 54-15,-2-2 35 0</inkml:trace>
  <inkml:trace contextRef="#ctx0" brushRef="#br0" timeOffset="120918.2">19158 10501 1364 0,'0'-6'499'16,"0"6"-59"-16,0 0-53 15,0 0-21-15,0 0 2 0,0 0-40 0,0 0-16 16,0 0-20-16,4 16-33 0,-3-8-34 0,0 3-31 15,-1 0 9-15,0 3-6 0,0 0-49 0,-1 3-7 16,-1 3-10-16,-3-1-37 0,3 0-45 16,-6 5-54-16,5-5-41 0,-5 3-29 0,3 0-32 15,-2-6-42-15,1 0-127 0,2 0-198 0,-2-2-501 16,4-3 59-16,2 0 125 0,0-3 51 16,2-3 123-16,0-2 31 0</inkml:trace>
  <inkml:trace contextRef="#ctx0" brushRef="#br0" timeOffset="121228.37">19438 10510 1310 0,'0'0'399'0,"-11"9"-27"0,7-3-45 0,-2 4-27 0,1 0-32 0,-2 5-12 0,-1 1-30 0,0 4-37 15,3 2-28-15,-1-3-7 0,2 1-13 0,2-1-26 16,-2 0 5-16,4-2-30 0,4-2-1 15,-2 0 3-15,3-1-22 0,0-3-4 16,3-3-4-16,-3 3 12 0,0-6-5 0,2 0-8 0,-1-2 3 16,-1-3 18-16,-5 0-13 0,10-2 90 0,-5-2-28 15,-2-2-1-15,2 1-7 0,-2-3-31 16,-1 2 18-16,-2-2-28 0,3-1-15 16,-3 2-34-16,-3 3-25 0,3-1-49 0,-3 1-36 15,-2 0-54-15,2 3-55 0,-4-1-129 0,-3 4-241 16,3 1-434-16,-4-1 135 0,-2 4 51 15,-2 1 97-15,-3 3 62 0,-3 1 72 0</inkml:trace>
  <inkml:trace contextRef="#ctx0" brushRef="#br0" timeOffset="121420.72">18889 11050 1364 0,'0'0'517'0,"21"-3"-23"16,-11 2-46-16,5-2-31 0,6 1-18 0,7-4-38 15,11-1-43-15,2-2-93 0,2 1-15 0,4 0-13 16,-2-1-31-16,-1 1-22 0,5 1 2 16,-6-1-31-16,1 2-10 0,0-2-39 15,-11 5-30-15,-3-2-28 0,-3 2-39 0,-5 0-56 16,-4 3-31-16,-3-2-46 0,-1 2-38 0,-4 0-118 16,-3 0-61-16,-1 2-492 0,-4 1-8 0,-2 2 129 15,-2 0 76-15,-1 1 39 16,-7 1 58-16</inkml:trace>
  <inkml:trace contextRef="#ctx0" brushRef="#br0" timeOffset="121759.65">19468 11269 1213 0,'0'0'548'0,"-14"0"-62"0,6 4 28 0,0-2-32 0,-1 4-60 0,-5-2-12 16,-2 2-39-16,1 2-41 0,-1-2-10 0,-1 2-69 15,-4 3-16-15,4 0-7 0,1-2-110 16,1 1 2-16,1-1 13 0,2 2-33 16,2-3-3-16,2 1-20 0,0 1 8 0,3-2-29 0,3 1-23 15,-1-2-2-15,3-1 17 0,3 1-17 0,-1 0 13 16,3 0-34-16,2-2-8 0,-1 0-4 0,5 1-29 15,-1 0-20-15,2-2-10 16,-1-1-34-16,4 1-23 0,-2-2-46 0,2-2-17 16,-2 3-47-16,-2-3-38 0,1 0-111 0,1-6-135 15,-3 5-455-15,0-1 137 0,-2 0 9 0,0-1 171 16,-3 1-11-16,0-4 106 0</inkml:trace>
  <inkml:trace contextRef="#ctx0" brushRef="#br0" timeOffset="121965.56">19430 11329 988 0,'-13'2'511'0,"8"2"-22"0,-2 1-120 16,-1-1-29-16,0 5 1 0,3 0-8 0,-3 2-29 15,0 2-32-15,3 0 81 0,-2 5-44 16,-1-1-19-16,5 1-37 0,-2 2-22 16,0 0-14-16,3 0-27 0,-1 5-32 0,-2-2 1 0,3-2-64 15,-1-2-39-15,3 2-43 0,0-2-26 0,0-3-61 16,0-2-34-16,0 1-45 0,3-2-80 15,-1-7-202-15,-2 2-597 16,5-1 98 0,-2-3 130-16,1-3 49 0,-4-1 135 0,9-6 11 0</inkml:trace>
  <inkml:trace contextRef="#ctx0" brushRef="#br0" timeOffset="122266.02">20186 10804 1072 0,'0'0'458'0,"8"-2"-25"15,-3 1-47-15,3 1-40 0,0 0-21 16,0 1-38-16,2 1-49 0,2 0-34 0,-1-1-47 0,1 3-37 15,-1-3-79-15,-1 4-59 0,0-3-82 16,-2-2-138-16,-2 6-619 0,2 0 30 0,-4 1 184 16,-4-1-9-16,0 0 83 0</inkml:trace>
  <inkml:trace contextRef="#ctx0" brushRef="#br0" timeOffset="122434.21">20117 11029 1118 0,'0'0'461'0,"0"0"-41"0,0 0-29 0,0 0-32 0,0 0 40 0,0 0-23 0,0 0-51 0,18-5-28 16,-10 3-31-16,3-1-43 0,-1 2-39 15,5-4-53-15,0 3-36 0,3-2-72 0,0-3-44 16,0 4-71-16,2-2-164 0,1-1-363 16,3-1-293-16,-2-1 86 0,4-1 83 15,-3 1 98-15,0-2 64 0</inkml:trace>
  <inkml:trace contextRef="#ctx0" brushRef="#br0" timeOffset="122807.5">22063 10648 1374 0,'-7'4'410'16,"1"0"-9"-16,-4 4-40 0,0 0-38 0,-5 2-6 15,-3 3-30-15,-1 3 46 0,-9 4-13 0,1-1-44 16,-2 3-22-16,6-3-4 0,2-3-52 0,6-1-12 16,3-2-9-16,-2-3-8 0,4 2-100 15,3-3-5-15,1-1 3 0,4 0-9 16,0 1 12-16,2-3 1 0,4-2-30 0,4 1-10 15,4 1 25-15,1-1-30 0,3-3 7 0,2 2 3 16,3-3-21-16,2 0 13 16,-1 1-5-16,2-2 70 0,-1 0-24 0,0-2-46 0,2 1-26 31,-4-1-56-31,2-1-15 0,-5-1-46 0,0 1-34 0,-5-3-58 0,-1 4-98 0,4-12-220 16,-6 6-478-16,-2 2 91 0,0-2 91 15,-3 0 104-15,0-3 51 0,-3-1 80 0</inkml:trace>
  <inkml:trace contextRef="#ctx0" brushRef="#br0" timeOffset="123050.03">22106 10643 1220 0,'0'0'413'0,"-8"5"-1"16,4-2-46-16,-1 2-21 0,2 5 70 0,-2-1-39 16,0 4-23-16,2 2 6 0,-4 3-134 0,4 1-28 15,-4 4 8-15,1 1-18 0,-4 11-26 0,-3 0 69 16,3 1-17-16,-1-2-19 0,-3 1-17 15,0-2-28-15,0 1-22 0,0-3-42 0,-1 0-72 16,3-7-23 0,3-4-49-16,1-1-46 0,1-2-54 0,2-6-38 0,0 1-195 0,4-3-639 0,-1-2 66 15,2-2 138-15,2-3 92 0,-2-2 57 16,8 1 138-16,-8-1 10 16</inkml:trace>
  <inkml:trace contextRef="#ctx0" brushRef="#br0" timeOffset="123291.89">22623 10729 1499 0,'0'0'576'0,"0"0"-120"0,-14 14-41 15,7-7-21-15,-6 6-51 0,0 2-23 16,-2 4-8-16,-6 6-43 0,-2 3 71 15,-2 3-53-15,-6 7-26 0,7-6-23 0,-9 5-38 16,0 1-36-16,-3 1-39 0,5-3-35 0,5-6-55 16,1 0-19-16,3-4-70 0,-2-1-35 15,6-7-45-15,5-1-45 0,3-5-154 0,0-2-524 16,4-1-113-16,3-6 125 0,1 1 49 0,2-4 100 16,0 0 138-16,0 0-10 0</inkml:trace>
  <inkml:trace contextRef="#ctx0" brushRef="#br0" timeOffset="123484.51">22774 10857 1569 0,'-16'19'481'0,"1"-1"-36"0,-9 7-35 16,-1 0-39-16,-5 3-31 0,-9 5-17 0,0 2-42 15,1-1-35-15,-1 1-69 0,4-1-34 0,0-1-40 16,5-4-57-16,2-2-57 0,0 1-68 15,2-1-64-15,5-2-126 0,-11 0-189 0,16-3-448 16,5-6 81-16,-3 2 70 0,0-2 184 0,4-4-25 16</inkml:trace>
  <inkml:trace contextRef="#ctx0" brushRef="#br0" timeOffset="128095.53">2901 6952 314 0,'0'0'139'0,"0"0"63"16,0 0-13-16,0 0-2 0,0 0 5 15,0 0-49-15,0 0-15 0,0 0-7 16,0 0-1-16,0 0 8 0,0 0-3 0,0 0-17 15,0 0-8-15,0 0-6 0,0 0-1 0,0 0-22 16,-20 5-2-16,16 1-23 0,0-2 3 16,-2-1 12-16,1 3-14 0,0 1 14 0,0-1-15 15,-2 4-5-15,1-2-64 0,2 2-36 16,1-1 26-16,-3 2 10 0,2-3-16 0,1 3 6 16,0 1-8-16,1-4 31 0,0 3-13 15,1-2-3-15,1 2 8 0,0 2 6 0,0-6 9 16,3 5-17-16,-1 0 14 0,1 0-6 0,-3 1 7 15,2-1-6-15,1 1 9 0,-1 0-16 16,1-1 28-16,0 2-15 0,-1 1 2 0,1-2-2 16,2 4 5-16,-2 0-5 0,2 0 15 0,-1 2 6 15,2-2 9-15,-3-2-4 0,1 3-3 16,-1-2 10-16,2 0 13 0,-3-1-5 16,2-1-3-16,-4 0 21 0,2-1-6 0,-2 2 62 15,0-1-10-15,2-1-5 0,-2 0-16 0,-2 0-4 16,2-1 1-16,-2 2-7 0,-1-4-15 15,0 3 13-15,1-4-8 0,-1 2-16 0,-2 2-10 16,0-5 8 0,-1 3 3-16,2-5-3 0,-2 3 0 0,1-2-3 0,0-1 1 0,0 0-9 15,0-3 1-15,0 3-3 16,0-2 11-16,2-2 1 0,-2 0-6 0,0 1 7 0,5-3-75 0,-8 2-1 16,8-2 17-16,-7 0 5 0,7 0-5 15,-5 0 8-15,5 0-6 16,0 0 11-16,-8 1-23 0,8-1 20 0,-6 2 6 0,6-2 2 15,0 0 10-15,0 0-12 0,0 0-6 16,0 0 5-16,0 0-12 0,0 0 7 0,0 0 3 16,0 0-3-16,18-5 21 0,-18 5-26 0,11 2 13 15,-4-2 8-15,2 1-10 0,0 2-9 16,2-1 27-16,1 4-6 0,-3-3-7 0,3 1 14 16,-2 2-6-16,0 0-4 0,3 4 4 0,-3-3 4 15,1 1-2-15,4 4 10 0,-4-2 10 0,1 0-7 16,1 2 25-16,0 0-23 15,-2 0 3-15,1 1 12 0,1 3-15 0,0-2 18 0,-3-1-7 16,0 1-6-16,-2 2-12 0,2-3 84 0,3 1-18 16,-5 2 10-16,2-1-2 15,-3-2-26-15,4 1-10 0,-4 1 2 32,1 0-7-32,0-1 2 0,0 1-2 0,-1-1-11 0,1 2-15 0,2-2-51 0,-2-1-7 0,0 0 9 0,-1 0 3 15,3 3-10-15,-2-2 18 0,0-1-5 16,2 0 2-16,-2 1 3 0,0 2 10 0,2-2-13 15,-2-1 13-15,1 4-8 16,0-3 16-16,1-2-13 0,-2 4-1 0,2-2 22 0,0 0-16 16,2-2 0-16,-1 2 5 0,-1 1 0 15,0-5 8-15,1 2-11 0,2 1 11 0,-3-2-3 0,1 2-7 16,1-2 5-16,0 0-8 0,-1-1 7 0,2 0 11 16,-3-2-25-16,3 2 14 15,-1-1 6-15,1 1-3 0,0-1-5 0,0 1 3 16,-2-1 18-16,1 0-24 0,1 0-7 0,-2-2 15 15,1 4-7-15,1-3 5 0,-3 1-6 16,1 0 3-16,1-2-7 0,1 4 35 0,0-5-30 16,-1 2-1-16,2 3 11 0,-2-4-18 15,1 2 10-15,0-1 0 0,2 0 5 0,1-2 1 0,-1 1-4 16,1 2-12-16,1-5 8 0,-1 5 2 16,2-4-5-16,0-2 7 0,0 4-7 15,2-3 6-15,0-2 1 0,1 3-7 0,2-4 5 0,-2 4 1 16,2-3-6-16,-3-2 17 15,1 2-14-15,2-1-3 0,-6 0 0 0,2-1 3 16,-1 1-3-16,0 0 2 0,-3-1-10 0,-2 0 26 16,0 0-7-16,-1 0-4 0,-1 0-2 0,1 0-10 15,-4 0 18-15,-2 3 8 16,1-3-1-16,0 0 8 0,-7 0-15 0,11 0 18 0,-6 1-11 16,-5-1-2-16,8-1 15 0,-8 1 6 0,8 1-6 15,-8-1 3-15,0 0-3 0,9 0-10 16,-9 0 3-16,0 0 5 15,8-1-6-15,-8 1 3 0,0 0 6 0,6 2-9 0,-6-2-10 0,0 0-7 16,0 0 10-16,0 0-8 0,0 0 8 0,0 0-5 16,0 0 2-16,7 0-2 15,-7 0-8-15,0 0 13 0,0 0-15 0,0 0-6 16,0 0 11-16,0 0-3 0,0 0 3 0,0 0-3 16,0 0 3-16,0 0-6 0,6 1-2 0,-6-1 10 15,0 0 6-15,0 0-9 0,0 0-17 16,0 0 10-16,0 0 8 0,0 0-3 0,0 0-15 15,0 0 20-15,0 0-13 0,0 0-2 16,0 0 15-16,0 0-7 0,0 0 0 0,0 0 9 16,0 0 1-16,0 0-23 0,0 0-8 0,0 0 18 15,0 0 8-15,0 0 10 0,0 0-8 16,0 0-13-16,0 0 6 0,0 0 15 0,0 0 2 16,0 0-22-16,0 0-9 0,0 0 29 15,0 0-10-15,0 0 5 0,0 0-8 0,0 0-5 16,0 0 3-16,0 0-3 0,0 0 5 0,0 0-5 15,0 0-23-15,0 0 15 0,0 0 8 16,0 0 0-16,0 0 10 0,0 0-2 0,0 0-11 16,0 0 16-16,0 0-15 0,0 0 2 0,0 0-6 15,0 0-1-15,0 0-6 0,0 0 16 0,0 0 9 16,0 0-27-16,0 0 41 0,0 0-6 16,0 0-23-16,0 0 11 15,0 0-18-15,0 0-3 0,0 0 0 0,0 0 3 0,0 0 25 16,0 0-25-16,0 0 3 0,0 0 17 0,0 0-3 0,0 0-12 15,0 0 0-15,0 0 13 16,0 0-8-16,0 0 5 0,0 0-5 0,0 0 0 16,0 0-8-16,0 0 8 0,0 0 21 0,0 0-31 15,0 0 4-15,0 0 32 0,0 0-23 0,0 0-16 16,0 0 26-16,0 0-19 0,0 0 4 16,0 0-1-16,0 0 14 0,0 0-14 15,0 0 0-15,0 0-2 0,0 0-2 0,0 0 12 0,0 0-10 16,0 0 10-16,0 0 0 0,0 0 0 15,0 0 3-15,0 0-6 0,0 0-12 0,0 0 10 16,0 0-3-16,0 0 1 0,0 0-1 16,0 0-2-16,0 0-2 0,0 0 9 0,0 0 1 15,0 0-8-15,0 0 2 0,0 0 16 16,0 0-18-16,0 0-8 0,0 0 8 0,0 0 5 16,0 0 7-16,0 0-7 15,0 0 6-15,0 0-14 0,0 0 0 0,0 0 6 0,0 0 7 16,0 0 0-16,0 0 8 0,0 0-13 0,0 0-5 15,0 0 7-15,0 0-10 0,0 0 3 0,0 0 5 16,0 0 8-16,0 0-5 0,0 0 4 0,0 0 1 16,0 0-11-16,0 0 6 0,0 0 10 15,0 0-16-15,0 0-17 0,0 0 15 0,0 0 2 16,0 0 13-16,0 0-17 0,0 0 7 0,0 0 5 16,0 0-3-16,0 0-22 0,0 0-19 15,0 0-7-15,0 0-38 0,0 0-3 16,0 0-41-16,0 0-18 0,0 0-8 15,0 0-48-15,0 0-62 0,0 0-79 0,5-6-112 0,-5 6-472 16,0 0 90-16,0 0 92 0,0 0 70 0,0 0 55 16</inkml:trace>
  <inkml:trace contextRef="#ctx0" brushRef="#br0" timeOffset="129710.19">2598 10394 1128 0,'-5'-3'315'0,"0"0"-23"0,0 2-34 0,-1 0-30 0,-4 0 67 0,0 2-32 15,0 1 4-15,-3 2-27 0,3-2-25 0,-5 4-23 16,2 5-18-16,0-2-23 0,-3 2-13 16,1 2-10-16,-1 3 6 0,1-1-19 0,0 1 8 0,2 0-21 15,5 0-23-15,-2-1-10 0,3 2 6 16,4 2-1-16,-2 1-8 0,5 2 14 0,0-1-21 16,2 3 5-16,3 1 2 0,1 0-17 31,4 8-6-31,0 0 21 0,-2-4-25 0,3 3-60 0,1-1-4 0,0 1 7 0,-1 2-10 0,-1-1 20 15,-2-6 13-15,-3-1 8 0,0 1 7 16,-4-1 11-16,1 1-18 0,-3 1 10 0,-1-2 8 31,-3 0-21-31,0-2 3 0,0 0-1 0,-3-2 11 0,-1-2 3 0,0-1-21 0,1-5 26 16,1 0-3-16,-3-4 0 0,4-2 8 0,-2-1-5 16,4-3 10-16,-4-1-8 0,1-2-20 15,1-2 17-15,6 1-22 0,-10-3 5 0,5-1 5 16,3-2-23-16,-1 3 10 0,3-2 5 15,0-1-2-15,2-1 15 0,0 1-23 0,4-1-3 0,1 1 11 16,1-1-11-16,5 2-4 0,0 1 12 16,0 3-5-16,5 1-5 0,0 1 15 15,2 3 23-15,4 1-23 0,1 4 19 0,8 4 19 16,0 4-27-16,-2 4 9 0,0-1 4 16,-3 6-4-16,-2 1 4 0,7 11 2 0,-10-6-3 15,5 11-5-15,-2 1 8 0,-3 0 23 0,0 4-11 16,1-1 9-16,-4 2 4 0,3-2-2 0,0 0 10 15,0 3 77-15,0-2-15 16,3 0-9-16,-1 1-42 0,4 0-39 0,-1 4-23 0,0-3 7 16,0 1 6-16,0-3 5 0,1 2-29 15,2-2 19-15,1 3-13 0,-1-3 15 0,3 3-8 16,-1-2 6-16,0 1-23 0,3 0 2 0,-3-2 13 16,1-2 12-16,0 1-12 0,2-3-10 15,1 2 10-15,2-2-23 0,2 0-5 0,-3 1 22 16,3 0 9-16,0 0-3 0,1-4-13 0,1 1-18 15,-2 1 23-15,3-4-12 0,2 0 20 0,-5-4 0 16,0 0-21-16,0-4 8 0,3-3 23 16,-9-7-17-16,2-2-1 15,1-4 0-15,3-3-15 0,0-3 0 0,3-2-26 0,-4-5 8 0,7-1-10 16,2-5-21-16,2-3 0 16,0 1-10-16,3-4 16 0,5-3-9 0,5-1-35 0,-5-2-28 0,0-2-18 15,-3 0-39-15,1-2-43 16,-16 2-36-1,0 1-51-15,-2 1-47 0,-11 2-221 0,5 2-462 0,-5 3 121 0,-8 0 148 0,-4 2 18 16,-3 4 89-16,-3 0 75 0</inkml:trace>
  <inkml:trace contextRef="#ctx0" brushRef="#br0" timeOffset="131392.47">2829 10310 281 0,'0'7'92'0,"3"-2"-33"0,-3 1 5 16,0 2 13-16,0 0-36 0,2 2 5 15,-2 3 5-15,0-1 0 0,1-1-23 0,-1 0-51 16,0 1 13-16,1 1-51 0,-3-2-113 16,3 2-338-16</inkml:trace>
  <inkml:trace contextRef="#ctx0" brushRef="#br0" timeOffset="150833.04">23188 6372 1046 0,'10'-8'297'0,"-1"1"-23"0,1 2-28 0,0 2-16 16,-2-2-7-16,0 3-13 0,2-1-28 15,-2 2 5-15,-1 1-11 0,1 2-25 16,2 2-10-16,-2 1-13 0,0 2 0 0,-1 4-21 0,-1 5 9 16,3 3-11-16,-3 5-11 0,-3 2 6 0,1 14 8 15,-2 2-16-15,-2 4-5 16,-4 1-8-16,0 13 3 0,-4-2-8 0,0 4 8 16,-1 5 10-16,-3-1-28 0,2 2-7 0,0 4-9 15,0-2 6-15,3 3-3 0,-2-2-7 16,1 5 7-16,7 0-10 0,-3 1 5 0,1 0-10 15,2 4 18-15,2-4 4 0,2 4-14 0,-3 4-3 16,5-2 0-16,-2 5-18 0,-3-1 20 16,4 1 3-16,-4-1-7 0,-2 2 4 0,-3-3-22 15,-2 22 2-15,-1-23 5 0,-2 1-2 16,-3 16-6-16,3-17-2 0,-6 19 2 0,1-1 9 16,4-21-14-16,1-3 3 0,0 5 10 0,-1-3-13 15,1 4 19-15,0-4-11 0,3 3-5 0,-4-1-21 16,3 0 44-16,0-4-13 15,0 2-7-15,-2-2-14 0,3-3 1 0,0 5 5 0,1-4-18 16,3 1-5-16,1-2 12 16,-1-5-20-16,1 3 0 0,4-5-15 0,2 0 23 0,-2-3-18 0,3-1-3 15,2-3 15-15,-1-1 9 0,4-4-11 16,-5-10-18-16,5-3 13 0,-2 1 5 16,2-3 0-16,-2-1-7 0,0-3 7 0,-1-1-8 0,1-2 16 15,-1-7 10-15,-4-4-5 0,0-4-6 0,-2-1 1 16,-1 2 10-16,-4-2-7 0,2-3 4 15,-1 2 6-15,-2 0-19 0,0-4 37 16,-3 1-3-16,0-1 0 0,-4-1-1 16,2 0 40-16,-1-2-27 0,-4 0 11 0,-2 1-10 0,0-3 10 15,-3-1-3-15,-2 2-7 0,-3-3-5 0,-3 0-1 16,1-3-17-16,-12 3-23 0,-2-2 2 16,-8-2-18-16,1-3-7 0,-3-2-62 0,0-2-10 15,-1-1-33-15,3-5-29 0,-10-6-25 16,8-6-49-16,5-3-181 0,5-4-518 0,6-8 49 0,5-2 108 15,5-6 112-15,6-8 31 16,5-3 69-16</inkml:trace>
  <inkml:trace contextRef="#ctx0" brushRef="#br0" timeOffset="151581.53">23417 9053 1011 0,'0'0'312'0,"0"0"-25"15,0 0-8-15,0 0-18 0,0 0-13 16,0 0 3-16,10-10-11 0,-5 3 93 0,-2-2-59 16,2 1-10-16,0-5 15 0,3-2-113 0,-3-1 0 15,2-3-15-15,1 0-23 0,0-2 18 16,1-1-7-16,-3 7-22 0,2-3 22 15,-3 2-29-15,0 3-3 0,-2 4-7 0,3-3-10 0,-4 3 9 16,0 1-19-16,2 3 9 0,-3 3-20 0,-1 2-20 16,0 0 10-16,0 0 56 0,0 0 3 15,0 0-31-15,0 17 8 0,-1-10-19 16,1 1-17-16,0-2-2 0,1 1-6 0,0 0-26 16,1 1 1-16,3 0 5 0,-2-2-6 0,2-2 3 15,4 0 13-15,-1 0-10 0,1-2-26 0,1-2 16 16,0 0 20-16,2 0-41 15,1-3 20-15,-1 0 16 0,-3 3-5 16,1-1 5-16,1 0-11 0,-4 1-2 0,1 1 8 0,-3 0 2 16,5 3 0-16,-7 2 1 0,2 0-24 0,-2 2 8 0,0-1-18 15,-1 4-33-15,-2-2-24 0,0 2-20 16,-2 2-58-16,1-1-37 16,-4-1-48-16,4 0-125 0,-3-1-290 0,1 3-438 0,-2-6 149 15,3 4 44-15,2-5 109 0,0 0 101 0,0-1 7 16,0-2 84-16</inkml:trace>
  <inkml:trace contextRef="#ctx0" brushRef="#br0" timeOffset="151753.31">23966 8836 1402 0,'-5'7'410'0,"-1"4"-34"0,1-1-36 0,-5 5-22 0,3 0-34 0,1-2-64 0,-2 6-41 15,3-1-58-15,-2-2-63 0,2 0-119 16,1-4-195-16,0 6-581 0,0-2 100 16,0-3 23-16,2 1 171 0,0-6 0 15</inkml:trace>
  <inkml:trace contextRef="#ctx0" brushRef="#br0" timeOffset="151986.74">24014 8836 1249 0,'8'-10'350'0,"1"3"-37"0,-3 2-11 16,0 4-16-16,1-2 50 0,0 4-11 0,-7-1-39 15,9 8 34-15,-3-2-23 0,-2 1-87 0,-2 5 3 16,3 0-6-16,-4 1-20 16,1 3-13-16,-2-1 18 0,-3 4-39 0,-4-1-14 0,-1 4-6 15,-2-2-21-15,-8 7-19 0,-3-4-42 0,0-2-33 16,-5-1-67-16,-3-3-71 0,2 2-72 15,-5-2-133-15,9-5-605 0,2-3-14 0,6-2 107 16,-3-2 54-16,3-3 161 0,4-2 43 16,-2-2 16-16</inkml:trace>
</inkml:ink>
</file>

<file path=ppt/ink/ink10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07:43.926"/>
    </inkml:context>
    <inkml:brush xml:id="br0">
      <inkml:brushProperty name="width" value="0.05292" units="cm"/>
      <inkml:brushProperty name="height" value="0.05292" units="cm"/>
      <inkml:brushProperty name="color" value="#FF0000"/>
    </inkml:brush>
  </inkml:definitions>
  <inkml:trace contextRef="#ctx0" brushRef="#br0">7852 3240 959 0,'0'0'410'0,"0"0"-29"0,0 0-27 0,-3-5-42 16,3 5-28-16,0 0-33 0,0 0-16 15,0 0-17-15,0 16-29 0,0-9-2 16,0 2-38-16,0 2 12 0,-2 0-33 0,1 4-5 0,1 1-16 15,-2 1-7-15,0 2-15 0,-1 0-32 0,3 0-4 16,-3-3 0-16,-1 2-42 16,3-1-30-16,-2-2-8 0,1 0-38 0,0-2-10 15,-1 0-34-15,3 0-33 16,-3-2-33-16,1-3-87 0,2 0-54 0,0-1 0 16,0-1-455-16,0-1 48 0,2-1 48 0,-2 0 32 0</inkml:trace>
  <inkml:trace contextRef="#ctx0" brushRef="#br0" timeOffset="330.79">7657 3375 1169 0,'0'0'453'0,"0"0"-46"16,-3-2-36-16,3 2-40 0,0 0-27 15,0 0-96-15,0 0-9 0,13-3-25 0,-13 3 0 16,13 0-23-16,-3 1-17 0,1 0 4 15,1 0-10-15,1-1-41 0,3 2-8 0,-1-2-46 16,1 0-10-16,-1 0-56 0,2 1-21 0,-1 0-74 16,-1 0-120-16,1 0-128 15,-1-1-507-15,1 2 84 0,-4-2 123 0,1 0 47 0,0-2 71 16</inkml:trace>
  <inkml:trace contextRef="#ctx0" brushRef="#br0" timeOffset="680.81">8214 3276 1359 0,'0'0'402'0,"0"0"-42"0,-6 13-19 0,1-9-44 0,-1 0-21 0,-3 5-27 0,1-1-1 0,-2 1-25 16,-1 2-31-16,-1 0-29 0,-1 1-1 15,-3 1-14-15,3 1-20 0,1-2-13 0,-1 1-7 16,5-3-8-16,0-1-24 0,-1 1 22 16,3-2-19-16,1-1-7 0,3 0-21 15,-1 2 13-15,0-5-16 0,3 2 11 0,3-1-5 16,2-1-15-16,-2 0 1 0,4 0-9 0,3-1-3 0,1-1-2 16,1-2-8-16,4 2-21 0,-3-2-38 15,3-2-10-15,-1 1-38 16,2 1-22-16,-1-3-29 0,-1 1-47 0,1-3-79 0,-4 2-182 15,4 0-489-15,-6 1 87 0,0-3 69 0,1 0 98 16,-4 2 74-16</inkml:trace>
  <inkml:trace contextRef="#ctx0" brushRef="#br0" timeOffset="893.37">8247 3289 1192 0,'0'0'446'0,"-8"5"-16"15,1-2-41-15,1 3-21 0,1 3-9 0,0 0-44 16,2 4-31-16,-2 3-21 0,2 2-4 0,1 2-29 16,-3 2-28-16,2 2-17 0,-2-1-98 0,2 2 5 15,1-6-20-15,0 2-29 0,-1-2-35 16,0 0-52-16,-1-1-32 0,3-2-42 0,-1-3-38 16,-1 1-52-16,1-2-91 0,1-5-98 15,-1 3-450-15,-3-4 20 0,2 1 69 0,1-6 129 16,-4-1 43-16</inkml:trace>
  <inkml:trace contextRef="#ctx0" brushRef="#br0" timeOffset="1154.3">7577 3208 1482 0,'-14'17'450'0,"3"-2"-40"16,1 2-44-16,-1 4-3 0,-2 9-33 0,6 4-48 16,-3 2-11-16,4 1-25 0,1 1-28 0,3-4-6 15,1 4-33-15,1-4-25 16,3 5-88-16,4 0-20 0,2-4-20 0,1 0-29 16,3-4-53-16,2-3-31 0,3-1-49 0,0-8-94 15,0-10-164-15,5 3-520 0,-2-1 92 16,7-5 72-16,-5-4 62 15,0-2 76-15</inkml:trace>
  <inkml:trace contextRef="#ctx0" brushRef="#br0" timeOffset="1423.86">8334 3255 1182 0,'5'-1'522'16,"-5"1"-38"-16,8 4-115 0,0 0-3 0,1 3-39 15,0 0-32-15,3 6-32 0,0 4-7 0,-1 2-38 16,2 2-11-16,-2 11 24 0,-1 0-50 16,-3-3-9-16,-2-2-37 0,-3-3-30 0,-1 4-5 15,-2-1-51-15,-1-1-16 0,0-2-51 0,-3 0-51 16,2-5-38-16,-2 0-37 0,2-1-71 0,1-2-171 15,-1-5-513-15,0-1 9 16,3-3 93-16,-2-4 76 0,2 0 109 0,0-3 31 0</inkml:trace>
  <inkml:trace contextRef="#ctx0" brushRef="#br0" timeOffset="1780.01">8649 3102 1180 0,'10'3'468'0,"-2"1"11"0,0 2-70 0,0 0-30 0,-1 2-97 0,-2 1-26 16,-3 3-16-16,2 1-17 0,-7 0-8 0,2 1-36 16,-3 5-25-16,-2-1 7 0,-1 0-23 15,2-3-20-15,0 3 0 0,-1-3-16 16,1-2-18-16,0 0 21 0,3-5-12 0,-1 0-27 15,0 1 6-15,3-3 12 0,0 0-22 0,0-1-16 16,1-2 18-16,4 2-11 0,-1-4-14 0,4 1-1 16,0-2-10-16,0 1-7 0,2-1-13 15,1 0-19-15,1-1-22 0,-1 0-16 16,3-1-20-16,-3 2-41 0,4-3-15 0,-4 2-47 0,1 0-30 16,-2 1-62-16,1-1-178 15,2 1-464-15,-3 0 43 0,1 0 77 0,-1 0 103 0,0 0 45 16,-3 1 85-16</inkml:trace>
  <inkml:trace contextRef="#ctx0" brushRef="#br0" timeOffset="2283.86">9239 3346 1284 0,'0'0'464'0,"-1"-2"-42"0,1 2-38 16,0 0-23-16,0 0-26 0,0 0 52 0,-4 9-39 15,4-1-28-15,-2 1-33 0,1 4-11 0,2 0-30 16,-2 3-36-16,1 3-36 0,0 0-34 16,0 0-37-16,0-1-60 0,0 1-37 0,0 1-68 15,0-1-25-15,0-4-54 0,3 0-84 16,-1-1-154-16,0 0-537 0,2-2-13 0,-2-1 120 15,0-3 64-15,1-2 108 16,0 0 63-16</inkml:trace>
  <inkml:trace contextRef="#ctx0" brushRef="#br0" timeOffset="2508.09">9144 3589 1087 0,'-2'-5'482'0,"2"5"-34"15,0-3-41-15,0 3-36 0,0 0-33 0,7-6-31 16,0 3-21-16,1 1-37 0,5-1-21 0,3 1-16 16,-1-1-71-16,5 0-39 0,1 1-48 15,2-1-67-15,0 1-105 0,3-4-255 0,-5 5-531 16,1 0 59-16,-1-2 103 0,-3 2 66 0,-3-1 95 16,3 2 126-16</inkml:trace>
  <inkml:trace contextRef="#ctx0" brushRef="#br0" timeOffset="3001.24">10134 3302 1551 0,'0'0'437'0,"0"0"-32"0,0 0-47 16,0 0-17-16,0 0-29 0,4 17-36 15,0-10-20-15,-2 7-5 0,0-1-36 0,1 6-13 16,-3 0-17-16,5 2-19 0,-5 0-20 16,2 2-26-16,-2-2-33 0,0 2-20 15,0 0-34-15,-2-1-41 0,2-2-50 0,-2 2-12 16,-1-7-42-16,3 2-70 0,0-4-148 0,0 1-515 16,0-4 0-16,0-1 75 0,0-2 56 0,0-1 87 15,0-3 66-15</inkml:trace>
  <inkml:trace contextRef="#ctx0" brushRef="#br0" timeOffset="3843.47">10036 3477 1133 0,'0'0'379'0,"0"0"-31"16,0 0-28-16,20 2-18 0,-12-2-33 0,0 1-28 0,2-1-83 15,1 0-24-15,-1 0-27 16,2-1-20-16,1 1-31 0,3-2-50 0,-4 2-70 16,1-2-113-16,1 0-184 0,-2 1-438 0,4 0 78 15,-1-1 70-15,1-3 63 0</inkml:trace>
  <inkml:trace contextRef="#ctx0" brushRef="#br0" timeOffset="4130.28">10582 3322 1379 0,'0'0'487'15,"0"0"-55"-15,0 0-35 0,0 0-18 0,0 0-31 16,-15 11-118-16,12-7-28 0,-4 1-7 0,-1 3-24 16,1 0-27-16,-1 2 7 0,-2-1-16 0,1 3-37 15,-1 1 19-15,0 0-22 0,5-3-13 16,-3 1-5-16,1-2-21 0,4-1-5 0,-2 2-12 15,3-2-14-15,1 0 4 0,2-2-22 16,1 3 6-16,0-4-10 0,4 0-19 0,1 0 9 16,1-1-32-16,2-3-4 0,1 1-1 0,1 0-58 15,1-4-26-15,0 0-31 0,3 1-84 0,-1-3-110 16,-5 2-72 0,7-2-443-16,-3-3 64 0,1 1 100 0,1-2 62 0,-4-2 38 15</inkml:trace>
  <inkml:trace contextRef="#ctx0" brushRef="#br0" timeOffset="4343.31">10703 3330 1036 0,'0'0'343'0,"-13"2"-20"0,8 1-6 0,-3 2-5 15,0 1 42-15,1 2-32 0,-1 2-25 16,-2 3 3-16,4 1-32 0,-1 3-25 0,-3 3-15 16,4 2-28-16,-2-1-23 0,1-2-14 15,0 4-24-15,1-5-40 0,4-1-22 0,-1 0-49 16,-2-1-17-16,3-1-45 0,-1-3-7 15,3 1-43-15,-3-1-59 0,1-2-98 0,2-3-120 16,-2 0-555-16,1-1 68 0,-1-3 88 0,-1 0 77 16,3-3 45-16</inkml:trace>
  <inkml:trace contextRef="#ctx0" brushRef="#br0" timeOffset="4619.39">9962 3183 1313 0,'-16'16'465'0,"1"-1"-114"0,0 3-16 0,-3 9-22 16,3 4-37-16,1 6-22 0,-1 4-11 15,0 0-44-15,4 3 1 0,-2 7-18 0,6-5-36 0,-1-2-16 16,5-1-4-16,1 1-26 0,2-4-1 0,5 2-32 16,3-8 2-16,5 3-69 15,2-6-15-15,5 0-42 0,6-5-63 0,3-3-87 16,4-6-231-16,0-6-455 0,-2-3 74 16,-3-8 53-16,3 0 188 0,8-9-1 0</inkml:trace>
  <inkml:trace contextRef="#ctx0" brushRef="#br0" timeOffset="4915.26">10854 3156 1105 0,'0'0'499'0,"0"0"-53"0,10 8-21 0,-5-1 28 0,3-1-18 0,0 5-120 0,0 2-41 15,2 2-21-15,-2 2-5 0,-1 2-20 0,3 5-15 16,-2 0-32-16,-2 1-17 0,-2 0-15 0,-1 0-9 16,-3-4-30-16,0 0-53 15,0 1-34-15,0-3-59 0,-3 0-20 16,1 0-39-16,-4-2-51 0,4-3-33 0,-3-1-90 0,5-3-210 0,-5-1-496 15,2-3 118-15,1 1 94 0,-3-4 72 0,2 0 56 16</inkml:trace>
  <inkml:trace contextRef="#ctx0" brushRef="#br0" timeOffset="5244.52">11146 3026 1011 0,'10'2'496'16,"-2"2"-35"-16,0 1-3 0,-3-2-48 0,0 2-24 16,-2 1-38-16,2 2-110 0,-5 2-23 0,3-1-10 15,-3 2-10-15,-3 1-19 16,3 0-32-16,-3 0 9 0,3 1 42 0,-2-4-14 16,2 3-22-16,0-2-10 0,0-2 4 0,0 2-12 15,2-2-23-15,1 0-11 0,0-2-17 0,-1 1-24 16,3-1 24-16,2-1-3 0,1-1-36 15,0-2-25-15,2 0-34 0,-1 1-7 16,3-2-54-16,-2 0 0 16,3-2-54-16,0 1-36 0,-3-1-66 0,3 1-167 0,-2-1-652 0,1-1 99 0,-2 1 124 15,0 1 32-15,-2 3 98 0,-3-3 77 16,-5 0 97-16</inkml:trace>
  <inkml:trace contextRef="#ctx0" brushRef="#br0" timeOffset="5488.58">11972 3274 1218 0,'0'0'448'16,"-3"7"-41"-16,1-2-23 0,2 2-44 0,0 1-25 16,0 3-21-16,0 2-30 0,2 2-34 0,1 1-61 15,-1 3-43-15,1-3-49 0,-1 2-93 16,1-1-127-16,0 1-279 0,2-4-441 0,-3-1 49 16,1 1 105-16,-1-3 107 15,-2 0 37-15</inkml:trace>
  <inkml:trace contextRef="#ctx0" brushRef="#br0" timeOffset="5674.04">11883 3451 1566 0,'2'-4'489'0,"-2"4"-51"0,8-4-21 0,-1 1-46 15,0 1-28-15,4 0-41 0,4 0-23 0,-2-1-46 16,5 1-49-16,0 1-76 0,3-1-44 0,1 1-97 15,-1 0-124-15,-8-1-301 0,10 1-443 16,3-1 74-16,0-2 85 0,-4 1 69 0,1-1 87 16</inkml:trace>
  <inkml:trace contextRef="#ctx0" brushRef="#br0" timeOffset="6023.98">12683 3153 1284 0,'-4'9'520'0,"0"0"-105"0,1 4-31 0,-3 2-36 0,2 2-15 15,-2 7-47-15,2 1-27 0,-2 12-13 0,1 1-29 16,2-6-17-16,3-3-44 0,-2-1 0 16,4-1-20-16,-2 0-31 0,3-2-11 15,4-1-32-15,-1-5-42 0,4 1-30 16,0-2-49-16,1-5-48 0,1-3-37 0,1-2-112 16,0-3-220-16,0-3-443 0,5 0 93 0,-3-4 86 15,1 0 61-15,2-4 83 0</inkml:trace>
  <inkml:trace contextRef="#ctx0" brushRef="#br0" timeOffset="6199.35">12869 3373 1366 0,'0'0'415'0,"0"0"-34"0,0 0-40 0,10-4-60 16,-2 4-48-16,0-1-76 0,2-2-114 15,3 3-166-15,2-1-668 0,-2 0 62 0,5 1 53 16,0-4 105-16</inkml:trace>
  <inkml:trace contextRef="#ctx0" brushRef="#br0" timeOffset="6421.36">13321 3325 1090 0,'-18'7'491'0,"10"-5"-30"0,-3 2-44 0,-1 2-35 0,2-4-24 15,-1 3-5-15,-2 2-45 0,0 0-91 16,1-1-10-16,2 1-17 0,-1-2-19 0,-2 3-9 16,6-2-17-16,-3-1-22 0,4 2-15 0,2-1 2 15,-2-1-10-15,4 0-8 16,2-1-28-16,0 1-8 0,2 0 13 0,3-1 8 0,0-1-46 16,3 1-11-16,0-2-25 0,2 0-41 0,1 0-31 15,1-2-63-15,4 1-37 0,-4-1-76 0,3-1-129 16,1-1-537-16,-1 1 41 15,1-2 118 1,-3-1 41-16,2 1 46 0,-4-2 109 0</inkml:trace>
  <inkml:trace contextRef="#ctx0" brushRef="#br0" timeOffset="6621.45">13374 3363 1238 0,'-5'2'505'0,"-2"3"-47"0,4 2-43 0,-4 0 12 16,1 3-56-16,1 3-43 0,0 1-6 0,2 3-17 15,-4-2-34-15,4 3-35 0,1-2-26 16,-2 1-62-16,2-2-53 0,0 0-54 16,2-1-62-16,-3 0-66 0,3-2-110 0,-3 1-269 0,4-5-468 15,1 0 61-15,3-1 103 0,-2-2 81 0,2-1 70 16,-2-2 48-16</inkml:trace>
  <inkml:trace contextRef="#ctx0" brushRef="#br0" timeOffset="6843.75">13418 3183 1233 0,'8'4'517'0,"2"3"-107"0,2 3-31 16,-1 4-23-16,2 2 61 15,0 4-26-15,2 9-45 0,-5 3-18 0,-5-2-26 16,1-4-46-16,-6 3-16 0,-6 9-15 0,-2-3-61 15,-4 1-74-15,-4-1-39 0,1-3-51 0,-3 0-31 16,0-3-63-16,-2-3-50 16,7-5-235-16,2-5-634 0,1-4 86 0,2-3 157 0,1-2 20 15,2-4 64-15,2-3 71 16</inkml:trace>
  <inkml:trace contextRef="#ctx0" brushRef="#br0" timeOffset="7188.59">13805 3010 1208 0,'5'6'440'0,"-2"0"-28"0,-1 4-33 0,0 0-28 0,-2 4-21 16,-4 2-36-16,1 0-40 0,-4 5-24 16,-3 1-18-16,1-3-12 0,-1 1-13 0,2-3-18 15,-2-3-26-15,5 0-20 0,-2-2-5 16,4-1-24-16,-2-2-1 0,3 1-9 16,1-5-5-16,1 2-2 0,1-2-13 0,3-1 3 15,1 0-16-15,0-2-15 0,3 0-23 0,2 0-31 16,1-1-36-16,2-1-25 0,2 0-47 0,1-1-38 15,1 1-92-15,1 0-233 0,3-4-478 16,-3 4 97-16,2-1 81 0,-2-1 108 0,0 2 52 16</inkml:trace>
  <inkml:trace contextRef="#ctx0" brushRef="#br0" timeOffset="7421.35">14300 3300 1425 0,'-5'4'538'0,"2"5"-49"16,-2-2-52-16,3 5-50 0,1 0-19 0,-1 3-35 15,2 1-31-15,0 0-56 0,-3 3-44 0,6 0-79 16,-6 0-87-16,3-1-39 0,0 1-153 15,-5-1-251-15,5-2-542 16,0-3 96-16,0 0 116 0,-2-3 38 0,2 0 75 0</inkml:trace>
  <inkml:trace contextRef="#ctx0" brushRef="#br0" timeOffset="7614.2">14138 3534 1310 0,'6'-6'548'0,"-4"4"-98"0,4-1-61 0,0-1-10 0,2 1-43 0,3 0-60 16,1-1-25-16,4 1 53 0,4 0-19 15,-1-3-86-15,3 3-84 0,1-4-66 0,-2 4-98 0,2-4-132 16,-2 3-789-16,4 0 81 0,1-3 96 16,-8 1 86-16,2 0 65 0,-5 0 58 15</inkml:trace>
  <inkml:trace contextRef="#ctx0" brushRef="#br0" timeOffset="7934.57">14851 3098 1320 0,'-10'14'528'0,"5"2"-129"0,0 1-28 0,-1 1-20 15,1 1-16-15,0 5-28 0,3 2-7 0,-4 12-55 16,2 4 1-16,1-3-33 0,-2 0-34 16,3 0 0-16,2-6-38 0,0-7-11 15,2 1-32-15,3-1-27 0,-2-2-55 16,1-7-27-16,6 4-50 0,-1-5-34 0,1-3-51 0,2-2-74 0,-1-7-230 15,2 2-497-15,2-3 79 0,1-3 79 16,-1-3 91-16,3 0 94 0</inkml:trace>
  <inkml:trace contextRef="#ctx0" brushRef="#br0" timeOffset="8098.57">15048 3407 1366 0,'-2'-5'469'16,"2"5"-39"-16,0 0-54 0,0 0-20 16,10-4-52-16,-4 2-73 0,1 2-52 0,3-2-74 15,0-1-102 1,4 2-190-16,1-1-684 0,0-1 98 0,3 0 46 0,0-1 100 0,2 1 54 16</inkml:trace>
  <inkml:trace contextRef="#ctx0" brushRef="#br0" timeOffset="8346">15492 3300 1034 0,'0'0'445'16,"0"0"-23"-16,0 0-43 0,-18 6-13 0,10-2-36 15,0 1 1-15,-2-1-45 16,0 2-12-16,0 1-13 0,0 1-41 0,-1-2 1 0,4 4-37 16,-4-3-8-16,4 1-25 0,-1 2 3 0,3-2-21 15,0-1-15-15,2 1-23 0,0 0-1 16,1-1 1-16,4-2-26 0,1 2-2 15,0-2-24-15,2-1-17 0,0 1-21 0,3 0-36 16,-1-4-25-16,6 1-44 0,0-1-41 0,0-1-20 16,0-1-62-16,0 0-140 0,-3-1-126 0,3 0-438 15,4-2 113-15,-4 0 23 0,3-2 80 16,-4 1 122-16,-1-2 26 0</inkml:trace>
  <inkml:trace contextRef="#ctx0" brushRef="#br0" timeOffset="8573.66">15569 3308 1269 0,'0'0'438'0,"-7"5"-21"16,1-2-20-16,1 3-8 0,2 2 49 15,-1 0-54-15,1 4-16 0,0 1-22 0,1 1-39 16,-1 4-31-16,1-1-22 0,-1 2-11 0,0 0-56 16,3-3-21-16,-2 2-46 15,2-2-79-15,0-2-36 0,0 3-58 0,0-2-70 0,0-2-38 16,0-1-154-16,0-1-251 0,2-2-427 0,-2 0 79 15,2-3 105-15,2 0 82 0,-4-4 72 0,4 0 59 16</inkml:trace>
  <inkml:trace contextRef="#ctx0" brushRef="#br0" timeOffset="8790.09">15679 3188 1392 0,'16'7'453'16,"-9"-3"-2"-16,-2 1 37 0,3 4-40 0,0 0-28 16,-3 2-23-16,3 2-41 0,-3 3-29 15,0 0-27-15,-3 2-26 0,-2 2-13 16,-2-1-62-16,-1 5-42 0,-4-2-68 0,-2 1-66 0,-1-1-56 16,0-2-77-16,3 0-39 0,-1-3-104 0,-5-1-308 15,8-4-416-15,0-2 63 0,2-3 95 0,3-2 64 16,-2-1 140-16,2-4 6 31</inkml:trace>
  <inkml:trace contextRef="#ctx0" brushRef="#br0" timeOffset="9026.83">15928 3121 1197 0,'7'4'471'0,"-4"-1"-18"16,3 0-53-16,-4 4-11 0,0-1-108 15,-2 0-9-15,0 3-32 0,0 1-17 0,-4 1-23 0,3-1-13 16,-1 1-16-16,-1-1-22 16,0 1-11-16,1-2-5 0,2 1-10 0,0-3-13 15,3 0-8-15,-1 0-22 0,4-4-34 0,1 2-26 16,4-4-28-16,3 0-27 0,2 1-22 0,2-4-35 16,3 1-33-16,-1-1-85 0,3-2-164 15,-2 2-555-15,1-2 82 16,2 2 63-16,-4-1 73 15,-2-1 71-15,-2 4 79 0</inkml:trace>
  <inkml:trace contextRef="#ctx0" brushRef="#br0" timeOffset="9509.56">16725 3255 1482 0,'0'0'465'0,"0"0"-55"0,0 0-44 16,29 2-15-16,-19-2-80 16,3 0-66-16,-1 0-52 0,4 1-81 0,-1 0-98 0,0-1-183 15,-2 1-608-15,1 1 34 0,0 1 61 0,-6 1 90 16,0-3 53-16</inkml:trace>
  <inkml:trace contextRef="#ctx0" brushRef="#br0" timeOffset="9654.49">16756 3446 854 0,'8'-1'318'0,"7"0"-55"0,-2-2-127 0,5 1-123 0,-1 1-269 0,2 1-402 15,-1 0 100-15</inkml:trace>
  <inkml:trace contextRef="#ctx0" brushRef="#br0" timeOffset="10530.64">8236 6994 1548 0,'0'0'435'15,"0"0"-41"-15,0 0-15 0,-2 14-54 0,2-5-25 16,0 0-16-16,0 3 38 16,0 1-40-16,-2 3-36 0,1-1-29 0,1 2-43 15,0-2-38-15,0 4-62 0,0-2-58 0,-3 2-65 16,3 0-46-16,0-2-168 0,0-2-239 0,0 3-420 16,0-5 114-16,0 0 45 0,3-1 110 15,-3-2 82-15</inkml:trace>
  <inkml:trace contextRef="#ctx0" brushRef="#br0" timeOffset="10725.73">8124 7226 1272 0,'0'0'458'15,"0"0"-49"-15,0 0-25 0,0 0-56 16,12-2-23-16,-4 1-8 0,0 2-47 0,2-2-47 15,0 1-32-15,1 0-69 0,1-2-48 16,4 1-110-16,-1 0-287 0,1 1-563 0,-2 0 89 16,3-1 75-16,0-3 69 0,1 1 69 0</inkml:trace>
  <inkml:trace contextRef="#ctx0" brushRef="#br0" timeOffset="10963.1">8503 7069 1300 0,'8'0'435'0,"-1"-1"-18"16,3 1 6-16,0 1-127 0,1-1-19 16,-1 4-29-16,3 0-7 0,-2 2-24 0,-1 3-12 15,-2 0-10-15,-4 2-14 0,2 1-19 0,-3 1-32 16,-1 0-32-16,-2 0-29 0,-2 3-44 15,1-2-30-15,-1 1-64 0,-3 1-33 16,2-1-95-16,-3-2-195 0,4 2-519 0,0-2 76 0,-1-4 124 16,-2 1 32-16,3-2 91 0</inkml:trace>
  <inkml:trace contextRef="#ctx0" brushRef="#br0" timeOffset="11110.34">8531 7244 1272 0,'3'-6'460'0,"1"0"-9"0,0 6-80 16,3-5-2-16,0 3-49 16,4-2-39-16,2 2-27 0,2-3-27 0,1 3-47 15,1-2-47-15,-3 1-49 0,1-1-48 0,0 2-67 16,-2-2-140-16,-5 4-264 0,4-6-408 0,-1 4 45 16,-1-3 84-16,0 2 66 0,-4 0 75 15</inkml:trace>
  <inkml:trace contextRef="#ctx0" brushRef="#br0" timeOffset="11362.61">7990 6974 1241 0,'-15'14'481'0,"4"5"-30"0,2-2-108 15,1 4-31-15,3 3-20 0,-1 1-34 0,4 4-9 16,2 2-22-16,2 13-40 0,1 0-31 0,7-3-43 16,0 2-49-16,4-6-36 0,3-3-61 15,4-4-44-15,2-2-87 0,0-4-215 0,3-4-473 16,-1-7 43-16,-5-5 69 0,-2-3 162 16,3-1 30-16</inkml:trace>
  <inkml:trace contextRef="#ctx0" brushRef="#br0" timeOffset="11625.83">8852 7045 1331 0,'13'16'450'0,"2"-2"34"0,-5-1-31 0,1 3-26 0,-4 4-38 0,1 0-33 15,-1 5-36-15,-2 1-31 0,-2 0-48 16,-3 4-41-16,-3-1-65 0,1-2-73 16,-3-2-52-16,2-1-64 0,-2 0-115 0,-2-3-258 0,4-5-533 15,1-3 67-15,-2-4 104 16,2 0 75-16,0-5 110 0</inkml:trace>
  <inkml:trace contextRef="#ctx0" brushRef="#br0" timeOffset="11872.02">9085 6908 1451 0,'10'0'468'0,"-2"0"-25"0,0 4-31 0,-1 1-105 0,-2-1-25 16,-2 5-18-16,-1-1-16 0,1 3-2 0,-6 2 45 15,3 0-24-15,-2 5-29 0,-1-3-5 16,-2 3-26-16,3-5-25 0,-1-1-16 0,1 1-17 15,-1-1-24-15,1-2 8 0,1-1-18 0,1 0-10 16,0-2-10-16,0 0 0 0,3 0-14 0,0-2-29 16,2-1-6-16,0 0-39 0,0-3-45 15,3 3-13-15,2-3-52 0,0-1-27 0,0 0-47 16,1 0-45-16,1 0-152 0,1-1-519 0,3 0-78 16,0-2 63-1,-1 1 132-15,2-1 26 0,-4 0 105 0,3 2 59 0</inkml:trace>
  <inkml:trace contextRef="#ctx0" brushRef="#br0" timeOffset="12066.19">9626 7096 1197 0,'-3'6'543'16,"1"3"-49"-16,-1 0-33 0,1 4-34 15,1-2-48-15,-1 6-46 0,0-2-16 0,-1 4-22 0,3 0-73 16,-2 3-50-16,1-1-72 0,1-1-82 15,0 2-98-15,0-1-270 0,0-2-610 0,0-2 87 16,0-2 141-16,0 0 10 0,1-5 77 16,-1 0 54-16</inkml:trace>
  <inkml:trace contextRef="#ctx0" brushRef="#br0" timeOffset="12248.05">9464 7315 1287 0,'0'0'471'16,"0"-4"-31"-16,0 4-46 0,5-4-38 0,1 3-43 16,2-3-11-16,-1 2-34 0,6-3-55 15,-1 4-60-15,1-4-45 0,5-1-47 0,0 3-40 16,0-3-62-16,0 0-79 0,6 1-159 16,1-1-29-16,1 0-70 0,4 1-421 0,1 1 46 15,10 0 52-15,3-2 133 0</inkml:trace>
  <inkml:trace contextRef="#ctx0" brushRef="#br0" timeOffset="12598.98">10574 7073 1290 0,'0'0'455'16,"0"0"-35"-16,0 0-44 0,0 0-38 15,0 0-41-15,3 13 8 0,0-5-44 0,-3 0-18 0,0 3-18 16,0 0-35-16,0 3-39 0,0-2-59 0,0 2-33 16,0 3-57-16,0-3-58 0,0 3-72 15,0-3-174-15,0 2-599 0,0-1 38 0,2-2 126 16,-2 0 51-16,0-3 82 0</inkml:trace>
  <inkml:trace contextRef="#ctx0" brushRef="#br0" timeOffset="12775.65">10528 7243 1297 0,'0'0'479'16,"6"-5"-67"-16,-2 3-38 0,2-2-24 0,2 3-50 16,-1 0-44-16,6-2-41 0,-2 1-28 15,4-2-85-15,0 2-66 0,0 0-87 0,1-1-185 0,2 1-575 16,0-4 84-16,-1 1-18 15,2-1 95-15,-1 0 100 0</inkml:trace>
  <inkml:trace contextRef="#ctx0" brushRef="#br0" timeOffset="12951.9">10949 7074 1159 0,'0'0'453'0,"0"0"-112"0,0 0-21 0,-5 13-18 0,3-7-29 15,-2 2-11-15,2 2-22 0,0 2-38 0,-1-1-7 16,0 3-29-16,1 1-15 0,0-2-41 15,-1 6-56-15,3-6-69 0,-3 2-62 0,1 0-197 0,1-2-407 16,-1-1-161-16,2-1 100 16,-2 0 61-16,-1-2 84 0</inkml:trace>
  <inkml:trace contextRef="#ctx0" brushRef="#br0" timeOffset="13190.59">10359 7062 1087 0,'-13'15'425'0,"5"2"-28"16,-2 1-41-16,5-4-18 0,0 4-54 0,2 3-5 16,3 2-13-16,0 3-41 0,0 2-15 0,3 0-54 15,2-2-53-15,3 8-60 0,5-4-73 0,0-7-152 16,5 5-261-16,4-6-432 0,-1-5 119 15,-1-4 53-15,1-4 91 0,2-1 74 0</inkml:trace>
  <inkml:trace contextRef="#ctx0" brushRef="#br0" timeOffset="13406.24">11100 6951 1459 0,'8'3'473'0,"2"2"-22"0,3 3 43 0,-2 1-41 0,1 8-46 15,1-2-29-15,-3 6-93 0,-2 1-29 0,0 2-34 16,-4 2-12-16,-4-1-8 0,0 4-22 0,-7 8-45 16,0-2-50-16,1-5-55 0,-2-6-50 15,3 2-54-15,-3-7-67 16,0 0-64-16,2-1-143 0,0-4-517 0,4-3-52 0,-1-3 78 0,3-3 102 15,0-1 53-15,0-4 80 0</inkml:trace>
  <inkml:trace contextRef="#ctx0" brushRef="#br0" timeOffset="13707.03">11400 6820 1297 0,'11'0'515'0,"-4"5"-44"16,1-3-39-16,0 4-40 0,0-1-108 0,-2 3-13 0,0 2-4 0,-3-1-24 16,-1 5-46-16,-2 0-3 0,0 1-14 15,-3 0-19-15,1 0-28 0,0-1-8 0,-2-1-12 16,2 2-21-16,2-2 8 0,0-5-16 16,-2 2-4-16,4-2 73 0,0-1 6 0,2-1-21 15,0-1-15-15,-1-4-5 0,5 1-28 0,-1-2-29 16,2 0-23-16,1-1-22 0,2 0-24 15,1 0-46-15,0-4-23 0,0 4-63 0,0-3-34 16,-1 1-59-16,1 0-182 0,-2 2-627 0,-1-1 82 16,0 1 116-16,-5-2 81 0,1 2 77 15,-2 0 59-15</inkml:trace>
  <inkml:trace contextRef="#ctx0" brushRef="#br0" timeOffset="14053.34">12236 7014 1320 0,'0'0'517'0,"0"0"-28"16,0 0-59-16,2 17-43 0,1-8-29 15,0 3-23-15,1 5-48 0,0 0-36 16,0 1-16-16,-1 1-58 0,4 2-69 0,-4 3-67 16,3-1-87-16,-2 0-203 0,-1-1-700 0,0-2 94 15,-1-2 69-15,1-3 97 0,-3 0 47 16,3-4 45-16</inkml:trace>
  <inkml:trace contextRef="#ctx0" brushRef="#br0" timeOffset="14192.25">12203 7219 1356 0,'5'0'440'0,"2"-5"-61"0,1 5-46 0,2-1-34 0,-2-1-27 15,5 1-42-15,2-1-53 0,3 0-39 16,0 1-82 0,3-3-84-16,7 1-253 0,-5 3-544 0,0 0 55 0,0 0 122 0,-2-3 21 15</inkml:trace>
  <inkml:trace contextRef="#ctx0" brushRef="#br0" timeOffset="14621.65">13348 6970 1668 0,'-2'7'425'0,"-3"5"-20"0,2 6-24 0,-1-1 1 15,1 7-9-15,-3-1-32 0,2 2-32 0,0 3-32 16,2-2-21-16,0 0-28 0,2-1-36 0,0-1-26 16,2-3-20-16,4 3-54 15,-2-6-13-15,2-1-71 0,1-2-31 0,1-3-59 16,2 1-46-16,1-7-107 0,-1-1-257 0,5-1-483 0,-2-3 79 16,0-2 141-16,2-1 51 15,0-1 64-15,-1-2 23 0</inkml:trace>
  <inkml:trace contextRef="#ctx0" brushRef="#br0" timeOffset="14811.39">13544 7182 1041 0,'2'-6'425'0,"0"4"-49"0,-2 2-33 0,6-4-40 0,-1 2-32 0,2-2-59 0,1 3-48 16,2-5-77-16,-1 5-110 0,3-4-182 15,4-2-606-15,-1 2 76 0,5-1 75 0,1-2 51 16</inkml:trace>
  <inkml:trace contextRef="#ctx0" brushRef="#br0" timeOffset="15067.82">13952 6981 1430 0,'-8'3'494'0,"-2"1"-102"0,-1 2-23 0,-2 1-29 0,0 4-17 0,0 1 25 0,-4 3-23 0,4 2-23 15,0 2-49-15,0 0-28 0,3 1-40 0,5 0-9 16,-1 0-12-16,4-2-26 0,2-2-4 16,2-2-24-16,1 3-3 15,5-4-25-15,0-2 0 0,0-3 5 0,2-2-33 0,-2 0 5 16,2-3-11-16,-3-1 16 0,1 0-5 0,0-4 5 16,0 0 3-16,-4-1-29 0,2-1 16 0,-4 1-3 15,0-2-10-15,1 1-28 0,-3-1-29 16,-3-1-55-16,1 1-44 0,-3-1-49 0,0 0-97 15,-3 0-236-15,0-1-540 0,1 1 62 16,-3-3 102-16,2 0 105 0,0 1 49 16,0-3 84-16,-2-2 100 0</inkml:trace>
  <inkml:trace contextRef="#ctx0" brushRef="#br0" timeOffset="15254.1">13993 6881 1256 0,'10'6'561'15,"0"0"-88"-15,3 3-50 16,2 8 66-16,2 0-31 0,-3 1-102 0,6 8-31 0,-5 2 51 16,-4 3-15-16,-3-2-44 0,-3-4-48 15,-5 2-8-15,-3 2-23 0,-2 9-48 0,-8-2-55 0,0 0-83 16,-2-1-37-16,-1-3-82 16,1-3-86-1,-3-2-90-15,6-7-354 0,1-4-463 0,4-3 101 0,4-5 96 0,-2-3 105 0,3-3 59 16,-2 1 62-16</inkml:trace>
  <inkml:trace contextRef="#ctx0" brushRef="#br0" timeOffset="15571.92">14317 6792 1502 0,'6'3'491'0,"-3"3"-40"0,4-1-24 16,-6 3-32-16,3 2-37 0,-4-1-23 16,3 2-22-16,-3 2-37 0,-3-1-17 0,-1 1-9 15,1 0-104-15,0 0-7 0,0-1-24 16,1 0-15-16,-1 0 10 0,3-4-8 0,-2 3-12 16,2-4 17-16,2-1-28 0,-2-1-2 0,5 1-10 15,-2-1-21-15,5-3 3 0,-1 0-14 16,2 0-14-16,1-1-6 0,0-1-28 0,0-1-45 0,3-1-32 15,-1 1-41-15,-1 0-48 0,2 1-67 16,-1-1-155-16,-1 0-610 0,1-2 81 16,-1 3 73-16,-1 0 107 0,-2 0 97 0,-1 3 18 15</inkml:trace>
  <inkml:trace contextRef="#ctx0" brushRef="#br0" timeOffset="15884.55">15005 7051 1269 0,'0'5'566'16,"-2"1"-65"-16,1 1-109 15,1 5-46-15,0-1-11 0,1 2-46 0,-1 2-17 0,0-1-45 16,0 2-27-16,2 3-46 0,0 1-72 0,-2-1-72 16,0 0-92-16,3 1-115 0,-11 1-269 0,9-2-440 15,1-5 92-15,-2 0 61 16,0-3 103-16,0 0 49 0</inkml:trace>
  <inkml:trace contextRef="#ctx0" brushRef="#br0" timeOffset="16085.93">14907 7263 1448 0,'0'-4'482'16,"0"4"24"-16,3-5-47 0,0 2-32 0,2 1-107 15,0-2-8-15,3 3-20 0,2-1-26 16,0-1-28-16,5 2-33 0,1-1-18 0,2 2-8 0,2-3-36 15,-2 2-56-15,6 1-28 0,-4-1-43 16,1 0-60-16,1 0-51 0,-3 1-61 0,1-2-143 16,-2 2-633-16,2-2 16 0,-4 2 51 0,2-4 125 15,2 3 64-15,1 0 57 16</inkml:trace>
  <inkml:trace contextRef="#ctx0" brushRef="#br0" timeOffset="16341.17">15695 6920 1287 0,'-10'5'484'0,"2"1"46"0,3 1-26 0,-6 4-118 16,1 4-30-16,0 4-13 0,2 3-43 15,-7 5-21-15,7 0-18 0,1-4-23 0,1 2-21 0,3-1-12 16,-2 0-26-16,5-3-20 0,0-2-8 15,5 3-36-15,-2-1-56 0,5-3-33 16,0-4-47-16,-1 3-48 0,4-4-41 0,-1-2-64 16,3-3-67-16,-1-1-66 15,-6-3-189-15,7-2-467 0,2 0 65 0,-2 0 112 0,-1-4 62 0,-1 0 107 16,4 1 48-16</inkml:trace>
  <inkml:trace contextRef="#ctx0" brushRef="#br0" timeOffset="16547.03">15843 7167 1430 0,'1'-4'584'0,"3"-1"-62"0,-1 3-51 16,4-3-46-16,-1 3-38 0,4-2-24 0,0 3-40 16,1-1-50-16,4-1-52 0,-2 2-65 0,0 0-59 15,-1 1-69-15,1-1-94 0,-2 1-101 0,-7 0-322 16,7 0-422-16,2 0 18 0,-3-2 143 15,0 2 28-15,-2 0 82 0,2-1 95 0</inkml:trace>
  <inkml:trace contextRef="#ctx0" brushRef="#br0" timeOffset="16849.48">16223 6970 1151 0,'0'0'441'0,"10"3"-45"0,-2-1-24 0,-3 0-42 0,3 2-15 0,-4 1-29 16,0 3-32-16,0-2 7 0,-4 5 43 16,0-3-25-16,-4 4-84 0,-4 2-26 15,0 3-10-15,-3-1-26 0,-1 1-16 0,2 1 9 0,0-5-14 16,2 0 4-16,0 0-24 0,0-2-13 0,5 0 13 16,-1-3-15-16,1 1 8 15,3-5 14-15,0 2-4 0,0 1-16 0,5-3-4 16,0-2-19-16,3 3-7 0,0-5-19 0,2 1-35 15,0-2-31-15,2 1-20 0,-1-1-13 0,4-3-54 16,-2 3-28-16,0-4-20 16,0 2-62-16,0-1-100 0,-5-2-194 0,4 3-421 0,-1-2 94 15,-3-3 45-15,1 1 77 0,-4-1 74 0,1 0 92 16</inkml:trace>
  <inkml:trace contextRef="#ctx0" brushRef="#br0" timeOffset="17054.06">16410 6857 1213 0,'5'5'537'0,"0"0"-38"0,2 2-117 0,-1 1-11 0,2 5-33 16,-3 0-21-16,0 3 1 0,-2-1-16 16,-1 3 38-16,0 1-38 0,-2 3-20 0,-2-2-8 15,-3 2-34-15,0 1-22 0,-5 1-62 0,2-4-51 16,-7 9-74-16,5-8-75 15,-4-2-48-15,4 0-113 0,-3-1-286 0,5-5-531 0,1 0 83 16,0-3 125-16,1-4 31 0,1-2 117 0,3 0 39 16</inkml:trace>
  <inkml:trace contextRef="#ctx0" brushRef="#br0" timeOffset="17389.8">16736 6731 1364 0,'5'8'430'0,"-3"3"-36"16,-2-3-30-16,-2 3-32 0,-1 0-30 16,0-1-23-16,-2 1 11 0,-2 1-42 0,1-2-28 15,2-2-20-15,1 0 10 0,-4 3-18 16,6-4-21-16,-2 0 11 0,3 0-21 0,3-2-10 15,0 0-15-15,2-2-6 0,0 1-12 16,3-3-18-16,-1 2-5 0,6-3-19 0,-2 1-35 16,1-2-41-16,4-1-20 0,-1 1-26 0,1 0-59 15,1 1-18-15,1-2-56 0,-2-2-67 16,2 3-184-16,-1 1-561 0,1 0 62 0,-2 1 146 16,-1-1 36-16,1 2 101 0,-1 2 83 0</inkml:trace>
  <inkml:trace contextRef="#ctx0" brushRef="#br0" timeOffset="17627.45">17303 7130 1607 0,'2'-4'527'0,"3"3"-71"0,-2-4-34 16,1 5-51-16,4-2-48 0,0-1-49 15,0 3-54-15,2-1-82 0,0 1-74 16,-2 0-77-16,2 3-71 0,0 0-57 0,-4-3-256 16,1 5-475-16,-2-3 75 0,0 4 78 0,-4-1 59 15,-1 1 107-15</inkml:trace>
  <inkml:trace contextRef="#ctx0" brushRef="#br0" timeOffset="17787.6">17320 7263 1533 0,'10'-1'491'0,"-10"1"-115"16,13-5-27-16,-5 5-50 0,2-1-20 0,-2-1-13 16,5-1-51-16,-3 3-41 0,3-4-46 0,-3 2-64 15,2 1-74-15,-3 0-64 0,1-3-233 16,0 3-569-16,0 1 60 0,-2-2 148 0,0 2-6 15,-3-4 78-15</inkml:trace>
  <inkml:trace contextRef="#ctx0" brushRef="#br0" timeOffset="35905.57">17751 2960 1118 0,'0'0'346'16,"0"0"-21"-16,-10 5-23 0,5-1-28 0,-1-1-21 15,3 7-10-15,-4 1-35 0,0 2-11 16,-1 3 46-16,0 4-28 0,0 1-28 0,-2-2-8 16,5 4-102-16,-1-3 2 0,-1 2-5 0,0-3-12 15,4 0-9-15,0-1 1 0,1-2-13 16,2-1 5-16,0 1-18 0,2-3-15 0,3 2 8 16,-2-4-16-16,2 1 5 0,2-1 10 15,1-4 4-15,0-1-17 0,2 1 3 0,-2-4 8 16,0 0-7-16,2-1 4 0,-3-2 0 0,-1 0 13 0,2-3 16 15,-3 0-6-15,0 1 8 16,0-4 1-16,0 1 4 0,-5 0-28 0,0 1 13 16,0-2 30-16,0 2-15 0,-3-2-7 0,1 3-19 15,-3-2-2-15,0-1-30 0,0 2-16 0,-1 1-3 16,-2-1-53-16,1 3-29 16,-3 0-35-16,2-1-31 0,-2 0-67 0,2 2-120 0,0 0-517 15,4-2 41-15,-4 2 64 0,8 0 90 0,0 0 110 16</inkml:trace>
  <inkml:trace contextRef="#ctx0" brushRef="#br0" timeOffset="36209.74">18120 3088 1105 0,'0'0'389'0,"0"0"-33"15,0 0-33-15,-3 8-19 0,-1-3-30 0,-2 1-13 0,1-1 69 16,-5 4-22-16,0-1-34 0,0 2-11 16,-1-2-32-16,1 3-14 0,-3 0-43 15,2-1-15-15,1 1-18 0,3-4-11 0,0 2-17 16,1-2-8-16,1 0-8 0,0 1-10 0,4-2 0 0,-1 0-10 16,4 0-18-16,-1-1 12 0,4 1 6 15,0-1-28-15,3 0 17 0,2-1-20 16,2 0-17-16,2-1-29 0,-1 0-3 0,1-2-15 15,2 0-33-15,-5 0-10 0,4-1-27 0,0-1-22 16,-2 0-46-16,3-2-15 0,-4 0-42 16,1 1-142-16,-3-3-165 0,0 1-422 0,-2-2 54 15,-2-1 145-15,1 1 27 0,-2-2 101 16,-3-2 70-16</inkml:trace>
  <inkml:trace contextRef="#ctx0" brushRef="#br0" timeOffset="36396.83">18189 3068 831 0,'0'0'292'0,"0"0"20"15,-15 7 31-15,11-1-30 16,-5 1-21-16,2 2 10 0,1 3-105 0,-4 0 2 16,5 6-4-16,-5 0-8 0,2 2-6 0,0 3-4 15,0 2-26-15,1 0-13 0,-1 8-30 0,-2 3-8 16,2-4-21-16,0 1-30 0,1-5-44 16,2-6-38-16,2 1-31 0,1-3-26 15,-2 0-30-15,2-1-88 0,0-4-122 0,-1 0-517 0,3-1 69 16,0 0 66-16,-2-4 136 0,2 0-5 15</inkml:trace>
  <inkml:trace contextRef="#ctx0" brushRef="#br0" timeOffset="39185.41">17333 3728 803 0,'0'0'305'0,"0"0"-16"0,0 0 41 0,18-2-23 16,-3 1-30-16,6 0-24 0,7-2-61 0,8 1-10 15,15-2-3-15,5 1 8 0,13-2-26 0,-9 5-10 16,14-5-15-16,2 3-28 16,0-2 19-16,3 2-16 0,-3-1-24 0,-1 2-18 15,-1 0 2-15,-12 0 1 0,-3 1-31 0,-2 0 5 16,-4 0-8-16,-4-3-4 0,-9 2-1 16,-9 1-18-16,-5-1 11 0,-3 0-26 0,-3 1-3 15,-4 0-4-15,-3-1-9 0,0 1-30 0,-3 0-13 16,-2 0-22-16,-3-3-24 0,-5 3-21 0,5 0-22 15,-5 0-62-15,0 0-79 0,0 0-47 16,-15-2-475-16,7 2 61 0,-2 1 82 0,-2 0 48 16</inkml:trace>
  <inkml:trace contextRef="#ctx0" brushRef="#br0" timeOffset="39922.92">18161 3958 1057 0,'0'0'425'0,"-13"6"-29"0,8 0-22 16,-1-1-28-16,-4 1-52 0,0 0 8 15,-2 3-49-15,1-3-4 0,-4 5-47 0,4-2-2 16,-1 2-26-16,-1-3-13 0,0 3-20 15,0-1 12-15,6-3-27 0,-4 1-11 0,6-1 13 16,-2-1-51-16,2-1-3 0,2 0-8 16,-2 1 16-16,3-3-5 0,1 2-28 15,2-1 20-15,-1-4-10 0,4 7-18 0,2-6 25 0,1 0-22 16,3 0-3-16,1 2-13 0,2-3-5 0,1 0-74 16,0 0-3-16,5 0 10 0,-2 0-30 15,0 0-13-15,2-3-15 0,-4 2-24 16,5 1-14-16,-4-1-4 0,2 0-12 0,-3-2-67 0,-2 1-120 15,-5 2-99-15,2-1-467 0,0-2 90 16,-2 1 97-16,-3 2 64 0,0-1 121 16</inkml:trace>
  <inkml:trace contextRef="#ctx0" brushRef="#br0" timeOffset="40182.51">18237 3933 1144 0,'0'0'394'0,"-9"10"-31"0,6-3-22 0,1 6-37 16,-1 1-25-16,0 5-10 0,-2 3-18 15,0 3-13-15,0 9-46 0,-3 3-5 16,1 0-103-16,-1 1-35 0,0 0-29 0,-2-2-58 15,3 0-52-15,1-7-48 0,4-6-174 0,-1 3-543 16,1 0 64-16,2-4 113 0,-3-3 71 16,3 2 39-16</inkml:trace>
  <inkml:trace contextRef="#ctx0" brushRef="#br0" timeOffset="43424.6">18433 6900 888 0,'-3'-5'297'0,"1"-1"-16"0,-1 3-22 15,-2-3-16-15,0 0 54 0,0 1-34 0,-2-1 4 16,-1 1-37-16,0 3-10 0,0-1 0 15,-1 2-30-15,-3 2-26 0,0 3 2 16,-1 1-18-16,-3 3-32 0,3 2 4 0,-4 0-25 0,1 5-8 16,-1-1-5-16,1-1 10 0,3 4-21 15,3-3-7-15,0-2 16 0,2 1-24 0,0-2-12 16,3 1 20-16,3-2-105 0,-1 1 7 0,3-3 9 16,0 0-9-16,0-4 16 0,3 0 1 0,4 1 6 15,1-4-9-15,2-2 5 16,3-2 9-16,0 0 12 0,2-3-12 0,1-4 17 0,-1 2 4 15,1-2-15-15,-1 1 5 16,0-1 16-16,-2 1 7 0,0-1 5 0,-3 2 0 0,1 3-17 16,-1-2-4-16,-3 1 11 0,-1 5 13 0,2 1-15 15,-8 0 10-15,7 7-6 16,-4-2-4-16,-1 3 2 0,-2 3-3 0,2 0-5 0,-4 3-2 16,2 3 77-16,-2-1-31 0,-1 3 5 15,0-1-28-15,-1 1-13 0,0 0-54 0,0-1 5 16,4-4-51-16,-3 2-30 0,0-2-29 15,3-1-28 1,0-2-81-16,0 1-206 0,3-5-483 0,0 1 92 0,-1-2 74 0,4 0 74 0,-2-4 108 16</inkml:trace>
  <inkml:trace contextRef="#ctx0" brushRef="#br0" timeOffset="43771.15">18666 6942 931 0,'-10'7'325'0,"7"-4"-38"0,-4 6-21 0,2 0-23 0,-1 1-20 0,1 2-23 0,0 3 48 15,0 2-25-15,0-2-31 0,3 1-16 16,1-2-9-16,2-1-34 0,1 0-10 16,3-2 2-16,-2 0-17 0,4-2-3 0,1-1-6 15,2-3 19-15,-2 0 5 0,0-1 20 0,2-3-7 16,-2-2-77-16,2-1 120 0,-3 0 10 15,1-4-102-15,0-2-2 0,-3 1 5 0,-2-4-29 16,-1 0 11-16,0-3-11 0,-2 0-2 0,0-1-5 16,-2 2 5-16,-3-2 5 31,2 2-11-31,1-1-17 0,-3 3-21 0,2-1-27 0,0 2 1 0,-2 4-47 0,2 1-32 0,-1 2-35 0,-2 3-3 16,6 0-34-16,-12 7-27 0,4-2-93 0,-2 4-117 15,2 3-551-15,-3 2 85 0,1 4 125 0,-2 0 26 16,1 1 85-16</inkml:trace>
  <inkml:trace contextRef="#ctx0" brushRef="#br0" timeOffset="44070.37">18186 7437 1028 0,'0'0'461'16,"3"-7"-102"-16,3 3-42 0,-2 1-18 16,7 0-7-16,2-1-23 0,2 1 7 15,5-3-17-15,1 5-34 0,7-4-33 0,3 3-18 16,3-1-7-16,-2 1-14 0,2-2-2 0,0 2-18 16,-1 0-17-16,13-2 4 0,-10 3-43 15,-6 0-31-15,-4-2-23 0,-1 2-44 0,-4 1-43 16,0 0-33-16,-1 3-5 0,-4-1-37 0,-4-1-40 15,2 3-49-15,-7-2-127 0,1 4-518 0,-3-1 59 16,-1 1 95-16,-3 1 58 0,-1-1 67 16</inkml:trace>
  <inkml:trace contextRef="#ctx0" brushRef="#br0" timeOffset="44487.74">18648 7665 1430 0,'0'0'407'0,"0"0"-20"0,0 0-54 15,-25 9-13-15,15-2-16 0,-6 1-20 0,-2 4 34 16,-3 0-26-16,0 1-19 0,-6 6-42 0,-4 1-1 16,3 1-7-16,0-2-31 0,7-5-13 15,1 3-38-15,2-4-8 0,0 1-5 0,5-2-39 16,3-2 27-16,2-1-29 0,-2-1-3 0,4 1-15 16,4-1 16-16,0-1-11 0,2-2 0 0,4 1-25 15,2-2 12-15,1 0 11 0,1 2-26 16,5-3 5-16,0-1-38 0,2-1 20 15,3 2-5-15,0-2-2 0,2-1 0 16,1 0-6-16,-3-1-22 0,5-1-27 0,-5 1-35 0,2-1-20 16,-4 1-16-16,2-2-20 0,-5 1-26 15,2-2-26-15,-5 2-27 0,0-2-73 16,1 3-132-16,-4-2-474 0,1 0-82 0,-3-2 110 0,3 2 98 16,-3-2 102-16,-2 0 25 0,-1-2 57 0</inkml:trace>
  <inkml:trace contextRef="#ctx0" brushRef="#br0" timeOffset="44698.13">18574 7744 1062 0,'-6'10'455'0,"-1"-1"-17"0,2 4-44 0,-3 0-12 16,1 8-27-16,-1 0-27 0,0 0-34 15,-2 12-27-15,-1-1-91 0,-1 0-20 0,2 1-33 16,2-2-13-16,-2 5-58 0,0-4-29 0,-1 0-39 15,3-4-30-15,1-6-49 0,2 2-35 16,-1 0-88 0,1-11-176-16,0 6-494 15,3 1 153-15,-1-1 1 0,-2-2 130 0,3-3 25 0</inkml:trace>
  <inkml:trace contextRef="#ctx0" brushRef="#br0" timeOffset="46173.36">19279 3575 767 0,'10'-10'313'0,"-5"10"-47"0,0-5-28 0,3 2-31 16,0 0-28-16,6-1-48 0,-5-1-70 0,4 1-20 15,0-6-238-15,-3 7-501 16,0 3 122-16,-2-1-23 0</inkml:trace>
  <inkml:trace contextRef="#ctx0" brushRef="#br0" timeOffset="46318.17">19274 3710 875 0,'5'2'325'0,"2"-2"-20"0,3 1-52 15,-1-2-18-15,3 1-32 16,1 0-32-16,2-2-76 0,1 1-123 0,1 0-141 16,2 1-553-16,1-1 141 0,-2-1-21 0</inkml:trace>
  <inkml:trace contextRef="#ctx0" brushRef="#br0" timeOffset="48282.07">20799 3109 1046 0,'0'0'351'0,"0"0"-13"0,3 12-26 0,-6-5 39 16,3 4-29-16,0 1-20 0,-3 2-33 0,-1 3-36 15,0 1-13-15,-2 4-28 0,0 2 8 16,-2-1-44-16,3 2-2 0,-2-3-34 16,2 2-18-16,-1 0-15 0,-1-3-35 15,4-1-27-15,-2-3-20 0,0 0-25 0,2 0-34 0,1-3-59 16,-3-2-79-16,5-2-140 0,-1-1-562 0,0-1 57 0,2 1 146 15,0-4 8-15,1-1 63 16</inkml:trace>
  <inkml:trace contextRef="#ctx0" brushRef="#br0" timeOffset="48648.62">21140 3112 1069 0,'-2'-2'382'0,"2"2"-19"16,0 0-45-16,-8 12-9 0,3-1-32 16,-3 2 33-16,0 4-16 0,1 2-33 0,-3 3-18 15,-2 11-30-15,-2 0-42 0,3 1-33 0,3 2-17 16,-1-7-21-16,6-7-3 0,1 0-26 0,2-2-4 16,2-1-8-16,1-2-8 0,2-2 8 15,3 0-21-15,-1-3 14 0,1-3 6 0,4-1 9 16,-1-4 0-16,2 1 7 0,-3-4 3 15,1-1 4-15,-1-5 14 0,2 1-5 0,-4-3 15 16,-3-2 10-16,1-1-10 0,-4-3-23 0,0 5-69 16,-4-3-6-16,-3-1 6 0,-1 3-18 0,-2-1-16 15,-4 2-20-15,2 1-40 0,-6 2-42 0,4 0-8 16,-3 5-33 0,-3 4-56-16,1-2-133 0,-7 6-228 0,3 2-343 0,1 1 74 15,-1 2 59-15,-5 6 131 0,6-4 86 0,2 1 21 0</inkml:trace>
  <inkml:trace contextRef="#ctx0" brushRef="#br0" timeOffset="49424.28">19333 7094 1008 0,'0'0'381'0,"0"0"-30"0,0 0-36 15,0 0-34-15,0 0-19 0,21 7-19 16,-11-4-46-16,4-1-26 0,0-1-68 0,-1 5-42 0,5-4-71 15,-1 3-156-15,1 0-203 16,0 0-391-16,-2-2 46 0,-4 2 71 0,-1 0 65 16</inkml:trace>
  <inkml:trace contextRef="#ctx0" brushRef="#br0" timeOffset="49648.27">19348 7275 1100 0,'0'0'376'16,"0"0"-53"-16,0 0-24 0,0 0-27 0,0 0-24 0,0 0-35 0,18 2-1 15,-8-2 36-15,-2 3-48 0,4-3-11 16,-3 0-53-16,3 0-41 0,1 0-39 0,0 0-43 0,-2 0-31 0,1 0-46 16,1 0-92-16,2 0-100 15,-4 0-571-15,1 1 64 0,0-1 31 0,-4 2 113 16</inkml:trace>
  <inkml:trace contextRef="#ctx0" brushRef="#br0" timeOffset="56396.64">20288 6976 1548 0,'0'0'492'0,"0"-6"-16"0,0 6-46 0,4-2-23 0,1 1-46 15,-5 1-24-15,12 1-22 0,-1 1-18 16,-4 1-51-16,3 0-13 0,0 2-23 0,-1 2-16 16,1 0-9-16,-2 3-22 0,0-2-6 15,-4 3-24-15,-1 2-21 0,-3 0 4 0,-1 0-9 0,-3-1-25 16,-4 5 2-16,0-3-14 0,1 0-4 16,-3 0-2-16,-1 0 0 0,1-1-15 0,1-2 7 15,0-1-2-15,1-3-21 0,0 3-2 0,1-3-3 16,2 0-87-16,-1-1 13 0,2-2 5 15,1 0 10-15,0 1-2 0,3-1 28 16,0-4-10-16,3 3 2 0,-3-3 13 0,8 3-18 16,1-2 2-16,-1 0 9 0,1-1-9 15,1 0 16-15,2 0-18 16,4-2-7-16,-4 2-37 0,1-3-9 0,3 2-50 0,-3 1-40 0,-1-2-44 0,1 2-56 16,-2 0-107-1,-1 0-129-15,2 0-501 0,-3 0 76 0,1-4 106 0,-2 5 66 0,-1-2 133 16,-7 1 31-16</inkml:trace>
  <inkml:trace contextRef="#ctx0" brushRef="#br0" timeOffset="56726.13">20674 6989 1267 0,'12'-1'486'0,"-1"1"-36"0,-1 0-122 0,-2 1-5 15,0 3-34-15,-1-3-8 16,-2 4-37-16,0 1-19 0,0 0 5 16,-3 1 24-16,-2 1 4 0,0 2-35 0,-4-1-11 0,-1 2-27 0,-3 3-17 15,0-1-9-15,0 3-23 0,-1-3-3 0,1-1-13 16,0-3-22-16,3 2-11 16,-1-3-3-16,2 1-17 0,1-2 12 0,0 1-15 0,1-3 13 15,2 1 5-15,0-2-26 0,0 0 36 0,5 2-30 16,-2-2-9-16,4-3 11 0,0 3-18 15,-1-1-28-15,4-2 16 0,0 2-19 0,1-3-7 16,-1 1-47-16,2-1-22 0,-1-1-42 0,-1-2-40 16,3 2-49-16,-2 0-61 15,-4 0-206-15,3 0-611 0,1-1 116 0,-1 0 48 16,-3-2 117-16,1 3 67 0,-2 1 80 0,-1-2 112 0</inkml:trace>
  <inkml:trace contextRef="#ctx0" brushRef="#br0" timeOffset="56910.61">20923 7126 1267 0,'-1'-3'514'0,"1"3"-43"16,0 0-59-16,-1-5-48 0,1 5-67 0,-1-4-77 16,1 4-74-16,0 0-72 0,0 0-154 0,-5-1-255 15,5 1-499-15,0 0 53 0,0 0 110 16,0 0 88-16</inkml:trace>
  <inkml:trace contextRef="#ctx0" brushRef="#br0" timeOffset="57188.68">21266 6986 1581 0,'-5'-2'476'0,"5"2"-12"0,-18 2-65 0,8-1-18 15,0 0-43-15,-4 4-33 0,2-2-110 16,3 3-27-16,-3 0-17 0,4 3-2 0,3-5-21 16,0 5-8-16,3-1-23 0,1 2-4 0,2-2-4 15,4 4-25-15,0-2 10 0,1 1 1 16,3 1 19-16,-1 0-7 0,0 0 0 0,1-4 13 16,-1 3-18-16,-1-4-5 0,-1 0-8 15,-3 2 10-15,2-2-7 0,-3-2-21 0,-2 0 18 16,-2 0 67-16,-3 1-51 0,-2-1-44 0,-1 0-49 15,-3 0-69-15,-4-1-84 0,2 1-93 16,-2 1-337 0,1-2-461-16,-3-1 87 0,2 1 143 0,-1-2 57 0,-1 2 82 0,-2-1 61 0</inkml:trace>
  <inkml:trace contextRef="#ctx0" brushRef="#br0" timeOffset="57954.48">21223 6977 1046 0,'0'0'292'0,"0"0"-56"0,0 0-121 15,25-1-123-15,-20 1-148 0,8-1-525 0,1 0 100 16</inkml:trace>
  <inkml:trace contextRef="#ctx0" brushRef="#br0" timeOffset="60260.25">20940 2038 1244 0,'0'0'358'0,"0"0"33"0,5 10-27 16,-3-5-26-16,-2 3-41 0,-4 3-13 0,1 0-115 16,1 3-28-16,-1 3-16 0,-2 1-10 15,-2-2-41-15,1 3-38 0,2 3-13 0,-4-1-30 16,2 0-47-16,1-2-46 0,0-3-54 16,2 1-96-16,1-6-19 0,0 1-507 0,1 1 52 15,1-4 66-15,-1 0 51 0</inkml:trace>
  <inkml:trace contextRef="#ctx0" brushRef="#br0" timeOffset="60486.78">21099 2050 1192 0,'3'-5'412'15,"-3"1"-28"-15,0 4-53 0,2-2-27 0,-2 2-20 16,0 0-2-16,0 0-47 0,-2 16-4 0,-1-6 32 15,1-1-9-15,1 4-34 0,-3 1-26 16,1 1-2-16,-2 3-43 0,1-1-29 0,-2 0-15 0,0 2-33 16,2-2-44-16,-2 1-23 15,1-1-54-15,0 0-45 0,-3-1-85 0,3-1-113 16,-7 4-131-16,9-6-457 0,0-1 28 0,-2 1 117 16,0-4 41-16,3 0 65 0</inkml:trace>
  <inkml:trace contextRef="#ctx0" brushRef="#br0" timeOffset="60830.14">20835 2247 1133 0,'0'0'441'0,"0"0"-42"0,0 0-30 15,3 15-8-15,2-7-49 0,-1 2-28 0,0 0-23 16,0 4-36-16,-3 0 3 0,4 3-46 0,-2-1 0 16,4 0-29-16,-2 0-17 0,0-4 30 15,2 0-40-15,-1-3 35 0,-1 1 5 0,3-2-10 16,0-3-86-16,2-2 22 0,0-1-13 16,2-2-7-16,-1-4-16 0,5-2-2 0,2-1 7 0,2-1-40 15,1-5 4-15,7-5-40 16,-1 0-16-16,-6 2-23 0,-3 2-25 0,2 0-34 15,-3 0-30-15,1 0-28 0,-3 1-83 0,0 3-148 16,-4 1-122-16,1 3-421 0,-4-1 105 0,2 1 70 16,-5 2 105-16,0 2 78 0</inkml:trace>
  <inkml:trace contextRef="#ctx0" brushRef="#br0" timeOffset="66024.27">20143 1414 1246 0,'0'0'443'0,"0"0"-11"0,0 0-27 15,0 0-49-15,0 0-13 0,13 15-108 0,-8-5-22 16,0 2-3-16,0 6-29 0,2 2-32 0,-1 1-14 16,2 1-25-16,-1 0-7 0,1 2-26 15,0-2-13-15,0 0-11 0,-1 0-1 0,1-2-17 16,2-1-29-16,0-4 6 0,-2-1-7 0,0 0 3 16,0-5 2-16,2 1 1 0,-3-2 30 15,-1-2 0-15,1-3 10 0,-2 0-3 16,1-4 32-16,-6 1-6 0,10-5 5 0,-5-1-4 0,2-3-9 15,-1-3 24-15,1-3-19 0,-2-1-17 0,0-7 0 16,3-1-3-16,-3-2-5 16,3-11 13-16,-3 8-18 0,0 2-13 0,1 2 26 0,-2 2-8 15,1 0-26-15,-2 4-2 0,3 3-7 16,-4 3-17-16,0 0-55 0,1 2-26 0,0 3-49 16,-1 0-15-16,0 5-18 0,-1 0-28 15,-1 3-64-15,0 0-115 0,0 0-159 0,7 6-379 16,-5-2 75-16,2 3 94 0,-2-1 92 15,1-1 33-15</inkml:trace>
  <inkml:trace contextRef="#ctx0" brushRef="#br0" timeOffset="66721.63">20602 1448 1156 0,'0'0'379'0,"0"0"-10"0,0 0-34 0,-13 14-28 0,10-7-25 16,-2-3-41-16,-2 6-21 0,1 0 56 15,-1 1-25-15,0 1-36 0,-2 1-26 0,2 2-20 16,-1-1-43-16,5-1-16 0,-1-1-8 0,2 0-30 16,-2 0-31-16,4-2 20 15,0-1-17-15,0 0 4 0,3-2 16 0,0-2-33 0,1 1-8 16,2-3 13-16,-1-3 2 0,0 1-4 16,-5-1-11-16,13-3 18 0,-5-1-13 0,-1-4-3 0,4 1 1 15,-4-2 7-15,0-1-10 0,1-3 31 16,-3 0-28-16,3 0-1 0,-2 2 11 15,1 0-8-15,-2 1-7 0,-2 1 12 0,2 2 0 16,-1-1-7-16,-4 3-21 0,1 2 3 0,2 0 30 16,-3 3-15-16,0 0-10 0,0 0 13 15,0 0-19-15,-3 13-4 0,3-7-13 16,-1 0-19-16,1 3 1 0,-2-2 0 0,4-1 18 16,-2-1-26-16,1 1 26 0,-1-2-3 0,3 2 13 15,0-3-21-15,1 1 42 0,1-4-24 0,-5 0 24 16,11 0 12-16,-3 0-15 0,-1 0 0 15,1 0 13-15,0-2-1 0,0 0 4 0,0 2-11 0,-2 0 15 16,4 0-17-16,-4 1-9 0,2 0 4 16,-3 1 12-16,3 0-77 0,-4 1 6 15,-1-1 25-15,0 1 5 0,-1 2 0 0,2-1 11 16,-4 1-9-16,1-1-4 0,-1 2 5 0,0-3 20 16,0 1-2-16,0-4 5 0,-1 6 45 15,1-6 1-15,0 0 67 0,0 4 4 0,0-4 9 16,0 0-19-16,0 0-5 0,0 0-36 0,2-15-66 15,0 9 3-15,3 0-11 0,-2-2 0 16,2-1 10-16,0 2-25 0,-2-1 5 0,1-1-5 16,2 1-29-16,2-1-33 0,-1 0-22 15,1 1 2-15,-1 0-29 0,1 2-12 0,0-1-5 16,-1 4 7-16,1-3 3 0,-2 4 16 0,1 0 2 16,-2-1 43-16,3 3-25 0,-8 0 15 0,7 0 6 15,-1 3 37 1,-1 0 1-16,-2 0 15 0,-1 1 21 0,0 0 12 0,1 2-2 15,-3-1 20-15,5 3-12 0,-5-3-3 0,2 2 2 0,-1 1-12 16,1-1 10-16,-2-1-11 0,0 2-30 0,3 0-20 16,-6 1-21-16,3-2-49 15,0-1-64-15,0 1-107 0,-2 1-138 16,2-4-505-16,0 1 90 0,-1 0 80 0,1-5 94 0,0 0 71 0</inkml:trace>
  <inkml:trace contextRef="#ctx0" brushRef="#br0" timeOffset="66854.06">21020 1438 1154 0,'-3'-5'317'16,"3"1"-27"-16,0 4-42 0,-2-5-48 0,2 5-55 15,-2-5-45-15,2 5-79 0,0 0-83 16,0 0-219-16,0 0-439 0,0 0 81 0,0 0 47 16</inkml:trace>
  <inkml:trace contextRef="#ctx0" brushRef="#br0" timeOffset="67710.3">21094 1412 1371 0,'0'0'382'0,"0"0"-44"0,0 0-29 15,0 0-1-15,-12 14-42 0,10-9-18 0,-4 1-5 16,0-1 49-16,2 3-33 0,-2 0-19 16,3 1-32-16,-1 0-27 0,0 1 1 0,0-2-39 15,1 2-15-15,1-4-28 0,1 4 0 0,-1-2-23 16,0-2-18-16,2-1 20 0,0 2-30 15,0-2-21-15,2-1 13 0,-2-1 13 0,0-3-31 0,5 4 41 16,-5-4-3-16,8 0-25 16,-8 0 5-16,10-5 0 0,-5 1 5 0,-2-1 0 15,2 1 8-15,0-3-1 0,0 3 4 0,-2-3-16 0,2 0-5 16,-2 1 15-16,-1 1 13 0,1 1-11 16,-1-1-1-16,1 1 4 15,0 0-7-15,-1 2-16 0,0-1 8 0,-2 3-13 0,4-5 3 16,-4 5-16-16,2-2 6 0,-2 2 4 0,0 0 3 15,0 0-17-15,0 0 4 0,0 0 18 16,7 6-28-16,-7-6 0 31,1 4 13-31,-1-4-13 0,2 5-2 0,-2-5 23 0,2 3-14 0,-2-3 6 0,0 4 0 0,0-4 13 0,3 3-18 16,-3-3-3-16,3 3 13 0,-3-3-2 16,4 3-9-16,-4-3 14 0,3 3-11 0,-3-3 3 15,7 3-10-15,-6-2 2 16,2 2 8-16,-3-3-18 0,5 5 5 0,-3-3 16 0,3 0-1 0,-5-2-10 15,3 5 21-15,-1-3-16 0,2 0-20 16,-2 1-48-16,0 0 4 0,-2-3-5 0,4 3 16 16,-4-3 25-16,0 0 8 0,4 4 92 0,-4-4-5 15,0 0-11-15,4 2-12 0,-4-2 49 0,0 0-6 16,0 0-10-16,6 0-25 0,-6 0-54 16,0 0-24-16,0 0 1 0,0 0-8 0,5-6 11 15,-5 6 4-15,7 0 8 0,-7 0 5 16,0 0-7-16,3-2 2 0,-3 2 5 0,0 0-30 0,0 0-1 15,5-1-25-15,-5 1 5 0,0 0-25 0,0 0-6 16,0 0-43-16,9 0-18 0,-9 0-44 16,0 0 6-16,7 1-31 0,-2-1-29 15,-1 1-15-15,-4-1-17 0,9 0-19 0,-2-1-4 16,1 0 68-16,0-2-10 0,1-1-89 0,0 1 33 16,1-2 48-16,0 1 13 0,3-2 47 15,-5 0 76-15,5 0 51 0,-3 1 57 31,-2-2 23-31,2 1 22 0,-3 0 35 0,-1 1 40 0,-1 0-1 0,0 1 32 0,-2 0-15 0,-1 0 9 0,1 2-7 16,-3 2-8-16,0-5-5 0,0 5 6 16,0 0-19-16,0 0-15 0,0 0-8 15,-16 7-7-15,12-3 2 0,-2 1-23 16,2-2 0-16,-2 3 8 0,4-1-21 0,-1 0 3 16,0-2-10-16,1 2 2 0,2 0-20 0,0-1 15 0,0 2-11 15,0-2-1-15,5 0-32 0,-2-1 11 16,-1-1-21-16,4-1-7 0,-2 1-44 0,2-1-30 31,1-1-16-31,-2 1-36 0,-5-1-41 0,12-1-53 0,-5 0-221 0,-3 1-524 0,2 0 81 0,1 0 108 16,-7 0 72-16,13-2 69 0,-8 1 74 15</inkml:trace>
  <inkml:trace contextRef="#ctx0" brushRef="#br0" timeOffset="68401.81">23723 1326 1469 0,'-4'-4'550'0,"1"-2"-53"0,-6 1-49 16,0 2-29-16,-5 0-45 0,-2 2-21 0,-2 1-61 15,1 1-95-15,-4 3-33 0,3 1-8 16,-2 1-2-16,3 0-16 0,0 2-18 0,1-1-17 16,1 3-11-16,5-1-5 0,-3 2-31 15,5-2 13-15,2 2-30 0,0-1-3 0,5 1 5 16,0-1-21-16,2 0-5 0,5 3-4 0,-1-1 4 16,5 0 0-16,3 0-2 0,0-2 10 15,-1 1-23-15,1-1-2 0,0 1 17 0,0-2-5 0,-3-1 0 16,-2 0 8-16,1 0 13 0,-3 0 0 15,-3-1 5-15,3 1-6 0,-4-2 6 16,-2 1 5-16,-1 1-10 0,-1-1 5 0,-3 0-21 16,0 0 5-16,-3 0-20 0,-2 0-7 15,-5 0-16-15,4-2-34 0,1 2-4 0,-3-1-75 16,0-2-25-16,1 1-36 0,0-2-51 0,0 0-144 16,2 0-238-16,3-2-306 0,1 0 63 0,-1 1 120 15,7-2 70-15,-8-3 53 16</inkml:trace>
  <inkml:trace contextRef="#ctx0" brushRef="#br0" timeOffset="68721">23657 1516 1059 0,'8'-3'440'0,"0"0"-58"0,0 0-44 15,3 0-21-15,-1 0-46 16,4-1-35-16,-3-1-11 0,2 2-10 0,-3-2-15 0,5 0-21 16,-2 0-7-16,-1 3 2 0,-4-1-8 15,0 0 18-15,0 0-2 0,-3 0-13 0,1 2-77 16,0 0-5-16,-6 1 5 0,0 0-7 0,9 1 2 16,-9 3-5-16,0-4-3 0,0 9 3 15,0-2-3-15,0 1 72 16,0 2-12-16,-1 1-14 0,-3 2-15 0,2 0-8 15,2 1-15-15,-2 0-48 0,1 0-16 0,-2-1-51 0,3 0-44 16,-2 0-25-16,2-2-57 0,0 0-38 0,0-1-69 16,0-1-184-16,2-1-561 15,1-1 120-15,0 1 44 0,3-3 95 0,-2-2 102 0,3 0 38 16</inkml:trace>
  <inkml:trace contextRef="#ctx0" brushRef="#br0" timeOffset="69106.2">24017 1583 1016 0,'0'0'402'0,"0"0"-24"16,0 12-24-16,0-12-34 0,-3 8-47 0,1-2-9 15,-1-1-31-15,1 2-20 0,2 0-11 16,-2-1-33-16,-1 1-6 0,3 1-11 0,-3-3-19 16,3-1-11-16,0 1 19 0,0-2 8 0,0-3-32 15,-1 5-9-15,1-5-11 0,0 0 13 0,0 0 18 16,0 0 90-16,0 0-31 0,0 0-13 15,-2-17-82-15,4 9 0 16,-1-1-25-16,4-4 15 0,-2 0-1 0,4-3-6 0,1 0-6 0,3-1 5 16,-1 3-7-16,4 0-19 15,-3 3-15-15,4 2 3 0,-4 2-8 0,0 3 21 16,0 2-23-16,-2 4 15 16,-1-1 12-16,2 3 9 0,-3 4-11 0,0 1 77 0,-3 2 0 0,0 0 33 15,-3 3-46-15,-1-1-30 0,-1 2-75 16,-3 0 18-16,-4 2-15 0,-5 1-18 0,0 1-8 15,-2-2-12-15,-7 5-32 0,-4-1-73 0,1 1-39 16,-2-2-72-16,7-4 3 16,2-10-299-16,1 8-605 0,-1 0 128 0,3-4 95 0,0 0 203 15,2-2-1-15,3-1 49 0,-2-1 100 0</inkml:trace>
  <inkml:trace contextRef="#ctx0" brushRef="#br0" timeOffset="71790.12">22924 3413 1100 0,'0'0'333'0,"7"8"-18"0,-5-4-16 15,0 3-30-15,2 0-23 0,0 4-26 0,1-3-15 16,0 4-29-16,-1 0-14 0,0 0-4 16,1 0-27-16,1-3-11 0,-2 2-12 0,1 0-9 15,2-3-6-15,-3-1 9 0,2 0-28 0,-2-1-2 16,1-1 20-16,0-3-31 0,-2 1 3 0,1-3 13 15,-4 0-13-15,0 0 16 16,13-10-9-16,-10 4-7 16,1-3 3-16,-3-3 12 0,2-3-12 0,1-2 2 0,-3-2 8 0,1-3-8 15,5-4-18-15,-6 2-10 0,2-3-3 16,-1 2 6-16,-1-1 7 0,1 1-28 0,0 3 20 0,-2 3 16 16,3 3-33-16,-2 1-3 15,0 0 72-15,0 3 10 0,-1 2-26 0,0 1-23 16,2 2-10-16,-2 2 13 0,0 0-8 0,4 3 1 15,-4 2-9-15,4-3 3 0,-4 3-5 0,12 1-2 16,-2 1 4-16,1-1 16 0,3-1-26 0,0 1 6 16,4 2-1-16,0-1-7 15,5-1-18-15,-2 0 15 0,2-1-95 16,1 0 19-16,-2-1-19 0,1 0-20 0,0-2-13 0,0 1-10 16,-5 2 5-16,3-2-46 0,-6 0-15 0,-1 1-21 15,-2 0-54-15,-2 1-107 0,1 0-72 0,-9 1-22 16,5 0-465-1,-4 2 58-15,-1 0 96 0,-2 1 85 0,0-4 61 0</inkml:trace>
  <inkml:trace contextRef="#ctx0" brushRef="#br0" timeOffset="72013.73">23340 3346 1346 0,'-1'7'399'0,"-3"3"-23"0,0-2-35 16,-2 3-34-16,0 2-13 0,2 0-43 0,-2 1-15 16,1 3-19-16,0-3-22 0,-2 3-24 15,1-3-30-15,1 1-61 0,0-1-34 0,1-2-46 16,0-2-34-16,2 0-35 0,1-3-69 0,0 3-49 16,2-5-105-16,0 0-48 0,4-2 15 0,-2 0-272 15,4-2-114-15,2-1 84 0,0-1-3 16</inkml:trace>
  <inkml:trace contextRef="#ctx0" brushRef="#br0" timeOffset="72268">23486 3466 916 0,'5'-3'394'0,"-4"0"-10"15,-1 3-28-15,0 0 0 0,0 0-47 0,0 0-99 0,0 0-10 0,-11 10-21 16,4-4-30-16,1 2-1 0,1-2-10 16,-1 4-28-16,-1-1 3 0,4 1-34 0,-1-3-2 15,1 1 2-15,3-1-27 0,0-1-1 16,0-1-8-16,3 2 8 0,-1-1 21 0,1-4 25 15,-1 1 11-15,5-2 2 0,-3 2-5 0,-4-3 77 16,7 0-57-16,-7 0-12 0,8-4 38 0,-3 1-49 16,-2 1 26-16,-1-3-13 0,0 2-17 15,0-2 4-15,-2 1-15 0,0 4 3 0,0-8-24 16,-4 5-40-16,2-2-44 0,-1 1-36 0,0 1-53 16,-1 0-50-16,2 0-70 0,2 3-173 0,-7-1-575 15,5-1 23-15,2 2 125 0,0 0 57 0,-6-2 91 16,6 2 103-16,0 0 52 15</inkml:trace>
  <inkml:trace contextRef="#ctx0" brushRef="#br0" timeOffset="72462.98">23778 3395 1464 0,'12'-4'422'0,"-3"1"-46"0,4-1-40 0,-3 2-47 16,-1 1-23-16,-1 1-56 0,-2-2-54 0,2 2-77 15,-3-1-84-15,-5 1-151 0,6 5-179 16,-4-1-477-16,0 0 137 0,-2 1 27 16,-2 1 64-16</inkml:trace>
  <inkml:trace contextRef="#ctx0" brushRef="#br0" timeOffset="72616.81">23733 3544 1418 0,'0'0'471'0,"0"0"-11"0,0 0-78 16,0 0-16-16,22-5-44 0,-14 4-33 0,1-2-53 0,0 0-6 16,-2 2-56-1,3-1-61-15,-2 1-75 0,0-1-130 0,1 1-287 0,1-2-499 16,-3 2 34-16,3-1 137 0,3-2 65 0,-3 2 27 16</inkml:trace>
  <inkml:trace contextRef="#ctx0" brushRef="#br0" timeOffset="72910.34">24294 3363 1215 0,'0'0'448'0,"-10"-2"-30"16,10 2-32-16,-10 3-33 0,2 2-28 15,3-1 36-15,-3 1-10 0,-5 2-21 0,6 2-64 16,-3-2 1-16,1 1-29 0,-3 3-28 15,4-3-13-15,0 2-18 0,0-3-13 0,2 1-38 16,0 1 21-16,3-2-16 0,-2 0-18 0,5 0 5 16,-1 0-28-16,1-1 1 0,1-1 9 15,4 1-20-15,-2 0-16 0,5-1 9 16,-1-1-9-16,2 1-4 0,-1-3-27 0,3 1-35 0,2-1-46 16,-2 1-33-16,1-2 0 0,0-1-42 15,-1 0-45-15,-1-1-59 0,3-2-146 16,-5 2-203-16,0-1-439 0,2-1 158 0,0 0-11 0,-4-2 114 15,1 0 35-15,-2-1 85 0</inkml:trace>
  <inkml:trace contextRef="#ctx0" brushRef="#br0" timeOffset="73137.42">24292 3400 1282 0,'-6'9'461'0,"1"3"-26"15,0 1-38-15,3 0-8 0,-1 2 41 0,-2 0-39 16,3 3-27-16,-1 1-31 0,-1 2-34 0,-3 2-15 16,6-3-36-16,-8 4-61 0,4-1-84 15,2-1-57-15,-4 1-77 0,1 1-92 16,1-6-117-16,-13 9-257 0,12-7-463 0,0-2 69 16,0-1 103-16,2-5 71 0,1-2 77 15,-2 5 46-15</inkml:trace>
  <inkml:trace contextRef="#ctx0" brushRef="#br0" timeOffset="74263.2">22580 6993 977 0,'0'0'458'0,"0"0"-38"0,0 0-43 0,0 0-29 15,6 10-31-15,-6-5-20 0,3 4-28 0,0-2 30 16,-1 0-33-16,3 1-28 0,-2 1-20 16,1-1-29-16,-1 0-43 0,3 1 21 15,-2-2-44-15,2-1-6 0,0 1-24 0,-2-4-4 0,1 2 11 16,0-5-16-16,-2 0-25 16,-3 0-13-16,0 0 21 0,13-7-8 0,-9 1-16 0,-1 0-4 15,1-5 2-15,-3 2-3 0,0-4 11 16,1-4-19-16,-4 3-1 0,2-6-1 15,0-2 5-15,0 2 0 0,0-3-5 0,-2 3-5 0,2 0 3 16,-1 1 0-16,2 2 9 0,-1-1 22 16,-1 5-24-16,2 0-18 0,0 0 6 0,0 0 12 15,1 1-23-15,3 1 21 0,0 5-3 0,1-2 13 16,4 1-15-16,0 2-1 0,1-2-81 0,1 2 0 16,3 0 23-16,3 1-1 0,0-1 14 15,3 4-11-15,2-3 21 0,-3 2 2 16,4-3-12-16,4 3 7 15,0-2 21-15,-5 3-8 0,0-3-23 0,-1 3-3 0,-5 0-2 0,1 1-34 16,-3-1 21-16,0-2-17 16,-4 3-30-16,1-2 17 0,-2 2-44 0,-2 0-16 15,0 0-17-15,-3 2-11 0,1-2-28 0,-6 0-38 0,4 6-75 16,-4-1-22-16,0-5-95 0,-4 8-454 16,0-2 70-16,0 4 56 0,-2-2 105 0,2 4 72 15</inkml:trace>
  <inkml:trace contextRef="#ctx0" brushRef="#br0" timeOffset="74648.69">22858 7036 1382 0,'3'-4'478'0,"-3"4"-40"0,5-2-39 16,-5 2-38-16,8 0-38 0,-8 0-26 0,7 4-28 16,-2 1-19-16,0 1-4 0,-4-1-39 15,1 1 3-15,-2 2-36 0,-2 2-20 0,-2 2-3 16,-3-2-41-16,2 0 10 0,1 1-17 0,-3-2-16 15,0 2 31-15,4-4-21 0,-2 1-20 16,2-2 5-16,-1 1-3 0,1-1-79 0,0-1 0 16,1 0-8-16,2-2 18 0,0 1 1 15,0-4 12-15,8 5-11 0,-3-3 1 0,2-2-20 16,1 0 12-16,1 0-23 0,0 0-26 0,4-2-17 16,-1 0-42-16,-1 0-25 15,2 0-61-15,-3-3-67 0,0 5-197 0,1-3-497 0,-4 0 103 16,1 1 13-16,0-3 107 0,-2 4 38 0,-2-4 90 15</inkml:trace>
  <inkml:trace contextRef="#ctx0" brushRef="#br0" timeOffset="74871.48">23092 7034 1069 0,'7'0'292'0,"-7"0"-18"0,15 3 54 0,-7-2-8 0,-3 1-26 15,0 3 11-15,-2-1-93 0,1-1 3 16,-3 3-23-1,-1 0-13-15,0 0-12 0,0 2 4 0,0 0-20 0,-5 0 3 0,3-1-11 0,1-1-12 16,-1 2 4-16,-1 1-25 16,1-3 13-16,1 0-20 0,0 0-24 0,0-3 8 15,-2 3-20-15,3 0-9 0,-2-2-47 0,2-4-50 16,0 6-58-16,2-4-95 0,-2-2-238 0,0 0-540 16,8 0 115-16,-8 0 67 0,6 1 79 15,-6-1 76-15,10 1 52 0</inkml:trace>
  <inkml:trace contextRef="#ctx0" brushRef="#br0" timeOffset="75018.17">23315 7099 1169 0,'4'-4'418'0,"0"3"-60"0,-2-4-59 15,3 3-68-15,-2 1-129 0,-3 1-230 16,7-4-591-16,-7 4 41 0,3-2 76 15</inkml:trace>
  <inkml:trace contextRef="#ctx0" brushRef="#br0" timeOffset="75286.17">23317 7168 1507 0,'0'6'402'0,"0"-1"-31"15,2-2-43-15,-2 4-24 0,3-1-32 0,-3-1-21 16,-3 0-21-16,3 2-18 0,-2-1-4 16,2-3-32-16,-3 3-17 0,-2-1-23 0,2 1-29 0,-1 0-30 15,0-1-26-15,-2 0-38 0,2-2-39 16,0 1-45-16,-2-2-80 0,4-1-156 0,-2 3-141 16,0-4-448-16,4 0 156 0,0 0 36 0,0 0 80 15,0 0 55-15</inkml:trace>
  <inkml:trace contextRef="#ctx0" brushRef="#br0" timeOffset="75812.07">23090 7038 1297 0,'6'-7'394'0,"-6"7"-35"0,11 1-24 16,-11-1-38-16,15 5 0 16,-7-3-36-16,1 2-18 0,-1 1-7 0,2-1-39 0,-2 3-28 15,-1 2-3-15,-3-2 59 0,1 1-30 16,-5 3 2-16,0-4-23 0,-3 5-18 0,1-1 0 15,-6-1-28 1,3 1-10-16,-1 1 23 0,-3-4-3 0,4 1-23 0,-3-1 8 0,5-2-13 16,-2 1 3-16,1-3-18 0,0-2-3 15,0 3 10-15,3-1-2 0,0-1-23 0,1-3 7 16,0 6-94-16,0-6 18 0,4 0-8 0,-4 0-6 16,10 1 4-16,-2 0 15 0,0-1-21 15,-1 0-10-15,4-1-13 0,0 0-33 0,-2 1-20 0,4 0-44 16,-1 0-23-16,-1-2-28 0,-1-1-57 15,3 1-45-15,0 1-152 0,-2-2-399 16,-1 1-46-16,0 1-7 0,0-2 109 0,-2 2 75 16,2 0 58-16</inkml:trace>
  <inkml:trace contextRef="#ctx0" brushRef="#br0" timeOffset="76295.88">23333 7165 1671 0,'-2'-7'509'0,"2"5"47"0,0 2-62 0,0-8-44 0,0 4-43 0,0-1-43 0,1 2-26 16,-1 3-36-16,1-9-41 0,-1 7-18 0,0 2-25 16,0-5-11-16,0 5-36 0,0-6-43 15,0 6-20-15,0 0-16 0,2-3-43 0,-2 3-52 16,0 0-35-16,0 0-29 0,0 0-28 16,0 0-53-16,0 0-39 0,0 0-107 0,0 0-231 0,-10 9-466 15,9-9 60-15,1 0 106 16,-1 6 60-16,1-6 143 0,0 0 36 0</inkml:trace>
  <inkml:trace contextRef="#ctx0" brushRef="#br0" timeOffset="76682.8">23572 6988 1072 0,'0'0'430'16,"0"0"-41"-16,0 0-33 0,0 0-31 0,0 0-18 15,0 0-30-15,0 0-47 0,-17 6 39 0,10-1-31 16,-1-2-33-16,1 2-24 0,1 0-32 16,-2 1-37-16,3 0-12 0,0-1-10 0,1 0 7 15,1 1-33-15,0-1 5 0,3 5 0 0,3-6-7 16,-1 4-9-16,1-4-1 0,-1 5 30 15,4-3-11-15,-2 1 16 0,2-1 21 16,0 1-11 0,-2 0 46-16,1-3-33 0,0 2 18 0,-2-3-61 0,-1 4 7 0,3-2-12 0,-2 1 37 0,0-4-11 15,-1 4-30-15,-2-1 24 0,-2 1 72 16,-1-1-34-16,0-1-10 31,-4 1 3-31,2 0-36 0,-3 2-3 0,0-1-33 0,-4-1-41 0,3 0-49 0,2-2-56 0,-2 1-53 0,0-2-65 16,2 2-135-16,-1-3-607 0,3 0-75 0,2 0 116 15,3-1 77-15,-8 0 123 0,8 0 66 16,0 0 33-16,-5-2 75 0</inkml:trace>
  <inkml:trace contextRef="#ctx0" brushRef="#br0" timeOffset="77018.81">23876 7003 1059 0,'7'0'430'0,"0"-1"-20"0,1 1-52 15,-1-1-58-15,2 0-70 0,-1 0-76 16,0 0-131-16,-1-5-231 0,-1 8-567 0,1-2 78 16,-7 0 60-16,7 0 107 0</inkml:trace>
  <inkml:trace contextRef="#ctx0" brushRef="#br0" timeOffset="77172.58">23817 7120 1430 0,'0'0'425'0,"0"0"-43"0,8 4-32 0,-8-4-22 16,10 0-36-16,-5 0-16 0,4 0-43 0,-1-1-41 15,0-2-54-15,1 3-56 16,0-2-20-16,-1 1-39 0,0-2-67 0,-1 2-48 0,1 1-138 15,-3-7-152-15,1 7-421 0,1-2 50 0,-2 0 59 16,-2 1 88-16,-3 1 78 0</inkml:trace>
  <inkml:trace contextRef="#ctx0" brushRef="#br0" timeOffset="85834.98">23319 8123 1274 0,'6'-4'438'0,"-4"0"-39"0,3 2 59 16,-2 0-10-16,-3 2-51 16,5-4-28-16,-5 4-49 0,3-1-21 0,-3 1 6 15,0 0-29-15,0 0-15 0,0 0-2 0,0 0-118 16,0 0 7-16,-8 13-12 0,3-7-6 0,-6 1-32 15,1-1-4-15,-1 5-9 0,-3-3-14 16,-2 5 1-16,1-3-3 0,-1 2-25 0,-2 0 27 16,5-2-14-16,-1 0-1 0,3-2 0 0,2 1 3 15,-2-2-18-15,3 0 13 0,3 0-13 0,0-1 2 16,2-1-12-16,2-1 10 16,-1 1-10-16,5 1-18 0,-3-3 27 0,7 0-6 0,-1 2-6 15,2-3-15-15,2-1-13 0,-3 3 15 16,6-3-5-16,-5-1-17 15,5 4-27-15,-2-4-27 0,-1 0-57 0,2 0-17 0,0-1-47 16,-3-2-23-16,3 3-59 0,-2-3-50 0,0 1-180 16,-2 1-469-16,0-1 52 0,-3-3 33 0,1 3 102 15,1-2 85-15,-4 2 67 0,-1-3 35 0</inkml:trace>
  <inkml:trace contextRef="#ctx0" brushRef="#br0" timeOffset="86090.25">23366 8142 1123 0,'0'0'415'0,"0"-4"-18"0,0 4-21 0,0 0-20 0,0 0 69 15,0 0-44-15,0 0-2 0,0 13-39 0,0-7-22 16,0 3-96-16,0 1-19 0,0 2-37 0,0 0 0 16,-1 4-10-16,0 0-10 0,-2 1-13 0,0 1-20 15,0-2-11-15,-4 3-9 16,2 3-19-16,-1-6-20 0,1 1-24 0,-2-1-53 0,1-1-33 15,2-2-28-15,-2-2-50 0,3-1-35 0,1-1-74 16,0-2-87-16,-1-1-243 0,2-1-379 16,1 0 71-1,0-2 136-15,0-3 57 0,0 0 43 0,0 0 69 0</inkml:trace>
  <inkml:trace contextRef="#ctx0" brushRef="#br0" timeOffset="86239.47">23481 8316 1008 0,'3'-3'325'0,"-3"3"-51"0,2-7-74 0,0 2-129 15,1-2-217-15,0 6-522 0,1-3 54 16</inkml:trace>
  <inkml:trace contextRef="#ctx0" brushRef="#br0" timeOffset="86543.85">23668 8119 1528 0,'8'-4'448'16,"0"2"-47"-16,0 1-9 15,-1 0-49-15,0 1 13 0,-7 0-21 0,11 2-35 0,-5-1-9 16,-2 2 42-16,2 0-31 0,-2 2-20 0,-1 2-31 16,0-1 17-16,-1 0-114 0,2 1-34 15,-3 3 3-15,2-1-5 0,-3 2-23 16,0 0 7-16,0-1-25 0,-3 4-23 0,3-4-16 0,0 2-33 16,0 0-43-16,0 1-42 0,-1-1-17 15,-1-1-44-15,2-3-30 0,2 4-42 0,-1-5-43 16,-1 3-102-16,3-3-59 0,1 0-494 0,0-1-19 15,0-2 188-15,-1-1-10 0,3 4 117 0,-2-6 64 16</inkml:trace>
  <inkml:trace contextRef="#ctx0" brushRef="#br0" timeOffset="86771.78">23712 8262 1116 0,'0'0'463'16,"-5"-5"41"-16,5 5-38 0,0-2-62 16,0 2-27-16,5-6-37 0,0 2-38 0,0 2-36 0,3-3-17 15,-1 4-42-15,1-4-43 0,2 4-23 16,0-1-85-16,1-1-48 0,1 1-57 16,-1-3-87-16,4 2-243 0,-2 0-568 0,0 1 85 0,2-1 114 15,-4 1 37-15,1-4 127 0,4 4 26 16</inkml:trace>
  <inkml:trace contextRef="#ctx0" brushRef="#br0" timeOffset="87052.79">24116 8144 1128 0,'0'0'392'0,"0"0"0"16,0 0-31-16,0 0-18 0,-10 13-44 0,6-10 6 0,0 0-32 15,0 4 63-15,-2-1-19 0,1-1-20 0,0 2-33 16,1-1-31-16,-2 0-5 0,3 1-34 15,-1-1-12-15,0 0-21 0,0 1-15 0,1-1-5 0,3 0-29 16,-3 1 6-16,1-2 8 0,2 0-34 16,0 1 8-16,0 0-21 0,4-3-23 15,-3 2 11-15,4 0-3 0,1-3-23 0,1 2-21 16,1-2-51-16,0 3 8 0,0-4-43 0,2-1-54 16,-3 0-11-16,3 0-56 0,-2 0-25 15,0-2-144-15,-3 1-197 0,4-2-453 0,-3 1 87 16,0-2 131-16,1 1 17 0,-2-1 60 15,0-2 130 1</inkml:trace>
  <inkml:trace contextRef="#ctx0" brushRef="#br0" timeOffset="87218.63">24205 8149 1195 0,'-11'3'422'0,"9"2"-17"0,1-1 35 15,-6 2-13-15,4 1-38 0,-2 1-12 0,2 4-50 16,-2 1-19-16,1 3-40 0,-2-1 19 15,1 2-31-15,2-3-44 0,-2 5-32 0,0-3-11 16,4 0-49-16,-3 0-54 0,2 0-27 0,0 0-67 16,-2-2-54-16,2-1-49 0,1-2-156 0,-1 3-281 15,-1-1-425-15,3-2 105 0,-2-1 107 16,2-1 59-16,-1-1 72 0,-1 1 56 0</inkml:trace>
  <inkml:trace contextRef="#ctx0" brushRef="#br0" timeOffset="87529.31">23081 8676 1433 0,'0'0'468'0,"0"0"-40"0,0 0-47 0,18-2 11 0,-3-3-126 0,4 5-25 0,5-3-6 16,0 0-17-16,7 1-24 0,15-2 62 0,5 1-25 0,1-1-39 16,1 4 0-16,1-3-31 0,3 0-13 15,-1 1-4-15,2-1-14 0,-5 2-22 0,-2-1-34 16,-2 1-43-16,-14-3-3 0,-1 4-56 16,-4 0-47-16,-5-1-30 0,-4 1-61 0,-3 0-128 15,-7 0-221-15,1 0-457 0,2 1 73 0,-4-1 129 16,-5 0 55-16,-3 2 78 0,-2-2 84 0</inkml:trace>
  <inkml:trace contextRef="#ctx0" brushRef="#br0" timeOffset="87803.02">23168 8813 1236 0,'24'0'420'0,"-1"-3"-24"0,1 2 22 16,0-1-14-16,5 1-43 0,3-3-138 0,1 2-6 16,12-4-15-16,-2 0-15 0,0 1-25 15,-6 3-6-15,6-3-23 0,-9 1 5 16,-3-1-48-16,-1 1-16 0,-1-2-33 0,-4 0-18 0,1 3-33 16,-3-2-31-16,-3 0-16 0,-1 2-19 0,0-1-35 15,0-2-68-15,-5 1-102 0,0 0-42 16,-2 2-506-1,-1-3 25-15,-3 5 87 0,-1-3 70 0,0 2 84 0</inkml:trace>
  <inkml:trace contextRef="#ctx0" brushRef="#br0" timeOffset="92603.86">1237 3579 921 0,'2'23'279'0,"-4"-11"61"0,0 7-30 0,1 4-44 0,-4 4-99 16,-2 11 2-16,-1 5-11 0,-3 0-22 0,-1 12-11 16,-4 2 11-16,-2-8-16 0,-2-2-20 15,5-6 8-15,-3-9-42 0,2 0 6 0,3-8 0 16,1-5-3-16,-1-1 31 0,6-5-34 16,-2-1 14-16,2-3 12 0,2-2-23 0,-1-2 2 0,4 0-4 15,-3-5-6-15,5 0-22 16,0 0-1-16,0 0 6 0,10-13-11 0,0 7-10 15,3 0 0-15,2 5-8 16,1 1 3-16,7 2-10 0,10 11 2 0,5 10 3 0,6 10-8 16,0 11 11-16,-3 11 1 0,10 20 14 0,-4 8-15 0,-4 8 12 15,-2 0-23-15,-3 6 10 16,-4-2 6-16,0-3-9 0,-9-21-6 0,2-1 9 16,4-5 3-16,-3-7 59 0,3-3 2 15,3-3-15-15,-1-4-18 0,-2-4 18 0,5-5-26 0,-1-3-7 16,4-5-3-16,-6-9-25 0,-2 0-6 15,3-5-27-15,-6-6-6 0,-5-2-33 0,-3-4 10 16,1-3-15-16,-3-2-24 0,0-5-25 0,3 2 11 16,-4-2-9-16,-1-1-19 15,-1 1-9-15,-1-1-20 0,0 4-76 0,-4-3-40 16,-2 4-68-16,0 0-340 0,-3 0-40 0,1 1 71 16,-6 0 50-16</inkml:trace>
  <inkml:trace contextRef="#ctx0" brushRef="#br0" timeOffset="94585.38">23530 3319 1295 0,'1'-3'376'0,"-1"3"-10"0,2-3-46 0,-2 3-23 0,0 0-26 16,0 0-12-16,2-4-26 0,-2 4-21 0,0 0-20 15,0 0-79-15,0 0-19 16,0 0 6-16,0 0-15 0,0 0 2 0,-5 13-5 16,0-9-8-16,-1 3-20 0,2 0 5 15,-2 0 7-15,-1 3 3 0,-1-1-15 0,0 3 2 0,0 1-7 16,1 1 10-16,-3 0-16 0,2-1-4 16,0 1-3-16,3-1-19 0,-2 0 6 15,1-1 3-15,2 1 15 16,-2-1-10-16,4-2-11 0,1-1-15 15,-1 1 6-15,2-2 14 0,0 0-25 0,3-2-2 0,-1 3 4 0,5-4-27 16,0-1 14-16,-1 1 4 0,2 0 14 0,0-4-4 16,0 3-8-16,-1-3 10 0,1 0-13 0,0-2 18 15,0 0 29-15,-1-3-8 16,1 3-1-16,-3-4 27 0,0 3-22 0,-3-4 1 0,3 0 5 16,-4 0-2-16,1 0-11 0,-2-1 10 0,0 1 1 15,-2 0-22-15,-1-1 7 0,-2 2 1 16,0 0-10-16,0 2 3 0,0-1-41 0,-1 3-18 15,0-3-46-15,0 4-30 0,0-1-29 0,6 1-36 16,-12 5-87-16,7-4-174 0,1 4-496 16,-3-1 125-16,4 1 23 0,-1 1 126 15,4-1 76-15,-3 0 38 0</inkml:trace>
  <inkml:trace contextRef="#ctx0" brushRef="#br0" timeOffset="95274.65">24768 3544 952 0,'0'0'379'0,"0"0"48"0,-8 11-10 0,1-4-53 16,-3 2-60-16,-1 4 3 0,-4 4-30 0,-3 1-31 16,-5 3-16-16,-3 5-28 0,-5 3-10 15,-6 4-31-15,-2-3-45 0,1 2-70 16,7-8-62-16,2 0-48 0,3 0-74 0,6-8-136 0,5 0-181 16,5-7-377-16,2 1 38 0,2-2 170 0,4-2 7 15,1-1 2-15</inkml:trace>
  <inkml:trace contextRef="#ctx0" brushRef="#br0" timeOffset="95453.7">24878 3610 1167 0,'3'-2'417'0,"-3"2"36"15,0 0-43-15,0 0-24 0,-13 11-43 0,3-5-18 0,-5 6-118 16,-3 4-20-16,-8 6-18 0,-2 3-30 0,-10 8-1 15,-1 0-23-15,-5 4-31 0,-4 1-48 16,3 4-49-16,0 0-40 0,-1-3-63 0,3 1-96 16,2-1-195-16,4 0-476 15,4-2 136-15,7-9 2 0,1 0 77 0,3-1 79 0</inkml:trace>
  <inkml:trace contextRef="#ctx0" brushRef="#br0" timeOffset="99244.18">1506 6652 1118 0,'-18'-2'456'15,"0"-2"-21"-15,0 4-28 0,0 3-39 16,1-1-25-16,-2 3-35 0,-4 3-58 0,3 3 6 16,-1 2-89-16,-7 7-14 0,5 6-4 15,0 3-3-15,6 3 5 0,3 4-10 0,4 3 2 16,3 5-41-16,1 3 88 0,6 0-26 0,0 7-26 16,3 10 8-16,4 5 15 0,-1-3-20 15,1 0-62-15,-2 3 36 0,0-2-41 0,-2-1 8 16,-3-2-2-16,0-12 12 0,-3-4-23 15,0-1 13-15,1-1 7 0,-3-5-12 0,-2-1-10 0,-1-5-16 16,2-5 13-16,-1-7-3 0,-1-4-7 0,1-4-3 16,-1-2 1-16,1-2-9 15,-1-4-2-15,0-6-3 0,0-2-17 0,-4-6-3 16,3-7-3-16,0-2 1 0,3 1-11 0,1-4 15 16,1-1-15-16,3 2 6 0,2-1-4 0,3 1 3 15,2 1-12-15,4 7 4 0,0 2-66 16,1 5 6-16,3 5 27 0,5 9 0 15,9 13 11-15,7 16-11 0,1 11 21 0,8 27 2 0,-3 12-5 16,3 9 16-16,-1 7-13 0,-2 8 4 16,0 4 14-16,3 6-10 0,-1 0-9 15,1 2 4-15,-3 0-1 0,8-1-7 0,-4-7 2 0,2-4 3 16,2-6-8-16,3-7 20 0,1-11-4 16,3-3-1-16,-4-5-10 0,-1-4 8 0,0-7-8 15,-13-17-5-15,3-4 11 0,0-4-29 16,1-4-5-16,1-4-23 0,-4-5-13 0,-6-7-7 15,-5-2-29-15,0-5-7 0,-2-3-26 0,-8-4-23 16,-3-3-15-16,1-2-6 16,-1-2 3-16,-2 0 13 0,-3-3-13 0,0-2 19 0,-2 0-45 15,0-2-30-15,0-3-59 0,-1-1-23 16,-4-2-100-16,2-3-448 0,0 0 123 0,0-2 28 0,-2 0 92 16,-1 2 55-16</inkml:trace>
  <inkml:trace contextRef="#ctx0" brushRef="#br0" timeOffset="100706.39">23827 8744 678 0,'20'-5'281'15,"-3"4"-53"-15,-3-2-51 0,4 0-54 0,-2 3-90 16,2-3-120-16,-3 3-159 0,6-4-371 0</inkml:trace>
  <inkml:trace contextRef="#ctx0" brushRef="#br0" timeOffset="101102.73">24150 9089 1195 0,'0'-7'489'0,"-1"1"-105"0,-1-1-46 0,2 0-26 15,0-2-31-15,2 0 1 0,-1-4-49 0,2 1-26 16,1-2-10-16,-3-2-25 0,5 1-1 0,-4-3-30 15,4 4-33-15,-4 1-21 0,2-3-34 16,0 3-32-16,-2 4-26 0,2-1-49 16,-2 4-43-16,0 0-49 0,-2-1-44 0,2 5-129 0,-2-2-83 15,0 4-433-15,0 0 98 0,0 0 10 16,0 0 146-16,0 0 26 0</inkml:trace>
  <inkml:trace contextRef="#ctx0" brushRef="#br0" timeOffset="101311.89">24245 8862 1121 0,'0'0'425'0,"2"-4"-11"0,-2 4-55 16,0 0-34-16,0 0 18 0,0 0-44 15,0 0-10-15,0 0-10 0,0 0-33 0,-7 17-23 0,7-12-11 16,-1 3-35-16,-3 0-6 0,2 3-14 16,-2 1-14-16,2 0-31 0,-2 1 19 15,0-1-26-15,1 3-33 0,-1 0-1 0,-1 0-35 16,2-2-36-16,-2-2-36 0,2 2-23 0,-1-1-35 0,2 1-21 15,-4-3-93-15,5-1-119 16,-4 1-247-16,3-2-360 0,-1-2 74 0,2-2 143 16,-3-1 52-16,2 2 63 0</inkml:trace>
  <inkml:trace contextRef="#ctx0" brushRef="#br0" timeOffset="101612.17">24035 9001 929 0,'5'-7'409'0,"-2"-1"70"0,4-3-39 16,0 2-46-16,0-1-120 0,2-2-13 0,2 1-18 15,-1 3-33-15,0 0-13 0,0 3-7 16,1-2-16-16,-1 1-26 0,0 5-27 0,2 1 17 15,-3 1-28-15,1 3 10 0,0 3-15 16,2 0-20-16,-3 2-37 0,0 5-22 0,-2 0-41 0,-1 1-26 16,0 2-34-16,-1-2-19 0,0 3-52 0,0-1-110 15,-2-4-179-15,-1 4-489 16,0-2 110-16,-1 1 92 16,2-2 92-16,-3 0 29 0</inkml:trace>
  <inkml:trace contextRef="#ctx0" brushRef="#br0" timeOffset="105583.02">11426 11130 734 0,'20'-5'256'0,"6"-1"-8"0,2 3-33 0,16-3 52 16,5 0-34-16,4 1-8 0,19-1-31 16,0 1-20-16,2 2-2 0,0-2-31 0,-2 0-3 15,1 3-36-15,-12 1-15 16,2-2-15-16,7 1-31 0,-9 1 8 0,-4-2-3 15,4 1-16-15,-2 1-9 0,-5-3-21 0,2 4-28 0,-6-2-13 16,-2-1-67-16,-7 3-35 0,-8-1-44 16,-2 1-51-16,-5 0-466 0,-3 0 0 15,-5 0 82-15,-3 0 15 0</inkml:trace>
  <inkml:trace contextRef="#ctx0" brushRef="#br0" timeOffset="105929.06">11590 11293 742 0,'0'5'312'16,"3"-1"-2"-16,7-2-26 0,2-1-118 15,4 1-7-15,9-2 7 0,9 0-22 0,17 0-16 16,5-2-3-16,19-1-22 0,-3 1-14 0,2 0 14 15,1 1-24-15,-4-2 10 16,1-3-19-16,-1 3-19 0,-12-1 0 0,-2 2 3 0,-3-2-8 16,0-2 5-16,-3 4-18 0,-5-4 1 0,-2 1 1 15,-9 3-6 1,-4-1 24-16,-3 0-19 0,-4 1-9 0,-1 0 70 0,-2-1-36 0,1-1-11 16,-4 4 4-16,-2-2-17 15,-1-1-6-15,1 3-12 0,-4-2-19 0,1 0-16 0,0 1-41 16,0-1-64-16,0 1-79 0,2-1-90 15,0 0-517-15,3 1 118 0,3-2-10 0,4 0 107 16</inkml:trace>
  <inkml:trace contextRef="#ctx0" brushRef="#br0" timeOffset="106533.65">16597 11121 780 0,'20'-4'302'0,"-4"2"11"0,7-1-65 0,10 3-100 15,19-1-7-15,4-4 10 0,21 5-46 0,3-3-10 16,-1 3-6-16,1-2-12 0,-1 0-26 16,-2 2-17-16,5-1-45 0,-8 2-30 0,0-1-43 15,-12 0-3-15,-6 2-69 0,-4 1-18 16,-6 0-39-16,-3 2-445 0,-12 0 21 0</inkml:trace>
  <inkml:trace contextRef="#ctx0" brushRef="#br0" timeOffset="106921.97">16903 11243 877 0,'12'-2'236'0,"3"-2"-11"16,13-1-35-16,16 1 7 0,5-1-33 0,5-1-19 16,2 2 6-16,3 1-7 0,18-2-29 0,-2 0 44 15,1 3 12-15,-4-2-43 0,-10 4 3 16,-3 0 2-16,-3-1-15 0,1 1-26 16,-6 0-3-16,-2 0-7 0,-9-1-18 0,-7 1 3 0,-2-1-11 15,-2 1-12-15,-4 0 4 0,-4 1-4 16,-1-1-11-16,-1 1 5 0,-2-1 6 15,-2 0-11-15,-2 1-12 0,-2-1 25 16,-1 2-18-16,-2-2-5 0,0 0 5 0,-1 0 3 16,-2 1-11-16,-5-1-7 0,8 1 13 0,-8-1-24 15,5 2 1-15,-5-2 10 0,0 0-3 0,0 0 10 16,0 0-9-16,5 0 4 0,-5 0-15 16,0 0 20-16,0 0-25 0,0 0-2 0,0 0-11 15,0 0-8-15,0 0 6 0,0 0-24 16,0 0-17-16,0 0-19 0,0 0-35 0,-20 1-90 0,14 1-148 15,6-2-456-15,-10-3 21 0,3 3 158 16,-4-3 26-16,-2 0 64 0</inkml:trace>
  <inkml:trace contextRef="#ctx0" brushRef="#br0" timeOffset="107779.24">981 11680 1000 0,'0'0'302'0,"23"0"-28"15,-5-3 21-15,5 0-62 16,20-1-36-16,11-3-8 0,13 0-12 0,10-3-16 0,2 1 5 16,3 0-48-16,3-1-18 15,5-3-5-15,4 1 2 0,2 4-33 0,0-4-36 16,-6 4-33-16,0-1-128 0,-5 4-128 0,-3 2-533 15,-8 1 106-15,-17 0-3 0,-6 5 71 0</inkml:trace>
  <inkml:trace contextRef="#ctx0" brushRef="#br0" timeOffset="108027.62">1468 11955 813 0,'34'-5'254'0,"7"-2"-31"0,4 1-21 0,9-2-10 0,13-3-34 0,10-2-9 16,4 0-16-16,-1 1-28 0,2 0-3 0,-3-1-35 15,-1 1-65-15,1 1-60 0,-5 2-68 0,-1-2-50 16,-7 4-405-16,-10 1-54 0,-5 1 43 15</inkml:trace>
</inkml:ink>
</file>

<file path=ppt/ink/ink10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10:10.516"/>
    </inkml:context>
    <inkml:brush xml:id="br0">
      <inkml:brushProperty name="width" value="0.05292" units="cm"/>
      <inkml:brushProperty name="height" value="0.05292" units="cm"/>
      <inkml:brushProperty name="color" value="#C00000"/>
    </inkml:brush>
  </inkml:definitions>
  <inkml:trace contextRef="#ctx0" brushRef="#br0">11790 2276 829 0,'0'0'327'0,"-5"-1"-27"16,5 1 30-16,0 0-23 0,-2-3-35 0,2 3-21 16,0 0-21-16,20-3-18 0,-7-2-4 15,7 1-45-15,10 0 14 0,11 0-31 16,6-1-15-16,4-1-9 0,3 2-12 0,2 0-76 16,3 0-9-16,11-1 6 0,1 3-5 0,4 1 2 15,-3-1-10-15,0-2-3 0,-13 3-7 0,0 1-3 16,-3-1-15-1,0 1-13-15,-2 1-21 0,-3-1-25 0,-2-1 0 0,-8 2-16 0,-5-2-35 16,-3 0-18-16,1 1-44 0,-3-2-105 0,-11 2-173 16,3-1-311-16,-5 1 37 0,-3-1 91 15,-2 0 39-15</inkml:trace>
  <inkml:trace contextRef="#ctx0" brushRef="#br0" timeOffset="288.33">11826 2340 732 0,'26'-5'325'0,"5"-1"-21"0,12 2-17 0,5-3-23 0,6 1-21 0,18 1 33 0,3-1-15 0,4 1-23 0,3 1-30 0,0-1-1 15,0 3-10-15,0 0-28 0,-5-1-31 16,0 3-20-16,-3-1 15 0,-15-1-38 0,3 2-11 16,-6 0-12-16,1-1-21 0,-6 3-43 0,-2-2-11 15,-9 1-40-15,-9 0-39 0,-5 2-79 0,-1-3-103 16,-7 1-82-16,-2 0-506 0,1 1 51 16,-6 0 143-16,-3-1 16 0,-3-1 89 0</inkml:trace>
</inkml:ink>
</file>

<file path=ppt/ink/ink10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16:25.973"/>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757 13071 862 0,'0'0'366'0,"0"0"-25"0,0 0-29 16,-20-4-36-16,20 4-56 0,0 0-12 0,0 0-55 0,-5-1-25 16,5 1-43-16,-5-2-52 0,5 2-41 15,0 0-66-15,-1-4-102 0,1 4-73 0,0 0-462 16,0 0 63-16,0 0 67 0,0 0 51 15</inkml:trace>
  <inkml:trace contextRef="#ctx0" brushRef="#br1" timeOffset="41540.65">8185 2296 985 0,'8'0'284'0,"4"-1"-7"0,4 2-24 0,7 0-20 15,10 3-31-15,18 1-12 0,19 1-1 0,7 1-20 16,5 0-5-16,3-1-36 16,7 2-8-16,8 0-2 0,28 4-6 0,0 0-7 0,-2-1-2 15,2 0-6-15,0-1-18 0,5 0-7 0,-4 2 2 16,-4 0-12-16,3-2-14 16,-4 1 1-16,-1-1 2 0,-23-2 11 0,0-2-16 15,-3 2-11-15,0-3-14 0,-2 0-3 0,-5 1-10 16,-3-3-3-16,-4-1-16 0,-4 0-7 0,-5-1 3 15,-17 3-21-15,-2-4-5 0,-6 1-33 32,-8-1 2-32,-7-1-40 0,-9 1-42 0,1 0-35 0,-5 0-13 0,-1 0-16 0,-5-2-38 15,-4 0 56-15,-1 2-61 0,-7-1-74 0,1-1-331 0,-4 2 19 16,0-3 45-16</inkml:trace>
  <inkml:trace contextRef="#ctx0" brushRef="#br1" timeOffset="44316.09">8857 1470 929 0,'0'0'335'0,"0"0"-25"0,0 0-95 16,36 0-3-16,-15-1-28 0,11 1 49 0,23-3-18 16,3 2 3-16,22-2-16 15,5 2-17-15,2-1-14 0,7 2-28 0,12 0 3 0,1 1-15 0,29-2 4 16,-3 4-24-16,6-1-27 0,2 1-2 16,0-1-13-16,-5 2-2 0,2 2 7 15,-2-3-72-15,2 4-2 0,-4-2 0 0,-3 3 5 16,-3-2 8-16,-21-4-15 0,22 3-1 0,4-3 11 15,-25 1 0-15,0 0-8 0,-1-1 2 16,21 2 8-16,-23-3-2 0,26 4-3 0,-29-2 0 16,-2 0 11-16,0 1-14 15,-4-2-2-15,-2 2 5 0,2-2-2 0,-4 1 10 0,-3 0 10 0,-4 0-11 16,-3-1 11-16,-8 2-10 0,1 0-15 16,-19 1 7-16,-2-3-3 0,2 1-4 15,-5 0 4-15,-2-1-4 0,-5-1 15 0,-6 2-13 0,-12-3 2 16,-3 1-9-16,-3 1-6 0,-2-1 5 0,-5-1 5 15,3 1 19 1,-6-1-16-16,0 0 2 0,1 0-4 0,-3 2 17 0,-1-2-7 16,0 0-11-16,-7 0 1 0,11 0 7 0,-6 0 0 15,-5 0 0-15,10 0-5 16,-7 2-2-16,-3-2 12 0,8 0-8 0,-8 0 16 0,7 0-20 16,-7 0-3-16,0 0 12 0,3 3 9 0,-3-3-24 15,2 5 3-15,-2-5 5 0,0 5 8 0,0 1 2 16,-2-1-13-16,2 5 13 0,-2 0-2 0,1 3-3 15,1 5 3-15,-3 3 18 0,1 5-19 16,0 3 21-16,-1 12-17 0,3 0 9 0,-3 1-5 16,3 0 3-16,0 2-15 0,0 0 17 0,0 1-7 15,0-2-5-15,0 0 12 0,3 0-22 0,-1 0 12 16,-1-3-2-16,-1-5 7 16,2-7-5-16,-2-1-15 0,2 0 18 0,1-3 2 0,-3-2-12 15,-3-1-3-15,3-1 18 0,0-1-8 0,0-2-5 16,-2-2-5-16,2-1 10 0,-2-1-7 15,-1-1-13-15,0 1 7 16,1-6-5-16,-1 1 11 0,1 0 5 0,-3-2-6 0,2 0 1 16,-2-1 5-1,0 0-3-15,-1 0 13 0,-1-3-6 0,2-1-14 0,0 2 2 0,0-1 18 0,5-2-8 16,-13 0 5-16,7 0 8 0,6 0-7 16,-18-2-14-16,11-1 6 0,-3 2 5 0,-4-3-21 15,0 3 13-15,-2-2-2 0,-2-2 2 16,0 1-3-16,-5 1 1 0,-5-4 10 0,0 1-8 15,-16 0 5-15,0-3 3 0,-4 5-3 16,-1-2-5-16,-2-3 23 0,2 5-28 0,-2-2 16 16,0 1 4-16,-3-1-7 0,0 1-13 0,0 3 3 15,-2-4-6-15,-11-1 3 0,-2 3 0 0,13 0 0 16,-1-1-8-16,1 1 1 0,-1 2 22 16,1-4-7-16,2 1-13 15,-3 1 10-15,4 1 5 0,-4-3-13 0,1 2 6 0,-1 1-8 0,-10-4 13 16,14 2-3-16,-4 1 10 0,4 1-10 15,1-3-2-15,-2 2-3 0,3 0 0 0,0 1 5 16,2-2 3-16,3 3-11 0,-2-2 8 16,4 1-7-16,-2 0-4 15,9 0 4-15,4 2 20 0,-3-2-16 0,3 1 3 0,0-2-12 0,2 3 9 16,-2-1 3-16,2-1-20 0,2 1 15 16,-1-1-10-16,2 0 0 0,0 1 10 0,2-1 0 15,1-1 2-15,4 2-4 0,-2 0-1 0,2-1 16 16,1 1-13-16,2 0 10 0,3 1-12 15,-1-2 4-15,1 1-4 0,2 0 2 0,-2 1-6 16,4-1 27 15,1 1-24-31,2 0 8 0,-2-1-7 0,5 1 15 0,-3 0-16 0,1 0-7 0,7 1 7 0,-11 0-7 0,6-1-3 0,5 1 6 16,-10-3 9-16,5 3-7 0,5 0-5 0,0 0 17 16,-13 0-17-16,13 0 13 0,-8 3 4 0,8-3-12 15,-8 0 5-15,4 1 3 0,4-1-3 16,-11 0-13-16,6 1 13 0,5-1 10 0,-10 1-5 0,5 2-10 15,-1-3 10-15,-1 1-5 0,-3 0-2 16,2 0 4-16,-3 1-12 0,-1-2 15 16,1 0-7-16,-4 4-1 0,0-4 6 15,-3 1-6-15,3 1-7 0,-6-2 15 0,-2 2 0 0,2-1 5 16,-4-1-2-16,1 2-8 0,-1 0 5 16,-3-2-5-16,2 2 0 0,1-1-5 0,-2-1 13 15,-3 0-13-15,2 0 7 0,-3 0-15 0,6 0 24 16,-9 0-16-16,3 0 7 15,0 0 14-15,-1 0-24 0,-2 0 16 0,1 0-11 0,0 0 26 16,-1 0 0-16,0 0-20 0,-1 0-14 16,1 0 16-16,-1-1 1 0,1 1 4 0,1-1-10 15,0 0 2-15,2 1 4 0,0 0-22 0,0-2 29 16,0 0-18-16,0 2-5 0,1-1 7 0,-1 0-2 16,0 0 10-16,1 1 0 0,-3-2 5 15,2 1-10-15,-3 0 11 0,3 0 4 0,0-1-7 16,-2 1-6-16,0-1 6 0,2 2 5 15,0-1-13-15,0 0 5 0,1 1-5 0,1-3 36 16,2 2-34-16,1 0-9 0,3 1 4 0,-3-1 8 16,3 1-10-16,-3-3 10 0,3 3-5 0,-2-1 13 15,2-1 5-15,0 2-26 0,-1-2 13 16,1 2-2-16,0 0-6 0,1-1 3 16,-4 1 3-16,3-2-11 0,-1 1 11 0,2 0-6 15,1 1 8-15,-2-2 0 0,3 1-7 0,-1 1 12 16,1-1-5-16,2 1-20 0,-1-1 7 0,1 0 13 15,-2 1-2 1,0 0 2-16,4 0-5 0,-2-3-5 0,-2 3-3 0,2 0 13 0,0 0-2 16,-1-1-3-16,2 2-3 0,-1-1-4 0,0 0 4 15,0 0-2-15,-2 0 2 0,1 0-2 16,-1 0 10-16,2 0-5 0,-3 0-2 16,4 0 12-16,-4 0-15 0,1 0 10 0,2 0-10 0,0 0-5 15,0 0 12-15,3 3-7 0,-1-3 10 0,3 0-7 16,0 0 7-16,1 1-8 0,1-1 8 15,1 0-5-15,0 1 0 0,2-1-2 0,-3 0 9 16,4 0 4-16,0 1-16 0,7-1 7 16,-13 0-10-16,7-1 11 0,6 1-13 0,-10 0 28 15,10 0-16-15,-10 0-7 0,10 0 5 0,-8 0 5 16,8 0 0-16,0 0-7 0,-10 0 12 16,10 0-2-16,-5-1-16 0,5 1 0 15,0 0 8-15,-8 0-5 0,8 0 0 0,-8-1 5 0,8 1-5 16,0 0 5-16,-8 0-8 0,8 0 16 15,0 0-8-15,-7 0-3 0,7 0 6 0,0 0-6 16,-5-3 1-16,5 3 2 0,-5-1 10 16,5 1-20-16,0 0 5 0,-8-4 0 0,8 4 2 0,-2-3-10 15,-1 0 8-15,3 3 3 0,-3-5 4 16,1 2 1-16,2-3-6 0,-3 3 13 16,3-4-20-1,-2 0 18-15,2 0-16 0,-2-1 6 0,1-1 4 0,-1-3-7 0,-1 2 3 0,3-1-4 16,-2 2 6-16,1-2-2 0,1 2 12 0,0-6-10 15,-2 2 8-15,2 0-11 0,0-2 19 16,-2 2-27-16,2-2 22 0,-3-1-11 16,6 1 0-16,-6-1 2 0,3 1-7 0,0-1 5 0,0 0 5 15,0-1 3-15,0 1-3 0,-3-2 3 16,3 2-8-16,-2 1 5 0,2 0-10 16,0 1 5-16,-2 0-3 0,1 2 3 0,1 0 13 15,-3 3-8-15,3-2-10 0,0 2 10 0,0 0-8 16,-2 2 3-16,2 0-2 0,0 0 12 0,0 2-13 15,0-1 11-15,-2 0-10 0,2 2 7 16,0 0-16-16,0 4 1 16,0-7 28-16,0 3-18 0,0 4-8 0,-3-3 1 0,3 3 7 15,0-7 15-15,0 7-15 0,0-3 3 0,0 3 4 16,0-5-17-16,0 5 15 0,0 0-2 0,0-4-13 16,0 4 10-16,0 0-13 0,3-4 3 15,-3 4 15-15,0 0-10 0,0 0 5 0,4-1-6 16,-4 1 6-16,6-1-5 0,-6 1 18 15,8-2-15-15,-8 2-11 0,12 2 23 0,-4-4-10 16,0 2 0-16,-1 0 8 0,4 0-8 0,2-1 2 16,-1 1-4-16,3-1-16 0,1 0 33 0,4-3-20 15,-4 4 5-15,7-4 3 0,-2 1-3 0,1 2 2 16,7-2-4-16,1-1 12 0,-1 0-23 16,2 0 13-16,12-2 0 0,1-1 3 0,1 2-6 15,0 0 6-15,0-1 7 16,4 1-20-1,-5-3 12-15,2 2-2 0,-2-1 10 0,-1-1-12 0,-7 4 2 0,5-2 0 0,-5 1-10 16,-6 0-16-16,-1 2-20 0,-1-1 0 0,1-2-23 0,-7 3-8 16,1 1-41-16,-4 0-28 0,-2-2-12 15,-2 3-45-15,-4-1-94 0,-1 0-156 16,-2 2-419-16,-2 0 88 16,-2 0 32-16,-4 0 153 0,6 2 5 0</inkml:trace>
  <inkml:trace contextRef="#ctx0" brushRef="#br1" timeOffset="52575.33">8605 3200 739 0,'0'0'279'0,"21"3"-18"0,-8 0-25 16,7-2-6-16,11 1 57 0,15 0-23 0,5 1-24 15,11-2-112-15,23 2-8 16,4 1-4-16,4-1-19 0,2 0-10 16,0 2-21-16,4 0-2 0,1-2-23 0,1 2-2 0,-4-1-6 15,-5 1-48-15,-4-3 2 0,-7 3-54 0,-6-2-22 0,-3 1-65 16,-18-2-20-16,-4 2-33 16,-3 0-47-16,-11 0-170 0,-6-1-262 15,-6-1 66-15,-7-1 83 0</inkml:trace>
  <inkml:trace contextRef="#ctx0" brushRef="#br1" timeOffset="52851.68">8764 3375 755 0,'0'1'266'0,"0"-1"-15"0,0 0-6 0,34 1-32 15,-11-1-21-15,12-1 61 0,20 0-112 0,24-3-18 16,6 1-3-16,4 0-15 0,-1 1 3 16,2 2-26-1,-1-2-11-15,6 0-4 0,-5 4-3 0,2-4 5 0,-5 4-10 0,-5 0-16 0,-2-2-12 16,-3 0-34-16,-14 0-12 0,-4 0-34 16,-2 1-32-16,-6 0-32 0,-2-1-48 0,-8 0-29 15,-10 0 42-15,-9-1-193 0,2 1-309 0,-6 0-3 16,-5-1 62-16</inkml:trace>
  <inkml:trace contextRef="#ctx0" brushRef="#br1" timeOffset="53081.96">8831 3436 732 0,'23'-2'279'0,"10"2"-31"16,18-3-23-16,22 0-30 0,6 1-19 0,3 0-48 15,2-1-30-15,2 1-1 0,0 0-36 0,1 0-7 16,1 2-8-16,-4-2-28 0,-4 2-62 16,-9 2-40-16,-12 2-24 0,-4-3-30 0,-4 0-69 0,-5 3-425 15,-10 0 25-15</inkml:trace>
  <inkml:trace contextRef="#ctx0" brushRef="#br1" timeOffset="55240.63">1488 3756 931 0,'0'0'338'0,"0"0"-20"0,0 0-29 16,20-4-31-16,-2 2-12 0,6-2-31 0,7 2-18 16,20-4-10-16,5-1-46 0,23-3 7 15,6 4-12-15,0-2-31 0,5 0-8 0,2-1-12 16,3 0-29-16,-1 0-13 0,-1 0-14 0,-3-1-35 16,0 4-32-16,-8-1-44 15,-1 1-56-15,-9 2-49 0,-13 0-61 0,-7 2-52 16,-2-1-439-16,-6 1 29 0,-8-3 109 0,-10 4 17 15</inkml:trace>
  <inkml:trace contextRef="#ctx0" brushRef="#br1" timeOffset="55485.27">1567 3915 698 0,'26'-2'287'0,"-5"1"-13"0,8-5-21 16,16 0 24-16,10 0-39 0,21-4-16 15,1 1-30-15,8-1-5 0,-1 2-20 16,6-3-52-16,2 3-8 0,3-3-22 0,-3 3-49 16,-2 1-39-16,2-4-38 0,-7 4-92 15,-3 1-36-15,-5 0-95 0,-8 0-337 0,-12 1-75 0,-4 3 85 16,-1-4 46-16</inkml:trace>
  <inkml:trace contextRef="#ctx0" brushRef="#br1" timeOffset="75135.23">14379 5709 1095 0,'0'9'338'0,"-2"-1"-41"0,1 3-34 0,-1 3-19 16,0-1-27-16,-1 6-35 0,-2-2-21 0,0 1-28 15,2-2-23-15,1 1-23 0,-1 1-35 0,-2 0-29 16,0-3-36-16,2 0-87 15,-2 1-56-15,3-3-92 0,-4 0-500 0,6-1 47 16,-5 1 81-16,5-2 67 0</inkml:trace>
  <inkml:trace contextRef="#ctx0" brushRef="#br1" timeOffset="75580.16">14505 5759 1067 0,'0'0'315'0,"-3"13"-23"15,1-5-42-15,2 0-17 0,-3 2-23 16,3-1 39-16,0 3-34 0,3-1-13 0,-3 4-41 0,0-4-33 16,2 2-15-16,-1 1-19 0,3-1-22 15,-1-2 0-15,4 0-34 0,-1-2-5 0,-1 1-12 16,3-4 7-16,0-1-8 0,-1-2 14 0,1-2-9 16,2-1 19-16,-3 0 12 0,1-1 11 15,0-1 9-15,0-3 17 0,2 0 12 16,-5-1 7-16,0 0-7 0,0-1 8 0,-4-1-65 15,1-2-25-15,1 2 29 0,-6-3-6 0,3 3-23 16,-3-3 10-16,-2 2-10 0,0-1 3 31,3 3-1-31,-6-3 11 0,3 3-26 0,0 1-2 0,-1-1-31 0,2 0-18 0,-4 2-15 16,5 2-29-16,-2-2-30 0,2 0-41 0,-1 3-28 0,0 0-116 16,4 2-143-16,-2-2-419 0,2 2 101 15,0 0 37-15,0 0 123 0,0 0 53 16</inkml:trace>
  <inkml:trace contextRef="#ctx0" brushRef="#br1" timeOffset="76172.72">14785 5768 839 0,'-6'4'305'0,"4"1"-31"0,-1 4-21 0,-2-1-28 16,5 0 57-16,0 2-47 0,0 2-9 0,0-3-27 15,3 1-30 1,-1 2-20-16,3 1-21 0,0-1-29 0,0-2-6 0,1 1-1 0,4-4-18 15,-2 2-20-15,2-4-3 0,3 0-5 16,-3-1-8-16,2-2 1 0,2-2 12 0,-4-2-2 16,0 1 9-16,1-3 17 0,-1 0 7 0,-3 0-57 15,-1-1 3-15,-1-2 29 0,0-3-22 16,-5 1 6-16,2-1 13 0,1 1 0 0,-6-3-18 0,1 1-21 16,-1-1 24-16,1 0 1 0,-4 2-11 15,-1-1 9-15,4 0-12 0,-2 2-6 16,0 1 3-16,0 1-20 0,-2 2-19 0,1 1-19 15,3-1-19 1,-2 4-28-16,5 1-18 0,-7-1-41 0,7 1-94 0,-6 3-159 16,6 1-474-16,0 0 90 0,3 0 58 0,0 2 104 0,1-1 63 15</inkml:trace>
  <inkml:trace contextRef="#ctx0" brushRef="#br1" timeOffset="76459.97">15379 5850 1215 0,'0'0'366'16,"0"0"-48"-16,0 0-37 0,0 0-4 0,0 0-42 15,0 0-17-15,0 0-36 0,0 0-16 16,24 0-5-16,-24 0-53 0,12 0-24 16,-4 0-40-16,0 0-52 0,-1-1-74 0,3-1-92 15,0 0-151-15,1-1-463 0,-1 0 58 0,0 1 59 16,3-3 131-16</inkml:trace>
  <inkml:trace contextRef="#ctx0" brushRef="#br1" timeOffset="76662.8">15627 5742 1203 0,'1'-2'366'0,"-1"2"-23"0,0 0-21 0,0 0-35 0,0 0-18 0,0 0-16 0,0 0-25 16,0 0-70-16,0 0-22 0,-3 17 7 0,3-10-27 15,-2 3-9-15,2-1-2 0,-3 2-20 16,1-3-11-16,1 7-10 0,-1-4-23 15,0 1-46-15,-1 2-24 0,3-2-29 0,-3 2-24 16,3-2-59-16,-2-3-97 0,2-2-123 0,0 5-456 16,2-5 98-16,1 2 41 15,-3-4 43-15</inkml:trace>
  <inkml:trace contextRef="#ctx0" brushRef="#br1" timeOffset="76968.86">15884 5768 1039 0,'-5'-1'325'0,"5"1"-36"15,-10 0-28-15,10 0-5 0,-13 3-41 16,8-1-31-16,-3 1 70 0,1 1-34 16,2 1-23-16,-1 0-25 0,1 0-1 0,2 2-28 0,1 0-12 15,0 2-1-15,-1-2-12 0,3 0-13 0,0 1-20 16,3 0-9-16,-1 1 22 0,0-1 22 15,1-1-30-15,2 3 2 0,-3-4-79 16,-1 2 7-16,4-1-5 0,-5 1 6 0,0 2 7 0,0-4 0 16,0 1 3-16,-5-1-6 0,2 1 4 15,-2 2 4-15,0-3-28 0,-3 0 0 16,3-2 5-16,-2 2-45 0,-1-1-14 16,3 0-15-16,-3-3-38 15,3 2-32-15,0-2-22 0,5-2-112 0,-6 0-75 0,6 0-70 0,-2-6-426 16,2 6 74-16,8-8 79 0,-3 1 66 0</inkml:trace>
  <inkml:trace contextRef="#ctx0" brushRef="#br1" timeOffset="77285.4">15944 5813 1044 0,'-1'6'271'16,"-1"1"-15"-16,-1-1-23 0,1 2-31 0,-1 2-12 15,1-1-21-15,-1 1-13 0,3-2 56 16,0 3-22-16,3-3-29 0,-1 1-13 0,1-1-25 15,2-1-2-15,0-2-14 0,3 0 1 16,0-2 2-16,2 1-3 0,-3-2 1 0,1 0 25 16,2-4-72-16,0 1 16 0,0-1 23 0,-2-1 0 15,0-3-8-15,-3 1 10 0,1-3-10 16,-2 1 77-16,-1 0-25 0,-3-1-9 16,0-1-12-16,0 0-15 0,0-1-21 0,-5 2 10 0,2 1-20 15,-2 0 5-15,-2-1-13 0,1 1-33 16,1 4-36-16,-2-2-31 0,1 3-23 0,1 0-28 15,-2 0-25-15,7 2-37 0,-13 2-40 16,5 1-126-16,3 0-245 0,0 0-364 0,-1-1 56 0,4 2 88 16,0-1 104-16,-1 1 134 0,3-4 12 15</inkml:trace>
  <inkml:trace contextRef="#ctx0" brushRef="#br1" timeOffset="77766.33">16289 5744 947 0,'-5'2'340'0,"-2"3"-43"16,2 0-26-16,-1 2-7 0,-2 0-39 0,1 0-23 16,0 3-17-16,1-1-19 0,-4 3-10 15,5-1-10-15,-1 0-36 0,-1-1-5 0,4 0-15 16,1-2 4-16,-1 2-27 0,1-3 5 0,-1 0-19 15,3-2-1-15,0 0 22 16,0-2-33-16,3 3 23 0,-3-5 7 0,0-1-12 0,7 3-5 16,-7-3-10-16,0 0 20 0,13-4 66 0,-8 4-12 15,1-2-3-15,-1-2 5 0,3 3-17 16,-4-3 2-16,2 2 7 0,1 1-43 16,-4-2 3-16,2 2-18 0,-5 1 18 0,10 0-21 15,-10 0 2-15,8 4-6 0,-3-4 14 0,-5 0-15 16,5 6-25-16,0-5 12 0,-2 1 3 0,-1 1-16 15,-2-3 11-15,6 3-8 0,-4 0 10 16,0-1-17-16,-2-2 14 0,3 2-12 16,-3-2 21-16,5 1-4 0,-5-1 1 0,0 0 10 0,0 0-53 15,13-2-14-15,-8 0-7 0,-5 2 31 0,5-3-19 16,0 2 16-16,-5 1-5 0,8-2 5 16,-7-2 8-16,-1 4-1 0,7-2-1 0,-4 1-22 15,-3 1-35-15,5-3-8 0,-5 3-38 0,5-3-31 16,-5 3-31-16,0 0-33 15,0 0-20-15,0 0-108 0,7 3-138 0,-4-1-484 16,-3-2 102-16,5 2 70 0,-5-2 63 0,6 1 154 16</inkml:trace>
  <inkml:trace contextRef="#ctx0" brushRef="#br1" timeOffset="78077.83">16543 5842 888 0,'0'0'317'0,"0"0"41"0,-2 12-25 16,4-8-23-16,-1 1-5 0,1 1-85 0,0 0-8 15,1 1-10-15,-1-2-5 16,-1 3-28-16,-1-2 13 0,2-1 49 0,0 2-19 0,-4 0-28 16,0-3 1-16,1 1-27 0,-4 2-22 0,0-2-16 15,-2 0-46-15,-1 4-38 0,-3-3-43 16,1-2-16-16,-2 2-70 0,1-1-86 16,-7 0-246-16,6-1-491 15,-1 0 66-15,-1-1 103 0,0 0 84 0,1-1 41 0</inkml:trace>
  <inkml:trace contextRef="#ctx0" brushRef="#br1" timeOffset="79107.73">14341 6396 1200 0,'0'0'333'0,"0"0"-31"0,-3 12-16 0,3-5-22 16,-2 2-5-16,2-1-49 0,-3 5 56 0,3-2-28 15,-5 3-13-15,5 2-38 0,-3-1-18 0,-2 2-3 16,3-2-35-16,-1 1-29 0,1-3-38 16,-1 1-15-16,3-2-54 0,-3 0-23 0,3-1-19 15,-2-2-60-15,2 1-88 0,0-3-125 16,0 0-509-16,2 0 36 0,1-4 78 0,0-1 119 15,-1-1 41-15</inkml:trace>
  <inkml:trace contextRef="#ctx0" brushRef="#br1" timeOffset="79437.73">14582 6450 829 0,'-13'0'348'0,"8"0"-31"15,-3 1 29-15,0 0-6 0,-2 3-48 0,3-2-23 16,-1 3-21-16,0 0-25 0,3-2-31 16,-2 2-18-16,1 1-3 0,2-1-32 0,0 2-9 0,4 0-12 15,-2-1-11-15,2 1-7 0,0-1-15 16,2 1-6-16,1 0-5 0,0 2 11 0,2-3-19 16,-2 1 6-16,1-1 0 0,-1 0 2 15,0 0-10-15,-1 0 15 0,1-2-4 16,-3 1-6-16,0 1-18 0,0-1 8 0,0 1-77 15,-3 0 5-15,1 0-5 0,-4 0 15 0,2-2-27 16,-2 4 2-16,1-5-1 0,-3 3-19 16,0-1-16-16,1-3-18 0,0 2-31 15,-1-3-48-15,2 3-108 0,-1-3-186 0,4-1-462 0,3 0 91 16,0 0 114-16,-5-6 64 0,5 6 95 16</inkml:trace>
  <inkml:trace contextRef="#ctx0" brushRef="#br1" timeOffset="79655.53">14687 6431 1085 0,'0'0'348'0,"0"0"46"0,2 7-46 0,1-2-7 16,-3 0-44-16,0-1-41 0,0 3-11 0,0 3-7 16,0-1-38-16,-3 1-75 0,3 2-30 15,-2 0 0-15,0 0-16 0,2 0-7 16,-3 0-16-16,0 1-10 0,1-4-30 0,1 3-32 15,-1-2-30-15,2-1-33 0,-2-1-90 0,2-5-169 16,0 4-522-16,0-1 100 0,0 1 58 16,2-6 155-16,1 3-27 0</inkml:trace>
  <inkml:trace contextRef="#ctx0" brushRef="#br1" timeOffset="79931.57">15069 6546 1295 0,'0'0'363'0,"0"0"-33"0,0 0-38 16,0 0-26-16,20 3-17 0,-12-3-50 0,2-1-17 15,1 1-85-15,2 0-74 0,2 0-138 16,1 0-553-16,-4 0-51 0,3 0 53 0,1 1 85 16,-1-2 51-16</inkml:trace>
  <inkml:trace contextRef="#ctx0" brushRef="#br1" timeOffset="80260.48">15487 6450 1379 0,'8'0'351'0,"0"1"-36"0,-1 2-26 16,1 1 3-16,1-1-39 0,-5 3 59 0,1-2-35 0,-3 3-21 15,1 2-21-15,-3-1-40 0,-3 2-16 0,0-1-18 16,-1 3-5-16,-4-1-22 0,3 0-6 16,-3-1-8-16,3 0-5 0,0-2-28 0,0-2-5 15,-1 2-5-15,4-3-8 0,-1 2-13 0,-2-1 8 16,3-1 3-16,1 1-6 0,-1-2-2 0,2-1 5 16,0-3-23-16,3 7-8 0,2-4-28 15,0-3-17-15,0 0-32 0,3 0-22 16,2 0-29-16,0-3-28 0,3 2-41 0,0-4-64 15,2 1-125-15,-10 0-128 0,13-1-451 0,0-1 77 16,-2-2 144-16,1-2 40 0,-1 2 46 0,-1-3 90 16</inkml:trace>
  <inkml:trace contextRef="#ctx0" brushRef="#br1" timeOffset="80790.07">15777 6464 831 0,'0'-3'310'0,"0"3"-13"0,-3-3-26 0,3 3 52 0,0 0 5 0,-12 1-47 0,12-1-17 0,-11 5-21 16,6 1-15-16,0 0-34 0,0 1-63 0,0-1-34 15,1 4-15-15,0-3 20 0,1 1-40 0,1 1-3 16,1-1-11-16,2 0-9 0,1-1-3 0,3 2-1 16,1-3 14-16,-1-2-23 0,2 2 9 15,1-1 19-15,-1-5-8 0,1 3 5 16,0-2 16-16,-3 0 12 0,3-2 6 0,-8 1 7 16,10-4 67-16,-5 4 2 0,-2-5-18 0,-1 3 6 15,1-3-44-15,-3 2 5 0,0-1-18 0,3-2 15 16,-3 0-30-16,0 3-18 0,0-2-15 15,-3-1-24-15,3 6-33 0,0-7-30 0,0 3-37 16,0 4-19-16,3-6-42 0,-1 5-15 0,-2 1-11 16,3-6-37-16,-3 6-40 0,7-1-45 15,-4-1-95-15,-3 2 97 0,10-2 29 0,-10 2 30 16,8-1 64-16,-8 1 39 0,8 1 38 0,-8-1 54 16,7 4 27-16,-6-3 35 0,-1-1 27 15,4 6 34-15,-1-4-6 0,0 3 3 0,-1-1 18 16,0 1-28-16,-1-1 2 0,-1 1 11 15,2 0-16-15,1 0-5 0,-1-2-5 0,-1 3-8 16,3-2-4-16,-1-1 9 0,0 2 13 0,2-3 0 16,0 2 24-16,0-3 4 0,0-1-2 15,-5 0 15-15,13 0-84 0,-6 0 25 0,-1-1-5 16,-1-3 26-16,0 3 72 0,0-2 2 16,1-2-29-16,-4 1 9 0,0-1 10 0,1 1-18 0,-3-1-11 15,0-1-32-15,-3 1 17 0,1-2-36 16,-1 1 16-16,-2 3-31 0,0-2-36 15,-2-1-20-15,1 2-41 0,1 1-36 0,0-2-38 16,0 3-47-16,-1-1-84 0,2 1-143 0,-2 2-594 16,2-1 58-16,4 1 175 0,0 0-5 15,-11 0 115-15,11 0 84 0</inkml:trace>
  <inkml:trace contextRef="#ctx0" brushRef="#br1" timeOffset="81214.28">16092 6469 1259 0,'-3'2'376'15,"1"2"-51"-15,0 1-25 0,1 1-32 16,-1-4-27-16,-1 4-28 0,3 0-14 16,-2-2-25-16,2-1-2 0,0 3-19 0,0-1-27 15,0-3-1-15,0 3-89 0,0-5 5 0,2 6 10 16,1-4-7-16,-1 1 17 0,-2-3-25 15,5 2 0-15,-2-1 10 0,2 2 2 0,-5-3 4 16,8 1-6-16,-8-1 8 0,8 1 2 16,-8-1-5-16,7 0 18 0,-2 1-7 0,-5-1-6 0,6 3-15 15,-6-3 7-15,10 1 70 0,-10-1-15 16,7 2 9-16,-4-1 9 0,0 2-32 16,-3-3 1-16,8 1-6 0,-4 0-68 0,-4-1 12 0,10 0 8 15,-4 1-3-15,-1-1-8 0,-5 0 4 0,10 0 9 16,-2 0 0-16,-8 0 60 15,10 0-6-15,-5 0 13 0,3-1-16 0,-8 1-32 16,10 0-1-16,-2 0 3 0,-1 0-13 0,-7 0 13 16,11-1 7-16,-6-2-2 0,3 2-30 15,-3 0-1-15,0 0-33 0,-5 1-31 0,10-2-7 16,-4-1-39-16,-2 2-33 0,-4 1-36 0,8-1-36 16,-6 0-46-16,1-2-156 0,-3 3-642 15,5 0 71-15,-5 0 100 0,0 0 70 0,0 0 106 0,0 0 44 16</inkml:trace>
  <inkml:trace contextRef="#ctx0" brushRef="#br1" timeOffset="82619.52">14310 7125 1113 0,'5'-8'358'16,"-2"5"-15"-16,4 2-53 0,-1 1-17 15,1-1-9-15,1 0-34 0,-8 1-7 0,13 2-16 0,-6-1-32 16,1 3 14-16,-3 1-30 0,1-2-24 15,-4 4-9-15,-2 3-11 0,0-3-13 0,-3 6-2 16,-4-2-18-16,2 3-5 0,-5-1 7 16,0 0-9-16,1 2-27 0,-3 1-2 0,1-4 16 15,1 1-14-15,0-2-4 0,2 2 7 16,1-5-5-16,-1 1-31 0,0-1 14 0,5-3-6 16,-1 1-16-16,0 0 1 0,2-3 0 0,2 0-13 15,0-3-8-15,2 3 0 0,-2-3-10 16,8 0-13-16,-8 0-2 0,19-3-24 15,-4 0 3-15,-2-2 6 0,-1 1 12 0,1 0-3 16,1-2 6-16,0 1-1 0,-3 3 4 0,-1-3 19 16,-2 3-12-16,0 0 15 0,-1 0 3 15,-2 2 15-15,-5 0-20 16,10 4 12-16,-7-3-2 0,0 5 3 0,-1-5-1 0,1 4-7 0,2 0 2 16,-2 1 13-16,-1-2 3 0,3 1-6 15,0 1 24-15,-2-3-16 0,4 0-7 0,-1 1-6 16,1-4 11-16,1 1-3 0,0-1 21 0,-8 0-11 15,12-1 26-15,-4-3 13 0,-3 2-8 16,1-2 15-16,1 0 3 0,-4 1 5 0,-1-3 0 16,1 3 13-16,-3-2-13 0,2 0-15 0,-2 0 13 15,0 2-26-15,0-1 23 0,-2-2-21 0,-1 3 8 16,0-1-40-16,-1 3-9 0,-1-3-17 16,2 3-21-16,3 1-15 0,-13 0-23 15,13 0-21-15,-8 0-23 0,3 1-53 0,0 3-129 0,0-3-143 16,2 1-447-16,1 2 53 0,2-4 112 15,-5 5 52-15,5-5 54 0</inkml:trace>
  <inkml:trace contextRef="#ctx0" brushRef="#br1" timeOffset="82902.16">14710 7232 1308 0,'0'0'427'0,"0"0"-25"0,0 14-41 0,0-5-34 16,-3-1-25-16,3 2-35 0,-2-2-34 15,0 5-31-15,-1 0-33 0,0 0-49 16,1 1-51-16,0-3-51 0,1 4-64 0,-2-4-131 0,6 0-217 16,-3 1-468-16,0-4 76 0,1 1 151 15,1-2 10-15,0-1 96 0</inkml:trace>
  <inkml:trace contextRef="#ctx0" brushRef="#br1" timeOffset="83200.98">14969 7370 1016 0,'0'0'292'15,"0"0"-29"-15,0 0-17 0,0 0-23 16,23 3-39-16,-18-2-33 0,3-1-49 0,0 1-58 16,2-1-152-16,-5 0-163 0,5 0-441 0,3 0 85 15,-2-1 67-15</inkml:trace>
  <inkml:trace contextRef="#ctx0" brushRef="#br1" timeOffset="83616.67">15303 7285 1174 0,'4'-2'282'0,"4"0"-18"15,-3 1-24-15,3 1-7 0,-8 0-31 0,16 1-15 16,-9 4 0-16,0-2-21 0,1 2-9 0,-2 1-27 16,-2 1-7-16,-1 3 0 0,0-1-18 0,-1 1-13 15,-2-1-18-15,-2 4 3 0,-3-2-3 16,0 2-7-16,-3-1-8 0,0-1 15 15,0-2 0-15,1 2-7 0,-1-3 20 0,0 2 13 0,1-3 51 16,2-1 20-16,-1 1-10 0,2-3-10 16,-2 0-5-16,4 1-28 0,-1-2-13 0,3-3-10 15,0 3-6-15,0-3-15 0,3 6 3 0,-3-6 5 16,10 0-15-16,-5 0-31 0,-5 0-8 16,17 0-36-16,-8 0-18 0,1-1-43 0,0-2-18 15,0 3-15-15,1-2-11 0,1 0-48 16,1-2-103-16,0-3-158 0,0 5-581 0,0-2 150 15,0 2 39-15,2-2 131 0,-2-3 61 16,0 3 77-16</inkml:trace>
  <inkml:trace contextRef="#ctx0" brushRef="#br1" timeOffset="84166.75">15666 7317 988 0,'-15'2'399'0,"7"-2"-13"0,1 1-40 0,2 1-34 15,-3 2-40-15,3-3-24 0,0 4-31 0,-1 1-9 0,4-2-11 16,2 2-28-16,0 1-23 0,2 0 10 16,1 0-18-16,0 3-5 0,2-1 3 0,0 0-18 15,0 0-3-15,2-2-8 0,-4 0-7 16,2 3 5-16,-4-4 0 0,1 2 13 0,-2-2-29 16,0 0-27-16,-2 1-65 0,1-2 11 15,-4 1 0-15,0-3-11 0,0 2-5 16,0 1-12-16,-1-3 4 0,-1 1-22 0,2-4-23 0,2 3-29 15,3-3-17-15,-8 0-14 0,8 0-22 0,0 0-11 16,0 0-22-16,3-10-65 16,2 4-56-16,3 0-38 0,-1-2 43 15,1 1-105-15,3-2 72 0,-1 0 36 0,0 1 64 0,0-1 79 16,-2 3 43-16,0-1 68 0,-1 1 68 16,-1 3 46-16,-1 0 24 0,0-1 30 0,0 1 7 15,-5 3-6-15,5 0-14 0,-5 0 8 0,0 0-8 16,5 8-5-16,-5-3-2 15,3-1-21-15,-3-1-5 0,2 3 8 0,0-1-11 0,-1 0-22 16,2 1-6-16,1-3-5 0,-1 2-5 0,3-1 6 16,1-2 1-16,0 4-12 0,1-5-5 0,-2-1 33 15,4 0-7-15,-3 0 7 0,1 0 36 16,0 0-3-16,0-3 16 0,-3-1 0 0,2-1 97 16,1 3-31-16,-5-3-10 0,2-2 18 0,-5 2-100 15,2-1-2-15,-4 3-8 0,2-1-8 16,-5-2 8-16,2 1-26 0,-2 2-12 15,0-2-16-15,-3 0-39 0,3 4-4 0,-2-1-46 16,1-1-34-16,1 2-28 0,5 1-36 0,-13 1-58 16,8 2-124-16,0-1-163 0,0-2-417 0,2 4 96 15,3-4 104-15,-7 2 106 16,4 1 32-16</inkml:trace>
  <inkml:trace contextRef="#ctx0" brushRef="#br1" timeOffset="84776.8">16035 7368 1013 0,'1'-5'507'0,"-1"5"-34"16,0 0-58-16,0 0-36 0,-3-5-44 15,3 5-15-15,0 0-36 0,-8 11-35 0,3-5-11 16,0 1-39-16,0-1-14 0,2 2-19 0,-1 1-30 16,1-1-11-16,0-1 8 0,1 3-58 15,-1-4 9-15,3 2-17 0,0-4 12 0,-3 0-33 16,3 1 10-16,3-1-2 0,-1-2-10 16,-2-2-4-16,8 2-6 0,-5 0-4 0,-3-2-12 0,12-2 36 15,-12 2-36-15,14-2 5 0,-9 2 18 16,2 0 3-16,-2-2-27 0,1 2 32 15,-6 0-21-15,10-3 21 0,-10 3 2 0,10 0-20 16,-7 3 15-16,-3-3-15 0,7 2 12 16,-2-1 19-16,0 2-29 15,-5-3 0-15,8 2-82 0,-5 1 1 0,2-1 17 0,-2 0 3 0,-3-2 18 16,10 3-11-16,-6-2 14 0,-4-1 4 0,11 0-20 16,-5 1 20-16,-6-1-9 15,12-1 7-15,-6 1-6 0,1-1-7 0,1 1-12 0,-1-3-42 16,-2 3-18-16,3-2-27 15,0-1-40-15,0 1-27 0,-1 0-64 0,1-2-146 0,0 2-451 0,0-1-30 16,1 2 66-16,-4 0 61 16,1-1 126-16,2 2 36 0</inkml:trace>
  <inkml:trace contextRef="#ctx0" brushRef="#br1" timeOffset="85928.51">14264 7913 990 0,'5'-2'305'0,"3"-2"-21"0,0 3-33 0,-1 0-18 16,1 1-13-16,-1 1-10 0,-1 0-18 15,1-1-11-15,-1 6-27 0,1-1-6 0,-4-1-12 16,-1 3-18-16,1 0-16 0,-3 2 6 16,-3-3-19-16,-1 5-12 0,1-1 82 0,-3 0-39 15,-1 0-7-15,-1-1-6 0,1 0-35 0,-1-1 10 16,0 0-5-16,0 1-1 0,1-2-14 16,1-1-1-16,-2 1 6 0,4-5 4 0,-2 4-4 15,4-2-8-15,-1-2 13 0,1 2-16 0,2-4 8 16,0 3-18-16,0-3 5 15,0 0 5-15,11 0-25 0,-11 0-5 0,15-2-16 16,-3 2-23-16,1-5-28 0,2 5-25 0,1-2-19 16,-1-2-43-16,1 2-97 0,4-2-121 0,-2-1-526 15,0 3-4-15,0-4 167 0,2 4-13 16,-4-2 118-16,2-3 49 0</inkml:trace>
  <inkml:trace contextRef="#ctx0" brushRef="#br1" timeOffset="86166.26">14584 7960 1108 0,'-10'-2'353'0,"10"2"-30"0,0 0-24 0,-8 5-30 0,6-1-26 15,0-1-23-15,-1 2-5 0,2 2-13 0,1-1-17 16,1 0-32-16,2 2-15 16,-1 1-12-16,0-2 17 0,1 1-94 0,-3 1-6 15,0 0 6-15,0-3 0 0,0 1 7 0,0 0 0 16,0 2-20-16,-5-2 20 0,3 1-4 15,-4-1-17-15,1-1-14 0,2-1 5 0,-1 1-9 32,-2-1-29-32,-1-2-11 0,1 2-16 0,1-3-30 0,0 2-79 0,3-3-55 0,2-1-127 0,-8 0-179 15,8 0-297-15,0 0 73 0,0 0 73 16,0-10 59-16</inkml:trace>
  <inkml:trace contextRef="#ctx0" brushRef="#br1" timeOffset="86348.97">14669 7951 1139 0,'0'0'399'0,"8"5"-36"0,-8 1-30 16,2 1-39-16,-2-1-81 0,3 2-3 15,-3 3-41-15,0-1-13 0,0-1-15 0,0 4-11 16,-3-1 1-16,3 0-37 0,0 1-17 16,-2 0-20-16,1-1-27 0,-1 1-25 0,2-2-46 15,0-1-35-15,0 0-42 0,0-1-166 0,0-1-520 16,0 0 39-16,3-2 86 0,-1-1 57 15</inkml:trace>
  <inkml:trace contextRef="#ctx0" brushRef="#br1" timeOffset="86688.25">14951 8076 913 0,'0'0'297'0,"0"0"-33"0,0 0-41 0,11 4-26 16,-11-4-8-16,12 1-40 0,-2 0-14 16,-2-1-102-16,3 0-132 0,-1 0-127 0,2 3-460 15,-1-3 18-15,1 0 100 0</inkml:trace>
  <inkml:trace contextRef="#ctx0" brushRef="#br1" timeOffset="87085.83">15297 7975 985 0,'0'0'417'0,"8"0"-12"0,-8 0-129 0,8 2-5 0,-6 1-12 15,1-1-29-15,-3-2-20 0,0 10-18 16,-1-6-23-16,-3 1-13 0,1 1-10 0,-2 0-28 16,0 1-5-16,0-1-14 15,2-1-30-15,-2 1 6 0,3-1 7 0,1-2-16 0,-1 2-15 0,2-5 16 16,2 7-24 0,-1-3 19-16,1-1-21 0,0 2-10 0,1-1 2 0,2-1 5 15,-2 2 6-15,0 0-1 0,-1-3 26 0,3 3 49 16,-2 0 5-16,-1-2-13 0,1 1 8 15,-1 1 0-15,-2-2-16 0,0 3-13 16,0-3-4-16,-2 0-6 0,-3 4 11 0,2-3-36 0,-2 1-26 16,0-2-18-16,-1 4-25 15,-1-4-19-15,4 0-22 0,-2 2-49 0,2-4-36 0,-1 0-53 16,4-1-111-16,0 0-58 0,0 0-65 0,0 0-491 16,0 0 75-16,15-10 81 0,-7 7 67 15,0-4 71-15</inkml:trace>
  <inkml:trace contextRef="#ctx0" brushRef="#br1" timeOffset="87583.18">15428 8056 1187 0,'0'0'348'0,"0"0"-48"0,0 0-11 15,3 8-25-15,-3-3-47 0,0-5 3 16,0 7-23-16,0-3-28 0,0 1 0 0,2-2-25 16,1-2-6-16,-1 5-97 0,1-5-3 0,2 2-4 15,0-2-6-15,0 0 15 0,-5-1 26 16,10 0 8-16,-10 0 90 0,11-3 19 0,-6 0-17 0,0 3 21 15,0-4-88-15,-2 1 6 0,-1 0-11 16,1-1 16-16,0-1-19 0,-3 3-4 16,0 2-8-16,-1-10 2 0,-1 7-10 0,2 3-12 15,-3-6-6-15,0 1-20 0,-2 4-21 16,3-3-22-16,2 4-16 0,-5-3-49 0,2 0-30 16,3 3-32-16,0 0-24 0,-2-3-1 0,2 3-64 15,0 0-40-15,0 0-73 0,0 0 19 0,8-5-54 16,-8 5-28-16,9 1 35 0,-9-1 62 15,8 3 36-15,-8-3 38 0,8 3 85 16,-3-2 51-16,0 3 48 0,-2-3 13 0,2 3 57 0,0-2 30 16,0 4 29-16,-2-4-6 0,2 3 18 15,0 0 24-15,-2-2-14 0,1 2 11 16,2-2-11-16,-1 0 19 0,0 0-24 0,-2 0 26 16,5-3 3-1,-4 1 15-15,2-1 2 0,-6 0 21 0,12 0 72 0,-6-1 4 0,-6 1-19 16,10-3-4-16,-5 0-58 0,-2-2 8 0,-1 2 2 15,0-2-23-15,-1 0-21 0,-1 2 8 0,-1-2-33 16,-1-1 82-16,2 0-28 0,-2 4-8 16,-2-2-44-16,0-2-19 0,1 4-50 15,0-2-53-15,3 4-52 0,-7-1-38 0,2-1-28 0,5 2-56 16,0 0-162-16,-8 1-624 0,8-1 25 31,0 0 116-31,0 0 112 0,0 0 66 0,0 0 52 0</inkml:trace>
  <inkml:trace contextRef="#ctx0" brushRef="#br1" timeOffset="87986.27">15869 8007 1062 0,'-5'5'361'15,"2"-4"-31"-15,-2 4-26 0,0-2 39 0,0 2-23 16,3-1-25-16,-1-2-49 0,0 3-26 0,1-2-16 15,2 1-29-15,0-4-14 0,0 6-36 16,0-6 3-16,2 4-15 0,1-1-21 0,-3-3 21 16,5 0-14-16,-5 0-19 0,8 1-3 31,-8-1-3-31,10-1-15 0,-10 1 17 0,10 0-14 0,-10 0-3 0,8 0-3 0,-8 0 3 16,10 0-18-16,-10 0 15 0,8 1 1 0,-3 2-22 0,0-1 1 15,-5-2-5-15,7 0 7 0,-1 0-2 0,-6 0 15 16,8 3 1-1,-3-2-19-15,-5-1 28 0,10 1 1 0,-5-1-24 0,-5 0 29 0,13 0-11 16,-8 0-66-16,2 0 22 0,-1 1-6 16,-6-1 12-16,13-1-31 0,-6 2 54 0,-7-1-16 15,11 0-7-15,-7-1 5 0,-4 1 5 0,10-1-12 16,-4 1-32-16,-6 0-19 16,10-3-24-16,-7 2-49 0,-3 1-25 0,8 0-44 0,-4-2-66 15,-4 2-105-15,4 0-169 0,3 0-430 16,-7 0 90-16,7 0 86 0,-7 0 100 0,8 2 57 15,-3-1 84-15</inkml:trace>
  <inkml:trace contextRef="#ctx0" brushRef="#br1" timeOffset="89483.87">14200 8560 1177 0,'0'0'356'16,"0"0"-36"-16,10 2-103 0,-10-2-9 0,8 5-19 16,-3-3-28-16,-2 2-5 0,-1 0-28 0,3 1-15 15,-4 1 2-15,1 0 6 0,0-1-32 0,-2 1-4 16,0 1-14-16,0-1-12 0,0 0 0 16,0 1 2-16,0-2-7 0,0 2-5 0,0-3 5 15,0-1-21-15,3 4 0 0,-3-3-10 0,2 1 3 16,-1-2-11-16,1 2 6 0,0 0 7 15,2-2 69-15,-2 3-5 0,0-2 21 0,1-1-29 16,0 2-7-16,-1 0 25 0,0-2 3 0,-2 2-84 16,0 1 17-16,0-3-17 0,-2 0 7 15,0 3 0-15,-2-2-13 0,2-1 8 0,-2 1-5 16,-2-2 5-16,-2 2-20 0,3-1-11 16,-2-3 11-16,1 2-42 0,-1 0-7 0,1 0-18 15,-1-2-28-15,7 0-56 0,-7 0-54 0,7 0-93 16,-8-2-86-16,5 0-466 0,3 0 109 15,0 2 27-15,0-7 94 0,0 7 90 0</inkml:trace>
  <inkml:trace contextRef="#ctx0" brushRef="#br1" timeOffset="89829.9">14362 8607 1036 0,'0'0'305'0,"0"0"-26"0,0 9-28 0,0-9-24 16,-6 10-4-16,4-4-23 0,2 1-29 15,-2 1 55-15,1 1-11 0,-2-2-23 0,3 1-26 16,4 0-7-16,-2 1-11 0,0-2-20 16,4 2-18-16,-1-2-10 0,4-1-21 0,-1-4-2 15,0 4-5-15,0-4 2 0,-1 0-10 0,1-1 3 16,2-2 7-16,-2-1 18 0,0 0 36 16,-5 0-21-16,1-2 16 0,-1 0-18 0,2 1 5 15,-5-2-7-15,0 2 7 0,-2-3-18 0,-1 0-15 16,3 1 5-16,-5-2-16 0,2 1-7 15,-2 1-3-15,0-1-20 0,0 2-23 16,2 0-39-16,-2-1 8 0,2 3-48 0,-1-2-24 16,1 3-38-16,3 1-15 0,-3-5-36 0,3 5-54 15,0 0-115-15,-2-3-108 0,2 3-417 0,8-3 52 16,-8 3 76-16,10-1 61 0,-5 0 111 16,3-3 30-16</inkml:trace>
  <inkml:trace contextRef="#ctx0" brushRef="#br1" timeOffset="90108.4">14531 8630 716 0,'4'1'210'0,"-3"3"-5"0,1 0 5 0,-2 1-11 0,0 1 52 16,3-1-33-16,-1 1-16 0,-2 0-25 16,1 1-21-1,1 1-8-15,0-1-4 0,1 2-29 0,0-1 0 0,-1-1-13 0,1-1-12 16,2 0-8-16,0-2 10 0,2-1-23 0,-1-1 5 16,-1 0 3-16,3 0-10 0,0-2 15 15,-1-3 0-15,1 0-36 0,-1 2 5 0,1-5 10 16,-5 4 13-16,4-3 14 0,-4 0 16 0,2-2-4 15,-5 2-15-15,3-1 4 0,-1-2-14 16,-2 2-4-16,0 1 14 0,-2-2-21 16,-1 1 2-16,3 2-9 0,-3 0-11 0,-1-1-11 0,1 3-14 15,-2-1-29-15,0 2 3 0,-1 1-15 16,6 0-24-16,-12 0-20 0,6 0-10 0,-1 3-36 16,2 0-16-16,-1-3-32 0,2 4-93 0,1-1-90 15,-5 0-37-15,6 0-470 0,-1 1 101 16,0-2 74-16,3-2 41 0,-2 7 35 15</inkml:trace>
  <inkml:trace contextRef="#ctx0" brushRef="#br1" timeOffset="90797.85">14631 8613 1103 0,'0'0'373'16,"0"0"-19"-16,0 0-39 0,0 0-31 0,-3 18-36 15,3-11-30-15,0 3-85 0,0-1-13 16,3 3-10-16,-6 4-18 0,3-2-25 15,-3 0-6-15,3 2-15 0,-2-2-13 0,2 0-9 16,-3-2 4-16,3 0-8 0,-2 0-2 0,2-5-5 16,0 3 15-16,0-1 5 0,-1-3-10 0,-1-1 5 15,4-3-2-15,-2 3 15 0,0-5 3 16,0 0-3-16,0 0-8 0,0 0 18 16,3-13 13-16,-3 6-18 0,0-3 8 0,0 0 2 0,0-1 0 15,0-3-2-15,0-2-10 16,0 1-6-16,0-1 6 0,0-1-6 0,3 2-10 15,-3 1 5-15,0 2-7 0,0 1 5 16,0 0-34-16,0 4-22 0,2 0-14 0,-2 2-15 0,0 1-4 16,0 4-27-16,3-4-63 0,-3 4-88 15,0 0-132-15,8 2-464 0,-6 3 77 0,4 0 48 16,1 0 59-16,-2-1 75 0</inkml:trace>
  <inkml:trace contextRef="#ctx0" brushRef="#br1" timeOffset="91054.27">14972 8725 1277 0,'0'0'435'15,"0"0"-64"-15,0 0-54 0,5-5-4 16,-5 5-65-16,10-1-41 0,-5 1-61 0,-5 0-54 16,11 0-102-16,-4 0-161 0,0-1-623 0,-1 1 54 15,-6 0 57-15,13-1 117 0</inkml:trace>
  <inkml:trace contextRef="#ctx0" brushRef="#br1" timeOffset="91363.16">15207 8613 1087 0,'0'0'364'0,"6"4"-21"0,-6-4-26 0,2 5-25 0,-2-5-31 0,0 8-30 0,-2-5-29 0,2 2 0 15,-3 1-41-15,3 0-84 0,-3-1-8 0,3 0 3 16,0 2-1-16,0 0-12 0,3-1 5 0,-3 2-18 0,3-1 8 15,1-1-3-15,-3-1 8 0,4 2 10 16,-3-1 3-16,-2 0 79 0,1 1 10 0,-1-1 6 16,0 0-34-16,-1-1 20 0,1 1-17 15,-5 0-18-15,2 0-13 0,-1-1 7 0,-2 2-17 16,2-4-28-16,-2 2-14 0,-2 0-14 16,3-3-24-16,-2 4-35 0,2-4-34 0,-3 2-28 15,3-3-56-15,0 3-82 0,2-2-190 0,0-2-568 16,3 0 134-16,0 0 24 0,0 0 165 15,0 0 5-15,0 0 51 0</inkml:trace>
  <inkml:trace contextRef="#ctx0" brushRef="#br1" timeOffset="91619.77">15372 8636 913 0,'0'0'379'0,"0"0"-41"16,-14 4-23-16,10 0-23 0,1-3-47 0,3-1-17 15,-3 9-23-15,1-6-13 0,2 3-23 0,0-1 8 16,0 1-39-16,0 2-8 0,2-1-61 16,1 3-10-16,0-3 10 0,1 0-7 0,-1 3 7 15,-2-2 3-15,1-1 7 0,0 3-20 16,1-3 12-16,-3 1 9 0,0-2-34 16,0 1-3-16,0-2 9 0,-3 2-27 0,1-1-7 15,-1 0 8-15,0-4-42 0,1 3-19 0,0-3-22 0,-1 2-53 16,0-3-54-16,3-1-143 0,-4 4-92 15,4-4-433-15,0 0 59 0,0 0 141 16,0 0 10-16,17-12 61 0</inkml:trace>
  <inkml:trace contextRef="#ctx0" brushRef="#br1" timeOffset="91898.74">15458 8719 906 0,'0'6'317'0,"-2"0"-30"0,2-1-29 0,0 1-25 0,0 0-20 15,0-3-29-15,2 3-13 0,1-2-14 16,-2-1 12-16,1 0-21 0,3-1-74 16,-5-2 26-16,8 3 5 0,-3-3 79 0,-5 0 11 15,0 0-3-15,12-4-41 0,-9 2-5 0,2-1 0 16,-2 1 25-16,-1-2 67 0,1 0 0 16,-3-1-41-16,0 0-20 0,3-3-3 15,-6 2-26-15,3-3-7 0,0 2-15 0,-3 0-16 16,3 1-31-16,-2-2-23 0,0 3-58 0,2 0-47 0,-1-1-56 15,-1 4-51-15,2 2-28 0,0-6-128 16,-5 4-223-16,5 2-433 0,0 0 123 16,0 0 36-16,0 0 106 0,0 0 78 0,0 0 39 0</inkml:trace>
  <inkml:trace contextRef="#ctx0" brushRef="#br1" timeOffset="92257.32">15794 8638 1100 0,'-7'2'353'16,"-1"2"-56"-16,3-3-18 0,0 4-12 0,-2 1-37 0,1-2-18 0,1 0-25 16,0 1-36-16,3 0-13 0,-1 0-17 15,0 1-6-15,3-3-20 0,0 2 7 0,0 0-17 16,0-5-1-16,3 8 0 0,0-6-20 0,1 2 21 15,-1-1-1-15,2 1 78 0,0-1 4 0,0 0-18 16,1-3 19-16,1 4-3 0,1-3-11 16,0 1 16-16,-1-2-95 0,-2 2-12 0,5-1 17 15,-2 0-17-15,0-1 2 0,0 0-5 0,-3 2-6 16,3-2-4-16,0 0-18 0,-1-2 4 16,-7 2-11-16,13 2-40 0,-8-2-32 0,-5 0-42 15,10 0-18-15,-5 0-25 0,-5 0-41 16,8 0-74-16,-8 0-133 15,5 4-584-15,-3-3 94 0,-2-1 83 0,3 1 133 0,-3-1 48 16,0 0 52-16</inkml:trace>
  <inkml:trace contextRef="#ctx0" brushRef="#br1" timeOffset="92989.14">17061 5777 908 0,'0'0'346'0,"0"0"-31"0,26 0-31 15,-16 2-39-15,4-1-70 0,0 0-99 0,2-2-168 16,-1 2-635-16,1 1 123 0,-1-1-3 15</inkml:trace>
  <inkml:trace contextRef="#ctx0" brushRef="#br1" timeOffset="93108.97">17087 5962 895 0,'0'0'261'0,"16"-3"-107"0,-6 2-144 15,2-1-348-15,4-2-220 0</inkml:trace>
  <inkml:trace contextRef="#ctx0" brushRef="#br1" timeOffset="93505.39">16672 6471 1139 0,'0'0'348'16,"7"6"-33"-16,0-3-57 0,-1-1-43 0,1-1-69 15,1 2-92-15,2-2-154 0,0 2-607 16,-1 1 70-16,-1-2 7 0</inkml:trace>
  <inkml:trace contextRef="#ctx0" brushRef="#br1" timeOffset="93648.42">16713 6663 837 0,'20'-6'302'16,"-15"6"-77"-16,3-1-107 0,2 1-170 16,0 0-547-16,6 0 23 0</inkml:trace>
  <inkml:trace contextRef="#ctx0" brushRef="#br1" timeOffset="94080.48">16564 7321 811 0,'10'0'141'0,"0"1"-146"0,1 1-218 0,-1 0-299 16</inkml:trace>
  <inkml:trace contextRef="#ctx0" brushRef="#br1" timeOffset="94252.11">16592 7514 998 0,'0'0'381'0,"0"0"-56"0,13 0-2 15,-13 0-67-15,10-1-57 0,-2 1-89 16,0 0-120-16,-1 0-284 0,3 0-441 0,0 1 90 0,1 2 51 15</inkml:trace>
  <inkml:trace contextRef="#ctx0" brushRef="#br1" timeOffset="94620.6">16502 8129 895 0,'8'-4'279'0,"-1"4"-41"0,1 0-69 0,3 0-71 0,-3 0-137 16,2 0-509-16,0 0-66 0</inkml:trace>
  <inkml:trace contextRef="#ctx0" brushRef="#br1" timeOffset="94806.21">16538 8218 1046 0,'0'0'341'0,"0"0"-24"0,0 0-56 0,0 0-20 16,0 0-39-16,0 0-35 0,28-1-39 0,-20 1-29 16,2 2-127-16,-2-2-159 0,-1 5-437 15,4-3-78-15,-4 1 121 0,1 0 41 0</inkml:trace>
  <inkml:trace contextRef="#ctx0" brushRef="#br1" timeOffset="95028.95">16417 8618 1172 0,'0'0'343'0,"16"-2"-41"16,-8-1-26-16,2 3-48 0,1-3-33 0,3 0-60 15,-1 1-32-15,1-2-73 0,0 2-155 0,-8-1-177 16,7 1-435-16,2 0 84 0,-4-2 59 16</inkml:trace>
  <inkml:trace contextRef="#ctx0" brushRef="#br1" timeOffset="95236.67">16486 8787 788 0,'0'0'136'0,"8"-2"-72"0,-5-2-134 0,3 4-508 0</inkml:trace>
  <inkml:trace contextRef="#ctx0" brushRef="#br1" timeOffset="96659.97">20615 9431 1095 0,'0'0'356'0,"0"0"2"0,0 0-66 0,0 0-13 0,0 0-18 15,0 0-36-15,0 0-30 0,0 0-3 0,15 7-51 16,-15-7-24-16,8 0-50 0,-1 3-39 0,-1-3-66 16,-1 1-88-16,2 0-68 0,-7-1-124 0,11 0-457 15,-3 0 96-15,-1 1 65 0,-7-1 41 16</inkml:trace>
  <inkml:trace contextRef="#ctx0" brushRef="#br1" timeOffset="96817.39">20774 9462 941 0,'0'0'338'0,"8"0"-46"16,-8 0-15-16,10 0-32 0,-10 0-32 0,10 0-44 15,-5 0-39-15,3 0-58 0,-8 0-64 0,12 2-70 16,-4-2-112-16,-3 1-517 0,3 1 41 16,0-1 43-16</inkml:trace>
  <inkml:trace contextRef="#ctx0" brushRef="#br1" timeOffset="98317.73">18020 5624 1323 0,'7'-4'368'0,"-4"4"-7"0,4-1-105 0,-7 1-25 0,0 0-14 16,0 0-27-16,0 0-6 0,0 0-20 15,0 0-23-15,-20 9-8 0,8-4-8 16,-4 1-12-16,1 2-19 0,-5 0-14 0,4-2 7 15,-2 1-13-15,3 0-5 0,2-2-10 16,3 2-10-16,0-2-1 0,2 2-9 0,5-3 2 16,0 2-3-16,1-1-15 0,2 2 3 0,5-2-1 15,-2 2 6-15,4 0-21 0,1-1 13 16,0 4-12-16,0-3-1 0,2 0 8 0,0 0 5 16,0-1 0-16,-2 0 20 0,0-1 24 0,-3 1 7 15,0 0 16-15,0-3 79 0,-3 3-16 0,-4-2 1 16,0 2-24-16,-4-1-12 15,-4 0-18-15,0 0-8 16,-6 0-31-16,-4 2-30 0,0-1-39 0,-4 0-30 0,4 1-44 0,-5-2-30 0,1 2-78 16,1-3-140-16,-3 1-190 15,8-3-442-15,1 0 71 0,-2-2 146 0,4 3 26 16,0-6 79-16,-1 3 100 16</inkml:trace>
  <inkml:trace contextRef="#ctx0" brushRef="#br1" timeOffset="100114.24">17503 6469 908 0,'4'-2'389'16,"2"-1"-41"-16,-6 3 34 0,12 5-39 0,-4-5-23 15,0 4-39-15,-1-1-22 0,-1 3-11 16,-2-1-25-16,2 3-31 0,-4-2-82 16,-2 3-8-16,0 1-20 0,-2-1 13 0,-1 0-13 0,0 1-28 15,-2 0 10-15,0 1 10 0,0-1-13 16,0-2-17-16,2 0-8 0,-2-3 10 16,3 1-26-16,1 1 11 0,-1-2 5 0,2-2-11 15,0 2-2-15,0 1-7 0,2-2-4 16,-1-1-14-16,1 2 20 0,1-3 5 0,0 3-13 0,-1-1-2 15,1-2 7-15,-1 3 26 0,0-3 0 16,-1 2 5-16,-1-4 21 0,-1 8-11 0,-1-4 3 16,-3-1 7-16,2 1-17 0,-4-2-5 0,-1 3 17 15,1-4-18 1,-3 3-2-16,2-2-33 0,-3 2 2 0,-1-2-28 0,1-1-25 16,-2 3-19-16,3-3-37 0,2 0-42 0,-2 0-54 0,5-1-107 15,2-3-143-15,-2 2-451 0,5 1 64 16,0-4 67-1,0 4 94-15,8-7 105 0,-3 1 11 0</inkml:trace>
  <inkml:trace contextRef="#ctx0" brushRef="#br1" timeOffset="100445.61">17725 6520 1205 0,'0'0'420'0,"0"0"-41"0,-12 13-6 0,11-8-63 16,-4 1-33-16,3 1-24 0,-1 3-35 0,0-2-24 15,1 0-22-15,0 2-49 0,2-2-19 0,0 2-24 16,2-1-11-16,0 0-8 16,2-1-9-16,3-1 6 0,0 0-14 0,1-1-3 15,3-2 2-15,-2-2 16 0,2 0 0 0,-1-2 20 16,0-2 6-16,1 1 17 0,-1-1 34 16,-2-1 0-1,0-3-3-15,-1-1-67 0,1 1 14 0,-3-1-24 0,0-1 8 0,-2-1 5 0,-3 1 0 16,0-2-5-16,-3 2 5 0,2 1-5 0,-3-1-13 15,-2-1 3 1,-1 3-5-16,2-1-24 0,-3 4-25 0,3-2-12 0,-5 1-24 0,2 1-18 16,0 2-23-16,0-1-23 0,1 2-38 0,-3 3-5 15,2-2-8-15,0 2-44 0,1 1-50 16,-1 0-106-16,0 2-107 0,3-2-448 0,1 1 104 16,0 0 86-16,0 0 53 0,3-1 59 15</inkml:trace>
  <inkml:trace contextRef="#ctx0" brushRef="#br1" timeOffset="101662.16">17525 7351 1011 0,'10'-1'314'0,"-2"2"-4"0,2-1-33 0,-5 0-21 15,1 4-13-15,-1-1-21 0,2 2-30 0,-1 1 5 16,-4 0-20-16,0 1-8 0,-2-1-3 15,-2 2 60-15,-3 1-42 0,0 0 13 0,-1 2-15 16,-4-1-41-16,0 0 15 0,-2 2-15 16,3-6-1-16,-1 2 4 0,0 0-29 0,2-3 10 15,1 3 8-15,-1-5 3 0,3 3-13 0,-2-1-16 16,1-1-7-16,4-1-8 0,-4-2 6 16,4 4 17-16,0-4-18 0,2-1-12 0,0 5-9 15,0-5-19-15,0 0 7 0,10 2-21 16,-5 0-2-16,5-1-77 0,0-1-20 0,4 1-5 15,0 0-32-15,2-1-17 0,2 0-36 0,0 0-30 16,0 0-26-16,0 0-39 16,0 0-61-16,-3 0-182 0,1 0-473 0,2 0 99 0,-3 0 47 15,-3 0 143-15,2 0 69 0,-4 0 36 0</inkml:trace>
  <inkml:trace contextRef="#ctx0" brushRef="#br1" timeOffset="102162.92">17804 7330 1200 0,'0'0'366'0,"0"0"-33"16,3 15-29-16,-3-9-19 0,3 3-24 0,-3 0-11 16,0 2-32-16,-3 1 0 0,3 0-42 0,-2 2-20 15,0-2 1-15,-2 2-27 0,-3-1-7 16,-1 1-5-16,0-1 48 0,-2-2-15 0,2 0-18 16,1 1-23-16,-1-5-5 0,1 1-2 15,1-1-37-15,1-3-4 0,0 1-11 0,0-3-31 16,3-1-10-16,2-1 13 0,0 0-2 0,0 0-6 15,0 0-2-15,7-14-3 0,-2 8 1 0,3-2-17 16,0-2 37-16,2-2-18 16,0 1 18-16,1-4-21 0,-1 2 33 0,3-4-4 15,-3 3 20-15,2-2 2 0,-2 1 8 16,-2 0 13-16,-2-1-2 0,-1 2 14 0,0 3 27 0,-2-3-14 16,-3 3-10-16,0-1-99 0,0 4 7 0,-1 0 3 15,-4-1 2-15,3 2-13 16,-6-2-7-16,3 4-13 0,-3-1-10 0,0 1-31 0,1 5-51 15,-4-2 2-15,4-1-46 0,-1 3-23 16,0 1-30-16,0 1-85 0,1-2-179 0,0 2-435 16,1 4 43-16,1 0 77 0,0-1 105 15,3 2 85-15,-1-2 43 0</inkml:trace>
  <inkml:trace contextRef="#ctx0" brushRef="#br1" timeOffset="103236.58">17356 8061 982 0,'5'-3'359'0,"3"2"-21"0,-1 1-49 15,-1 0-10-15,-6 0-21 0,12-2-40 0,-9 1-11 16,-3 1-22-16,10 0-11 0,-10 0-34 0,0 0-4 15,5 2-21-15,-5-2-10 16,0 0-2-16,0 0-6 0,-15 7-18 0,7-6 3 16,1 4-18-16,-3-3-13 0,2 1-5 0,-2 0 11 0,-1 2-14 15,1-2-2-15,2 0-15 16,0 1 7-16,4-1 3 0,-2 1-10 0,4-2-6 0,0 2 8 16,2-4-2-16,2 7 12 0,3-4-25 15,0 1 15-15,0 2-7 0,3-1 2 0,2 1-82 16,0-3 43-16,-2 2-17 0,2 2 23 15,-2-2 18-15,0 0 76 0,-1-2-5 0,-1 3 11 16,-2-2 5 0,2 1 7-16,-6-1 13 0,2 1-7 0,-4 1 2 0,0-1-21 0,-4 2 4 15,-2 0-24-15,-5 1 0 0,1 0 2 0,-6 1-14 16,0-2-24-16,-3 3-2 0,3-2-24 0,1-2-27 16,1 0-44-16,1 1-31 0,2-1-43 15,0-1-51-15,5-2-193 0,0 0-619 16,4-1 85-16,4-2 117 0,0 0 60 0,0 0 104 0,0 0 44 15</inkml:trace>
  <inkml:trace contextRef="#ctx0" brushRef="#br1" timeOffset="103545.61">17561 8131 1069 0,'-3'7'300'0,"-1"-1"-24"0,4 5-20 0,-3-2-18 0,3 2-38 0,-3-1-8 0,3-1-15 16,3 1-26-16,0-1-13 0,1-1-15 0,2 1 53 16,2-2 6-16,-1-1-33 0,1-1-4 15,2-2 12-15,3-3-11 16,-3 0-13-16,0 0 15 0,3-2-2 0,-3-2-8 0,-2 0-10 16,0-1 8-16,2-4-8 0,-5 1-26 15,-2 2 16-15,-1-5-3 0,-2 2-48 0,0-3 15 16,-5 1-44-16,0 1 0 0,-2 1-22 0,-1-1-52 15,-2 1-13-15,-1 2-51 0,1 1-53 0,-3 4-162 16,0-1-555-16,3 3-6 16,-3 1 62-16,-2 3 87 0,2 0 72 0,-5 2 61 0</inkml:trace>
  <inkml:trace contextRef="#ctx0" brushRef="#br1" timeOffset="105014.33">17236 8642 1133 0,'0'0'410'0,"0"0"-21"0,0 0-28 0,0 0-28 0,0 0-24 15,0 0-32-15,-1 13-26 16,-1-5 43-16,2-2-28 0,-3 7-43 0,1-2 18 16,-1 2-42-16,1 0-66 0,-1 0-35 0,0 4-42 15,-1-2-59-15,-2 2-30 0,2 2-105 16,-2-6-182-16,4 4-594 0,-1-3 64 0,-2-1 111 15,4-1 27-15,-1 0 87 0,0-1 44 0</inkml:trace>
  <inkml:trace contextRef="#ctx0" brushRef="#br1" timeOffset="105294.54">17413 8723 967 0,'7'-3'394'0,"0"2"-81"0,-4 1-24 0,-3 0-13 0,5 6 6 16,-7 1 45-16,-1-1-27 0,-2 0-11 0,0 5-28 16,-5 0-20-1,-3 3-24-15,0 0-22 0,-2-1-8 0,2-1-5 0,0 1-19 0,3-1-22 16,0-1-21-16,2-4-7 0,3 3-13 0,0-2 0 16,3-2 0-16,1 0-16 0,2-2-2 0,1 0 8 15,6 0-11-15,-1-1-25 16,3-3 2-16,5 4-36 0,-2-3-12 0,5-1-31 0,1-1-13 15,3 0-35 1,-1-2-9-16,2 3-30 0,-2-2-31 0,0 0-22 0,1-1-93 0,-4 2-157 16,0 1-511-16,0-3 80 0,-2 1 66 31,-1 2 69-31,-2 0 97 0,0 0 46 0</inkml:trace>
  <inkml:trace contextRef="#ctx0" brushRef="#br1" timeOffset="107569.35">17917 7969 941 0,'21'6'400'0,"-8"-4"-47"0,4 2-18 0,4-3-35 15,10 3-106-15,13 1-25 0,5-2 8 16,-1 4-34-16,6-1-5 0,2 0-17 0,0-2-21 15,1 2-3-15,-3 0-8 0,0 0-17 32,0-2-3-32,-5 1-30 0,-1 1-37 0,-4 1-9 0,-1-1-42 0,1 0-25 0,-13-1-54 0,-6 0-41 15,-2-2-46-15,-4 3 15 0,-2-1-76 0,-4-3-3 16,-10 4-208-16,5-2-191 0,-6-1 76 0,-2 2 67 16</inkml:trace>
  <inkml:trace contextRef="#ctx0" brushRef="#br1" timeOffset="107810.37">18233 8170 995 0,'-21'0'338'0,"6"0"-23"0,5 0-26 0,2 0-81 15,8 1-9-15,0-1-12 0,0 0-5 16,25 5 46-16,-4 0-29 0,8-1-4 0,14 1-11 16,6 3-25-16,2 0-8 15,13 0-16-15,0 4-14 0,0-1-16 0,3-2-3 0,2-1-12 0,-2-1-26 16,-11 0-28-16,9 0-24 0,-12 0-9 15,-4-3-24-15,0-2-45 0,-11 2-39 16,-7-3-95-16,0-1-117 0,-8 0-159 0,2-1-341 16,-4-3 60-16,0-1 109 0,-1 2 57 0,-7-5 117 15</inkml:trace>
  <inkml:trace contextRef="#ctx0" brushRef="#br1" timeOffset="108060.4">18830 7799 1067 0,'24'6'289'0,"4"2"-33"0,-3 0-10 16,11 7-11-16,5 0-30 0,0 4-8 0,6 5-30 16,-2 3-11-16,-4 3 0 15,-2 1-10-15,-6-6-18 0,-9 5 0 0,-2 1-5 0,-1 0-8 16,-3 2-3-16,-3-2-7 0,-5 0-12 0,-2-2-22 15,-5-7-4-15,-6 3 7 0,-7 9 0 16,-5-2-7-16,-9-2 4 0,-14 4-42 16,-10-2-29-16,-7-1-31 15,-6-1-54-15,-3-2-61 0,-5-3-184 0,-6 4-532 0,-1-3 73 0,-2-5 149 16,-1-4 13-16,-1-2 74 0</inkml:trace>
  <inkml:trace contextRef="#ctx0" brushRef="#br1" timeOffset="115048.18">9836 861 1236 0,'-5'16'322'0,"-3"0"-22"0,0 1-16 0,4 1-51 16,-4 5-21-16,0-2-30 0,0 5-44 0,-2 6-58 15,5-4-37-15,-5 6-33 0,2-6-212 16,3-3-548-16,0-2 41 0,0-4 56 0,2 0 101 0</inkml:trace>
  <inkml:trace contextRef="#ctx0" brushRef="#br1" timeOffset="115321.4">9990 837 1305 0,'3'-2'458'0,"-3"2"-23"0,0 0-117 0,0 0-19 0,-6 22-33 0,4-9-33 0,-3 3-5 16,-2 5 46-16,1 4-46 0,-4 8-8 0,2 1-38 15,-3 1-54-15,4 1-31 0,-1-2-51 0,0 2-33 16,1-8-23-16,4-3-24 0,-2 2-71 0,0-4-107 16,0-5-141-16,2 2-513 0,1-2 58 15,-1-1 76-15,1-3 58 0,-1-2 119 0</inkml:trace>
  <inkml:trace contextRef="#ctx0" brushRef="#br1" timeOffset="115648.9">9628 995 998 0,'0'0'397'0,"0"0"-75"0,-5 14-38 0,5-5-15 16,-2 5-34-16,2 1-12 0,0 7-26 15,0 4-15-15,0 1-21 0,2 13-17 0,1-9-9 16,2-3-14-16,2 6-29 0,1-8 13 0,0-4-26 15,3-2-10-15,1-1 13 0,4-3 0 0,2-3 7 16,2-1-7-16,-2-6 13 0,5-2-8 16,-2-3 5-16,4-4 11 0,3-3-24 0,11-3 11 15,-6-4-11-15,1-3-12 0,-4-1 2 0,-1-4 0 16,-2-1-8-16,-1-1-12 0,0 1-8 16,-3 0 2-16,-5 6 67 0,0 1-10 31,-5-1-18-31,-3 3-28 0,0 3 2 0,-2 1-23 0,-1 0-38 0,-1 3-25 0,-1 0-73 15,0 2-35 1,-3 0-31-16,1 3-118 0,-3 1-166 0,0 0-501 0,0 0 65 0,0 10 124 0,-5-3 76 16,0 0 65-16,2 2 86 0</inkml:trace>
  <inkml:trace contextRef="#ctx0" brushRef="#br1" timeOffset="117235.11">14410 5658 796 0,'-3'-6'384'0,"1"-2"-36"0,-3 2-16 0,-3-1-40 0,0-2-67 0,-4 2-12 15,2 4-19-15,-4-3 11 0,0 3-18 16,-2 2-5-16,3 4-18 0,-3 0-6 0,-4 7-12 15,-1 3 10-15,-4 8-2 0,-1 7-21 0,1 1 0 16,-4 11-5-16,-1 0-28 0,1 4-5 0,-3 3-16 16,3-2-12-16,-1 4 7 0,1-4-15 15,-1 0 5 1,3-1 5-16,-1-2-26 0,11-10 14 0,-2-1-4 0,1-5-22 0,0 2 18 16,4-7-11-16,0-4 65 0,7-3-4 0,-3-2-1 15,4-4-27-15,1 3 4 0,0-5-9 0,3-3-10 16,1 1-10-16,1-4-10 0,0 0 3 15,0 0-6-15,0 0-2 0,0 0 5 16,16-4-13-16,-11 5-21 0,0 2 19 0,0 1 2 0,-2 4-16 16,-1 4 14-16,3 6-8 0,-5 3-3 0,-2 7 18 15,-1 13-2-15,-2 6-26 16,-3 11 23-16,0 5 7 0,-4 0-7 0,-1 5-5 16,-3 3-82-16,-1 1 16 0,-1 3 2 15,-10 18 43-15,2-3-28 0,3-15 18 0,-5 13-15 0,-1 4 8 16,2 2 10-16,-1-4-11 0,4-17 19 15,1 1-21-15,-5 18 15 0,2-2-5 0,6-15-5 16,-4 0 0-16,2 0 3 0,3-2 7 0,2-4-7 16,-1-1-1-16,0-3-14 0,5-4-11 15,0-3-28-15,3-3-11 0,5-11-4 0,-1 0-16 16,4-6 0-16,2-7 0 0,2-4-22 0,1-4-9 16,2-3-7-16,1-3-36 0,-1-2-31 15,2-4-43-15,1-5 33 0,-1-3-162 0,1-1-506 16,3-6 133-16,1 1 13 0,4-8 146 0,-1-1 35 15</inkml:trace>
  <inkml:trace contextRef="#ctx0" brushRef="#br1" timeOffset="125372.76">15903 8655 895 0,'0'0'338'0,"0"0"-31"16,0 0-22-16,2 9-37 0,-2-5-13 0,0-4-32 16,0 8-11-16,0-4-39 0,0 1 31 0,0-2-38 15,0 2-7-15,0-5-4 0,0 7 1 16,0-3-24-16,2-2 19 0,-2-2-18 0,0 7-6 16,0-5 8-1,0-2-17-15,3 4-14 0,-3-4 11 0,3 3-8 0,-3-3-10 0,5 1 10 16,-5-1-28-16,0 0 10 0,13-3 13 15,-13 3-24-15,7-1-6 0,-1 1 9 0,-6 0-2 0,10-1-10 16,-6 0-6-16,-4 1-10 0,8-2 16 16,-8 2-26-16,10 2 26 0,-10-2-16 15,8 2 0-15,-5-2-12 0,2 3 76 0,-5-3-20 16,8 3 12-16,-5 1-17 0,1-2-8 0,-1-1-26 16,-3-1-40-16,7 6-29 0,-4-6-12 15,-3 0-37-15,7 4-22 16,-3-3-8-16,1 0-67 0,0-1-76 0,-5 0-195 0,13 0-474 0,-9 2 47 15,4 1 69-15,-2-1 97 0,1-2 81 16,1 4 99-16</inkml:trace>
  <inkml:trace contextRef="#ctx0" brushRef="#br1" timeOffset="126376.79">16089 8754 1016 0,'0'0'419'0,"0"0"-47"0,0 0-111 0,0 0-10 15,0 0-34-15,0 0-17 0,0 0-11 0,0 0-22 16,0 0-14-16,6-10-9 0,-6 10-27 16,8-2-4-16,-8 2-11 0,0 0-10 15,12 4-33-15,-7-1-28 0,2-1-31 0,-1 4-49 0,2 0-35 16,-1 0-54-16,1 1-98 0,0 0-74 15,0 4-452-15,2-5 27 0,-3 5 164 16,1-3-25-16</inkml:trace>
  <inkml:trace contextRef="#ctx0" brushRef="#br1" timeOffset="127540.65">14641 8613 1105 0,'-3'-3'302'0,"1"0"-25"0,2 3-24 0,0 0-33 15,0 0-12-15,0 0-11 0,0 0-26 0,0 0-7 16,-5 9 61-16,2-3-46 16,3 2-12-16,-3 0-1 0,1 4-20 0,-1-3-15 0,1 1-11 15,1 3-15-15,-3 0-23 0,4-1 2 0,-3 0-2 16,3-2-8-16,0-1-22 0,0 2-9 16,0-3 21-16,0-2-23 0,0 1-8 15,-3-1 11-15,3-1-8 0,0-3 2 0,0-2 3 0,0 5 13 16,0-5-69-16,0 0 9 0,0 0 4 15,0 0-1-15,-4-13 14 16,3 4-9-16,-1 0-2 0,-1 1 10 0,3-5-10 0,-2 0 16 16,0-2 9-16,1 2-22 0,1-1 7 0,0 0 16 15,0 2-29-15,0 1 16 0,-3 2 5 16,3 0-18-16,0 3-5 0,0-1 20 0,0 6-15 16,0 1 21-16,0 0 2 0,0 0-8 0,0 0-10 15,-7 11-8-15,4-3 1 0,0 0-11 16,1 3 5-16,-3 0-2 0,5 1-21 0,-3-3 8 15,1 6-15-15,2-6 2 0,0 3 3 16,0-5 10 0,0 3 15-16,0-1-2 0,2-2-13 0,-2-1 13 0,0 0 10 0,0-3 0 15,0-3 5-15,3 3 0 0,-3-3 0 0,0 0 23 16,0 0-7-16,3-12 15 0,-3 6-16 16,0-1-17-16,2-2 4 0,-2-1 6 0,0-2 18 15,0-2-39-15,0 0 23 0,0-2-9 0,2 6-14 16,-2 1 3-16,0-2-16 0,1 4 6 15,-1 4 2-15,0 0-20 0,0 3-21 0,0 0-20 16,0 0-39-16,0 0-35 0,0 0-83 0,-3 12-150 16,3-2-464-16,0-1 65 0,0 3 65 15,0 1 50-15,0 0 79 0</inkml:trace>
  <inkml:trace contextRef="#ctx0" brushRef="#br1" timeOffset="128312.03">14625 8681 1238 0,'-2'-13'402'0,"2"2"-36"0,-3-1-38 16,1 5-18-16,2 0-11 0,0 0-45 16,-1 1-22-16,1 1-19 0,-2-1-34 0,2 4-15 0,0 2-23 15,0-4-6-15,0 4-25 0,0 0 8 16,0 0-15-16,0 0 19 0,-2 12-32 16,2-5-23-16,-3-1 9 0,3 5-27 0,-3-4 5 15,3 5-8-15,-2-4-18 0,0 2-10 0,2-2 13 16,-1 2-26-16,-1-1 8 0,2 0 22 15,0-2-27-15,-3-1-3 0,3 0 11 0,0-3 9 16,0 3-79-16,0-3 13 0,0-3 11 0,0 0-1 16,0 0 18-16,0 0-2 0,0 0 10 0,0 0 2 15,-2-16 1-15,2 6 14 0,0 1-12 16,0-2-5-16,0-2 5 0,2-1-5 0,-2 0 5 16,0-2 13-16,3 4-18 0,-3 0 7 0,0 4-4 15,0 1 20-15,0 2-11 16,0 5-1-16,0 0 6 0,0 0-1 0,-5 13-11 15,3 0 12-15,-2-1 4 0,0 6 7 0,-2 6-39 16,-1 0-9-16,1 1-16 0,-2 0-44 16,4 0-7-16,1 0-25 0,-2 0-52 0,3-5-44 15,1-1-138-15,-6 4-63 0,9-4-474 0,-2-4 145 16,3 1 24-16,0-1 84 16,-1-4 105-16</inkml:trace>
  <inkml:trace contextRef="#ctx0" brushRef="#br1" timeOffset="129202.96">14633 8738 857 0,'0'0'274'0,"0"11"-23"15,-2-6 53-15,2 1-27 0,-3 1-37 16,0 2-4-16,1 0-34 0,-3 0-25 0,2 4-3 16,1-2-31-16,-1-1-10 15,-2 0-2-15,3 0-21 0,-1-2-18 0,0-2 13 0,1 1-8 16,-1-1-12-16,3-1-11 0,-3-4-8 0,3-1 1 16,0 0-8-16,0 0-5 0,0 0 7 15,0 0-7-15,0 0 2 0,0-14 16 0,3 5-24 16,-3 1 11-16,0-3-8 0,0 3-17 15,0-4 12-15,0 3 13 0,0-1-29 0,0 4-17 32,1 0 10-32,-1 0-10 0,0 6 15 0,-1-1 6 0,1 1-6 0,0 0 0 0,-8 13-31 15,3-1-20-15,-2-1 3 0,1 4-24 16,2 1-58-16,-2 1-167 0,1 0-647 0,2 1 71 0,1 1 77 16,2-3 51-16,-2-1 67 0,4-2 82 15</inkml:trace>
  <inkml:trace contextRef="#ctx0" brushRef="#br1" timeOffset="137060.03">21266 7808 842 0,'18'-1'210'0,"-3"0"-34"0,1 1-53 15,-4 0-56-15,1 1-70 0,0 0-99 0,0-3-49 0,2 3-441 16,-2 2 62-16</inkml:trace>
  <inkml:trace contextRef="#ctx0" brushRef="#br1" timeOffset="137930.87">20666 6526 893 0,'10'0'366'0,"-4"3"-51"0,1-2-126 0,1 0-35 15,2 1-57-15,0 1-97 0,3-1-54 16,0 2-23-16,2-2-2 0,1-1-77 0,4 4-471 16,-1-2 53-16</inkml:trace>
  <inkml:trace contextRef="#ctx0" brushRef="#br1" timeOffset="138151.9">21233 6595 1018 0,'7'-2'330'0,"-7"2"-20"0,16 0-31 0,-6-1-18 0,4 2-23 0,-2 1 26 16,3-2-46-16,3 0-29 0,0 0-58 0,3 5-57 0,-1-4-77 15,2 0-102-15,-1 3-94 0,0-1-50 0,2 1-488 16,-5 2 33-16,5-4 69 0,-2 3 54 16</inkml:trace>
  <inkml:trace contextRef="#ctx0" brushRef="#br1" timeOffset="138280.34">21804 6657 944 0,'9'-1'392'0,"1"1"-8"0,-3-1-47 0,2 0-96 15,-1-2-11-15,1 3-35 0,-1-1-16 16,1 0-7-16,0-2-34 0,1 3-28 15,0-2-31-15,-3 2-35 0,3-2-85 0,1 2-100 16,-1-2-123-16,-2 2-496 0,2 2 46 0,3-4 72 16,-3 4 45-16</inkml:trace>
  <inkml:trace contextRef="#ctx0" brushRef="#br1" timeOffset="138432.75">22286 6656 1026 0,'8'0'374'0,"0"0"-16"0,-1-1-12 16,1-3-47-16,0 4-48 0,0 0-16 0,-1-5-48 15,1 5-25-15,2-2-63 0,-2 1-73 16,0-2-139-16,-1 1-153 0,1 2-504 16,5-1 104-16,-2 1 13 0,1 0 75 0</inkml:trace>
  <inkml:trace contextRef="#ctx0" brushRef="#br1" timeOffset="138535.31">22709 6655 1154 0,'18'1'338'0,"2"0"-21"0,-3-2-12 0,-3 1-54 0,-4 0-3 0,1 0-15 0,-3 0-41 16,0 0 10-16,0-2-38 0,1 2-34 15,-2 0-25-15,-1-3-23 0,-1 3-66 0,3 0-78 16,-1 0-176-16,-7 0-174 0,11-5-353 16,-6 5 53-16,4-1 29 0,-3 0 91 0</inkml:trace>
  <inkml:trace contextRef="#ctx0" brushRef="#br1" timeOffset="141654.57">17348 8713 1095 0,'0'0'369'0,"0"0"-26"0,0 0-21 16,0 0-27-16,6-9-27 0,-2 6-17 0,2 2 59 15,-2-1-44-15,-4 2-2 0,11-3-34 0,-3 3-23 16,2-3 3-16,-2 2-38 16,2 2-8-16,2-1-18 0,-3 1-85 0,1 1-2 15,0 0-13-15,0 1 13 0,0-2-13 0,-2 3-3 16,0-2 1-16,-1 4-8 0,-1-2-3 0,2-2-23 0,-4 4-7 15,-1 1-26-15,0-1-23 16,-3-1-39-16,0 3-38 0,-3-2-76 16,-2-2-239-16,-3 10-524 0,0-1 107 0,-2 1 76 15,-3 3 155-15,5-1 7 0,-4 0 82 0</inkml:trace>
  <inkml:trace contextRef="#ctx0" brushRef="#br1" timeOffset="153157.87">15279 4800 1251 0,'0'0'364'0,"0"0"-39"0,0 0-23 0,-15 14 46 15,7-4-31-15,-2 0-20 0,-3 6-31 0,-2 2-28 16,0-2-22-16,-1 2-22 0,-5 7-46 0,1 0-2 15,-3 0-43-15,2 0-49 0,-2 0-26 16,0-2-49-16,5-3-30 0,3-3-95 16,2-2-141-16,-8-1-104 0,11-3-444 0,0-1 55 0,3-3 112 15,-1-2-6-15,2-4 114 16</inkml:trace>
  <inkml:trace contextRef="#ctx0" brushRef="#br1" timeOffset="153340.04">14951 4912 729 0,'3'-18'340'0,"2"2"-22"0,0 7-19 0,3-1-9 15,-3 3-27-15,2 2 52 0,1 3-3 0,-3 2-15 16,5 0-13-16,-2 5-12 0,2 2-34 16,3 4-28-16,0 4-18 0,2 2-8 0,6 8-36 15,-1 0-30-15,1 1-21 0,5 1-51 16,-3 1-30-16,0 0-16 0,0 1-36 0,-2-4-15 16,-1 0-36-16,1 0-64 0,-4-5-85 15,-4-1-117-15,-1-2-530 0,-1-4 74 0,-1 0 90 16,-2 0 46-16,0-2 63 0</inkml:trace>
  <inkml:trace contextRef="#ctx0" brushRef="#br1" timeOffset="153605.71">14889 5389 890 0,'11'-6'274'15,"-4"4"-28"-15,1 2-16 0,5-4-20 0,2 2-20 16,1 2-21-16,7-4-24 0,2 2-29 0,6-2-17 16,0 1-68-16,3 0-44 0,11 1-58 15,-1-3-132-15,-8 3-63 0,-3 2-430 0,-2-1 64 16,0-1 71-16</inkml:trace>
  <inkml:trace contextRef="#ctx0" brushRef="#br1" timeOffset="154008.87">15025 5452 1180 0,'8'-2'353'0,"5"2"-44"0,5-4-40 15,5 2-20-15,8-4-37 0,-1 4-35 0,4 0-21 16,10-1-41-16,-4 2-59 0,-6-2-33 15,12 3-69-15,-5-1-128 0,-8 2-189 0,16-1-405 16,-5 5 105-16,-9-4 31 0</inkml:trace>
  <inkml:trace contextRef="#ctx0" brushRef="#br1" timeOffset="158280.25">13615 5798 1213 0,'-2'-4'486'0,"-1"1"-43"0,3 3-28 15,-5-3-34-15,5 3-23 0,0 0-30 16,-5-4-26-16,5 4-41 0,-3-1-5 16,3 1-43-16,0 0-21 0,0 0-16 0,-2-4-17 0,2 4-11 15,0 0-15-15,0 0-20 0,0 0-8 16,0 0-10-16,12 8 15 0,-9-6-108 15,4 0 14-15,-3 1-9 0,3-1 1 0,1 2 2 0,-1-3-2 16,1 4-3-16,-3-3 8 0,3-1 7 16,-3 2 19-16,3 0-21 0,-3 0 18 0,0-2 7 15,1 0 1-15,-6-1 7 0,7 4-3 16,-2-3-2-16,-5-1 1 0,8 1 6 0,-6 0-12 16,-2-1 3-16,8 1 17 0,-8-1-20 0,5 3-15 15,-5-3 4-15,6 0-30 16,-6 0-15-16,7 1-44 0,-7-1-41 0,10 2-15 0,-5-1-33 15,-2 1-31-15,4-1-39 0,-1 0-38 16,-1 5-141-16,0-6-110 0,3 5-455 0,-3-1 92 16,3 0 81-16,-1 1 108 0,-2-2 49 15,3 2 64-15</inkml:trace>
  <inkml:trace contextRef="#ctx0" brushRef="#br1" timeOffset="158542.67">13556 5896 977 0,'-10'4'356'0,"8"-3"-8"0,2-1-46 0,0 5-23 0,0-5 49 0,2 8-31 0,3-2 23 16,0-1-80-16,1 0-25 0,-2 2-84 15,4 0-13-15,0 0-29 0,2 0-12 0,1 2-59 16,-4-1-26-16,6-3-45 0,-3 2-32 0,1-2-89 16,-1 0-87-16,2-1-77 15,-1 1-481-15,-1 0 87 0,0-3 84 0,0-1 93 0</inkml:trace>
  <inkml:trace contextRef="#ctx0" brushRef="#br1" timeOffset="158945.81">13574 6025 1044 0,'0'0'412'0,"-5"-5"-13"0,2 4-20 0,1-4-18 16,0-1-18-16,-4 0-20 0,4-1-27 0,-1 0-17 16,-4-4-7-16,1-1-34 0,1-2-15 15,-2 0-31-15,2-3 2 0,-3-2-7 0,0 1-36 0,3-2-3 16,-2 2-7-16,4-1-10 0,-2 0 2 16,-1 3-18-16,2 0-5 0,1 3-15 15,0 0-1-15,0 1-76 0,1 2-2 0,2 2-1 16,-2 0-20-16,2-1 13 0,2 1 2 0,1 2-5 15,4 0 3-15,1-1-6 0,0 3-17 0,2 1-3 16,3-3-20-16,2 3-6 16,1 1-35-16,4-3-26 0,1 3 8 0,1-1-39 15,2 2-28-15,1-1-43 0,1 2-31 0,-1-1-77 0,-1 2-59 16,-1-1-419-16,0 0-85 0,0 0 92 16,-6 0 82-16,-1 0 105 0,-3-1 38 15</inkml:trace>
  <inkml:trace contextRef="#ctx0" brushRef="#br1" timeOffset="159919.04">12254 4896 1382 0,'-6'4'450'15,"-1"4"-68"-15,0 3-14 0,-1-2-20 16,0 4-51-16,0 2-5 0,3 1-36 16,-3 2-31-16,3-1-17 15,0 2-32-15,0-1-4 0,2 0-29 0,1-2-15 0,0 0-38 0,1-2-14 16,2-1-27-16,1 0-5 0,3-1-57 16,0-2 3-16,1-2 7 0,1-3-25 0,0 0 5 15,2-4-23-15,1-4 7 0,2 0-4 0,-2-3 2 16,4-4 10-16,-2-3 3 0,1-2 8 0,0-4 20 15,5-9-21-15,-2-1 13 0,-4-1 21 16,-2 5-13-16,-2 0 13 0,2-7 25 0,-2 3-7 16,-3 6 23-16,3 2-11 0,-3 2 21 31,-2 3 28-31,-1 3 3 0,1 0 5 0,-1 5-3 0,-2 1 13 0,0 1-5 0,0 2-10 16,0 4-26-16,0 0 13 0,0 0-5 0,0 0-72 15,-3 15-10-15,1-6 7 0,2 2-17 16,0 3-3-16,0 3 21 0,0 2-14 0,0-1-4 0,2 2 0 15,-2 0-24-15,3 2-9 0,0-2-19 16,0 3 1-16,4-4-42 0,-2-2-15 16,1 0-28-16,1-4-36 0,1 3-56 0,2-6-82 0,-2 0-44 15,2-4-491-15,0 0 39 16,-2-5 119-16,2 0 4 0,0-1 147 0</inkml:trace>
  <inkml:trace contextRef="#ctx0" brushRef="#br1" timeOffset="160553.01">12662 4916 1228 0,'-6'-4'338'0,"2"0"-3"0,-2 3-30 16,1 1-29-16,5 0-4 0,-13 0 37 0,3 1-24 15,2 3-42-15,1 2-5 0,-3-2-16 0,0 5-24 16,2-2-9-16,-1 0-38 0,-1 4 5 16,3-3-18-16,-1 3-25 0,3 0-41 0,2-1-26 15,-2 0-5-15,2-2-28 0,1 2 7 16,2-3-17-16,2-2 2 0,-1-2 7 0,1 2-6 15,4-3-4-15,-4-1 11 0,3 1 5 16,-5-2-3-16,13-3-10 0,-5 1 21 0,-1-3-13 16,-1 3 15-16,1-4 3 0,3 0 4 0,-5 0 1 15,1 2 0-15,-2 2 18 0,2-3 20 0,-3 3-38 16,2-2 25-16,-3 2-22 0,-2 2 7 16,5 0 2-16,-5 0-4 0,0 0-3 0,0 0 13 15,8 6-18-15,-8-2-21 0,2-1 0 16,1 1-7-16,-3-1-23 0,3 1-3 0,-3-4 10 15,2 7-20-15,0-5 5 0,2-1 20 16,-4-1-15-16,7 3-5 0,-7-3 36 0,7-1 10 0,-7 1-5 16,8-5 38-16,-5 2-17 0,3 0 2 0,1-2 15 15,0-1-25 1,-1 2 2-16,1 0 8 0,1-2 2 0,-3 2-7 0,3 1-72 16,-1-3 8-16,-1 3 5 0,1 1 16 0,-2 1 9 15,1-3-15-15,-2 4 6 0,-4 0 4 16,11 2 1-16,-9 1-6 0,3-2-18 0,-2 3-4 15,0 2 7 1,-1-3 5-16,-1 1 2 0,1 1 9 0,0-2-9 0,1 2-7 0,0-4 5 16,-1 3 5-16,-2-4 16 0,2 2-6 15,1 2 24-15,-3-4-29 0,0 0 26 0,0 0-5 0,16-5 7 16,-11 1 6-16,2 2-18 0,-1-1 10 31,-2 0 2-31,2 2 11 0,2-3 7 0,-4 2 67 0,2 2 8 0,-1-3-8 0,-5 3-16 16,8-1-2-16,-8 1-12 0,8 0 6 0,-8 0-11 15,0 0-6-15,7 4-8 0,-4-3-33 0,-3-1-31 16,0 5-38-16,0-5-38 16,-3 8-57-16,0-3-31 0,-1 0-89 0,4-5-194 0,-6 4-625 15,1 1 74-15,0 0 122 0,2-1 73 0,-2-2 138 16,2 0 30-16,3-2 44 0</inkml:trace>
  <inkml:trace contextRef="#ctx0" brushRef="#br1" timeOffset="160774.26">13200 4712 1510 0,'-3'6'463'0,"1"1"-64"0,0 2-15 0,2 1-46 15,-3 3-36-15,0 0-18 0,1 0-74 0,1 1-59 16,-4 2-46-16,3-4-69 0,0 1-95 16,1 1-164-16,-1-3-621 0,2-2 43 0,0 2 56 15,-3-5 130-15,3 2 19 0</inkml:trace>
  <inkml:trace contextRef="#ctx0" brushRef="#br1" timeOffset="160975.68">13159 4597 1228 0,'-3'-3'361'15,"-1"0"-51"-15,4 3-90 0,-6-2-72 16,6 2-127-16,-5-1-157 0,5 1-588 0,0 0 107 0,-3 6 23 16</inkml:trace>
  <inkml:trace contextRef="#ctx0" brushRef="#br1" timeOffset="161258.84">13293 4682 1354 0,'0'5'453'0,"2"2"59"16,-2-1-57-16,0 1-32 0,0 0-16 0,2 1-113 16,1 1-25-16,-3-2-11 0,0 1-25 0,3-2-13 0,-3 1-48 15,2 0-8-15,-2-2-6 0,0 1-4 16,2-1-1-16,-2 0 24 0,1-2 66 15,-1 1-48-15,0-4-88 0,5 3-4 0,-5-3 14 16,0 0-47-16,8-2 24 0,-8 2-12 0,7-2-31 16,-2-1 1-16,-5 3 4 0,11-2-18 0,-7 1 16 15,2-1-16-15,-1 1 11 0,-5 1-23 16,13 1-37-16,-8 2 50 0,0-2-16 0,-2 0 5 16,2 2-15-16,-2-1-23 0,1 0-31 0,-1 1-21 15,0-1-68-15,-1 2-42 0,0-4-53 16,1 2-67-16,-3-2-28 0,7 0-133 0,-7 0-102 15,8-2-423-15,-2-3 77 0,-3 1 89 16,4 0 70-16,-2-2 115 0,3-5 77 0</inkml:trace>
  <inkml:trace contextRef="#ctx0" brushRef="#br1" timeOffset="161454.94">13572 4428 1361 0,'0'-3'517'0,"0"-1"-30"0,0 4-27 0,0 0-37 16,0 0-47-16,0 0-10 0,-6 19-28 0,4-8-39 15,0 3-14-15,-1 4-47 0,3 1 2 0,-3 3-17 16,1 1-36-16,2-1-34 0,-2 1-35 16,4 3-62-16,-2-5-71 0,0 0-72 0,2 1-23 15,1-4-72-15,-3 1-102 0,0-3-179 0,3-1-536 16,-1-3 91-16,0 1 78 0,-1-3 119 16,1-1 53-16,-2-3 67 0</inkml:trace>
  <inkml:trace contextRef="#ctx0" brushRef="#br1" timeOffset="161915.68">13497 4727 962 0,'0'0'422'0,"-2"-2"39"16,2 2-23-16,-2-5-49 0,2 5-18 0,0 0-28 0,4-6-33 16,2 5-34-16,-2-3-89 0,4 1-13 15,2-3-18-15,-2 2-28 0,3-2 13 0,1 2-26 0,1-5-12 16,-3 3-14-16,4-2-12 15,-2 1-8-15,-2-2-13 0,1 1-2 0,-4 1 0 16,3 0-18-16,-2 1 23 0,-3 0-31 16,-2 0 18-16,2 1-3 0,-3 3-4 0,1-2-9 0,-3 0-4 15,0 4 25-15,3-3-23 0,-3 3-5 16,0 0 8-16,0 0-18 0,0 0-3 16,0 0 8-16,0 0 3 0,0 0-6 0,-3 13 8 15,3-7-3-15,0-2-22 0,0 3 4 0,0-1 19 16,3-1-26-16,-1 2 7 0,-2-1-4 0,3 1 7 15,-1-1-8-15,1 1 3 0,-3-3 13 16,3 0-26-16,-1 1 6 0,-2 1 17 0,3-4-15 0,0 2 33 16,-1-2-10-16,-2-2 46 15,2 5 56-15,-2-5 6 0,6 0 7 0,-6 0-13 16,0 0 11-16,12-2-14 0,-9-1-25 0,2 0 1 16,-2-1-6-16,2 2-77 0,0-3 3 0,0 3-16 15,0-3-5-15,1 3 21 0,-2-2-49 16,2 1-5-16,-2 1-12 0,-1 0-42 0,2-2-38 15,0 3-49-15,0 0-38 0,-5 1-36 16,9-5-67-16,-2 5-94 0,-2-1-573 0,0 2 40 16,2-2 105-16,-7 1 95 0,11 0 64 0,-11 0 90 15,8 0 89-15</inkml:trace>
  <inkml:trace contextRef="#ctx0" brushRef="#br1" timeOffset="162223.68">13897 4581 1528 0,'0'0'499'0,"0"0"-44"0,0 0-32 0,0 0-37 16,-2 13-43-16,4-8-20 0,-2 0-44 0,0 2-13 15,3-3-23-15,0 3-25 0,-1 1-11 16,0-4-15-16,4 2-10 15,-2-1-31-15,0 0-69 0,0-2-3 0,2 2 11 0,-1-4-26 0,0 2 12 16,0-3-35-16,-5 0 18 0,12-3 0 16,-6 0-18-16,-1 0 5 0,2 0-15 15,-1-3-6-15,1 1 9 0,-1-1-14 0,-1 0-27 16,2 0-37-16,-1 0-40 0,-2 0-47 0,0 1-25 16,1 1-26-16,0-2-48 0,0 1-85 15,0-1-169-15,0 4-499 0,1-4 126 16,-2 0 45-16,2 1 98 0,-2 0 38 15,2 2 134-15</inkml:trace>
  <inkml:trace contextRef="#ctx0" brushRef="#br1" timeOffset="162622.17">14117 4521 1144 0,'0'0'366'0,"0"0"-31"0,0 0-10 0,0 0 5 0,-14 5 36 0,8 1-10 16,4-4-31-16,-4 2-30 0,4 1-42 0,0-2-25 16,-1 3-3-16,0-1-38 0,1 1-28 15,2-4-26-15,0 3-28 0,2 0-29 0,-2-5-14 16,3 3-11-16,0 0-7 0,-3-3-9 0,10-3 1 15,-10 3-13-15,12-4 13 0,-4 0-20 16,-2-1-4-16,-1 3 32 0,2-3-16 0,1 3 8 16,-3-3 20-16,0 1-5 0,-2 3-7 0,-1-2 33 15,1 0-26-15,2 0-20 0,-3 0 4 16,1 1 6-16,2-3-10 0,-2 2-3 16,-1-4 8-16,3 0-15 0,-2 0-70 0,3-2 21 15,1-3-16-15,-2 1 24 0,0-3 22 16,2-2-4-16,-1 0-11 0,-3-1 26 0,2 2 28 15,0-2 97-15,-3 4-10 0,3 2 0 16,-4 0 8-16,1 3-90 0,0 0 7 0,1 4 24 0,-3 2 3 16,0 2-11-16,0 0 43 0,0 0-9 15,-5 15 37-15,3-3-63 0,-1 2 5 0,-2 3 0 16,0 1-8-16,-1 0-30 0,1 0-19 16,2 1-20-16,-1 0-61 0,1 0-41 0,0-4-29 15,3 1-53-15,0-2-43 0,0-1-32 0,0-2-32 0,3 1-216 16,0 0-519-16,1-4 9 15,-1 2 91-15,2-2 135 0,-4-3 67 0,6 1 48 16,-2-3 111-16</inkml:trace>
  <inkml:trace contextRef="#ctx0" brushRef="#br1" timeOffset="165098.87">9077 12163 1238 0,'-5'-1'418'0,"5"1"-40"0,0 0-17 15,0 0-46-15,0 0-10 0,18 6-29 16,3-5-12-16,12 1-16 0,20 2-35 0,19-2-21 15,8 2-3-15,13-4-33 0,7 4-20 0,7-3 7 16,26 2-5-16,-4 0-22 0,2 0 53 0,-24 0-11 16,27-1-7-16,-30 3-53 0,2-2-14 15,-4 1-10 1,-4 2-43-16,-6 0-18 0,-5 0-34 0,-7 1-40 0,-11 2-44 0,-18-4-44 0,-7 0-94 16,-12 1-189-16,-8-1-508 0,-11 1 62 15,-5-2 82-15,-6 1 82 0,-7-1 49 0,-3 1 68 16</inkml:trace>
  <inkml:trace contextRef="#ctx0" brushRef="#br1" timeOffset="165513.13">8726 12465 1354 0,'-28'1'412'0,"13"0"-59"0,7-1 0 0,8 1-25 16,0-1-13-16,28-1-49 0,3-1-92 15,25-2-18-15,29-2 57 0,17 0 2 0,32-2-31 16,9 1 10-16,19-2-81 16,7 1-16-16,2 0 6 0,7-1-32 0,1 1 39 0,-2 2-7 15,-3 0-11-15,-4 1 79 0,-1 2 1 16,-8 0-11-16,-4 2 3 0,-6-2-33 0,-10 3 20 16,-8 1-39-16,-25 2-15 15,-6 0 6-15,-6 2-21 0,-7-1-11 0,-7 2-9 0,-10 1-26 16,-15-1-8-16,-4 0-5 0,-10-1-26 15,-9-2-30-15,-6 0 7 0,-7 0-2 0,-4-1 8 0,-1 0-39 16,-6-2 26-16,1 1 2 0,-3-1 8 16,-4 2 5-16,-4-2-15 0,6 1 20 15,-6-1-10-15,0 0-5 0,0 0-16 0,0 0 8 0,0 0-33 16,0 0-2-16,-21 0-11 0,21 0-10 16,-13-3-16-16,6 3-12 15,1-1-1-15,-2 1 6 0,1-1-3 0,7 1 11 0,-13-1-31 16,8 1-24-16,5 0-27 0,-10 1-92 0,10-1-16 15,-10 1 46-15,7-1-28 0,3 0-54 0,-8 1-486 16,6 2 66-16,-1-1 67 0,3-2 82 0</inkml:trace>
</inkml:ink>
</file>

<file path=ppt/ink/ink10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19:39.068"/>
    </inkml:context>
    <inkml:brush xml:id="br0">
      <inkml:brushProperty name="width" value="0.05292" units="cm"/>
      <inkml:brushProperty name="height" value="0.05292" units="cm"/>
      <inkml:brushProperty name="color" value="#0070C0"/>
    </inkml:brush>
  </inkml:definitions>
  <inkml:trace contextRef="#ctx0" brushRef="#br0">6105 4633 711 0,'0'0'182'0,"-2"4"-26"0,2-4-23 0,0 0 8 15,0 0-8-15,0 0 0 0,-5 2 54 0,5-2 2 16,-3 2-9-16,3-2-19 0,-2 3-5 16,2-3-20-16,-5 5 2 0,5-5-3 0,-3 3-1 15,1 1-37-15,2-4 23 0,-3 3-17 0,0 1-11 16,3-4-10-16,-4 4-6 0,1-2-1 15,3-2-9-15,-3 6 3 0,1-4-12 0,2 3-70 16,0-5-5-16,-3 5-3 0,1-2 11 16,2-3-5-16,0 4 30 0,0-4-7 0,0 6 5 15,0-6-8-15,2 3 0 16,-1 0 8-16,-1-3-11 0,7 3 11 0,-5 0-13 0,-2-3-3 0,8 1-22 16,-8-1-11-16,7 0-15 15,-1 1-59-15,-6-1-72 0,10-1-61 0,-7-3-54 16,2 4-456-16,0-2 29 0,-5 2 76 0,10-1 60 15</inkml:trace>
  <inkml:trace contextRef="#ctx0" brushRef="#br0" timeOffset="216.1">6104 4684 852 0,'0'0'356'0,"0"0"-34"0,0 0-33 16,0 0-20-16,0 0-21 0,0 0-48 16,0 0-31-16,0 0-33 0,20-2-65 0,-15-1-42 0,2 1-68 15,-7 2-102-15,10-6-79 0,-7 4-525 16,2 2 105-16,-5 0 11 0</inkml:trace>
  <inkml:trace contextRef="#ctx0" brushRef="#br0" timeOffset="436.1">6187 4638 1034 0,'0'0'320'0,"0"0"-11"0,0 0-19 0,0 0-29 0,0 0 46 16,0 0-10-16,0 0-18 0,0 0-3 16,9 13-35-16,-7-8-31 15,1-2-21-15,0 2-23 0,-1 0-12 0,3 1 2 0,-3-2-18 0,-2 1-10 16,0 1-2-16,0-1-106 0,-2 0-7 15,2 1-13-15,-3 1-31 0,-1-4-12 0,3 1-16 16,-4 2-41-16,2-1-18 0,-1-3-53 16,0 0-118-16,4-2-134 0,-7 3-447 0,4-2 92 15,3-1 56-15,0 0 80 0,0 0 94 0</inkml:trace>
  <inkml:trace contextRef="#ctx0" brushRef="#br0" timeOffset="1223.35">6611 4459 860 0,'-3'3'314'0,"0"0"-24"16,3-3-24-16,-4 4-110 0,-1-2 0 0,2 2-2 15,-2-1-14-15,2-1-6 0,1 0-14 0,-1 0-2 16,-2 2-8-16,0-2 2 0,5 2-25 15,0-4-5-15,-7 6-10 0,6-4-18 16,1 2 15-16,0-4-18 0,-3 7 10 0,3-5-4 16,0-2-9-16,3 6-17 0,-3-3 5 15,0-3-44-15,5 2-5 0,-5-2-17 16,8 1-52-16,-8-1-54 0,8 0-51 0,-8 0-66 0,5 0-72 16,0 0-405-16,-5 0 32 0,10-1 99 0</inkml:trace>
  <inkml:trace contextRef="#ctx0" brushRef="#br0" timeOffset="1404.94">6585 4508 890 0,'0'0'328'0,"0"0"-98"16,0 0-22-16,0 0-14 0,0 0-15 0,0 0-15 15,0 0-23-15,0 0-8 0,19-2-23 16,-15-1-36-16,-4 3-35 0,10-1-60 0,-2 1-86 15,-2-2-44-15,-1-2-69 0,4 3-479 0,-3 1 31 16,1-1 123-16</inkml:trace>
  <inkml:trace contextRef="#ctx0" brushRef="#br0" timeOffset="1660.75">6706 4458 852 0,'0'0'317'0,"0"0"-15"0,5-2-7 0,-5 2-29 0,0 0 72 0,0 0-34 0,0 0-17 16,0 0-21-16,11 5 6 0,-9-3-52 15,0 3 2-15,0-2-7 0,2 1-33 0,-2 1 2 16,0-1-30-16,-1 1 0 0,-1 0-14 16,0 1-24-16,0 0-27 0,-1-2-20 0,-3 3-7 0,0 0-47 15,2 0-15-15,-3-2-20 0,0-1-39 16,0 2-33-16,-1 0-62 0,2-1-97 15,-1-5-148-15,2 5-533 0,0-3 85 0,-2 0 102 16,3 1 51-16,2-3 70 0</inkml:trace>
  <inkml:trace contextRef="#ctx0" brushRef="#br0" timeOffset="2367.81">7128 4525 982 0,'0'0'285'16,"0"0"45"-16,-14 7-10 0,11-6-26 0,0 3-23 16,-2-1-33-16,0 0-20 0,0 0-23 15,-1 1-3-15,4-2-26 0,-3 3-13 0,0 1-1 16,0-4-19-16,2 2-11 0,-2 1-14 15,2-2-6-15,-1 1-27 0,3 0 30 0,-1-1-29 16,2 3-7-16,0-6 3 0,-3 5-18 0,3-2-18 16,0-3 0-16,3 6-19 0,0-3-22 15,1-1-10-15,0 0-11 0,0 2 1 0,2-4-47 16,1 1-64-16,-7-1-81 0,8 1-124 0,-1-1-537 16,-1-1 67-16,-2 1 69 0,-4 0 94 15,11-1 24-15</inkml:trace>
  <inkml:trace contextRef="#ctx0" brushRef="#br0" timeOffset="2540.87">7080 4583 949 0,'0'0'287'0,"0"0"-8"0,0 0 33 15,0 0-38-15,0 0-18 0,0 0-44 0,0 0-14 16,0 0-42-16,0 0-28 0,0 0-49 0,21 4-69 15,-21-4-64-15,12-2-135 16,-12 2-190-16,8-1-371 0,-1 0 46 0,-1-1 103 0</inkml:trace>
  <inkml:trace contextRef="#ctx0" brushRef="#br0" timeOffset="2753.53">7164 4546 1116 0,'0'0'325'0,"0"0"33"16,0 0-18-16,0 0-27 0,0 0-29 16,0 0-23-16,3 13-18 0,0-8-10 15,-3 0-15-15,0-2-16 0,2 2-15 0,-2-1-39 16,0 3-15-16,0-1-20 0,0-3-29 0,-2 2-20 16,-3 1-51-16,3-1-31 0,-2 1-66 15,2 0-93-15,0-6-166 0,1 3-560 0,-1 1 99 16,2-4 90-16,-3 6 71 0,3-4 42 15</inkml:trace>
  <inkml:trace contextRef="#ctx0" brushRef="#br0" timeOffset="3564.62">7644 4524 1098 0,'0'0'309'0,"0"0"-9"0,0 0-116 0,0 0-2 15,0 0-3-15,0 0-13 0,0 0-9 0,-16 5-9 16,16-5-20-16,-7 4-3 0,4 0 1 16,-2-1-14-16,0 1-1 0,0-1-19 0,-2 2 8 15,1-1-11-15,3-1-20 0,-1 2-5 16,1-1 5-16,-4 0-10 0,4 0 0 0,0 1 0 0,-1-3-5 16,3 2 15-16,-2-2-38 0,1 1 12 15,2-3-5-15,0 7-20 0,0-7 13 16,0 5-23-16,0-5-6 0,5 4-15 0,-4-3-27 15,3 1-4-15,-4-2-25 16,8 1-49-16,-8-1-46 0,10 0-102 0,-10 0-44 0,8-1-483 16,-4 1 40-16,-4 0 78 0,8-2 50 0</inkml:trace>
  <inkml:trace contextRef="#ctx0" brushRef="#br0" timeOffset="3703.37">7567 4594 929 0,'0'0'332'0,"0"0"-40"0,0 0-31 16,0 0-43-16,0 0-44 0,0 0-79 15,0 0-111-15,20-7-127 0,-17 7-569 0,3-2 119 16,-6 2 24-16</inkml:trace>
  <inkml:trace contextRef="#ctx0" brushRef="#br0" timeOffset="3940.96">7652 4532 924 0,'0'0'442'0,"0"0"-27"16,0 0-31-16,0 0-31 0,0 0-15 0,10 8-44 16,-8-5-91-16,1 0-14 0,0 1-17 0,-3 2-9 0,0-3-24 15,2 2-9 1,-2 1-15-16,-2 0-12 0,2-1-19 0,-3 2-25 0,0-1-31 15,1 0-43-15,-3 1-54 0,2-2-44 0,-2 1-153 16,2-2-192-16,-4 2-425 0,2-1 128 16,-1 1 20-16,2-1 126 15,-2 1 66-15</inkml:trace>
  <inkml:trace contextRef="#ctx0" brushRef="#br0" timeOffset="6265.03">4960 7765 1323 0,'0'0'420'0,"-7"12"-44"0,0-2-31 16,0 3-32-16,-3 4-21 0,-5 2-47 16,-4 7-9-16,-1 0-34 0,-2 4-36 15,-2-3-12-15,-1 2-44 0,-2-1-49 0,-1 0-30 16,5-1-36-16,-2-2-23 0,2-1-34 0,8-6-50 16,4-4-26-16,3-4-70 0,1-3-32 15,6-5-39-15,1-2-80 0,0 0-373 16,0 0 44-16,18-11 89 0,-2 1 23 0</inkml:trace>
  <inkml:trace contextRef="#ctx0" brushRef="#br0" timeOffset="6404.56">5077 7801 1128 0,'0'0'387'0,"1"9"-26"0,-2-2-36 0,-6 1-23 16,2 5-10-16,-6 0-44 0,1 6-28 0,-12 6-20 15,1 4-11-15,-3-2-40 0,-4 4-47 0,3-1-5 16,-1 1-38-16,1-1-41 0,1-2-44 15,4 1-96-15,2-2-150 0,5-5-311 16,8-7-218-16,-2-2 51 0,4-2 135 0,3-5 34 0</inkml:trace>
  <inkml:trace contextRef="#ctx0" brushRef="#br0" timeOffset="8273.29">9380 5777 1011 0,'0'0'437'16,"-5"-3"-119"-16,5 3-29 0,0 0-13 0,0 0-48 15,0 0 10-15,-6 10-20 0,9-5-21 0,-3 2-33 16,3 4-8-16,-1-3-23 0,4 3-18 15,1 1 11-15,0 0-24 0,1 1 57 16,3-1-1-16,1 0-14 0,-1 1-16 0,4-5-18 16,0 2-21-16,-1-1 1 0,6 2-72 0,-5-3-3 15,3-2-12-15,0 4-3 0,1-3 10 16,1 0-13-16,-2-3-2 0,-1 0 23 0,-1 0-13 16,2-4 36-16,-3 0-28 0,3 0 26 0,2-4-6 15,-1 1 5-15,3-2 19 0,2-2-19 0,2 0 3 16,-1-3 0-16,3 4-8 0,6-6 0 15,-3 4 1-15,-3 2 30 0,2-1-13 0,-4 2 3 16,4 3-8-16,-1 2-5 0,-3 0 71 0,2 4-7 16,0 0 3-16,0 2-8 0,0 1-42 0,5 5 24 15,-4-1-20-15,1 3-11 0,-4-2-8 16,-5 0-4-16,-1-5 25 0,1 4-26 16,-6-3 6-16,1-3-16 0,-4 1-3 0,1 0-12 0,-2-1 8 15,-4-2 12-15,3 2 11 0,-2-3 30 0,0 1-13 16,0-3-2-16,-8 0-26 15,14-5-48-15,-6 1-5 0,3-2 2 16,1-3 12-16,2-2-1 0,3-1 12 0,7-1-13 0,-4 1 6 16,13-4 4-16,-2 3-2 0,-1 3 28 0,-3 2-33 15,1 4 18-15,3-2-3 16,-1 6-10-16,1 0 3 0,2 5-3 0,8 1 20 0,-2 2-35 16,1 1 20-16,-1-1-5 0,-2 1 0 15,3 2-2-15,-4-5 4 0,0 1 11 0,-7-1-13 0,1-6 5 16,1 2 16-16,-1-2 9 0,3-2-12 15,-2 0 77-15,13-4 2 16,0-4-7-16,0 2-8 0,-1 0-13 0,0-3-18 0,-2 0-2 16,0 2 9-16,-2-1-17 0,-9 3-12 0,-4-1-24 15,0 2 5-15,-5 0-18 0,-4-1-40 0,1 1-32 16,-2 0-32-16,-3 1-37 0,-1-1-48 16,-1 1-5-16,2-1-93 0,-3 4-30 0,0-3-107 15,-3-2-83-15,1 4-519 0,-2-1 136 0,-1 3 48 16,0-3 74-16,-2 4 106 0,-3 0 45 15</inkml:trace>
  <inkml:trace contextRef="#ctx0" brushRef="#br0" timeOffset="11288.52">9354 5800 716 0,'0'0'292'16,"0"0"-18"-16,0 0 43 0,0 0-22 16,0 0-16-16,0 0-26 0,0 0-5 0,0 0-17 15,0 0-14-15,0 0-14 0,0 0-17 16,0 0-81-16,0 0 3 0,0 0-21 0,0 0-5 16,0 0-5-16,0 0-3 0,0 0-13 15,0 0-17-15,-8 0 7 0,8 0-5 0,0 0 13 16,0 0-8-16,0 0-23 0,0 0-2 0,0 0 12 15,0 0-7-15,0 0-13 0,6 12 5 0,-4-9-26 16,-2-3 26-16,2 4 0 16,-2-4-5-16,3 7-13 0,0-6 18 0,-1 3-23 0,-2-1 26 15,3 1-11-15,-1-3-7 0,1 3 7 0,0-2 6 16,-1 3-16-16,3-3 8 0,-2 1-5 16,-1 0-3-16,1 1 5 0,2-2 0 15,-3 3 3-15,4-3-5 0,-4 1-6 0,1-1 11 16,0 2 2-16,1-2-15 0,-1 0 11 15,-3-2 7-15,8 3-6 0,-6 0 6 0,1-1-13 16,-3-2 21-16,5 3-31 0,-2-2 13 0,-3-1 2 16,5 5 3-16,-5-5 7 0,5 0-20 0,-5 0 3 15,5 2 20-15,-5-2-18 16,5 3 8-16,-5-3-6 0,5 3 11 0,-5-3-3 0,3 3 26 16,-3-3-25-16,6 2-3 0,-6-2-8 0,4 1 28 15,-4-1-18-15,5 3 3 16,-5-3 59-16,5 2 2 0,-5-2-9 0,3 0 19 15,-3 0-20-15,5 4 0 0,-5-4-15 0,5 1-13 16,-5-1 15-16,6 2 6 0,-4 0-24 0,-2-2-2 16,5 2 2-16,-5-2-4 0,5 2 9 15,-5-2-22-15,5 1 2 0,-5-1 5 0,8 3 8 16,-8-3-8-16,5 1-3 0,-5-1 4 0,6 1-11 16,-6-1-67-16,7-1 0 0,-7 1 6 15,10 0 7-15,-10 0 10 0,8 0-10 0,-8 0 36 16,8-1-23-16,-8 1 6 0,8 0 1 0,-8 0 14 15,10-1-16-15,-10 1 15 16,7-2-2-16,-7 2-5 0,8 2 5 0,-1-4 0 16,-7 2 7-16,8 0 8 0,-3-1-12 0,-5 1-14 15,10 0 6-15,-10 0 0 0,11-2 2 0,-6 2 21 16,-5 0-10 0,11 0 20-16,-4 0-21 0,-7 0-12 0,10-1 15 0,-5 0 5 0,-5 1-15 15,10-2 18-15,-4 2 0 0,-6 0-13 0,8 0-5 16,-8 0 5-16,12 0-3 0,-12 0-2 0,8-1 5 15,-3 0 5-15,-5 1-13 16,8 0 11-16,-8 0 15 0,10 0-5 0,-5-1-3 0,-5 1-15 16,8-2 15-16,-8 2-7 0,10 0-3 0,-5-2 12 15,-5 2-29-15,8 0 34 0,-8 0 4 16,7 0-11-16,-7 0 3 0,8-2-3 16,-8 2-12-16,8-1 25 15,-8 1-16-15,10-2 9 0,-10 2-11 0,5-1-3 0,-5 1 9 0,10 0 1 16,-6-1 1-16,-4 1-20 0,10 0 14 15,-10 0-4-15,10-1-8 0,-10 1 23 16,10-2-6-16,-5 1-14 0,1 0-8 16,1 0 15-16,-7 1 0 0,10-1 10 0,-2 1-7 0,-3 0 5 15,-5 0 2-15,13-1 6 0,-5 1-9 0,-8 0-9 16,12 1 10-16,-4-1-3 0,-3 0-2 0,3 0-14 16,0 1 17-16,-1-1-4 0,-7 0 6 15,13 0 5-15,-5 1-18 0,-3 0 3 0,2-1 7 0,1 1-13 16,0-1 11-16,-1 2 0 15,1-1 7-15,0 0-15 0,-3-1 0 0,1 0 15 16,1 1-9-16,1 1-22 0,-3 1 21 0,-5-3-15 16,10 0 13-16,-5 0 12 0,0 2-2 15,1 0-21-15,-2-1 8 0,2-1 8 0,-1 2 7 16,0-2-5-16,0 2-5 0,1 0-5 0,1-2 29 16,-2 2-11-16,0 2-16 0,1-3 19 0,1 2-9 15,-2 0 4-15,1-1 4 16,1 0-22-16,0 0 12 15,-1 0 5-15,-1 1-17 0,2-1 20 0,-1 0-8 0,-1 1-5 0,0-2 8 16,0 1-29-16,0 1 50 0,0-2 66 0,-2 1-19 0,2 1-9 16,-2-1-13-16,2-2 15 15,-5 0-30-15,7 5 9 0,-4-4-14 0,0 2-8 16,-3-3-6-16,7 4 16 0,-4-3 0 0,-1 2-20 16,-2-3 12-16,6 2-10 0,-4 2 5 0,0-2-7 15,-2-2 2-15,6 5-6 0,-4-3-22 16,-2-2 3-16,3 5 12 0,0-4 5 0,-3-1-15 15,2 5 6-15,-2-5 11 0,5 2-9 0,-5-2 2 16,3 4-10-16,-1-2 0 0,-2-2-5 0,3 5 21 16,-3-5-14-16,2 1 1 15,-2-1-8-15,0 0-1 0,3 4 6 0,-3-4 3 16,3 3 0-16,-3-3 22 16,0 0-15-16,2 4-27 0,-2-4 22 0,0 0 15 0,2 2-22 0,-2-2 25 15,0 0-26-15,3 4 8 0,-3-4-10 16,0 0 15-16,0 0-23 0,3 2 13 0,-3-2-5 15,0 0 21-15,0 4-24 0,0-4 11 0,0 0 9 16,0 0-7-16,0 0-7 0,0 0-1 0,0 0 8 16,5 1-7-16,-5-1-8 0,0 0 5 15,0 0 10-15,0 6-3 0,0-6 1 0,0 0-1 16,0 0 14-16,5 1-29 0,-5-1 10 0,0 0 6 16,5 1 7-16,-5-1-10 0,0 0 13 15,3 5-3-15,-3-5-10 0,0 0-15 0,0 0 15 16,0 0 8-16,2 0-1 0,-2 0-2 0,0 0-5 15,0 0-2-15,0 0 7 0,3 5-10 16,-3-5 15-16,0 0-15 0,0 0 5 0,0 0 2 16,7 0-2-16,-7 0 16 0,0 0-21 15,0 0 20-15,0 0-7 0,0 0-6 16,0 0 11-16,0 0-3 0,3 1 3 0,-3-1-15 0,0 0 2 16,0 0 7-16,0 0-20 0,0 0 11 0,0 0-1 15,0 0-2-15,0 0-5 16,0 0 7-16,0 0 1 0,0 0 17 0,0 0-10 0,0 0-2 15,0 0 5-15,0 0 2 0,0 0-3 0,0 0 6 16,0 0-5-16,0 0-16 0,0 0 1 16,0 0 7-16,0 0-8 15,0 0-7-15,0 0 9 0,0 0 24 0,0 0-25 16,0 0 2-16,0 0-1 0,0 0 12 0,6 1-24 0,-6-1-16 16,0 0-25-16,0 0-43 0,0 0-28 15,0 0-29-15,0 0-43 0,0 0-34 0,4-7-30 16,-4 7-105-16,3-6-167 0,-3 5-524 0,0-3 117 15,0 4 85-15,3-4 62 0,-3 4 81 16,2-4 69-16</inkml:trace>
  <inkml:trace contextRef="#ctx0" brushRef="#br0" timeOffset="12591.35">10367 6064 1126 0,'0'0'386'15,"0"0"-38"-15,0 0-25 0,0 0-26 16,0 0-8-16,20 6-20 0,-17-6-34 0,2 2-2 16,-2 1-41-16,4-2-2 0,-4 2-27 0,4-1-14 15,-1 1-11-15,-1 1-15 16,0-1-3-16,2 0-4 0,-1 1-12 0,-1-2-14 0,0 3-11 15,-2-2-25-15,2 0 13 0,-2-1-3 0,1 2-5 16,-1-2-8-16,-1 0-3 0,-2-2-9 0,6 5-14 16,-6-5 27-16,3 2-4 15,-3-2 16-15,2 3-15 0,-2-3-3 0,0 0-3 0,0 0 9 16,0 0-9-16,0 0 1 0,12-5-8 16,-12 5-11-16,6-5-4 0,-4 4-1 0,1-2-5 15,0-1 6-15,-1 2 10 16,3-2-16-16,0-1 3 0,-2 3-10 0,2-3 7 0,-2 1 11 15,4 0-9-15,-2-2 1 0,3 1 8 0,-3-1-18 16,3 1-1-16,-1 2 9 0,-1-2-1 16,1-1 3-16,1 1 8 0,0 2-11 0,0-2 0 15,-1 0 3-15,1 3 0 0,0-3-15 16,0 0 17-16,-1 3 3 0,1-3-10 0,2 2 23 0,-2-2-11 16,0 3-4-16,-1-1 2 0,1 1 18 15,2-2-3-15,0 2-4 16,0-2-6-16,0 2 5 0,1-1-15 0,-1 1-10 15,0 1 17-15,1 1-86 0,-1-3 10 0,-2 3-3 0,2 0 23 16,0 0-12-16,0 0 7 0,0 2 8 16,1-1-1-16,-4-1 6 0,1 0 5 0,3 1-7 15,-3-1 20-15,-1 0-3 0,3 3-5 16,-2-1 11-16,-1-1-19 0,4 0 24 0,-3 0-8 16,2 2-8-16,0-1 18 0,0-2-15 15,1 2 10-15,-1 0 5 0,2 0 0 0,-1-2 13 16,2 3-21-16,-1-2 3 0,1-1 8 0,-2 0 5 15,4 1-13-15,-2-1 7 0,2 0 11 16,0 0-2-16,3 0-21 0,-3 0 12 0,1-1-7 0,0 0-5 16,-1-1 10-16,1 1-7 0,-1 1-8 0,1 0 12 15,-2 0 1 1,-3 0-3-16,4 0 7 0,-4-1-12 0,1 1 3 0,1-1 7 16,0 1 8-16,-2-2-6 0,1 0-2 15,0 2 8-15,-1 0-5 0,-1 0 20 0,3-3-23 0,-2 1 18 16,1 1-13-16,-1 0 21 0,1 1-13 0,-1 0 18 15,4-3-13-15,-4 3-26 16,3-3 14-16,0 3 1 0,-1 0 4 0,1-1-3 0,2 2 61 16,-3-1 13-16,3 0-8 0,1 0-12 15,-1 0-3-15,2-1-3 0,0 1-33 0,-1 0 16 0,1 0 7 16,0-1 0 0,0 1-18-16,1-3-7 0,3 2 10 0,-4 1-5 0,3-1-8 15,0-3 7-15,-1 2 1 0,0 1-8 0,1-4-20 16,-1 3 25-16,-2-1 3 0,0 1 4 0,0-3 4 15,2 0-19-15,-2 3-7 0,0-4 0 16,1 1 15 0,-1 1 10-16,-3-1 3 0,3-2 0 0,-3 0-13 0,1-1 8 0,1 2-13 0,-6 0-2 15,1-1 20-15,-1 1 15 0,1 0-7 0,-1 1-29 16,-4 1 26-16,1-2 8 0,-3 2-100 16,3 2 36-16,-3-3-6 0,-2 5 6 15,2-5 8-15,0 4 2 0,-3 0-8 0,1-3-36 16,-3 4-4-16,5-3-6 0,-5 3-23 0,2-4-15 15,-2 4-36-15,4-2-56 0,-4 2-36 0,0 0-41 16,2-4-11-16,-2 4-43 0,0 0-81 16,-2-2-109-16,2 2-536 0,0 0 83 0,0 0 124 15,0 0 66-15,-8 11 128 0,5-9 56 0,0 0 65 16</inkml:trace>
  <inkml:trace contextRef="#ctx0" brushRef="#br0" timeOffset="18361.82">15244 2783 1195 0,'2'-4'392'0,"3"2"-32"0,-5 2-47 16,3-5-9-16,-3 5-101 0,0 0-6 0,0 0-5 15,0 0-29-15,0 0-1 0,-16 14 1 0,6-5-19 16,-5 3 2-16,-1 2-3 16,-9 6-28-16,-3 2 6 0,2-2-6 0,-3 3 61 0,2-1-17 15,-2 0-10-15,3-2-16 0,6-4-5 16,5-5-3-16,2 0-25 0,5 0-5 0,-2-5 4 15,5 1-12-15,0-2-5 0,2 0 8 16,3 0-13-16,0-5-85 0,8 3 34 0,2-3-16 16,0-3-15-16,8 3 12 0,3-3 4 0,2-1-1 15,0 4 8-15,0 0 15 16,0 4-25-16,-3-1 7 0,4 6 8 0,-4 5-2 0,-5 4 9 31,-2 9-7-31,-5 3 6 0,-10 12-11 0,-9 15 7 0,-9 3 13 0,-6 6-12 0,-5 2 0 0,-10 16-6 16,0 0 88-16,0-3-26 0,11-21 5 15,1-1-21-15,6-6 8 0,3-3-20 0,7-9-10 16,5-7-19-16,3-5-30 0,3-3-3 16,2-6-40-16,4-2-29 0,2 0-36 0,2-1 16 15,7-2-41-15,3-2-18 0,2-2-41 16,1-2-52-16,5-1-109 0,-1-11-146 0,6 8-489 0,13 0 92 16,-9-5 92-16,-4 0 79 0,-1 0 75 15,1-3 46-15</inkml:trace>
  <inkml:trace contextRef="#ctx0" brushRef="#br0" timeOffset="33973.71">2619 8963 988 0,'0'-3'314'0,"0"3"-27"16,0-4-21-16,0 4-17 0,0-6-29 0,0 6 0 15,0 0 3-15,-5-5-24 16,3 4-2-16,2 1-12 0,-6-5-11 0,1 3-23 0,0 1 5 16,0-2-10-16,-3 1-8 0,-2 1 0 0,-3-3-18 15,3 4-20-15,-6 0 0 16,1 0-13-16,-3 0 10 0,2 4-4 0,-2-3-1 0,1 4-5 15,-1 1 0-15,0 0-10 0,5 2-11 0,-3 3 3 16,4 0-7-16,-1 2 12 0,0 1-23 16,2 3-5-16,1-1 0 15,3-1-7-15,-3 1 12 0,2 1-13 0,3-3-10 0,0 4 13 16,-1-3-20-16,-2 1 15 0,1-3-6 0,2 0-12 16,0 0 0-16,0-2-10 0,0 0 12 0,2-3 1 15,-1 0 2-15,3-3-15 0,-4 1-1 16,3 0 3-16,1-4-20 0,-1 1-10 0,2-3 12 15,0 0-18-15,0 0-12 0,0 0 30 0,0 0 3 16,0 0-23-16,0 0-15 0,0 0-6 16,0 0 21-16,-3 2 2 0,3 4 26 15,0 5 0-15,-3 3 18 0,-1 11-26 0,-4 13 3 0,-2 4 21 16,-6 13-6-16,-2 1 18 0,0 3-20 16,-7 4 5-16,4-1 4 0,-2 1 4 15,2-2-16-15,1-3 16 16,-3-1-19-1,5-1 16-15,0-3-3 0,5-10 1 0,0-3-6 0,0-2-5 0,4 0-7 0,1-3-9 0,5-8-9 16,1-3-36-16,-1-4-19 0,6-1-32 0,-1 0-11 16,1-2-15-16,2 1-16 0,2-4-7 0,1-2-10 15,2-1-34-15,0-3-12 0,4 0-75 16,-2-2-102-16,-4-1-44 0,7-4-368 0,1-1 33 16,2 0 80-16,-3-1 71 0,3-3 85 15</inkml:trace>
  <inkml:trace contextRef="#ctx0" brushRef="#br0" timeOffset="35396.64">4187 10221 151 0,'0'0'43'0,"0"0"16"0,4 4-85 16,-4-4-20-16,-3 6-130 0</inkml:trace>
  <inkml:trace contextRef="#ctx0" brushRef="#br0" timeOffset="36861.39">9477 9306 627 0,'0'0'197'0,"0"0"10"15,0 0-28-15,26-1-7 0,-16 2-8 16,5-1 53-16,6 0-25 0,3 0-28 0,9 0-21 0,17 0-10 16,2 0-28-16,2 3-13 0,2-2-22 15,3 1-45-15,0 0 3 0,2 2-33 0,-2-3-36 16,13 3-28-16,-13-2-49 0,13 4-17 0,-3-1-83 16,-10-5-58-16,8 7-385 0,-10-3 52 0,-4-2 33 15</inkml:trace>
  <inkml:trace contextRef="#ctx0" brushRef="#br0" timeOffset="37233.22">11433 9437 726 0,'29'-5'233'0,"2"2"39"0,4 0-14 16,14 1-12-16,5-3-39 0,5 5-25 16,13-2-13-16,2-2-28 0,-13 4-16 15,14 0-28-15,-1-2-66 0,-12 2-15 0,15 0-96 0,-16 2-20 16,14-2-81-16,-13 0 22 0,11-2 46 16,2 0-61-16,-14 0-31 0,-5 2-158 0,3-1-259 15,0 1 90-15</inkml:trace>
  <inkml:trace contextRef="#ctx0" brushRef="#br0" timeOffset="37878.51">9959 9866 578 0,'31'-3'228'0,"-3"3"-16"0,6-2-7 16,17 1-44-16,5-2 52 15,19 2 2-15,6 1-36 0,1 0-15 0,3 0-29 0,5-1-30 16,0 1-18-16,0 1-43 0,2-1-36 16,0 0-54-16,0 0-82 0,-2 4-49 0,0-7-115 15,-1 6-373-15,-3 0 73 16,-3-3 14-16</inkml:trace>
  <inkml:trace contextRef="#ctx0" brushRef="#br0" timeOffset="38140.99">12795 9878 691 0,'41'-5'146'0,"5"0"-36"0,3 0-18 0,5-1-26 0,5 5-50 0,0-1-27 0,10-2-35 16,-8 2-2-16,-2 1 4 0,0 1-4 0,0 0 17 16,0 0-28-16,3 1 10 0,2-1-20 0,8 0-64 15,2 2 38-15,-2 1 31 0,-11-2-2 16,-2 0-26-16,11 4 35 0,-1-2-48 0,-13 1 34 15</inkml:trace>
  <inkml:trace contextRef="#ctx0" brushRef="#br0" timeOffset="38344.68">15097 10013 606 0,'18'3'207'15,"-5"-2"-12"-15,3 1-16 0,-4-2-5 0,1 0-5 16,-3 3-20-16,3-3-3 0,2 0-13 0,1-3 0 15,2 3-28-15,2 0-3 0,-2 0-5 16,6 0-20-16,0 0-3 0,0 0-104 0,2 0-16 16,0 0-29-16,-1-1-17 0,1 1-43 0,-3 0 9 15,0 0-25-15,-3 1-31 0,-2-1 39 16,0 0-36-16,-2 0-200 16,-3-2-179-16</inkml:trace>
  <inkml:trace contextRef="#ctx0" brushRef="#br0" timeOffset="44815.16">4770 11909 258 0,'67'-10'-43'0</inkml:trace>
  <inkml:trace contextRef="#ctx0" brushRef="#br0" timeOffset="45073.68">4565 11943 693 0,'31'-5'254'16,"2"3"-24"-16,-2 0-18 0,12-3-17 0,6 2-52 0,2-4-12 0,0 4-16 0,3-2-15 16,3 3-41-16,-3-2-26 0,2 2-71 0,1-1-21 15,-2 2-62-15,-3 1-9 0,-3-1-367 16,-1 2-135-16,-9-1 59 0</inkml:trace>
  <inkml:trace contextRef="#ctx0" brushRef="#br0" timeOffset="45517.95">3116 12430 1223 0,'39'0'356'0,"0"0"-18"0,9 0-54 16,3-2-23-16,3 1-20 0,-3-1-24 0,4 1-15 15,3-2-48-15,1-1-98 0,-3 3-46 0,-1-2-56 16,-2 2-61-16,-1 0-75 0,-2-5-92 0,-3 5-491 15,-9 1 102-15,-7 1 15 0,-10-1 142 16</inkml:trace>
  <inkml:trace contextRef="#ctx0" brushRef="#br0" timeOffset="45761.36">3139 12575 1123 0,'21'-5'330'0,"-6"2"-48"0,3-2-29 15,3-1 1-15,9 3-55 0,11-4-27 16,3-1-36-16,2-1-70 0,0 2-33 0,0 0-50 16,3 0-86-16,-3-1-50 0,-2-2-27 0,2 6-526 15,-3-1 30-15,1 1 64 0</inkml:trace>
  <inkml:trace contextRef="#ctx0" brushRef="#br0" timeOffset="47417.75">6252 5838 1141 0,'0'-6'379'0,"0"6"-87"0,0 0-44 0,0 0-25 0,0 0-8 15,0 0-13-15,0 0-20 0,10 8-8 0,-9-1-21 16,1 1-4-16,0 1-11 0,1 3 39 0,-3-1-19 16,0 3-22-16,0-2-41 15,0 1-31-15,-3 2-34 0,1 0-35 0,0-2-56 16,1 0-59-16,1 0-93 0,-3 0-48 0,6-7-46 15,-3 4-458-15,3-3 15 0,2-4 102 0,-2 0 41 16</inkml:trace>
  <inkml:trace contextRef="#ctx0" brushRef="#br0" timeOffset="47577.93">6452 5839 998 0,'2'-5'320'0,"-2"2"-44"15,0 3 11-15,0 0-34 0,0 0 60 0,0 0-37 16,0 0 3-16,-2 19-43 0,2-11-29 15,0 3 0-15,0 3-115 0,-3 4 3 16,1 1-8-16,1-1-31 0,-1 1-20 0,0 0-41 16,2 0-41-16,0 0-13 0,-3 0-61 15,6-1-95-15,-3-1-85 0,2-2-296 16,0-2-157-16,1 0 42 0,0 2 96 0,-1-8 68 0</inkml:trace>
  <inkml:trace contextRef="#ctx0" brushRef="#br0" timeOffset="47874.05">6193 5777 1087 0,'10'-13'384'0,"1"0"-33"0,1 4-31 0,1 0-97 16,5 3-11-16,0 3-17 15,0 2-29-15,0 1 0 0,5 3-20 16,2 3-10-16,-1 2-5 0,1 3-9 0,6 2-17 0,2 3-5 0,-4 0-23 16,-2 5-5-16,0-3-3 0,-5-2-41 15,-1-3-26-15,-3 3-22 0,-2-2-26 16,-2 4-33-16,2-4-52 0,-3-1-125 0,-3 0-154 16,-2 3-360-16,2-3 20 0,-2 1 82 0,-5-3 87 31</inkml:trace>
  <inkml:trace contextRef="#ctx0" brushRef="#br0" timeOffset="55141.77">9713 12120 916 0,'-2'-1'307'0,"2"1"-25"0,0 0-9 0,17-3-14 15,1 0-44-15,13 1-15 0,16-4-3 16,6 1-23-16,4-1-13 0,20 2-20 0,2-2-23 16,3 1-8-16,2 0 0 15,4 3-28-15,-6-2-36 0,0 2-33 0,-3 0-49 16,-2 0-56-16,-15 2-80 0,-6 2-110 0,-2-2-457 0,0 4-1 15,-16-4 100-15,-7 4 36 0</inkml:trace>
  <inkml:trace contextRef="#ctx0" brushRef="#br0" timeOffset="55360.55">10138 12250 1008 0,'16'-4'412'0,"5"1"-105"0,9-2-35 0,19 0-29 0,10 1-10 0,18-4-36 16,0 3-10-16,5-2-29 0,-3 3-27 15,4-1-44 1,-1 2-31-16,-8 1-40 0,3-1-52 0,-16 3-118 0,-14 2-153 0,8-1-443 16,-5 3 118-16,-10-3-23 0,-9 1 68 0</inkml:trace>
</inkml:ink>
</file>

<file path=ppt/ink/ink10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20:51.113"/>
    </inkml:context>
    <inkml:brush xml:id="br0">
      <inkml:brushProperty name="width" value="0.05292" units="cm"/>
      <inkml:brushProperty name="height" value="0.05292" units="cm"/>
      <inkml:brushProperty name="color" value="#0070C0"/>
    </inkml:brush>
  </inkml:definitions>
  <inkml:trace contextRef="#ctx0" brushRef="#br0">1795 5957 1164 0,'1'-6'463'0,"-1"6"49"15,0 0-53-15,0 0-47 0,0 0-39 16,0 0-27-16,0 0-31 0,0 0-16 0,0 0-104 16,0 19-13-16,2-8-16 0,-4 0-7 0,2 3-16 15,-2 5-28-15,1 0-5 0,-1 0 3 16,-1 1-11-16,1-1-4 0,-1 5-34 0,-2-5-21 16,2 2-28-16,1-3-40 0,-3 0-44 0,2 0-26 15,1-5-51-15,-1 2-38 0,3-5-34 16,0 1-122-16,0-6-37 0,5 2-567 0,-2-3 79 0,4 0 94 15,1-3 49-15,2-2 113 16</inkml:trace>
  <inkml:trace contextRef="#ctx0" brushRef="#br0" timeOffset="493.01">2667 6000 1059 0,'0'0'451'0,"6"-5"-47"0,-6 5-28 16,10 2-17-16,-10-2-24 0,15 4-35 0,-7 0-24 0,0 2 8 15,2 1-41-15,-5 0-10 0,1 1-100 0,-2 1 6 16,-1 1-11-16,-3 3-26 0,-3 1-10 16,-2 1 13-16,-3 2-20 0,-2 3-14 15,-2-2 11-15,1-3-18 0,1 1-8 0,2-3-10 16,0-3-2-16,1 1-3 0,0-1-13 0,1-3 3 31,3 1-16-31,1-3 1 0,2 2 9 0,0-1 16 0,2-2-23 0,4 0 10 0,-2 0-7 16,5 1 4-16,1-3 3 0,3 3-5 0,2-4-12 15,3 2 7-15,0 0 5 0,5-3-26 0,0 1 8 16,0-1 16-16,0 1 4 16,2-1-22-16,-2 0-8 0,-4 0-16 0,1-1-12 0,-2 1-5 15,0 0-29-15,-3-1-20 0,1 1-5 0,-5-1-31 16,1 1-20-16,-2 0-19 15,0 0-14 1,-2 0-32-16,-3 0-96 0,3-5-96 0,-3 5-503 0,0 3 81 0,-5-3 121 0,8 2 48 16,-8-2 44-16</inkml:trace>
  <inkml:trace contextRef="#ctx0" brushRef="#br0" timeOffset="1380.44">1195 6909 1182 0,'0'0'435'15,"7"-4"-43"-15,-3 1-1 0,1 2-48 16,1 1-40-16,-6 0-14 0,17 1-18 0,-9 2 3 16,0-2-44-16,-1 5-30 0,-1 0 5 15,-2 1-31-15,0 0 13 0,-2 5-31 0,-2-1-92 16,-2 2 0-16,-2 2-5 0,-3 2-26 0,-1 2 8 31,-2 1 61-31,-3-1-2 0,1-2-13 0,1 0-13 0,1-3 11 0,0 0-34 0,1-4 5 16,3-1 11-16,0 1-11 0,1-2-5 0,0-2-4 15,0-1-1-15,2 1-3 0,3-4 19 16,0 3-4-16,0-5-14 0,3 7 28 16,4-7-29-16,-2 1-4 0,4-1-9 0,1 2 14 0,2-2-16 15,3-2 13-15,4 1-13 0,4 0 10 0,0-2-17 16,6 1 7-16,1-3 0 0,-2 4-7 16,-4-3-32-16,0 1 1 0,0 1-18 15,-4-1-28-15,1 2-49 0,-6-1 0 0,0 2-54 16,-2-3-25-16,-2 2-39 0,-1 1-81 0,0 0-106 15,-2 0-289-15,-1 0-268 0,1 0 78 0,-8 0 111 16,11-1 110-16,-7 0 54 0,2-2 51 16</inkml:trace>
  <inkml:trace contextRef="#ctx0" brushRef="#br0" timeOffset="2820.42">2998 6888 1067 0,'0'0'384'0,"0"0"-49"0,0 0-7 16,0 0-36-16,0 0-24 0,16-7-22 0,-11 6-13 15,-2-2 49-15,1 2-32 16,-4 1 9-16,8-2-34 0,-8 2-23 0,3-3 6 0,-3 3-16 16,0 0-39-16,0 0 9 0,0 0-16 0,0 0-21 15,-13 10 3-15,3-7-23 0,-3 2-18 0,3 1 0 16,-4 1-10-16,0 2-6 0,1-2 27 15,-3 0-60-15,4 0 11 0,1-2-13 0,1 2-16 16,2 0-7-16,0-3-3 0,4 2-2 16,0-2-21-16,2 1 15 0,2 1-14 0,2 1 9 15,4-2-5-15,2 1 3 0,2-1 10 16,3 3-15-16,2-3 23 0,3 2-18 16,0 0-8-16,-2-1 34 0,4 1-83 0,-5-1 16 0,-2 0 43 15,0-1 67-15,-1 2 8 0,-4-1-10 16,0 1 25-16,-3 0-90 0,-2 2-5 0,-3 0 24 15,-1-3-27-15,-6 5 29 0,-1-2-30 0,-4 3-14 16,-4 3-7-16,-2-2-44 16,-2-1-10-16,1 1-56 0,-3-3-34 0,2 2-38 0,1 0-100 15,1-6-92-15,-2 5-563 0,4-3 82 16,-1 0 117-16,1 0 73 0,-2-1 76 16,1-1 40-16</inkml:trace>
  <inkml:trace contextRef="#ctx0" brushRef="#br0" timeOffset="3840.36">1484 8138 1254 0,'4'-2'371'15,"-1"-2"-3"-15,1 2-32 0,4-1-14 16,0 1-35-16,0 2-8 0,0 0 44 0,2 0-27 0,0 4-14 15,-2-1-49-15,-1 1 5 0,-1 3-20 16,1-1-101-16,-5 2 6 0,-1 3-23 16,2 0-8-16,-7-2-25 0,2 3-14 0,0 1 6 15,-4-2-15-15,4 0-1 0,-1-1-37 0,1-4-9 16,2 4 3-16,2-2-21 0,1-2 24 16,0 2-11-16,4 0 1 0,-1 0 4 0,4-1-7 15,-3 0 25-15,3 0-7 0,1-1 15 0,-3 0 13 16,0 2 43-1,1-3-2-15,-3 2 7 0,-1-1 1 0,-3 2 20 0,1 0-13 0,-3-1-15 16,-5 0-6-16,0 4 16 0,-6 0-28 16,-2-2 5-16,-2 2-7 0,-3-2-11 0,-5 1-16 0,3-2-24 15,-1 1-53-15,1-2-17 16,4-1-48-16,1-4-52 0,2 3-25 0,3-3-57 0,-1 0-143 16,2 1-174-16,3-2-433 0,1-1 113 15,5 0 54-15,0 0 143 0,-10-2 46 0,10 2 120 16</inkml:trace>
  <inkml:trace contextRef="#ctx0" brushRef="#br0" timeOffset="4775.01">3094 8190 1172 0,'0'0'399'16,"7"4"-46"-16,-7-4-17 0,-3 6-14 15,-1-1-27-15,-2 1-9 0,-1 1-35 0,-4 1-8 16,1 3-10-16,-3-3-48 16,-5 5 1-16,5-2 17 0,-5 2-9 0,5-1-15 0,1-2-10 15,-1-1-18-15,0 2 13 0,5-4-18 16,-2 2-13-16,3-1-5 0,4 0-10 0,-2-1-11 16,2-1-17-16,0 1 20 0,3-1-18 0,3 0 5 15,0 1 1-15,2 2-22 0,2-2-83 0,1 0 9 16,5-2 14-16,-3 1-44 0,6-3 2 15,2 3-20-15,-3-5-44 0,5 2-40 16,-1-3-32-16,1 0-35 0,0-3-43 0,1 2-47 0,-1-5-163 16,-2 3-538-16,-2-1 92 0,-1-2 107 15,-2 2 73-15,0-3 58 0,0 0 79 16</inkml:trace>
  <inkml:trace contextRef="#ctx0" brushRef="#br0" timeOffset="4959.63">3160 8241 1190 0,'-6'10'422'0,"4"4"-25"15,0 1-31-15,-1-2-38 0,0 1-1 16,3 4-25-16,-2-1 3 0,2 4-42 0,0-2-42 16,-3 4-29-16,3-3-49 0,-2 3-79 15,2-1-49-15,0-3-94 0,0 2-198 0,2-1-657 0,1-1 120 16,-1-1 62-16,1-3 48 0,0-3 79 15</inkml:trace>
  <inkml:trace contextRef="#ctx0" brushRef="#br0" timeOffset="7261.8">1496 9441 1013 0,'0'0'399'16,"2"-3"-20"-16,-2 3-18 0,0 0-33 15,0 0-26-15,0 0-31 0,-7 9-38 0,-1-5-18 16,0 4-20-16,-4 2-16 0,-1 1-5 0,2 0-20 15,-2 1-6-15,-4 3-23 0,3-2-4 16,0 1-83-16,0-2 31 0,4 0-36 16,-2 1-22-16,1-1 17 0,3 0 0 0,-1-1 5 15,6-3-15-15,-3 2 5 0,4-1 0 0,-1-2-2 16,3 0 2-16,3 1-5 0,0-1 7 16,2-1-4-16,3 0-8 0,2-2-3 0,2 1 3 15,4-5-29-15,-1 3-2 0,1-2-25 16,2-1-42-16,5-3-14 0,-5 2-29 0,2-4-64 15,3 1-133-15,-10 0-67 0,7-2-501 0,-3-2 117 16,0 2 44-16,-4-2 69 0,-1-1 72 0</inkml:trace>
  <inkml:trace contextRef="#ctx0" brushRef="#br0" timeOffset="7432.8">1501 9451 1087 0,'-8'5'397'0,"3"-1"-26"0,-2 1-15 0,1 5-41 0,-2 0-26 0,1 4-12 16,0-1-29-16,1 6-20 0,1-2-26 0,-1 4-5 16,2 4-31-16,1 0-71 0,0 0-21 15,-1 0-10-15,1 1 8 0,1 1-46 0,2-1-49 0,0-5-13 16,2 3-51-16,-2-4-82 0,5 4-110 16,3-1-164-16,2-5-399 0,3-2 105 15,-1-4 15-15,2-4 92 0</inkml:trace>
  <inkml:trace contextRef="#ctx0" brushRef="#br0" timeOffset="7945.17">2385 9567 1139 0,'-2'-4'348'0,"2"4"-33"0,2-6-11 0,-2 6-43 16,3-2-28-16,2 0-15 0,3-1-3 0,-8 3-21 15,15 4-22-15,-7-2-29 0,2 2-15 16,-2-1 5-16,-3 6-15 0,2-1 5 16,-1 3-18-16,-6-1-13 0,2 1 0 0,-4 2-23 0,-1 1 0 15,-2 4-15-15,-4 1 13 16,0 0-16-16,-3 2-3 0,-1-2 1 0,0-3-18 16,2 2 84-16,1-2-8 0,0-2-12 0,-1-1-5 31,7-3 2-31,-4-1-8 0,5-1 14 0,-1 0-16 0,3 0 5 0,1-3-36 0,0-1 31 15,3 4-26-15,2-5 11 0,3 2-96 0,2-2 17 16,0 1 1-16,5-4 1 16,1 1-13-16,2-1 3 0,0-1-24 15,5 1 21-15,-2-2-77 0,-1 0-28 0,3 1-20 0,-3-2-37 0,1 0-63 16,-5 2-154 0,1 0-506-16,-1-1 45 0,-1-1 72 0,-2 3 82 0,-2-1 87 0,-4 2 56 15</inkml:trace>
  <inkml:trace contextRef="#ctx0" brushRef="#br0" timeOffset="8824.19">1283 10596 660 0,'0'0'292'0,"10"-2"-6"0,-5 2-9 16,-5 0-14-16,0 0 73 0,8 0-42 16,-8 0-38-16,0 0-13 0,-3 7-17 15,3-7-9-15,-7 9-35 0,2-3-21 0,-3 0-12 0,-2 2-9 16,2-1-17-16,-4 5-87 0,1-4 8 15,-2 3-11-15,3-4-10 0,2 3 13 16,1-3-26-16,1 0 18 0,1-1-13 0,0 1 6 16,5-1-1-16,0-1 9 15,3-1-17-15,0 1 19 0,4 0-3 0,0 1-10 0,7-2-15 16,-2 0 17-16,4 1-10 0,-1 1 3 0,3-1-10 16,0 0 2-1,-3 1 18-15,3 0 13 0,-5-3 5 0,0 4 18 0,-5 0 15 16,-1 1 15-16,-1 1 27 0,-6-2-11 0,-3 4 58 0,-2 3 4 15,-5 2-98-15,-3 3-13 0,-11 5 1 0,-1-1 1 16,-3 1-29-16,-3-2-17 16,-2-1-4-16,2-1-36 0,-2 1-11 0,2-5 4 0,0 1-37 15,8-5-51-15,5-4-33 0,0-2-51 0,6-1-116 16,1 0-97-16,3-2-465 16,3-3 37-16,1 0 96 0,4 0 38 0,0 0 92 15</inkml:trace>
  <inkml:trace contextRef="#ctx0" brushRef="#br0" timeOffset="9252.94">2388 10712 1379 0,'0'0'548'0,"0"0"-44"0,-3 17-53 0,-1-6-21 15,1 0-41-15,1 4-123 0,-1 3-13 0,-3 4-35 16,1 3-44-16,0-1-28 0,0 2-56 15,0-1-80-15,0-1-43 0,0 2-75 0,2-1-99 16,1-8-182-16,2 4-520 0,0 2 85 0,2-4 66 16,1 0 116-16,3-3 32 0</inkml:trace>
  <inkml:trace contextRef="#ctx0" brushRef="#br0" timeOffset="10394.76">2026 6339 747 0,'0'0'271'15,"8"-6"-28"-15,1 5-28 0,1 0 6 0,5-3-29 16,2 2 0-16,4 0-57 0,2-2-7 16,1 4-18-16,0-3-30 0,0 1-88 0,4 1-128 15,-3 1-84-15,-1 1-445 0,6 4-3 0,-4-3 120 16</inkml:trace>
  <inkml:trace contextRef="#ctx0" brushRef="#br0" timeOffset="10724.73">2006 7152 906 0,'3'5'381'0,"2"-1"-35"0,5-2-32 16,0 0-40-16,3 2-36 0,2 1-35 0,6-2-47 15,-1 2-74-15,3 1-85 0,3 1-163 16,-5-4-80-16,4 4-507 0,-4-2 62 0,2 2 90 15</inkml:trace>
  <inkml:trace contextRef="#ctx0" brushRef="#br0" timeOffset="11150.11">2039 8114 1297 0,'0'0'369'0,"5"5"-39"15,1-4-18-15,1 1-25 0,3-1-44 0,4-1-2 0,1 0-52 16,3 0-38-16,2 0-66 0,3-1-55 16,1 2-37-16,1 1-119 0,-4 3-183 15,7-3-505-15,-2 5 82 0,1 2 79 0,-3 0 49 16</inkml:trace>
  <inkml:trace contextRef="#ctx0" brushRef="#br0" timeOffset="11443.89">2235 8813 862 0,'0'0'351'0,"0"0"-52"16,25-2-20-16,-18 2-23 15,3 2-23-15,4-2-36 0,-1 0-20 0,4 1-34 0,4 2-28 16,-3-2-117-16,5-5-223 0,0 8-528 0,0-3 54 16,0 3 123-16,1-2 21 15</inkml:trace>
  <inkml:trace contextRef="#ctx0" brushRef="#br0" timeOffset="11915.21">1655 10045 1308 0,'5'-1'363'0,"-5"1"-35"16,7 0-44-16,-7 0-23 0,14 0-31 0,-7 0-15 15,6-1-41-15,-3 2-46 0,3-1-30 0,2-1-60 16,1 1-87-16,2 0-135 0,-3 0-625 16,3 0 67-16,-2 1 61 0,-1-1 115 0</inkml:trace>
  <inkml:trace contextRef="#ctx0" brushRef="#br0" timeOffset="12065.77">1547 10529 314 0,'18'-4'5'0</inkml:trace>
  <inkml:trace contextRef="#ctx0" brushRef="#br0" timeOffset="12864.25">2860 5170 962 0,'0'0'369'0,"0"-3"-29"0,0 3-12 0,0 0-31 16,3 11 56-16,-1-1-23 0,0 2-43 15,-1 3-6-15,4 3-48 0,-1 1-41 0,2 4-36 16,-1 2-43-16,2-3-126 0,1 0-25 15,3 2-62-15,1-4-84 0,1 0-131 16,-5-4-108-16,10-3-385 0,0 0 65 0,0-10 73 0,2 0 68 16</inkml:trace>
  <inkml:trace contextRef="#ctx0" brushRef="#br0" timeOffset="13053.27">3277 5314 1054 0,'8'-14'305'0,"-6"4"10"16,2 2 45-16,-4 1-11 0,-3 3-19 15,1 2-44-15,2 2 4 0,0 0-42 0,-21 12-77 16,8-2-19-16,-5 5 39 0,-4 10-14 15,-2 2-31-15,-1 4-10 0,1-1-39 0,1 2-41 16,0 1-51-16,3 2-43 0,0-3-62 16,2 1-82-16,5 0-61 0,-1-4-161 0,7-4-495 15,-1-3 126-15,1-4 62 0,4-2 104 0,-3-3 13 16</inkml:trace>
  <inkml:trace contextRef="#ctx0" brushRef="#br0" timeOffset="13558.59">1732 5301 1018 0,'-8'18'318'0,"3"-1"27"0,-5-2-30 16,2 3-23-16,0 2-52 0,-8 10-17 0,1 0-31 16,-4-1-36-16,0 4-107 0,3-2-167 15,-7-1-174-15,5 0-460 0,3-1 43 0,0-8 84 16,4-4 103-16</inkml:trace>
  <inkml:trace contextRef="#ctx0" brushRef="#br0" timeOffset="13785.56">1453 5465 760 0,'17'16'292'0,"1"-3"-21"16,0 1-28-16,0 3 5 0,8 2-45 15,1 1-22-15,2 0-25 0,4 1-33 0,-2-1-20 16,3-1-29-16,-1-1-18 0,0-2-15 15,-2 0-38-15,0-1-49 0,-6-1-41 0,-4-4-67 16,2-1-56-16,-8-5-18 0,3 5-432 0,-5-2 5 16,0-2 143-16</inkml:trace>
  <inkml:trace contextRef="#ctx0" brushRef="#br0" timeOffset="14944.49">7165 8519 988 0,'8'-36'212'0,"-1"-4"-15"0,0-8-15 0,-1-15-31 0,4-6 2 0,-2-7-22 16,-1-6-26-16,1-3-23 0,0 0-18 0,2-25-49 15,3 5 16-15,0 2-23 0,0 22-14 0,-1 2-22 16,1 8-41-16,-3 3 21 0,0 7-1 16,-2 16-2-16,-2 5-54 0,-2 11-31 0,-1 6-145 15,0 4-300-15,-1 4-59 16</inkml:trace>
  <inkml:trace contextRef="#ctx0" brushRef="#br0" timeOffset="15259.2">7072 7638 627 0,'21'-62'243'0,"7"-3"-28"0,0 2-8 16,3-3-30-16,2 4 2 0,0 5-25 0,1 4-14 15,2 6-17-15,-5 9-10 0,-6 8-1 16,-1 6 4-16,-4 9-29 0,-5 9-11 15,-2 4 1-15,-3 5 18 0,0 8-21 0,-2 9-20 0,0 16-36 16,-3 9-67-16,-3 16-92 0,-9-2-189 16,14 3-417-16,1 0 89 0,2-4 62 0</inkml:trace>
  <inkml:trace contextRef="#ctx0" brushRef="#br0" timeOffset="15595.01">8370 6752 1054 0,'2'-33'364'15,"1"0"-68"-15,-1-9-34 0,4-1-45 16,1-1-45-16,4-12-14 0,1 4-42 0,6-3-32 0,-3 6-28 16,3 10-30-16,-2 2-21 15,5 4-64-15,1 3-33 0,-7 10-118 0,1 4 18 0,0 8-56 16,-6 2 10-16,-3 5-402 0,1 4 26 0</inkml:trace>
  <inkml:trace contextRef="#ctx0" brushRef="#br0" timeOffset="15835.02">8356 6651 1034 0,'0'-30'337'0,"3"1"-45"16,3-11-28-16,4 0-49 0,2-4 3 0,2-11-55 16,3 4-9-16,1 2-24 0,2 1-17 0,-3 12-5 15,3 3-16-15,0 3-10 0,1 6-21 0,-3 8-5 16,-3 4-2-16,-2 6-8 16,-3 5 0-16,-2 5-25 15,0 5-29-15,-1 8-66 0,1 5-144 0,-6 18-373 0,3 4-141 0,-5 3 25 16,-2 15 34-16</inkml:trace>
  <inkml:trace contextRef="#ctx0" brushRef="#br0" timeOffset="16292.27">9331 8274 1036 0,'7'-36'361'0,"-3"-2"-41"15,3-6-31-15,0-13-25 0,2-4-46 0,3 0-37 16,1 3-17-16,0 2-23 0,-1 16-41 15,-1 3-26-15,-1 1-69 0,-2 12-61 16,-3 3-90-16,0 4-38 0,-2 4-305 0,2 2-236 0,-3 3 73 16,1 3 40-16</inkml:trace>
  <inkml:trace contextRef="#ctx0" brushRef="#br0" timeOffset="16445.24">9549 7615 936 0,'3'-4'277'16,"-3"-1"-1"-16,0 1-27 0,0 4-37 0,0 0 75 0,0 0-29 0,0 0-40 0,-24 11-39 15,12 0-20-15,-6 6-49 0,-8 11-39 16,-2 2-71-16,-3 9-169 0,-2 5-473 0,-3 3-75 16,0 3 36-16,3 0 57 0</inkml:trace>
  <inkml:trace contextRef="#ctx0" brushRef="#br0" timeOffset="16949.14">9565 7765 790 0,'2'7'349'0,"3"3"-47"16,-2 3-36-16,-1 3-38 0,4 4-54 16,-2 4-69-16,-1 1-72 0,5 11-107 0,-1 2-331 0,1 2-219 15,2 1-11-15</inkml:trace>
  <inkml:trace contextRef="#ctx0" brushRef="#br0" timeOffset="17636.25">10149 9398 1090 0,'-7'-30'358'0,"-1"-4"-38"0,0-6-43 0,3-4-21 0,-3-5-44 15,1 2-22-15,1 2-50 0,3 3-22 0,-4 2-5 16,7 7-49-16,-3 8-16 0,-1 0-7 15,3 7-56 1,-1 4-49-16,-1 1-69 0,1 0 7 0,2 2-7 0,0 5 26 0,0 2-8 16,2 1 33-16,-2-1 23 0,0 4 43 0,0 0 42 15,0 0 51-15,13 6 12 0,-10-1 27 0,-1 5 19 16,-2-1-25-16,0 3 3 16,-2 4 18-16,2-1-21 0,-3 4 12 0,-2 0-6 0,0 3-17 15,-6-1 1-15,4 1-10 0,-6-1-6 0,-5 5-12 16,0-1-8-16,-2-1-10 0,-1 0-13 15,-2-3-16-15,2-5-32 0,4-3-88 0,-1-1-97 16,2-2-108-16,1 1-542 16,2-4 82-16,2-1 77 0,4-6 38 0,0 0 71 15</inkml:trace>
  <inkml:trace contextRef="#ctx0" brushRef="#br0" timeOffset="17788.43">9938 9039 796 0,'21'-24'330'15,"5"1"-8"-15,2 0-132 0,-2 4 4 0,-1 6-2 0,-2 2-33 16,3 3 66-16,-3 3-12 0,0 3-27 15,3 3-37-15,2 5-21 0,5 7-23 0,-2 3-100 16,0 6-164-16,-1 3-644 0,-1 1 104 0,-3 3 31 16,-3-2 38-16</inkml:trace>
</inkml:ink>
</file>

<file path=ppt/ink/ink10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21:50.454"/>
    </inkml:context>
    <inkml:brush xml:id="br0">
      <inkml:brushProperty name="width" value="0.05292" units="cm"/>
      <inkml:brushProperty name="height" value="0.05292" units="cm"/>
      <inkml:brushProperty name="color" value="#0070C0"/>
    </inkml:brush>
  </inkml:definitions>
  <inkml:trace contextRef="#ctx0" brushRef="#br0">3567 6463 1018 0,'0'0'315'0,"0"0"-5"0,0 0-118 0,0 0-16 0,0 0-4 16,0 0-8-16,0 0 7 0,21-2-30 0,-15 0 2 15,1 1 1-15,-2-1-29 0,3 1 62 16,-1-3-1-16,1 3-27 0,-1 0 2 0,2-3-11 15,1 2-9-15,2-2-6 16,-2 2-4-16,0-3-29 0,4 1-69 0,-4 2-3 16,3-3 3-16,-3 3 8 0,1-3-16 0,1 2 6 15,1-1 5-15,-2-2-1 0,2 1 3 0,-1 2 3 0,0-2-3 16,2-2 8-16,-2 2-10 16,1 1-9-16,0-1 12 0,-2 1-14 0,1-2 8 15,-1 1-2-15,1 3-6 0,-1-4 3 0,1 1 10 16,1 2 0-16,-3-1 3 0,1-2 7 15,1 3-20-15,-2-2 3 0,3 0-19 16,-3 0 11-16,1-1 10 0,-1 3-5 0,0-1-13 0,1-2 3 16,-4 4 20-16,3-3 8 0,-2 1-18 15,1 2-8-15,0-3-13 0,-1 3 11 0,-1-2 7 16,1 1-17-16,2-1 9 0,-2 2 9 16,0-3-14-16,3 0 1 0,-4 2-3 0,6-2 23 15,-3-2-13 1,0 2-2-16,0 1 7 0,1-3-10 0,-1 2-2 0,0 0 5 0,0 1-3 15,1-3 15-15,-1 1-38 0,0 1 18 0,-2 2-7 16,0-2 17-16,-1 1 8 0,1 2-18 16,0-3 13-16,0 2-3 0,-4-2-13 0,4 1 83 15,-3 2-24-15,1-3 3 0,1 0 12 0,1 2-32 16,-3-2-1-16,0 0 11 0,1 3-6 16,3-4 1-16,-3 0-11 0,1 1-2 0,1-1-8 15,0 3 5-15,0-2-25 0,2-1 7 16,-3-1 3-16,4 2-18 0,-1-1 20 0,0 0 5 15,-2-1-9-15,2 2 1 0,-2-1 1 0,2 0-3 16,-2-1 3-16,2 4-8 0,0-6 8 0,-1 4-8 16,0-2 11-16,2 2 7 0,-4-2-21 15,4 2 6 1,-1-2 10-16,-3 2-18 0,1 1-13 0,0-3 36 0,0 2-15 0,-3 0-3 16,2 2 5-16,-2-3 0 0,1 2-4 0,1 2-27 15,-2-3 34-15,-2 2-11 0,4-2 6 16,-1 0 7-16,-2 1-12 0,2 0 12 15,-1-1-12-15,1 1 30 0,-2-2-35 0,4 3 25 0,-2-3-18 16,1 0-3-16,-2 1 6 0,3-1-8 0,-3 0 8 16,2 3-1-16,1-3-2 0,-3 0-20 15,1 2 15-15,-2-1 5 0,2 1 16 16,-2-1-24-16,2 0 11 0,-1 2-6 0,0-1 1 16,-2-1 5-16,2 2-13 0,-3-3-1 0,1 3 22 15,0 1-19-15,2-4 19 0,0 3-22 16,-5-1 17-16,5-1-4 0,0-1 1 15,0 2 0-15,0-1-19 0,0-1 17 0,1 1-24 16,1-3 13-16,-1 3 2 0,1-3 3 0,0 0 10 16,1 1-12-16,0 1 9 0,-3-1-9 0,3 1 4 15,-2 0-4-15,1 1 9 0,-2 0-1 16,0 1 1-16,0-2-2 16,0 1-7-16,1 2 15 0,1-2-16 0,-4 1 6 0,2-2-11 0,0 3 0 15,0-3 8-15,0 2 3 16,1-1-11-16,-2 2 3 0,2-2 31 0,-1-1-34 0,0-1 8 15,2 2 3-15,1 0 4 0,-2 0-17 16,-2 0 13-16,2-1-11 0,1 0 10 0,-2 1-9 16,3-1-1-16,-3 0 13 0,1 1-2 0,-1 1 7 15,4-5-20-15,-3 5 2 0,-1-2 11 16,1 1-14-16,1-2-9 0,0 1 38 0,-1 2 0 16,-1-1-11-16,0-2-7 0,0 4 0 15,0-3 16-15,0 0-3 0,0 1-8 0,1 0-8 0,-3 2 1 16,1-3 17-16,2 0-2 15,-4 2 0-15,3-1-11 0,0 1-17 0,1-2 4 0,-1 0 9 16,2 0 2-16,-2 1-3 0,1-1 3 0,1 1-5 16,-2 1 0-16,1-2 38 15,-1-3-25-15,2 5 5 0,1-2-3 0,-3 1-20 16,3-3 43-16,-3 2-25 0,2-2 0 0,-1 3-14 16,2 0-1-16,-4-1 9 0,2 0-7 15,-2 0 10-15,2-1-10 0,-1 2-3 16,3-3 14-16,-3 3-9 0,2-5-7 0,-1 6-13 15,1-5 28-15,1 2-5 0,-2-1-15 0,1 2 25 0,0-4-15 16,1 2-11-16,0 0 16 0,0 0 5 16,-3 0 3-16,3 0 5 0,-1 0-8 15,1-2-13-15,-3 3 24 0,3-1-9 16,-1-1-14-16,-2 2 14 0,1 1 1 0,-1-1-11 0,0 0 9 16,0 1-12-16,-3-1-1 0,4 2 12 15,-4-1-10-15,1-1 5 0,2 2-8 0,-2 0 16 16,2-2-1-16,-3 2-9 0,3-2-1 15,-2 1 6-15,2-1 2 0,1 1 16 16,-2 0-14-16,2-1-20 0,-2 1 26 0,-1 0-15 0,2-1 4 16,-2 2 11-16,2-1 0 0,0 2-23 15,-2-2 7-15,-1 2 3 0,1-1 18 0,-1 1-16 16,1-1 4-16,-1 0 1 0,1 1 9 16,-3 0-1-16,2 0-2 0,1-2 2 0,0 4-5 0,-1-4 3 15,1 0-3-15,2 1 8 0,-3-2-13 16,1 1 11-16,0 0 7 0,0-1-18 15,1 1 10-15,-1 0-10 0,2-1 3 0,-3 1 0 16,2-1-3-16,0 1-3 0,-1-1-9 0,2-2 4 16,-3 5 8-16,1-4-5 0,2 4 11 0,-3-3-11 15,1-1 15-15,2 2-15 0,-2-1 8 16,0 2-1-16,0-2-4 0,-1 4 10 16,3-3-1-16,-5 1-9 0,3-2 23 0,-1 1-24 0,0 2-2 15,-1 1 13-15,1-3-5 0,1 1-3 16,-1 0-8-16,0 2 6 0,-2-1 17 0,4-3-15 15,-4 3 8-15,4-3 3 0,-3 4-4 16,1-3-4-16,1 1-13 0,-1 0 5 0,-1 2 10 16,1-3 0-16,0 1 3 0,1 3-5 15,-1-4-26-15,1 1 26 0,-1 0 4 0,1 2-4 16,-2-3 0-16,3 1-3 0,-1 0-3 16,-3-1 9-1,3 1-4-15,1 1-22 0,-3-2 20 0,4 0-5 0,-3 1 0 0,-1 0-5 16,1 3 2-16,0-4 11 0,1 1 7 0,-1 0 6 0,1 2-1 15,0-3-27-15,-1 0-9 0,1 0 27 16,-1 1-11-16,1 0 5 0,-1-1 23 16,1 2-8-16,-1-1-14 0,-1-1 1 0,4 1 1 0,-3 2-13 15,0-3 18-15,2 0-13 0,-2 0-13 0,1 0 10 16,2 0 8-16,-2 0 3 0,1 1-11 16,-1-1 6-16,0 0 15 0,1 0 0 15,-1 2-13-15,0-2 8 0,2 1-13 0,-2-2 2 16,-1 2-7-16,0 0-56 0,1-1 2 0,0 2 8 15,-1 0 12-15,1-3-30 0,2 1 31 16,-2 1-6-16,-1-1 11 0,1 0 7 0,0 0 1 16,-1 0 7-16,0 0 0 0,1 2 8 15,-3-1 12-15,3-1-25 0,1-1 18 16,-1 2-10-16,0-1 7 0,1 1 0 0,-3-1-7 0,4 1-3 16,-3 1 13-16,-1-3 5 0,4 2 5 15,-3 0 0-15,-1-1 0 0,1 1 0 0,0-2 11 16,1 1-19-16,-1 2 6 0,1-3 5 15,2 2 4-15,-2-3-14 0,-1 1 9 16,1 1 4-16,2-1-14 0,-2 0 6 0,-1 1 4 0,3-2-2 16,-2 3-5-16,2-2 0 0,-3 1 16 15,4-2-6-15,-4 0 3 0,3 1-13 0,-2 0 13 16,2-1-16-16,0 2 11 0,-5-1 5 0,5 1-8 16,-3 0 0-16,2-1-3 0,-2-1-4 0,0 1 10 15,4 0-6-15,-4 0-15 0,0 1 3 16,1-1 2-16,2 0-10 0,-2-2 13 15,-1 5 13-15,2-6-8 0,0 4 0 0,-2-1 13 16,-1 2-11-16,2 2-14 0,-1-4 14 0,1 1-7 16,-1 0 8-16,3 0-6 0,-3 0 0 15,-1 1 6-15,1 0 7 0,1-2 6 0,-1 4-22 16,-1-3 1 0,1 1 0-16,1-2 5 0,-1 3 0 0,-1-3-2 0,1 2 2 0,0-1 10 15,1 1-2-15,-3 1-6 0,3-1-2 16,-1-1-5-16,0 1 2 0,1-1 9 0,-3 3 1 0,0-1-4 15,3-2 5-15,-3 3-8 0,2-2 10 0,0 0-23 16,-2 0 21-16,1 2-6 16,2-2 1-16,-3 3-1 0,2-3-4 0,0 1-1 0,-2 1-7 15,0 3 18-15,3-6-24 0,0 1 27 16,-1 1-11-16,-1 0 12 0,1 0 1 0,-2 4-13 16,5-6 0-16,-3 3-2 0,-1-1 4 15,1 0 1-15,0 0-11 0,1 1-2 0,0 0 20 16,-1-1 3-16,0 1-13 0,-1-2-3 0,4 1 6 15,-3 1-8-15,-1-1 0 0,1 2 10 16,1-2-31-16,-1 2 34 0,0-2-3 0,1 1-15 16,0 0 10-16,-1 0 7 0,1-1 1 0,-3 4-13 15,3-6 13-15,0 6-8 0,-3 0 5 0,4-6-8 16,-1 4 11-16,-1-3-16 16,1 3-2-16,2-2 15 0,-2 2-5 0,1-1 3 0,0 0 7 15,-2 0 0-15,-2 3-23 0,5-4 3 16,-2 0 0-16,0 2 17 0,1-1-17 0,-4 3 8 15,6-4-14-15,-4 1 21 16,3 1-7-16,-5 2-6 0,5-4-2 0,-3 2 23 0,-2 2-11 16,8-4-2-16,-5 2-10 0,-3 2-5 0,5-2 20 15,-3-1-10-15,4 2 5 0,-6 1 7 16,5-2 1-16,-5 2-3 0,8-3-2 0,-6 1-3 16,-2 2 2-16,6-1-9 0,-6 1 9 0,7-3-12 15,-7 3 15-15,7-2 0 0,-7 2-2 16,8-2-14-16,-8 2 11 0,6-1 13 0,-6 1-2 15,7 0-11-15,-7 0 7 0,8-2-22 0,-8 2 7 16,0 0 6-16,10 0-19 0,-10 0 13 16,8 2 1-16,-8-2 2 0,5 0 10 15,-5 0-21-15,7 3 22 16,-1-3-9-16,-6 0-2 0,5 1 7 0,-5-1-4 0,8 1-1 0,-8-1 8 16,5 3-5-16,-5-3 0 0,7 1 18 15,-4 1-18-15,-3-2-10 0,7 0 10 0,-7 0 3 16,6 4-11-16,-3-4 21 0,-3 0-3 15,7 2-23-15,-7-2 6 0,8 1 17 0,-6 2-10 0,-2-3 5 16,5 1-18-16,-5-1 23 0,3 2-20 0,-3-2 10 16,5 3 5-16,-5-3 0 15,3 2-17-15,-3-2 6 0,5 1 4 0,-5-1 4 16,5 4-9-16,-5-4 4 0,3 1-5 0,-3-1 11 16,2 4 12-16,-2-4-15 0,3 2-2 0,-3-2 2 15,5 3 5-15,-3-1-13 0,-2-2 11 16,3 3-3-16,-3-3 18 0,2 3-23 0,-2-3-3 15,3 2 11-15,-2 2-3 0,-1-4 2 16,0 0-10-16,4 4 3 0,-4-4 8 0,3 3-16 16,-3-3 5-16,0 0 19 0,2 2-11 0,-2-2-18 15,3 4 30-15,-3-4 1 0,2 4-15 16,-2-4 4-16,0 4 1 0,0-4-3 0,3 4-8 0,-3-4 11 16,0 3 4-16,0-3-4 15,3 5-11-15,-3-5 24 0,0 5-21 0,2-2 20 0,-2-3-10 16,0 5 0-16,2-1-5 0,-2-4-2 0,0 4 14 15,1-1-19-15,-1-3 2 0,0 7 2 16,2-2 8-16,-2-5-7 16,0 4 7-16,3 0 0 0,-3-2-13 0,0 3 3 0,2-1 8 15,-2-4-24-15,0 6 24 0,0-3-6 0,0-3 8 16,1 6-10-16,1-2-5 0,-2-4 25 16,3 6-17-16,-3-3-1 0,0 1 29 0,0-4-29 15,2 7 13-15,-2-2-7 16,0-2 2-16,0 1-5 0,0 1-10 0,1-1 7 0,-1 1 8 0,0 0-15 15,0 0 15-15,-1 1-2 16,1-2-8-16,0 1-3 0,0 0 16 0,0 0-3 0,0 1-10 16,0 0 20-16,0-2-12 0,0 1 4 15,-2 0 1-15,4 0-11 0,-2 1-12 0,0-2 12 16,0 1 9-16,0 0-9 0,0 1-5 16,0-3 13-16,0 2 6 0,0 1-9 15,1 1-4-15,-1-3 15 0,0 2-16 0,0-1-5 0,2 0 16 16,-2-1 0-16,0 1-13 0,0 1 5 15,0 0 0-15,2-3 7 0,-2 2-17 0,0 0 13 16,0-2-9-16,0 2 4 0,0 0-6 0,0 0 18 16,0-2-12-16,0 1-1 0,3 2-2 15,-3-6 18-15,0 7-36 0,0-2 33 16,0-2-10-16,0 2 0 0,2 0 10 0,-2-2-20 0,0 2 15 16,0 0 8-16,0 1-18 0,0-3 8 15,0 2-1-15,1 1-10 0,-1-2 16 0,0 0-21 16,2 1 21-16,-2 0-16 15,0 0 8-15,0 1 0 0,0 0 11 0,2-3-14 0,-2 2 11 16,0 0-16-16,3 1 11 0,-3-2-6 0,1 1 18 16,1 1-7-16,-2 0-16 15,2 1 8-15,-2-2-2 0,2 0-3 0,-2 1 28 0,1 0-18 16,2 0-8 0,-3 0 1-16,2-1 20 0,-2 0-13 0,2 2-8 0,-1 0-2 0,1 0 2 0,-2-3 14 15,3 4-27-15,-3-1 9 16,0-3-1-16,0 5 5 0,2-3 9 0,-2 0-19 0,0-1 5 15,2 2-5-15,-2 0 16 0,0-2-6 32,0 2 14-32,1-4 1 0,1 4-30 0,-2-1 18 0,0-1 6 0,3 1-6 15,-3 0 2-15,0 1-2 0,0-2-13 0,0 1 21 0,0-1-18 16,2-2 17-16,-2 4 14 0,0-1 2 0,0 0-8 16,1-1-15-16,-1 2 0 15,2-1-2-15,-2-1-1 0,2 2 11 0,-2-2-8 0,3 2 5 16,-3-1 0-16,0 0 0 0,1 0-5 15,1-1 0-15,-2-1-18 0,2 2 23 0,-2 0 6 16,3 0-19-16,-3 0 3 0,0-1 7 16,2 0-7-16,-1-1 8 15,1 1-6-15,-2 1 8 0,2-1-2 0,-2 1 7 0,3 0 6 0,-3-1-19 16,0-1 0-16,0 2 6 0,3-1-6 0,-3 0 21 16,0 2-7-16,2-2-4 0,-2 1-2 15,2-2-7-15,-2 2 12 0,1-1-10 16,-1 0-10-16,2 1 0 0,-2-2 17 0,3 0-4 15,-3 3-24-15,0-3 11 0,2 2-8 0,-2-4 18 0,1 3 10 16,1 1-7-16,-2-3 7 0,0 1-2 16,0 1 5-16,3 1-24 0,-3-3 22 15,0 1 4-15,2 2 0 0,-1-3 1 0,-1 1-14 0,0 2-2 16,1-2 16 0,-1 0-27-16,1 1 32 0,1 0-11 0,-2 0 16 0,0-1-26 15,3 1 7-15,-3 0 1 0,0 0-5 0,0-1 2 16,2 1-5-16,-2 0 2 0,0 1-2 0,1-1 3 15,-1 0 5-15,2 0-11 0,-2 1-12 16,0-2 12-16,2 2 1 0,-2-1 2 0,0-1 5 16,3 1-10-16,-3 0 15 0,1 1 0 0,-1-3 11 15,2 2-42-15,-2 0 18 0,2 1 6 0,-2-3-3 16,0 2 8-16,2 0 2 0,-1 0-20 16,-1 1 10-16,3-2 13 0,-1 1-6 0,-2 0-12 15,2 1 10-15,-1-1-7 0,1-1 4 16,-2 1 3-16,3 1-7 0,-3-1 2 0,2 1-8 15,-2-1 16-15,2 0-6 0,-2-1-14 16,1 1 4-16,1 1 5 16,-2 0 16-16,3-3-21 0,-3 3-7 0,2-1 20 0,-2 0 0 0,1 0-7 15,1-2-3-15,0 3 2 0,-2-1 6 16,0-1 9 0,3 0-1-16,-2 1-11 0,1 0-5 0,-2-2 22 0,2 3-24 0,-2-2-1 0,3 2 0 15,-3-3 1-15,0 3 17 0,2-1-7 0,-2 0 12 16,1 1-25-16,1 0 15 15,-2-1-3-15,2 1-17 0,-2-1 15 16,3 0 8-16,-3 2-13 0,3-1 17 0,-3 0-12 0,2 1 0 0,-2-1 5 16,2-1 3-16,-2 1-10 0,1 1-4 15,1-1 19-15,-2 0-20 0,3-1 4 16,-1 1 6-16,-2 1-9 0,1-2 14 0,1 1-3 16,-2 0-5-16,3-3 10 0,-3 3-10 0,2-1 0 15,-2 1 3-15,1 0-8 0,0 0-8 0,-1-1 23 16,1 0-12-16,1 0 9 0,-2 0 9 15,3 2-14 1,-1-3 16-16,-2 2-33 0,1 0 25 0,1-4-5 0,0 4 0 0,-2 0-12 0,3-1 27 16,-3-1-22-16,1 1-9 0,1 1 17 15,0-1 14-15,0 1-25 0,-2-3 13 0,3 2-3 16,-3 0 13-16,3 0-41 0,-3 1 23 16,2-3 2-16,-1 2 1 0,1 0 10 0,-2 1 7 15,3-3-12-15,-1 2-11 0,-2 1-2 16,2-1 15-16,1 2-23 0,-3-2 21 0,3-1 15 15,-1 5-38-15,-1-4 25 0,1 0 5 16,0 0-38-16,1 0 18 0,-3 1 21 0,2 0 7 0,1-2-11 16,-3-1 1-1,3 2-28-15,-3 1 7 0,3-4 6 0,-1 3 4 0,-2 0 16 0,2-2-10 16,-2 1 17-16,3 1-25 0,-3-2 8 0,0 1-5 16,0-4-1-16,3 7-25 0,-3-2 28 15,0-3 5-15,2 3-2 0,-2-2 0 16,0 1 0-16,2 0 9 0,-2-4 1 15,0 7-18-15,0-4 21 0,1 1-21 0,-1 1 31 0,0-2-31 16,2 2 7-16,-2-2 3 0,3 2-2 0,-3 0-5 16,2 0 15-16,-2 1-6 0,2-3-1 15,-1 3-9-15,2-1 14 0,-3 1-16 0,2 0 5 16,-2-1 2-16,2-2 16 0,-2 3-46 0,1-2 23 16,1 0 11-16,1-1 4 0,-3 2 0 15,0-2-12-15,0 2-3 0,2 0 36 0,-2-2-18 16,0 2-3-16,0 0-25 0,1 1 23 15,1 1-8-15,-2-2-5 0,0 1 18 0,0 0-8 16,0 0-10-16,2 1-3 0,-2-2-10 0,0 2 11 16,0-3 15-16,0 4-13 0,0-1 7 15,0-1-4-15,0-1 0 0,0 2 20 0,3-2-11 16,-6 2-4-16,3 0 10 0,3 1 2 0,-3-2-9 16,0 1-16-16,0 1 15 0,0-2-8 15,0 1-4-15,0 0-6 16,0 1 0-16,0-1 3 0,0-1 0 0,0 1 3 0,3 1-6 0,-3 1-2 15,0-3 10-15,0 1-13 0,0 0 3 16,0-1 74-16,0 2 7 0,0-2-12 0,0 4 23 16,0-3-31-16,0 0-12 0,2-1 14 0,-2 1-27 15,0-2 20-15,0 2-30 16,0-1-16-16,0-1 0 0,0-1 0 0,0 1 0 0,2 1 0 16,-4 1 0-16,4-1 0 0,-2 0 0 15,0 0 0-15,1 0 0 0,1 1 0 16,-2-3 0-1,1 3 0-15,1-1 0 0,-2-3 0 0,2 4 0 0,-2-3 0 0,3 2 0 0,-3 0 0 16,0 1 0-16,3-1 0 0,1-1 0 0,-3 2 0 16,1 0 0-16,1-1 0 0,0 1 0 0,-1-1 0 15,0 1 0-15,2 1 0 0,-2-1 0 16,3-1 0-16,-3 1 0 0,1 0 0 0,-1 0 0 0,4 0 0 16,-4-1 0-1,1 1 0-15,2 0 0 0,-2 0 0 0,2 0 0 0,-3 0 0 16,3 0 0-16,0 0 0 0,-2-1 0 0,2 0 0 0,0 2 0 15,-2-3 0-15,4 2 0 0,-4-1 0 16,2 0 0-16,0 1 0 0,0-1 0 16,-2 0 0-16,2-1 0 0,0 2 0 0,-2-1 0 15,2-2 0-15,0 1 0 0,-2 0 0 0,1-1 0 16,-1 1 0-16,0-2 0 0,-1 3 0 16,0-2 0-16,2-2 0 0,-2 4 0 0,0-1 0 15,-1-1 0-15,4 1 0 0,-3 1 0 16,3 0 0-16,-2 0 0 0,0 0 0 0,1 1 0 0,0-1 0 15,0 1 0-15,2 2 0 0,-1-1-52 0,0-1 6 16,0-2 13-16,1 3 10 16,1 1-31-16,-2-1 39 0,0-1-6 0,2 1 6 15,-1 2-3-15,-1-3 10 0,2 1-7 0,1 1-3 16,0-2 0-16,-3 4 5 0,3-3 3 0,0 0 15 16,-1 3-10-16,3-1-13 15,1 0 0-15,-4 1 0 0,3 0 21 0,1 1-6 0,2 1 1 16,2 2 7-16,3-2-20 0,10 6 4 0,-3-1 29 15,4-1-10-15,-3-5-18 0,-3-3 15 0,3 2-18 16,-1-3 5-16,1-2-2 16,-1 3-10-16,1-2-26 0,-3-1-3 0,-2-2-15 0,2 1-18 15,-5 0-59-15,-3-4-20 0,0 2-18 0,-2 0-13 16,0 1-16-16,-3-2 6 0,0-2-36 0,-2 1-2 16,0 0-45-16,-3-1-52 15,-5 0-70-15,10-2-323 0,-7 1-212 16,2-4 123-16,-5 0 38 0,2 2 83 0,-2-7 104 0</inkml:trace>
  <inkml:trace contextRef="#ctx0" brushRef="#br0" timeOffset="1655.65">3578 6463 1264 0,'3'-4'407'0,"-3"4"-102"0,0 0-21 0,0 0-16 16,0 0-24-16,0 0-9 0,0 0-28 15,0 0-2-15,0 0-13 0,0 0-20 0,0 0-14 16,0 0 6-16,0 0-20 0,-11 9-24 0,11-9-2 15,-5 2-21-15,0 3-8 0,2-4 83 16,-2 3-24-16,0-2-20 0,0 2-12 16,-1-1-6-16,-1 2 0 0,-1 0-3 0,1-2-27 0,-3 1 7 15,2 2-18-15,-3-3 28 0,1 2-25 16,0 0-90-16,-2-1 20 0,1 0 3 16,-2 2 6-16,0-1 27 0,1 1-33 15,-4 1 5-15,3-2-4 0,-2 2 9 0,-3 0-7 0,2 1-1 16,-7 1 14-16,1-1 71 15,-14 5-23-15,2-2 8 0,0 1-34 0,-4 1 24 0,0-1 2 16,2 0-8-16,-3 0-7 0,-2 0-10 0,1-2 4 16,1 2-12-16,-2-1 10 0,0 0-5 15,0-1-15-15,-3 2 15 0,3 0-13 0,0-1-3 16,3 1-9-16,-4-4 27 0,1 5-9 0,3-3-4 16,0-1-12-16,0 2 13 15,1-3-18-15,-1 3-3 0,0-4 3 0,7-1 10 16,5 1-5-16,0-1-8 0,-2 0-2 0,0-1 10 0,2 1-13 15,1 1 8-15,-1-2-3 0,3-1-3 16,0 0-1-16,-2 2 4 0,1 0-5 0,1-1 3 16,-2 1-1-16,1 1-25 0,2-4 8 15,-1 5 10 1,-3-1 3-16,5-4 4 0,1 2-4 0,-1 1-16 0,-5 0 26 0,2 1-18 0,3-3 10 16,0 2 5-16,-5-2 0 0,6 1 3 0,-6 1-13 15,1 1-5-15,2-1 3 0,-3-1 4 16,3 1 11-16,-3 1-23 0,3-1 22 15,0 0-6-15,-3 1-12 0,3-1-6 0,3 0 7 16,-6 1 7-16,3-2 3 0,-2 2 8 0,4 0-5 16,-2-2-1-16,-3 1-7 0,5 1-2 15,-2-1 9-15,-3 0-1 16,4 1-4-16,-4-1 1 0,1 1-6 0,-2-1 16 0,2 0-23 0,-1 0 30 16,-2 1-15-16,3-1-10 0,-4-1 3 0,2 2 2 15,1-1 0-15,0-1 0 0,-3 0 10 0,2-1-2 16,-1 1-11-16,0 1 13 15,2 1-7-15,0-3 2 0,-2 0-8 0,2 1-2 0,3-1 10 16,0-2-20-16,-3 4 20 0,1-1-13 0,0-3 16 16,3 3-3-16,0-1 0 0,-4-1 11 0,3 2-6 15,0-3-13 1,2 2 6-16,0-3-6 0,1 5 14 0,2-6-6 0,-2 4 5 0,2-2-15 16,2 0 23-16,1-1-11 0,0 3-7 0,2-4-15 15,3 3 7-15,-1-1 11 0,1-1-13 16,2-1-6-16,1 2 11 0,-1-2 8 15,3 2-6 1,-1-1 11-16,6-1-13 0,-10 1 7 0,5-1-2 0,5 0-7 0,-9 1 12 16,9-1-8-16,-7 0-17 0,7 0 17 0,-4 2-2 15,4-2 8-15,-7 1-6 0,7-1 11 16,-3 3-11-16,3-3 6 0,0 0-31 0,0 0 30 16,0 0-22-16,-8 0-11 0,8 0-25 0,0 0-3 15,0 0-38-15,0 0-37 0,0 0-11 0,0 0-14 16,0 0-38-16,0 0-34 0,-3 3-55 0,3-3-109 15,0 0-170-15,8 4-398 0,-3 0 73 16,0 1 45-16,2-2 118 0,2 3 87 16,1 0 56-16</inkml:trace>
  <inkml:trace contextRef="#ctx0" brushRef="#br0" timeOffset="2043.55">612 7394 1018 0,'0'0'330'0,"-3"11"-12"0,3-7-31 0,0 5-29 0,0-1-15 0,0 4-7 0,0 2-14 16,3 3-30-16,-1 2 62 0,0 3-31 15,1 1-16-15,0 3-20 0,-1 2-29 16,-1-2-14-16,0-1-34 0,0-2-5 0,1-2-31 15,-2 1-28-15,3-2-15 0,-3-2-72 0,0-3-13 16,0-3-92-16,0 1-71 0,0-8-111 16,-3 3-519-16,3-2 20 0,0-1 113 0,-2-1 69 15,2-4 61-15</inkml:trace>
  <inkml:trace contextRef="#ctx0" brushRef="#br0" timeOffset="2270.11">598 7405 903 0,'0'0'387'0,"-10"8"-32"0,5-4-37 0,-2 5-26 0,2-2 51 0,-1 4-29 16,-1 1-35-16,-1 3-33 16,2 2 2-16,-2 1-45 0,-2 1-14 0,0 3-35 0,0 1-60 15,2-1-37-15,1-1-52 0,-3-2-67 0,4-1-104 16,-2-4-182-16,4-1-520 0,-1-1 54 15,2 0 103-15,0-6 73 0,1 0 78 16</inkml:trace>
  <inkml:trace contextRef="#ctx0" brushRef="#br0" timeOffset="2475.73">509 7393 1272 0,'7'8'373'0,"-1"-3"-35"0,-1 2-28 0,2 0-21 16,1 3-23-16,0-1-28 16,-1 2-23-16,3 2-10 0,1-2-13 15,-1-1 34-15,3 1-14 0,0 0-38 0,-1 1-66 0,2-5-47 0,-1 4-41 16,1-3-48-16,0-1-59 0,-4-1-71 0,3 0-155 16,-1 1-132-1,-3-2-390-15,2 0 60 0,-3-2 137 0,1 2 19 0,-2-4 84 16</inkml:trace>
  <inkml:trace contextRef="#ctx0" brushRef="#br0" timeOffset="3074.11">908 7690 988 0,'0'0'389'0,"0"0"-44"0,0 0-10 16,0 0-27-16,0 0-27 0,0 0-38 0,-5 16 8 15,4-9-38-15,-3 6-19 0,1-1 1 16,-1 0-29-16,-1 5-15 0,2 0-7 0,-3 0-27 16,0 1-19-16,0 5-6 0,-2-8-10 15,3 3-1 1,0-4-4-16,2-1-18 0,1-1 0 0,-3 0-13 0,3-2 8 0,1-1 7 0,-1 0-25 16,2-2 5-16,-3 1-8 0,6-2-7 15,-3 1 17-15,0-3-7 0,2 1 8 0,1-2-3 16,2-1-13-16,0-1-2 0,3 1-9 15,-8-2 12-15,15-3-22 0,-7 1-20 16,2-1-17-16,0-2-27 0,3 0-30 0,0-1-15 0,-1 0-44 16,-1 0-59-16,2-1-81 0,-3 2-111 0,1-1-445 15,-1-1-8-15,-3 1 115 16,1 4 44-16,0-2 105 0</inkml:trace>
  <inkml:trace contextRef="#ctx0" brushRef="#br0" timeOffset="3665.93">1014 7948 949 0,'0'0'397'0,"0"0"-44"0,0 0 0 0,0 0-38 16,0 0-41-16,0 0-18 16,0 0-20-16,10-11-29 0,-7 4-20 0,4 1-6 0,-1 0-96 15,-3-1-13-15,4 0-6 0,-2-3 6 0,0 4-13 16,0-2-6-16,-3 1 6 0,2 0-2 15,0 1-1-15,-3 0 5 0,0 1 21 16,0 0-18-16,2 1 8 0,-3 2 2 0,0 2-2 16,0 0-21-16,0 0 5 15,0 0-15-15,0 0 0 0,0 0-15 0,0 0 17 0,-6 11-17 16,4-6-3-16,2 1 3 0,0-2-19 0,0 2 11 16,0 0-5-16,2-1-31 0,-1 2-23 0,1-2-18 15,1-3 0-15,1 1-56 0,2-1-3 16,1-2-15-16,-7 0-25 0,16-5 22 15,-6 0-5-15,-2 0 6 0,2 0 42 0,-2-4 19 0,-1 1 3 16,3-3 32-16,-2 1 11 0,0 0 36 31,-3-2 15-31,1 0 25 16,-2 2 16-16,1 0 0 0,-2 2 23 0,0 0 11 0,0 1 71 0,-1 3-6 0,0 0-22 0,-2 4-18 0,0 0-18 16,0 0 5-16,6 12-23 0,-6-1-10 0,0 4 30 15,2 4-20 1,1 7 13-16,2 10-31 0,-2 4 8 0,4-2-3 0,-2 2-22 0,0 1-14 15,-2 0-5-15,2-4-7 0,-3-6 12 16,-1-5-20-16,1-6 13 0,0-3 28 0,-1 0-36 16,1-4 7-16,1-5-14 0,-3 2 12 0,0-7 10 15,0 2-20-15,0-5 16 0,0 0 14 16,0 0-27-16,0-17 22 0,2 8-4 0,-2-4-32 0,0-3-7 16,1 2 23-16,1 0-15 0,3-3-16 15,-3 0 3-15,1 3-43 16,2-1-4-16,-2-1-17 15,2 1-13-15,0 2-20 0,-2 1-16 0,4-1-41 0,-1 2-71 0,1 0-105 0,0 3-187 16,0-3-454 0,0 5 111-16,0-1 120 0,3-1 21 0,-2 3 81 0</inkml:trace>
  <inkml:trace contextRef="#ctx0" brushRef="#br0" timeOffset="4155.26">1514 7651 1448 0,'-8'4'346'0,"6"-1"-36"0,2 2-16 15,-2 2-15-15,2 3-33 0,0-2-29 16,1 5-22-16,2-1-13 0,-1 1-24 16,1 5-12-16,0-1-38 0,0-1-16 0,2 2-49 15,-1-1-45-15,-1 0-26 0,0-2-39 0,0-2-46 0,1 1-40 16,-1-3-106-16,-1 1-66 16,-1-2 41-16,1-3-46 0,1-1-3 0,-3-2 95 15,-3 1 87-15,1-4 92 0,2-1 31 0,-8 3 102 16,8-3 62-16,-11 1 48 0,4-1 26 15,7 0 8-15,-13-2 33 0,8-1-11 16,-2 3-7-16,1-2 5 0,1-1-8 0,0 1-25 0,2 0-5 16,-2-1-23-16,5 3-9 0,-5-3-14 0,3-1-31 15,2 4 7-15,2-8-96 0,0 3 9 16,1-1-2-16,3-1-36 0,3 0-30 16,1-3-11-16,1 2-26 0,2-4-48 0,3 4-56 0,-1-3-108 15,3-2-135-15,-2 2-477 0,3-1 64 16,-5 5 136-16,3-3 36 31,-4 2 51-31</inkml:trace>
  <inkml:trace contextRef="#ctx0" brushRef="#br0" timeOffset="4634.03">2260 7436 906 0,'-7'1'279'0,"1"0"-13"0,1-1-10 0,-3 1-13 16,0 3-18-16,4-3 75 0,-2 1-19 0,-2 2-27 0,4 2-24 15,1-4-17-15,0 4-39 0,1-1-13 16,4 2 10-16,-2 1-27 0,3 1-27 16,0-1-9-16,1 4-16 0,2-1 10 0,-1-2-22 15,0 2-11-15,3 2-74 0,-1 0-3 16,1 0 6-16,-1 0-4 0,-1-2 1 0,-1 1-2 15,3-1 2-15,-5-3 2 0,2 3 8 0,-3-4 18 16,0 2 8-16,1-3 2 0,-3 3 3 16,0-3 10-16,0-2-10 15,-3 2 0-15,1 0-11 0,-4-1 1 0,2 1-13 0,-6 1-1 0,2-2-22 16,-2 0-15-16,-1-2-21 0,1 1-24 16,0-1-27-16,-1 1-21 15,1-3-33-15,2 2-81 0,0-1-65 0,1-2-72 0,4-1-463 0,3 1 54 16,-7-6 105-16,4-1 76 0,3 1 11 15</inkml:trace>
  <inkml:trace contextRef="#ctx0" brushRef="#br0" timeOffset="4869.85">2329 7394 1374 0,'0'0'417'0,"0"0"-25"16,10 5-100-16,-7 0-29 0,0 0-19 0,-1 2-12 0,3 3-22 0,0 0-15 15,-2 2-8-15,2 3-29 16,0-2-30-16,-2 2 0 0,2 1 57 0,0 2-6 0,0 0-5 16,0 2-43-16,-2-2-37 0,2-1-9 15,-3-1-39-15,1 2-31 0,-1-5-28 0,2 0-48 16,-2-1-44-16,0 0-54 0,1-1-74 16,0-3-84-16,1-5-75 0,-1 2-465 0,0-1 79 15,1 3 51-15,-1-7 89 0,2 1 62 0</inkml:trace>
  <inkml:trace contextRef="#ctx0" brushRef="#br0" timeOffset="5082.55">2381 7630 1379 0,'0'0'318'16,"-5"-3"-37"-16,5 3-20 0,0 0-33 0,0 0-10 15,0 0-14-15,5-6-24 0,-5 6-6 0,7-2-23 16,0 0-21-16,1-1-15 0,1 2-15 16,1-1-26-16,0-2-25 0,2-1-46 0,1 1-19 15,0 0-22-15,0-2-26 0,0 0-82 16,0 4-46-16,0-3-110 0,-1 0-97 16,-1 1-277-16,1 1-54 0,-4-3 101 0,2 6 81 0</inkml:trace>
  <inkml:trace contextRef="#ctx0" brushRef="#br0" timeOffset="5499.21">2532 7432 1213 0,'0'0'366'0,"-13"12"-92"16,8-6-16-16,0 1-7 0,0-1-54 0,-1 3-7 16,1 1-19-16,-2 0-25 0,2-1-10 0,-1 2-13 15,-1 0-1-15,2-2-19 0,-1 3-24 16,1-1-38-16,0-2-31 0,1 3-5 0,0-5-94 16,2 4-65-16,0-5-122 0,-1 2-65 15,3-2-421-15,0-1 55 0,2 0 83 0,0-2 30 16</inkml:trace>
  <inkml:trace contextRef="#ctx0" brushRef="#br0" timeOffset="6115.26">2614 7636 959 0,'2'-6'374'0,"1"2"-31"15,-3 4-31-15,0-7-40 0,3 3-16 16,-1 0-3-16,0 0-46 0,-1-3 3 16,1 1-23-16,1 0-8 0,-3-1-7 0,2 1 12 0,-1 1-23 15,0-2-12-15,0 1 15 16,1 4-88-16,-2 2 19 0,0-6-18 0,0 1-23 15,0 5-1-15,0 0 1 0,0 0-10 0,0 0-1 16,0 0-9-16,0 0-1 0,0 0 26 16,0 0-31-16,0 0-18 0,0 18-2 0,0-16-6 15,3 2-4-15,-3-4-14 0,2 7-4 0,1-6-18 16,0 3 17-16,-1-2-17 0,-2-2 12 0,8 3-15 16,-8-3-8-16,8 0 19 0,-8 0-6 15,13-4-10-15,-9 3 23 0,2-3 10 0,1 2-5 16,1-2-5-16,-3 1 3 0,-2 0 9 0,2 2 14 15,0 0-1-15,-5 1-7 32,10-1 8-32,-10 1 15 0,8 1-21 0,-8-1 8 0,10 1 0 0,-5-1-2 0,-2 3-8 0,2-1 10 15,0 0-10-15,0 1 5 0,-5-3 10 0,8 1-18 16,-3 0-2-16,-5-1 13 0,7 0-3 16,-7 0 7-16,0 0 4 0,13-2 4 0,-9-1-2 15,0 3 12-15,1-2 6 0,-5 2 5 0,6-5 5 16,-1 5 8-16,-5 0-3 0,5-1 5 15,0-2-13-15,-5 3 1 0,5-2 14 0,-5 2 4 16,7 0-11-16,-7 0 10 0,6-2 6 0,-6 2-24 16,7-3 21-16,-7 3-23 0,8-1-8 15,-5-1 5-15,-3 2-15 0,7-3-10 0,-6 1-26 16,-1 2-39-16,7-6-17 0,-5 1-59 16,1 3-41-16,0-4-118 0,-9 1-189 0,12-1-463 15,-3-2 132-15,4-3 39 0,-2 2 92 0,3-8 57 16</inkml:trace>
  <inkml:trace contextRef="#ctx0" brushRef="#br0" timeOffset="11347.06">8916 6575 657 0,'-8'4'341'0,"8"-4"-29"16,0 0-25-16,0 0 10 0,0 0-26 16,0 0-33-16,0 0-15 0,0 0-13 0,0 0-18 15,0 0-16-15,0 0-12 0,0 0-33 16,0 0 4-16,0 0 1 0,0 0-31 0,3-14-21 15,-1 10 11-15,-1 0 0 0,1-3-24 16,0 1 1-16,1-1-10 0,-1-3 2 0,1 3-11 0,-1-4 4 16,1 3-11-16,0-4-13 0,-1 1 5 15,1 1 3-15,0-3-2 0,-1 3 20 16,0-4-11-16,1 2-4 0,-3 0-11 16,3-1 8-16,-1-1 0 0,0 1-5 0,-2-2 2 0,3 1 3 15,-3 0-3-15,5-4-12 0,-4 1 12 16,3 4-9-16,-4-2 1 0,3 0-76 0,-2 0 5 15,1-2 3-15,0-1 33 0,1 4-28 16,0-2 12-16,-3 1-5 16,2-4 6-16,0 4-1 0,1-3 27 0,0 0 1 0,1 4-4 0,-3-2 12 15,4-2-15-15,-3 4 5 0,4-1 18 16,-1-1 11-16,-3 4-9 0,1-3 14 0,0-2-1 16,1 4 0-16,2-1 1 0,-2-2-14 0,0-1 4 15,0 2 12-15,-1-2-18 0,2 3 7 16,-3 1 21-16,1-1-33 0,2 1 13 15,-2-1 5-15,2 0-13 0,-2 1 3 0,2 0-1 16,-2 1 1-16,1-1-1 0,2 0 19 0,-2 1-26 16,-1-4 66-16,3 1 14 15,-1 3-17-15,-2 0 6 0,4-3-23 0,-4 3 18 0,1-1-36 16,2-2 18-16,-2 0-12 0,2 2-14 16,-1-4-5-16,0 3 11 0,0-2 7 0,1 3-20 15,-2 0 7-15,2-3-17 0,-1 4-3 16,-2-2 15-16,1 0-13 0,2 3 6 0,-4-3-3 0,3 1 5 15,-2 0-25-15,2-1 22 0,0 2-9 0,-2-4-24 16,2 2 36-16,-3 1 3 0,3 0-24 16,-1-5 24-16,2 4-18 0,-2-3 2 15,-2 3 8-15,3-2-12 0,-2 3-14 0,1-1 11 0,-1 1-16 16,0-2 11-16,2 0 9 0,-3 3-4 16,2-2-3-16,0 1 8 0,-1 1-13 15,2-1-5-15,0 1 7 0,-2 0 4 0,-1-1-1 16,3-4-3-16,0 3 19 0,1 1-8 0,-1-3-8 15,0 4 18-15,0-2-13 0,0 0-2 16,0 1-1-16,1-3 1 0,-2 1 2 0,2-1-2 16,-1 2 0-16,0 1-11 0,-2 0 8 15,1 1 3 1,2-6-8-16,-4 6 2 0,3-2 11 0,-2 1-5 0,-1-1-8 0,1-1 10 0,0 0-5 16,1 3 0-16,-3-2-5 0,4-1 5 0,-3 2 6 15,-1 2-1-15,4-3-10 0,-3 1 0 0,1 0 15 16,-1 2-10-16,1-2 3 0,-1 0 2 15,1 2 1-15,-1-1-6 0,1 1-3 16,0 0 21-16,-1-1-23 0,0-1 3 0,2 2 2 16,-2-1 10-16,0 0-25 0,1 0 13 15,-3 1 7-15,3 0-2 0,-3 2-1 0,2-1 1 16,-2-1 2-16,2 4-5 0,-1-3-2 0,1 1 4 16,1-1-7-16,-3 1 3 0,2 1-6 0,1-1-7 15,-3 0 15-15,2-1 0 16,1 2-2-16,-2-1 7 0,1 2 1 0,0-2-6 15,1-1 18-15,-3 3-23 0,2-1 5 0,1-1 13 16,-3 1-13-16,5 0-13 16,-5-1-23-16,3 2 37 0,-1-1-4 0,-2 1-17 0,2-2 28 15,-1 2-6-15,1 0 11 0,1-1-15 0,-1 1-14 16,-2-2 24-16,1 0-5 0,4-1 7 0,-5 1-15 16,2 0-2-16,-2-1 4 0,3 1 3 15,-3 0-20-15,2-1 10 0,1-3 5 0,-1 4 0 16,-2-6 10-16,3 5-17 0,-1-1 12 0,1 0-3 15,-3 2-12-15,3-1 0 0,-3 2 2 16,2 0 5-16,0-1-4 0,2 1-1 16,-4 1 16-16,2 0 2 0,-2 1-15 0,2-2 7 0,-2 1-4 15,3 0 20-15,-3 2-10 0,3 1-6 0,-3-2 6 16,2-3-3-16,0 5-18 0,-1-2-15 16,1-2 33-16,1 1-13 0,0 0 8 15,-1 1-5-15,0-1 10 0,1 1-7 0,0-1 15 16,-1 0-8-16,1 1-10 0,0-1 10 0,-1 0-5 15,0 2-21-15,1-1 21 0,0 1-5 16,-3 2 3-16,4-3 9 31,-3 0-4-31,1 2-13 0,1 1 12 0,-1-3 3 0,1 3 0 0,0-1-15 0,-1 0 13 0,0 0-11 16,1 1 0-16,0 0 19 0,-1 0-14 0,-1-1-2 16,1 1 13-16,3 0-16 0,-5 3 5 0,5-6-4 15,-3 3-4-15,2-1 9 0,-2 3 2 0,3-1-3 16,-2-2-10-16,-1 2 24 0,1-1-93 15,2 0 13-15,-3 0 15 0,-2 3 3 0,8-3-3 16,-5 2-7-16,2-2 17 0,0 0-12 0,0 1 22 16,0 1 19-16,-5 1-5 0,8-2-19 0,-3-1 16 31,0 1 13-31,0 1-8 0,1 0 3 0,-6 1-1 0,10 0 11 0,-5-1 0 0,2-1 0 16,-1 1-10-16,-6 1 12 0,12 0-2 0,-7-1-3 15,-5 1-10-15,11 0 16 16,-6 0 9-1,-5 0-19-15,10 0-4 0,-10 0 9 0,10 0 9 0,-4 1 1 0,-6-1-11 0,10 0-5 16,-7 3 8-16,4-2-3 0,-4 0-7 0,2 0 18 16,2 2-14-16,-4-1 1 0,4 0 10 0,-4 1 8 15,5 0-3-15,-3 0 0 0,0-1-13 16,0 0 24 0,0 1-24-16,1 1 0 0,-2 0 14 0,4 1 9 0,-2-2-20 0,-2 0-5 0,2 1 12 15,-3 0-4-15,1 0 4 0,2-1-4 16,-2 1-9-16,0-1 4 0,0 2 4 0,2-2-5 15,-4 0 11-15,1 2-1 16,4-2 9-16,-4 2-9 0,-1 0 1 0,2 0 10 16,0-2-3-16,-1 1 3 0,0 2-31 0,1-3 18 0,-1 3-5 15,0-1-3-15,-1 1 26 0,0-1-16 0,1 1 6 16,0 0 7-16,-1-2-12 0,-1 1 2 16,1 1 3-16,1 0 7 0,-1 1-10 15,0-1 6-15,-1 3-1 0,1-2-5 0,1-1 8 16,-3 1 2-16,2 1-5 0,-2-2-5 0,3 2-10 15,-3 0 5-15,0-1 0 0,0 2 5 16,2 0 3-16,-2-1 0 0,0 0-1 16,0 2 4-16,0-2-14 0,0 2 11 0,3-2-11 15,-3 0 14-15,0 2-14 0,0-2 0 0,0 2 9 0,0-2-14 16,0-1 10-16,0 4-14 0,0-6 30 16,0 4-16-16,0-2-7 0,0-1 23 0,0 3-13 15,0-2-5-15,0-1 3 0,0 0-6 0,0 1 6 16,0-2-9-16,0 2 9 0,0-3-6 0,0 1-2 15,0 2 8-15,3-1-1 16,-3 0 14-16,0-1-3 0,0 0 4 16,2-1-19-16,-2 1-6 0,0 0 8 0,2 1 3 0,-2-1-1 15,0 1-12-15,0 0 2 0,0-2 3 0,1 1-2 16,2 1 17-16,-3-1 10 0,0 1-27 16,0 0 17-16,2-1-8 15,-2-1-4-15,2 1 2 0,-2 1 0 16,0-1 2-16,0 1 11 0,0-1-8 0,3-2-17 0,-3 3 17 0,0-1-16 15,3 1 17-15,-3 0-6 0,0-3 2 0,2 3 14 16,-2-1-4-16,2 0-12 0,-2 1 0 16,0-3 5-16,0 3-10 0,1-1-5 0,1 0-3 15,-2 1 24-15,0-2 4 0,3 1-13 16,-3-1 1-16,2 2-6 0,-2 0-2 0,0-1 0 16,1-1 23-16,1 1-18 0,-2 0-5 0,2 1 2 15,-2 0 9-15,3 0-9 16,-2-2-2-16,1 1 2 0,-2 1 6 0,2 0-1 0,-2 1 4 15,3-2 22-15,-3 1-21 0,2 0-4 0,-2 1 7 16,0-1-12-16,1 1 14 0,1-1-14 16,-2 1 4-16,2 0 6 0,-2 2-5 0,3-2 4 15,-3 1-2-15,0 1-5 0,3-1 6 0,-3-1 1 16,2 1 1-16,-2 2-11 0,2-2 3 16,-2 0 18-16,0 1-10 0,1-1 5 0,1 1-11 15,-2-1 3-15,3-1-7 0,-3 1 2 16,0 2 8-16,2-2 2 0,-2 0-10 0,1 0-3 15,1 0 14-15,-2 0-4 0,3 2-7 0,-1-3 5 16,-2 0-2-16,2 4-8 0,-2-5 7 0,1 2 1 16,1 1 5-16,1-1-3 0,-1-1 7 15,-1 1-9-15,1-1 15 0,0 2-21 0,1-3 1 16,-3 2 2-16,3-1-5 0,-1 1 15 0,0-1 3 16,-1 1 0-16,2-2-13 0,-1 1 0 0,0 0 20 15,1-2-15-15,-3 3 5 16,3-2-5-16,1 0 1 0,-3 1-29 0,1-2 23 15,1 2 0-15,-1-2-6 0,1 2-1 0,-1-2 12 16,-2 2 5-16,5 0-10 0,-4-2-10 16,1 2 2-16,3-2 24 0,-2 2-19 0,-1-1 23 15,1 0-22-15,0 0-3 0,1 0 10 0,-1 0-5 16,0 1 8-16,1-1 15 0,0 1-13 0,-2-1 0 16,1 1-10-16,-1 0-10 0,3-1 18 15,-2 1 2-15,-1 2-23 0,1-2 23 16,2-1-23-16,0 1 16 0,-2-1-8 0,-1 1-5 0,1-1-1 15,2 2 22-15,-2-2 1 0,2 0-17 0,0 1 21 16,-3-1-16-16,4 1 2 0,-4 2 3 16,3-2-7-16,-2-2 7 0,2 2-5 15,-2-1 13 1,1 1-26-16,-1-1 10 0,4 1 8 0,-3-1 6 0,0 0-11 0,-1 1 15 0,2-1-28 16,0 0 24-16,-2 1-14 0,2 0 0 15,1-1-7-15,-2 2 10 0,2 1 5 0,-1-2 3 16,0-1-11-16,2 2 11 0,-2-1 7 15,1 3-15-15,1-3 11 0,-1 2-14 0,1-1 13 16,0-1-17-16,-1 1 9 0,2 0 1 0,-3 1 2 16,0-2 8-16,0-1-24 0,3 2 19 15,-3-2 8-15,2 1-16 0,-1 1 5 16,-1 0-3-16,3-2-7 0,-1 2 15 0,1-3 18 16,-3 3-20-16,0-2 2 0,2 1-28 0,-1-3 34 15,2 2-8-15,-3 0 4 0,0 0 6 0,2-3-15 16,1 2-8-16,-2 2 23 0,1-3 0 0,-1 3-16 15,1-2-7-15,1-2-8 16,-3 3 3-16,3-1 36 0,-3-1-24 0,2 1 1 0,-1-1 9 16,1 1-9-16,1 0 17 0,-3-2-25 15,2 2-2-15,-1 0 17 0,2-1 0 0,-1 1 0 0,-1-1-15 16,1 1 15-16,1-2 3 0,-1 2-15 16,1 0-1-16,0 1 16 0,0-3-13 15,2 2 0-15,-3 1 0 0,1 0-10 16,0-1-3-16,0 0 39 0,2 0-3 0,-3 0-26 0,1 1-25 0,2-1 28 15,-2 2 10-15,0-2-23 16,0-1 34 0,2 1-19-16,-3 2 16 0,1-1-31 0,2 0 19 0,-2-1-14 0,-3 0 28 15,3 1-9-15,0 0 4 0,0-2-12 0,-1 1 7 0,0 1 5 16,-1-1 6-16,2 1-9 0,-1-1-1 16,-1-2-1-16,1 3-5 0,4 1-2 15,-4-3-11-15,0 2 16 0,-1-1-11 0,1 0-7 0,1 0 17 16,-2 0-4-16,1 0-13 0,0 1 23 15,1-1-21-15,-2 0 13 0,-1 0-18 16,2-1 16-16,1 1-24 0,-3-2 16 0,1 2 15 0,1 0-4 16,0-2 1-16,-1 2-4 0,-1-1-16 15,0 0 13-15,3 0 8 0,-3 0-6 0,0-1-7 16,0 4 10-16,0-3-5 0,2 2-7 16,-1-2 17-16,-1 1-26 0,3-1 9 0,0 3 14 15,-1-2-4-15,-2 1 2 0,5 1-5 16,-4-4 10-16,1 2-10 0,1 1 5 0,-2 0-7 15,4 0-1-15,-3-1 6 0,0 0-11 0,1 0 8 16,0 0-2-16,0-1-1 0,-1 3-12 0,3-2 10 16,-2 1 15-16,2 0-38 0,-2 0 35 15,0-1 1-15,0-1-8 0,2 2 13 0,-3-1-3 16,2 0-12-16,1 1 22 0,2-1-28 16,-2-1 11-16,-1 2-6 0,1 0-7 0,-2-2 2 15,0-1 11-15,2 2 0 0,-3 0 4 0,4-1-14 16,-1 0 12-16,-3 3-34 0,3-1 42 15,0-1 3-15,1-1-14 0,-1 1-9 0,-2 0 12 16,5 0-3-16,-6 1-7 0,4-1 92 0,2-2 10 16,-3 3-35-16,1-1-8 0,1 1 30 0,1-1-46 15,-1-3 9-15,2 4-47 0,0 1 0 16,0-3 0-16,-1 1 0 0,-1-1 0 16,1 1 0-16,2 0 0 0,-2-2 0 0,0 3 0 0,0-1 0 15,0 0 0-15,2 0 0 0,-4-1 0 0,3 1 0 16,-1 0 0-16,-2-1 0 15,2 0 0-15,-1 0 0 0,1 0 0 16,0 0 0-16,0 0 0 0,-1 0 0 0,1 0 0 0,0 2 0 16,0-4 0-16,-2 2 0 0,1 2 0 0,1-4 0 15,0 3 0-15,-1 0 0 0,-1-2 0 16,2 2 0-16,-3-1 0 0,3-2 0 0,0 3 0 16,-3-3 0-16,2 1 0 0,-1 0 0 15,-1-1 0-15,3 1 0 0,-3-2 0 0,-2 2 0 0,5-1 0 16,-3 0 0-16,1-1 0 0,-1 2 0 15,2-2 0-15,-1 2 0 0,1 0 0 16,1-2 0-16,-2 3 0 0,1-2 0 0,-1 2 0 16,1-2 0-16,-2-1 0 0,4 3 0 0,-2-2 0 15,1 1 0-15,-3-1 0 0,3 0 0 16,0 1 0-16,-2-1 0 0,1 0 0 16,-2 1 0-16,1-2 0 0,1 1 0 0,-1 2 0 0,-1-3 0 15,3 0 0-15,-3 2 0 0,1-1 0 0,-1-2 0 16,2 4 0-16,-1-3 0 0,1 0 0 15,-1 0 0-15,2 1 0 0,2 0 0 16,0-2 0-16,-2 2 0 0,3-1 0 0,-3 1 0 0,2 0 0 16,0-1 0-16,-2 1 0 0,3 1 0 0,-2-2 0 15,2 0 0-15,-3 3 0 0,3-3 0 16,-2 1 0-16,2 1 0 0,-3-1 0 16,3-1 0-16,-2 2 0 0,2-1 0 0,-3 1 0 15,-1-1 0-15,4 0 0 0,-3 2 0 0,2-3 0 16,-2 0 0-16,0 3 0 0,3-1 0 0,-2 1 0 15,2-3 0-15,-5 2 0 0,3 0 0 32,2 1-16-32,-5-2-9 0,4 2-19 0,-2-3 24 0,-1 2 17 0,1 1-25 0,0-3 20 0,-2 4-5 15,3-5-22-15,-3 1 1 0,-1 2 24 0,3-1 7 16,-3-1 19-16,3 0-24 0,-3 0-2 16,1 2 10-16,4-2 5 0,-5-1-18 15,3 1 6-15,2-1 9 0,1 3-4 0,-3-3-1 0,2 1 0 16,3-1 26-16,-3 1-2 0,1 0-26 15,-1 2 0-15,-2-3 10 0,3 2 5 16,-2-2 5-16,0 2-12 0,-2-2-6 0,-1 3 6 16,4-1-3-1,-5-2 3-15,1 0-3 0,-1 1-8 0,-3 1 23 0,3-1-33 0,-2 0 18 16,2-1 18-16,-2 1-15 0,0-1 2 0,-3 2 8 16,3-2 33-16,-3 1-28 0,2-1-16 0,-1 2 8 15,-6-2 3-15,13 0-2 0,-6 1 17 16,-2-1-21-16,1 0 19 0,2 0-34 0,-1 1 1 0,-2-1-6 15,-5 0 33-15,12 1-17 16,-9 1-1-16,-3-2-20 0,11 0-15 0,-11 0-13 16,5-3-23-16,-5 3-33 0,0 0-49 0,0 0-62 0,0 0-45 15,-8-5-52-15,8 5-66 0,-13-5-257 16,5 3-501-16,-4 1 126 0,2 1 184 16,-6-2 38-16,-2-1 36 0,3 2 82 0,-6-1 79 15</inkml:trace>
  <inkml:trace contextRef="#ctx0" brushRef="#br0" timeOffset="12205.88">13190 6633 1323 0,'-5'18'550'0,"4"-10"-53"15,-1 3-52-15,-1 2-56 0,1 5-28 0,2 1-20 0,-3 1-44 16,1 3-18-16,2 2-39 0,-3 2-99 15,0 2-36-15,1-2-18 0,-3 10-44 0,0-5-30 16,3-5-23-16,1-2-39 0,-4-2-15 16,5-4-15-16,-2 2-26 0,-1-6-23 0,0 1-38 15,1-6-90-15,0 1-131 0,1-1-501 0,1-2 130 16,-2-3 8-16,2-4 95 0,0-1 130 16</inkml:trace>
  <inkml:trace contextRef="#ctx0" brushRef="#br0" timeOffset="12399.73">13172 6696 1008 0,'0'0'532'0,"-10"5"-45"0,4 0-52 0,1 0-49 16,-2 1-35-16,-1 3-5 0,0-1-44 0,-2 3-51 15,2 0-19-15,1 2-40 0,-3 0-56 16,2 0-26-16,-3-1-79 0,3 1-36 15,1-2-64-15,2 1-103 0,-1-9-202 0,-1 8-539 0,4-6 109 16,1 2 77-16,-1-5 49 0,3 1 102 16</inkml:trace>
  <inkml:trace contextRef="#ctx0" brushRef="#br0" timeOffset="12605.39">13146 6667 1103 0,'8'3'440'0,"-3"0"-38"15,5 0-34-15,-2 4-27 16,2-1-39-16,0 1-23 0,0 2-26 0,4-1-25 0,-2 3-18 16,1-3-23-16,3 0-34 0,-1 2-45 0,1-4-49 15,-4 1-41-15,4-1-59 0,-4-1-72 16,1-1-143-16,-3 0-187 0,0 0-435 0,1-3 100 16,-3 2 56-16,-1-1 90 0</inkml:trace>
  <inkml:trace contextRef="#ctx0" brushRef="#br0" timeOffset="13324.6">12554 7501 1059 0,'0'0'412'0,"2"-6"-28"0,-2 6-25 15,0 0-4-15,0 0-40 0,3 12-95 0,-3-2-12 16,0-2-34-16,0 6-5 0,-3 4-11 15,3 1-17-15,-2 3-20 0,0-1-40 0,-1 5-29 16,0-1-40-16,3 1-35 0,-2-2-28 0,2-1-69 16,0-3-59-16,2-1-116 0,-4 0-86 15,6-1-451-15,-4-5 115 0,4 1 36 16,-2-3 108-16</inkml:trace>
  <inkml:trace contextRef="#ctx0" brushRef="#br0" timeOffset="13684.02">12574 7563 1236 0,'8'-14'425'0,"0"3"-46"0,-1 5-19 0,1-1-27 0,2 1-38 0,-2 4-45 0,5-2-6 0,-3 4-45 16,0 0-17-16,1 0 2 15,-4 4-20-15,1-1-21 0,-3 2-15 0,0 3-12 16,-7 3-11-16,-1 0 10 0,-2 4-92 0,-3-4-5 16,0 4 2-16,-4 4 1 0,-1-2-9 15,-2 2-1-15,2-1-6 0,3-5-3 16,0 1 14-16,-1-1-6 0,3-1 0 0,0 0-2 0,1-1 2 16,2 0-7-16,0-3 7 0,2 0 13 15,3 0 5-15,0-1 0 0,0-1-15 16,3-2 8-16,2 1-16 0,3-1-5 0,-1-3-13 15,3 0-15-15,3 2-54 0,-2-2-10 0,4-1-47 16,-2 1-60-16,0-2-49 0,2 1-85 16,-5 0-54-16,3 0-463 0,0 0 65 0,-1 0 99 15,-1 2 41-15,-3-2 66 0</inkml:trace>
  <inkml:trace contextRef="#ctx0" brushRef="#br0" timeOffset="14008.72">12897 7694 1075 0,'0'0'468'0,"0"0"-18"0,6 13-50 16,-9-8-55-16,3-3-12 0,0 4-33 15,-3 0-42-15,1-1-17 0,2 3-21 0,0-2-20 16,-2 3-37-16,2-2-42 0,0 0-42 0,-3-1-35 16,3 1-93-16,0-1-92 15,-3-1-169-15,3-1-593 0,0 1 58 0,-2-1 131 16,2-4 18-16,0 0 74 0</inkml:trace>
  <inkml:trace contextRef="#ctx0" brushRef="#br0" timeOffset="14117.32">12913 7663 1021 0,'0'0'263'0,"0"0"-60"0,0 0-80 15,2-5-149-15,-2 5-555 0,0 0-8 0</inkml:trace>
  <inkml:trace contextRef="#ctx0" brushRef="#br0" timeOffset="14409.35">13069 7679 1180 0,'-23'-4'447'0,"21"6"-40"0,-4 1-30 0,6-3-34 16,-5 6-44-16,5-4-15 0,-2 0-43 15,2-2-6-15,2 9-30 0,-1-7-31 0,3 4-7 16,-1 0-14-16,2-1-15 0,1 2-15 0,1-2-13 16,-2 1 8-16,3 2-18 0,-1-2-33 15,1 1 17-15,-2 3 6 0,-4-1-19 0,3-1-2 16,-2 3 0-16,-3-1 24 0,0 4-14 16,-3-1-5-16,0 1-7 0,-1 2-14 0,-2-2-9 15,-2 0-6-15,1 1-25 0,-1-2-8 0,-2-1-43 16,0 0-26-16,0-3-26 0,2-2-45 0,0 2-44 15,3-6-134-15,-5 2-173 16,4-1-482-16,2-3 101 0,4-1 78 0,0 0 83 16,0 0 99-16,-3-11 18 0</inkml:trace>
  <inkml:trace contextRef="#ctx0" brushRef="#br0" timeOffset="15009.08">13146 7611 1236 0,'0'0'402'0,"0"0"-21"16,0 0-33-16,0 0 28 0,0 0-27 16,0 11-1-16,0-7-36 0,-2 2-30 0,2 0-34 15,-3-1-25-15,3 2-16 0,0-1-10 0,0 0-26 16,0 0-12-16,0 0-26 0,0 0-18 0,3 0 13 16,-1 1-28-16,0-1-10 0,2 1-11 15,0-1 11-15,-1 0-36 0,2 1-1 16,0-2 11-16,0 1-2 0,0 0-24 0,0-2 6 0,-2 0 2 15,3 3 7-15,-4-3-17 16,3-2-20-16,-2 2-39 0,1-2-21 0,2-2-28 16,-6 0-35-16,10 0-34 0,-2-2-28 0,-3-2-69 15,3 2-51-15,0-4-28 0,-1 0-24 0,0-3-15 16,1 0-33-16,0-2 54 0,0-3 51 16,-1-2 48-16,3 1 93 0,-2 0 79 0,2 0 74 15,-4 1 16-15,1 1 56 16,-1 2 15-1,-2 0 51-15,2 4 9 0,-4-1 4 0,1 3 15 0,0-1-9 0,-3 4-14 0,0 2 29 16,2-2-33-16,-2 2-1 0,0 0-7 16,0 0-21-16,-5 14 64 0,2-7-17 0,1 0-6 0,0 3-46 0,-2-1-2 15,2 2-47-15,0 1-40 16,-1-2-36 0,0 2-23-16,1-1-52 0,-1 2-35 0,1-2-36 0,-1-3-57 0,0 2-66 0,1-1 10 15,0-3-61-15,-1-1 54 0,3-1 30 0,-1-1 36 16,1-3 100-16,0 6 38 0,0-6 65 15,0 0 48-15,-2 2 25 0,2-2 14 0,0 0 9 16,0 0 21-16,0 0-5 0,0 0-5 0,0 0 0 16,0 0 5-16,0 0-11 0,16-4 6 15,-13 1-13 1,1 2-7-16,2-2-11 0,-2 0-5 0,2 1-5 0,2-2-3 0,-1 2-7 0,1-2-3 16,5-3-41-16,-3 1-31 15,3 3-40-15,0-2-39 0,2 0-26 0,-2 0-20 16,5 2-107-16,-5-2-119 0,7-1-493 0,-2 4 115 15,0-2 43-15,-3 3 72 0,1-3 70 16</inkml:trace>
  <inkml:trace contextRef="#ctx0" brushRef="#br0" timeOffset="15323.02">13707 7525 1297 0,'-4'2'384'0,"-2"2"-46"0,2-2-21 0,-2 3-35 0,4 1 43 0,2 1-20 15,-3 1-31-15,3 3-18 0,0-1-16 16,0-1-40-16,2 6-21 0,1-1-13 0,0 0-4 16,-1-1-14-16,-1 2-30 0,1-1-8 0,-2 0-3 15,0-1-9-15,0 0-19 0,-2 0 18 16,-1 3-17-16,-2-3-4 0,2-1-19 0,-5 1-21 15,0-3-13-15,1 0-26 0,2-3-12 16,-5 2-24-16,2-3-43 0,3-4-38 0,-3 3-44 16,3-4-153-16,0-1-162 0,5 0-455 15,-6-6 59-15,6 0 114 0,3 0 55 0,-3-2 86 16,3-5 62-16</inkml:trace>
  <inkml:trace contextRef="#ctx0" brushRef="#br0" timeOffset="15522.34">13867 7452 1103 0,'5'-2'501'0,"-5"2"-12"0,0 0-100 16,7 8-28-16,-7-3-13 0,3 1 52 0,-3 4-29 15,2-1-8-15,-1 2-119 0,-1 3-14 16,-1 0-18-16,-1 5-32 0,-3-1-14 0,2 3-20 0,-2 1-49 16,0 1-56-16,-1-2-20 0,2-2-45 15,-2-1-29-15,4 1-24 0,0-6-46 0,2-1-28 16,0 0-41-16,4-6-54 0,0 1-68 15,2-1-32 1,0-5-66-16,4-1-466 0,1-1 102 0,1-1 70 0,1-3 22 0,0-2 101 16</inkml:trace>
  <inkml:trace contextRef="#ctx0" brushRef="#br0" timeOffset="15769.5">14072 7613 721 0,'2'-6'423'0,"-4"1"-21"0,-4 3-8 16,6 2-23-16,-10-1-18 15,5 1-28-15,-5 1-94 0,-3 3-11 0,0-1-10 16,-2 3 58-16,0 2-4 0,-1 0-34 0,1 1-15 0,2-2 6 15,0 3-19-15,2-3-92 0,1 1-15 16,3 2 12 0,-1-2-15-16,1 0-15 0,4 1-5 0,3-1-13 0,0-3 10 0,0 2-18 15,3-1 0-15,2 0-15 0,2 0-13 0,3-3-15 16,1 1-29-16,4 0-17 0,-2-2-29 16,5-1-15-16,-3-1-36 0,3 0-20 15,0 0-49 1,1 0-107-16,-1 0-185 0,-1-1-470 0,1 0 96 0,0 0 78 0,-5 1 91 0,3-2 62 15,-2 0 49-15</inkml:trace>
  <inkml:trace contextRef="#ctx0" brushRef="#br0" timeOffset="16896.24">14205 7761 1269 0,'2'-4'358'0,"1"-1"-40"15,0-1 73-15,-1 4-32 0,0-4-24 0,-1-1-28 16,1 0-20-16,1 1 2 0,-3 1-35 0,0-1 2 15,0 0-113-15,0 4-7 0,0-3 20 16,0 5-31-16,-3-6-10 0,3 6-10 0,-5 0-15 16,5 0-21-16,0 0 5 0,-10 5-7 0,5-4-3 15,2 4-18-15,-1-2 13 0,0 2-18 0,2 1 12 16,0 1-22-16,-1-1-26 16,3-1 3-16,0 2-31 0,0-2 15 0,2-2 8 0,-1 1-18 15,3 1 6-15,0-3-6 0,3-1 13 0,-2 2 2 16,0-3-7-16,2 0 20 0,-7 0-20 15,17-4-6-15,-8 4 9 0,-1-2 7 16,-1 1 5-16,-1-3 8 0,-6 4-8 0,10 0 18 16,-2 0-26-16,-3 0 19 0,-5 0 1 0,8 0 1 15,-3 0-7-15,0 4-11 0,-5-4 23 16,8 3-16-16,-6-3-2 0,-2 0 16 16,8 4-8-16,-6-2-13 0,-2-2 0 0,8 0 5 15,-8 0-5-15,5 0 0 0,-5 0 10 0,0 0-10 0,8 0 5 16,-8 0 13-1,8-5-15-15,-6 4 2 0,-2 1-8 0,6-2 16 0,-6 2-8 0,4-5 13 16,-4 5-13-16,6 0 18 0,-6 0-25 0,0 0 27 16,0 0-7-16,0 0-13 15,10 0 26-15,-10 0-28 0,3 5 4 0,-1-3 11 16,-2-2 0-16,6 4-10 0,-2-2-8 0,-4-2-8 16,8 0-15-16,-3 0-10 0,-5 0-6 0,13 0-14 15,-8-2-22-15,5-2 11 0,-2 2-30 16,0-3-14-1,2 0 3-15,-2 0-28 0,2 1-2 0,-5-2-4 0,3 2-19 0,0-2-4 16,-1 0 6-16,-4 1-18 0,2 1-5 0,0 0-44 16,-2 2 18-16,2-3-7 0,-3 5 51 0,1-5 5 15,-1 4 12-15,1-4-2 0,-3 5 13 16,3-3 31-16,-3 3 10 0,2-5 10 0,-2 5 36 0,0 0 20 16,0 0 34-16,0 0 40 15,0 0-12-15,0 0 21 0,0 0 14 0,0 0 16 16,0 0 16-16,0 0 12 0,0 0 8 0,0 0-23 15,0 0 20-15,0 0 28 0,0 0-25 0,0 0 8 16,0 0 12-16,0 0-38 0,0 0 15 16,-5-4-2-16,5 4-8 0,0 0 16 15,2-3-1-15,-2 3-5 0,0 0 11 0,0 0-24 16,0 0 32-16,1-5-37 0,-1 5 5 16,0 0-17-16,0 0-21 0,0 0 3 0,0 0-18 15,-8 12 10-15,5-6-6 0,1-1-11 0,-1 2 1 16,0-1-9-16,1 1-19 0,-1 0 11 0,1 0-8 0,2-1-10 15,-1 1 22-15,1-1-37 16,0-1-1-16,1 0-7 0,1-2-18 0,1 1-39 16,0-3-4-16,-3-1 14 0,12 0 6 0,-6 0 13 15,4-1 5-15,0-3-6 0,2 0-10 0,-1-2 9 16,2-1-9-16,0-2 0 0,0-1 3 16,2 0 5-16,0-4 3 0,1 1-3 15,-3-3 23-15,2 2-2 0,-2-3 7 0,0 3 2 0,-1 1 4 16,-2 1 12-16,-2 1 18 0,0 5 5 15,-3 0 3-15,2-1 5 0,-4 3 20 16,0 2 5-16,-3 2 3 0,0 0 5 0,0 0-10 16,2 13-5-16,-4-7 20 0,-1 5-17 15,0 1-4-15,1 0 11 0,-3 1-18 0,2 1-5 16,1-1-7-16,0 4-11 0,-1-3-16 0,2-2-14 16,1 1-27-16,0-2-19 0,0-2-14 0,-2 1 11 15,2-3-57-15,0-2-30 0,2-2-21 16,-2 2-77-16,0-5-96 0,4 1-111 0,0-2-497 15,-4 1 72-15,6-7 116 0,-2 1 94 16,-1 0 33-16,2-2 85 0</inkml:trace>
  <inkml:trace contextRef="#ctx0" brushRef="#br0" timeOffset="17252.03">14874 7201 1144 0,'0'0'358'0,"0"0"-20"0,0 0-33 16,0 0 22-16,0 0-130 0,8 9-12 0,-8-6-11 16,2 2-28-16,-2-3-13 15,1 4-16-15,-1 0 11 0,0 2-28 0,2 1 5 0,-2-1-36 16,2 1-7-16,-2 1-6 0,3 2-20 0,-2-2-23 16,1 0-19-16,-2 3-40 0,2-2-23 15,-2 2-46-15,0 0-72 0,0 0-66 0,-2 4-42 16,2-4-483-1,-2 0 31-15,1 3 122 0,1-3 29 0</inkml:trace>
  <inkml:trace contextRef="#ctx0" brushRef="#br0" timeOffset="17795.45">14997 7286 1246 0,'-2'19'371'0,"-6"0"-23"0,3-4 52 16,0 4-37-16,0 3-43 0,-3 2-10 0,2 2-13 15,-4 8-41-15,0 3-36 0,-2-5-10 0,4-2-29 16,3-5-6-16,-1-2-24 0,2-2-11 0,-2-2-19 16,4-1-9-16,2-1-14 0,-3-4-22 0,3 0-17 15,0-4 15-15,0 0-22 16,0-3-1-16,0-2-10 0,1 0-28 0,-1-4-24 0,0 0 9 16,0 0-1-16,10-11-10 0,-10 4 16 0,2 1 15 15,-4-7-21-15,1 2 21 16,-1-3-18-1,-3 1-18-15,2 0 41 0,-2 2-18 0,0 2 1 0,-3 0 19 0,3 4-2 0,-5 2-7 16,2-1-4-16,0 4 6 0,-2 4 5 16,0-1-5-16,0 4 23 0,-1 2 5 0,-2 4-10 15,6 0 15-15,-1 3-23 0,0-2 3 0,4 4 0 16,0-3-5 0,4 0-19-16,0-1 6 0,4-2 7 0,-2 0-2 0,3-1-28 0,0-1 15 15,3-1-41-15,-1-1-25 0,4-2-6 0,-1-1-2 16,0-2-10-16,-2-3-8 0,5 1-15 0,-3-2-19 15,1 1-9-15,1-3-44 0,-1-2-82 16,4 0-156-16,-2-3-512 0,0-2 40 0,2-2 129 16,-5 0 67-16,3-4 58 0,0-1 72 15</inkml:trace>
  <inkml:trace contextRef="#ctx0" brushRef="#br0" timeOffset="18773.38">13913 3806 652 0,'2'-9'277'0,"4"-1"-21"0,1-5-41 0,8-1 0 16,6-9-26-16,2 2-15 0,3-2-18 0,2 1-10 16,0 2-18-16,3 4 16 0,0-1-24 0,-4 8-8 15,-6 1 9-15,-3 6-16 16,0 4-3-16,-2 1 0 0,-3 5-9 0,1 1-6 0,4 6 0 15,-2 1-16-15,-1 2 1 0,3-2-18 16,1 10 0-16,3 0 61 0,1-3 15 16,3-2-22-16,-5-3-21 0,1-3-3 0,2-2 6 15,1-3-18-15,4-3-11 0,1-2 3 0,14 1 0 16,-6-5-8-16,11-4-12 0,-3 0-90 16,3-1 35-16,0 1-14 0,-3-1 4 0,3 3 6 15,0-2 5-15,-3 3-6 16,-8 5 52-16,3 4-20 0,-3 4-1 0,-4 8 5 15,-6 4 9-15,0 4-4 0,-2 2 8 0,-5 2 14 0,1 0-17 16,-2 1 1-16,1-2-5 0</inkml:trace>
  <inkml:trace contextRef="#ctx0" brushRef="#br0" timeOffset="19850.03">14492 4291 785 0,'8'-16'233'0,"5"-5"-20"0,7-6-21 16,13-10-21-16,8-3-27 0,3-3-4 16,5-1-14-16,-1-4-16 0,9 3 49 15,15-6-14-15,-11 11-4 0,1 6-21 0,0 5-4 16,-6 8 12-16,-12 8-21 0,-3 6 16 0,-11 9-10 16,-7 5 17-16,-2 5-15 0,-1 14-10 0,-4 9-23 15,-9 3 26-15,-2 7-26 16,-7 3-6-16,-1 2-27 15,-2 6 15-15,0-9-8 0,2 0-7 0,3-3-5 0,6-6-14 0,1-1 16 16,6-4-15-16,2-4 7 16,6-5-4-16,2-9-42 0,0-4 23 0,3-5 16 0,7-4-31 15,0-2 28-15,16-5-23 0,2-2-7 0,0-2 10 16,8-7 2-16,-12 7-10 0,-1-1 7 16,-5 1-9-16,-7 3 12 0,-6 6-2 15,-8 4 5-15,-2 5 22 0,3 4-4 0,-6 5 2 16,3 8 6-16,-3 4-6 0,0 1 5 0,-2 1-14 0,1 1 14 15,1-1-20-15,2-1-8 0,2-2 16 16,4-4-19-16,3-1-7 0,1-4-2 0,4-6-6 16,0 3-12-16,-3-9-1 0,-2-2 6 15,2-1-24-15,1-2-7 0,-2-1 0 0,4-5 8 16,3 0-62-16,9-3-100 0,1-3-97 16,-6-1-294-16,3-2-254 0,-5-1 83 15,0-3 65-15,-8-3 70 0</inkml:trace>
  <inkml:trace contextRef="#ctx0" brushRef="#br0" timeOffset="24330.21">10338 9687 854 0,'-2'18'249'0,"0"-4"-55"0,-1 3-30 0,3-2-41 16,-3 3-21-16,3 1-61 0,-2 0-71 0,-1 0-137 16,1 0-442-16,-3 5 74 0</inkml:trace>
  <inkml:trace contextRef="#ctx0" brushRef="#br0" timeOffset="25043.74">10285 9762 1028 0,'0'0'292'0,"0"0"-10"0,0 0-13 16,0 0-26-16,0 0 49 0,5 11-29 0,-5-5-14 15,0 1-34-15,3 1-13 0,-3 6-15 16,2 0-121-16,0 1-27 0,-2-2-11 0,0 9-39 15,0-3-37-15,0 2-70 0,-2 5-115 0,0-2-94 16,2 1-375-16,-3 4-2 0,3-2 18 0,-3-2 136 16</inkml:trace>
  <inkml:trace contextRef="#ctx0" brushRef="#br0" timeOffset="25675.03">10272 10351 847 0,'-3'3'276'16,"3"-3"-28"-16,0 7-17 0,-2-1-19 16,2-2-15-16,-2 3 49 0,2 0-5 15,0 0-36-15,-1 1-24 0,1 3-19 16,0-2-27-16,-2 2-35 0,2 1-44 0,-3 1-22 0,3 0-19 16,-2 0-66-16,1 0-16 0,-1 2-30 15,0 0-13-15,2-2-46 0,-3 2 0 16,3-2 10-16,0 0 0 0,0-1 43 0,0-2-22 0,3 0 61 15,-3 1 26-15,0-3 27 0,2 3 34 16,0-3 34-16,-2-1 35 0,0 1 18 16,3 0 13-16,-3 1 10 0,0-3-15 0,3 1-1 15,-1-1-1-15,-2 1-1 0,0 2-5 0,3-1 20 16,-3-1-22-16,2-1-16 0,-2 4-10 16,0-2-8-16,0 0-10 0,0 3 10 0,3-3-15 15,-3 3-8-15,2-3-22 0,-1 1-4 31,-1 0-32-31,0 3-42 0,0-1-30 0,2-1-67 0,-2 0-59 0,0 4-61 0,0-3 43 16,3 2 23-16,-3 0-4 0,-3 1 4 0,6 0 74 16,-3-4-12-16,0 1 20 0,0 0 39 15,0 1 18-15,0-2 12 0,0 2 39 0,-3-3-6 16,3 1 11-16,0 0 41 0,0-2 15 0,0 2 18 16,0-2-17-16,0-1 14 0,0 2 3 15,0 0-20-15,0-2-18 0,0 3 12 0,0-2-22 0,3-1-39 16,-3 4-31-16,0-3-53 0,-3 2-29 15,3-1 11-15,0 2-31 16,0-1 13-16,-2-1-106 0,2 1-244 0,0-1 152 0,0 2 226 16,-1-3 62-16,-1 3 17 0,2-3 46 15,0 1 3-15,0-1-23 0,0 0 49 0,-3-1 14 16,3 2-9-16,-2-1 18 0,2-2 7 0,0-1-15 16,0 2-13-16,-2-2 0 15,2 2 23-15,-1-1 3 0,1 1 2 0,0-1-13 0,-2 0-15 16,2 0 13-16,0 1-5 0,-3 0-8 15,3-1 8-15,0 0 10 0,0 1-33 16,0-1-16-16,-2-1-18 0,2 1-15 16,0 0 0-16,0 0-81 0,0-3-6 0,-1 3-415 0,2-2-12 15</inkml:trace>
  <inkml:trace contextRef="#ctx0" brushRef="#br0" timeOffset="27322.08">10295 11487 826 0,'0'0'246'16,"0"0"7"-16,0 0-25 0,0 0-3 15,0 0-12-15,0 0-29 0,0 0-12 16,5 13-21-16,-5-8 48 0,3 2-17 0,-3 3-26 0,2-2-7 16,0 5-8-16,-1 0-16 15,-1 3-5-15,0 3 1 0,3 0-34 16,-3 2-18-16,-3 4-13 0,3 1-43 0,-1 1-49 0,-1-1-56 16,0-1-64-16,-1 0-39 0,1-4-15 15,1 1-10-15,-1-1-49 0,2-2 39 0,-2 0 25 16,2-3-15-16,0-1 23 0,0 1 38 15,0-1 59-15,0-2 39 0,-3 0 33 0,3-1 15 16,0-1-13 0,3-1 57-16,-6 0 8 0,6-1 7 0,-3 0 5 0,-3-1 5 0,3-2 13 15,0 4-2-15,3-2 2 0,-3 0 3 0,2 1 2 0,-2-1 3 16,0 1-8-16,0 0 0 16,0-1-10-16,0 1 0 0,0 0-3 0,0 1-7 15,0-1 2-15,0 1 0 0,0 0-23 0,0 0 18 16,0 1 8-16,0-1-26 15,0 1-5-15,0 0 10 0,0-2-7 0,0 3-13 0,0 0-3 16,0-1 0-16,-2-1-5 0,4 0-7 16,-2-1 12-16,0 0-7 0,0 1 7 0,0-1-10 15,0 1 2-15,0-1-4 0,0 0-13 0,0-1 9 16,0 1 12-16,0 1 1 0,0-2 3 31,0 1-4-31,0 0-9 0,0-3 11 0,0 2-1 0,0 1 9 0,0-3-9 0,0 1-4 16,0 0 7-1,2-2 0-15,-2 1-2 0,0 0-10 0,1 0-6 0,-1-2-10 0,2 3 0 16,-2 0-8-16,3-2-20 0,-3 0-10 16,2 1 2-16,-2 1-5 0,2-1 6 0,-2 1 4 0,-2 0 13 15,2 2 11-15,0-3-1 0,-2 1-25 0,2 0 25 16,0 1 6-16,-3 2-3 0,0-2 5 16,3-2-10-16,0 1 7 0,0-1-2 15,-2 0 8-15,2 1-8 0,-2-1 23 0,2 1-23 16,-3 0 5-16,3-2-26 0,0 0-12 15,0 1 33-15,0-1-8 0,0-2-17 0,-3 2 19 0,3 0 4 16,0 1-6-16,0-3 21 0,3 1-3 16,-3 1-7-16,0-1 27 15,0 1-12-15,0 0-5 0,0-1 10 0,0 1-3 16,0 0 1-16,3 0-11 0,-3 1 0 0,0-1 13 0,2 1 13 16,-2-1 7-16,0-1-4 0,0 2-3 0,0 0 10 15,0 0 7-15,0 0-9 0,-2 1 10 16,2 0 12-16,0-2-5 0,0 3 6 0,0 0-13 15,-3 0 25-15,3-1 0 0,0 1 6 16,0-2-37-16,0 1 14 0,0-2-9 0,-3 4 6 16,3 0-5-16,0-3 0 0,-2 0-13 0,2 2 7 15,0-2-2-15,0 1-2 32,0-1 2-32,-3 2 2 0,3-3-9 0,0 1-1 0,0 0 16 0,-2 0-26 0,2 1 3 0,0-3-3 15,0 2 2-15,-3 1 11 0,3-2 5 0,0 1-5 0,-2 0 0 16,2 1-8-16,0-1 16 0,-1 0-11 15,-1 1 3-15,-1-1-5 0,3 3 10 16,-2-1-10-16,0-1-11 0,1 0 4 0,-1 1 4 16,2-1-10-16,-3 1 2 0,0 0 16 0,3 0-5 15,-2 0-8-15,0 0-15 0,-1-1 28 16,3 1-21 0,-3-2 3-16,3 1 5 0,-2-1 1 0,2 1-12 0,-2-1 9 0,2 0 2 15,0-1 16-15,-1 1-26 0,-2 0 7 0,3 1 1 16,0 2 7-16,0-3 0 0,-2 2 0 15,2-1 11-15,0 1-19 0,0 1 9 0,-2 0 4 16,2 1-12-16,0-1 20 0,0 0 10 0,-3-1-2 16,3 0-1-16,0 2 11 0,0-2-18 15,0 3-2-15,-3-3 12 0,3 3 3 0,0 1 2 16,-2 0 1-16,2-1-3 0,0-1-11 0,-2 3 16 16,1 2 8-16,1-1 10 15,-2-1-26-15,2 1 15 0,-3 1-7 0,1 0 6 0,2 0-9 16,-1 2-5-16,-1-4 3 0,2 2-18 0,0-1 8 15,0-1-16-15,-2 0 5 0,2 0 0 16,0-2-12-16,0-3 2 0,0 3-18 0,-3-3-2 16,3 1-18-1,0-2-34-15,0-3-107 0,0-4-97 0,-1 3-576 0,1-3 84 0,0 0 90 16,0 0 43-16</inkml:trace>
  <inkml:trace contextRef="#ctx0" brushRef="#br0" timeOffset="28785.76">10344 9507 829 0,'5'11'263'0,"-5"-4"-14"16,0 2-14-16,0 1-9 16,0 3-29-16,0 6-8 0,-3 0-17 0,3 4-24 0,0 3 64 15,-2 4 1-15,0 9-36 0,-2 2-24 0,2-1-17 16,-3 1-6-16,2-2-27 0,-1-1-24 16,1 1 0-16,0-1 6 0,0-4-24 0,-1 4-2 15,-2-1-5-15,1-6-11 0,0 6-27 0,-3-2-19 16,4-5-43-16,1-1-26 0,-2-2-96 15,2-1-86-15,-10 5-153 0,11 0-415 0,1-7 101 16,-3 1 58-16,1-5 77 0</inkml:trace>
  <inkml:trace contextRef="#ctx0" brushRef="#br0" timeOffset="51798.38">9995 12867 1046 0,'-10'0'310'0,"2"-1"-59"0,0 0 2 16,-2 1-22-16,0 0-14 0,-1-1-14 16,1 0 70-16,-3 1-29 0,3-1-17 15,-2 0-6-15,-1 1-32 0,-2-2 11 0,2 2-11 16,-3 0-25-16,1-3-85 0,-1 3-17 0,-2 0 2 16,0 0-3-16,1-1-10 0,-7 1-7 15,4-1 25-15,-1 1-33 0,-4-1 20 0,1 0-2 16,-1 0-11-16,-3 0 3 0,-3 0-2 0,0 0-16 15,-2 1 8-15,-1 0-3 0,1 0 8 0,-3 0-20 16,1 0 22-16,-1 0-28 0,0 0-17 16,2 0 28-16,-1-2-16 0,1 2 3 0,-1 2 17 15,1-4-7-15,1 4-18 0,0-4 21 0,-3 4-11 16,3-2-12 0,-2 0 17-16,2 0-17 0,0 0 2 0,-3 1 23 0,3-1-18 15,2 0-4-15,-2 1 4 0,7-1-5 16,-2 0-2-16,2-1 9 0,1 1-12 0,2 0 11 0,-1-1 35 15,7 1-28-15,-1 0-1 0,-2 0 14 16,4-2-15-16,1 2-1 0,1 0-2 16,2 0-16-16,2 0 88 0,0 0 7 0,1 0-5 0,-1 2-31 15,2-2 11-15,1 0-11 0,2 0-15 16,-3 0-5-16,8 0 7 0,-11 2-4 0,4-1-1 16,2 0 8-16,5-1-13 0,-8 2-7 0,3-1 0 15,5-1 22-15,-8 1-45 0,3-1 25 16,5 0-8-16,-5 3 6 0,5-3-11 0,-8 2 3 15,8-2 0-15,-4 0 10 0,4 0 1 0,0 0-9 16,-8 1-2-16,8-1 0 0,-6 1 7 16,6-1-12-16,-5 1 18 0,5-1 2 15,-5 2-10-15,5-2 3 0,-5 1-8 0,5-1-13 16,-5 2 21-16,5-2 4 0,-5 2-27 0,5-2 25 16,0 0-28-16,-6 2 10 0,6-2-18 15,0 0-12-15,-4 3-16 0,4-3-10 16,0 0-20-1,-5 1-9-15,5-1-14 0,0 0-26 0,0 0-24 0,-1 3-24 0,1-3-42 0,0 0-49 16,0 0-89-16,0 0-179 0,0 0-471 0,0 0 105 16,0 0 97-16,0 0 89 0,19-2 60 15,-12 1 79-15</inkml:trace>
  <inkml:trace contextRef="#ctx0" brushRef="#br0" timeOffset="52178.43">8680 12703 1098 0,'0'0'419'0,"0"0"-12"0,-15 3-41 0,7 0-43 16,0-1-29-16,-3 0-7 15,-3 2-34-15,-2 1-15 0,1-2-23 0,-3 2-97 0,-1 1-13 16,-1-1 0-16,-5 2-10 0,1-1 5 0,-1 3-18 15,2-1 7-15,0-1 11 0,0 2-16 16,2 1 9-16,1-2-22 0,4-2 14 0,1 2-11 16,0 1-5-16,4 0 0 0,3-2-10 0,1 2-5 15,2-1 5-15,2 0-16 0,3-1-7 0,0 2 15 16,1-1-15-16,1-1-5 0,3 3 10 16,0-1-13-16,3 1-8 0,0-2 16 15,2 1-28-15,0 0-16 0,3 1-20 0,2-2-8 0,-2 0-23 16,0 1-30-16,0-3-24 15,2 0-35-15,-4 1-34 0,1-1-59 0,-2 0-94 0,0-1-156 16,1-1-426-16,2 2 88 0,-3-1 81 16,3 1 98-16,0-1 64 0</inkml:trace>
  <inkml:trace contextRef="#ctx0" brushRef="#br0" timeOffset="52957.78">10524 12915 1185 0,'-6'-2'361'0,"1"0"-31"0,0 1 56 0,5 1-45 15,0 0-26-15,0 0-31 0,0 0-28 16,0 0-6-16,0 0-19 0,33 5-26 0,-18-3-13 16,9 0-3-16,4 2-28 0,2 0-10 0,15 1-18 15,3-1-25-15,4 2 5 0,1-1 4 16,1-1-22-16,0 3 2 0,2-3-23 16,0 2 8-16,-1 0 0 0,-2-1 0 0,-2 1-25 0,-4-1 7 15,-2 1-21-15,-3-1 1 0,-6 0-62 16,-3-2-11-16,-2 0 6 0,2 0 8 0,-2-1 0 15,-2 2-3-15,-2-1 8 0,-3-1 10 16,-1 0-11-16,-1 0-7 0,-3 0 8 0,1 0 5 0,-2 0 8 16,-3-1 9-16,-1 1-22 15,3-1 13-15,-6-1 4 0,1 1 6 16,-2 1 0-16,1-2-3 0,-3 1-20 0,-1 0 7 0,0 0 9 16,-1 0-24-1,2 0 28-15,-3 0 10 0,-5-1-12 0,10 0-11 0,-5 0-4 0,-5 0-9 16,8 0 6-16,-8 0-18 0,0 0-8 0,10 0-7 15,-10 0-37-15,0 0 14 0,0 0-8 16,5-2-29-16,-5 2-17 16,0 0-21-16,0 0-2 0,0-4-26 0,0 4-62 0,0 0-73 0,0 0-85 15,-2-4-192-15,2 4-254 0,0 0 90 0,0 0 93 16,-3-7 66-16,3 7 135 0</inkml:trace>
  <inkml:trace contextRef="#ctx0" brushRef="#br0" timeOffset="53289.39">11757 12902 1116 0,'0'0'340'16,"0"0"-38"-16,0 0-13 15,0 0-17-15,0 0-32 0,0 0-4 0,28 3-37 0,-20 0-17 0,4 1 0 16,-1 0-6-16,4-1-32 0,0 1 4 15,-2 2-17-15,5-1-16 0,0 0 5 16,2 1 1-16,-4 0-14 0,-1 1 6 0,-2-1 76 16,0-1-12-16,0 0 12 0,-3 2-20 0,-2 0-77 15,-4 1 3-15,2-2-8 0,-4 1-31 0,-4 3 19 16,-4-1-9-16,-4 3-10 16,-5 2 3-16,-3 0-15 0,-10 7 45 0,-3-2-12 0,-2 2-23 15,-1-2-34-15,3 0-61 0,-2-1-23 0,0 1-43 16,2-2-16-16,3 1-31 15,5-2-66-15,5-3-118 0,-13 4-176 0,11-1-418 0,-1-3 75 16,0 1 56-16,-4 4 104 0,-3 0 78 16,7-3 58-16</inkml:trace>
  <inkml:trace contextRef="#ctx0" brushRef="#br0" timeOffset="55082.09">10638 9162 1510 0,'4'-2'455'0,"-4"2"-55"0,0 0 14 0,0 0-165 16,0 0-11-16,-8 9-11 0,5-3-27 15,-4 0-28-15,-1 5-3 0,0-3-16 16,-2 5-15-16,2 0 62 0,-5 5-39 0,0-2-15 0,1 0-33 15,-2 2-47-15,2-2-12 16,-1-1-28-16,3 2-24 0,-3-4-40 0,5 1-13 0,-2-2-21 16,0 1-35-16,0-2-60 0,2 0-33 0,0-2-79 15,0 1-43-15,1-3-210 16,1-1-305-16,2 0 58 0,0-4 132 0,0 2 32 0</inkml:trace>
  <inkml:trace contextRef="#ctx0" brushRef="#br0" timeOffset="55327.64">10400 9341 1267 0,'0'0'424'0,"0"0"-14"0,0 0-54 0,0 0-11 0,-10 10-43 0,10-1-20 15,-5-1-21-15,3 0-23 0,1 3-25 0,-1-1-11 16,-1 2-33-16,3-2-11 0,3 0-17 15,-3-1-18-15,2 1 10 0,1-2-38 0,2 1-13 16,2-2-3-16,-1-1-53 0,4-2-39 16,-2 2-31-16,5-2-43 0,-3-2-38 0,2-2-77 0,4 0-113 15,-1 0-563-15,1 0-8 0,-1-1 123 16,1-3 44-16,-1 3 82 0,0-1 43 16</inkml:trace>
  <inkml:trace contextRef="#ctx0" brushRef="#br0" timeOffset="56348.02">10754 8599 1505 0,'-10'8'463'0,"8"-4"-64"0,2-1-120 0,-1 3-25 0,1 0-16 16,-3 1-28-16,3 4-24 0,0-5-9 0,0 4-21 15,0-1-38-15,0 1-11 0,0-1-4 0,3 1-14 16,-2-2-9-16,-1 1-14 0,2 1-7 0,-2-3-10 16,2-1-11-1,-2 0-7-15,3 1 7 0,-3-3-2 0,0-2 5 0,3 3-2 16,-3-5-11-16,0 0 18 0,0 0 0 0,0 0-5 15,0 0 10-15,0 0 18 0,0 0-18 16,4-14-7-16,-4 5 2 0,1 2 10 16,1 0-28-16,1-4 18 15,0 1-5-15,1-1-2 0,-1 0 4 0,2 3 1 0,-2-2-8 16,0 3 17-16,1 0-7 0,-1 1-20 0,2 1 2 0,-2 2 3 16,2 0 2-16,0 2 6 0,-5 1-9 0,10 1 60 15,-10-1 2 1,10 5-7-16,-7-1-11 0,2-1 10 0,0 2-20 0,-2 2-2 0,-1-1-3 15,1 0-29-15,0-1 14 0,-1 1-8 16,0-1-3-16,-2-2 31 0,1 2-5 0,1 0-70 16,-2-2-1-16,3 0 35 0,-3-3 15 15,2 2-2-15,-2-2 0 0,0 0 0 0,0 0-13 16,0 0 0-16,11-5-5 0,-9 2 23 0,3-3-6 16,0 2-4-16,3-2-18 0,-3 0 0 0,0 1 2 15,3 2 95-15,0-1-18 0,-3 1-5 16,3 2 5-1,-4 0 3-15,4 1-36 0,0 1 2 0,0 2-20 0,-1 0 16 0,-1 0-24 16,2 4-2-16,-1-2-6 0,-2 2-25 0,0-2-18 0,0 1-43 16,-2 1-39 15,2-3-35-31,-3 1-42 0,1 0-30 0,2 0-24 0,0 2-50 0,-2-4-103 0,0-4-177 0,1 5-524 0,0-4 102 16,0 3 105-16,2 0 82 0,-2-3 92 0,-4 0 84 15,8 4 29-15</inkml:trace>
  <inkml:trace contextRef="#ctx0" brushRef="#br0" timeOffset="56611.92">11148 8669 1446 0,'1'-6'407'0,"2"-1"-36"0,-3 1-33 0,-3 1-8 15,3 3 51-15,-1-3-30 0,1 5-23 0,0-7-60 16,0 7-6-16,-4 0-30 0,4 0-17 0,0 0-17 15,0 0-24-15,-11 8-16 0,6-3-91 16,3 1-3-16,-1 0 0 0,1 1-26 16,-1-1 11-16,3 1-11 0,-2 2-20 0,1-2 5 0,2 0-38 15,1 0-16-15,1 0-35 0,-1-1 9 16,1 0-17-16,5-1-41 0,0-1-23 16,-2 0-21-16,5-4-28 0,-1 3-92 0,3-3-61 15,0-2-16-15,0 1-494 0,5-1 44 0,-3-2 79 16,0 3 41-16,1-5 87 0</inkml:trace>
  <inkml:trace contextRef="#ctx0" brushRef="#br0" timeOffset="57140.98">11436 8614 1228 0,'-3'-1'420'0,"3"1"-36"0,-10 0-36 0,10 0-5 0,-12 0-41 0,6 3-26 15,-2-1-17-15,1 2-26 0,0 0-92 0,1 0-11 16,-2 1-9-16,1 0-19 0,1 2 21 15,-1 0-26-15,4-2-25 0,1 2 12 0,-1-2-22 16,0 2-9-16,1-3-14 0,0 2 7 16,2 1-31-16,0-3 11 0,2 1-24 0,0-1 1 0,-2 1 7 15,3-1-5-15,-2-2-7 0,1 2 17 16,0-2 8-16,0 2 10 0,-2-4-15 16,6 3 21-16,-6-3 4 0,8 0 6 0,-8 0-3 15,0 0 10-15,10-3 21 0,-7-1 61 0,1 4-12 16,2-5 25-16,-4 4-31 0,4-3 0 15,-4 2 3-15,3-1-13 0,-2 0-15 0,-3 3 7 16,8-3-2-16,-4 0-92 0,-1 1 12 16,-3 2-4-16,5-4 12 0,-2 4 8 0,-3 0-6 15,7-2-7-15,-7 2 6 0,0 0 6 0,0 0-9 16,8 2 7-16,-8-2-2 16,5 4 2-16,-5-4 24 0,2 2-37 0,-2-2 6 0,4 5 4 0,-4-5 6 15,2 2-28-15,-2-2 15 0,2 4 18 16,-2-4-3-16,6 2-22 0,-6-2 25 15,4 3 102-15,-4-3-35 0,6 2-11 0,-6-2 15 16,7 0-32-16,-1 0 12 16,-1 3-61-16,0-2-21 0,0 1 0 0,2-2 8 0,-1 2 15 15,-6-2-22-15,13 2-4 0,-6-2-12 0,-2 0 13 16,3-2-29-16,0 0-9 0,-3 2-24 16,3 0-23-16,-1-6-51 0,1 6-61 15,-3-4-32-15,1 2-78 0,1 0-47 0,-4-1-186 0,1 1-566 16,2 1 69-16,-4-3 123 0,1 4 117 15,-3 0 68-15,8-3 81 0,-3 2 30 0</inkml:trace>
  <inkml:trace contextRef="#ctx0" brushRef="#br0" timeOffset="57712.32">11849 8610 1218 0,'5'-3'399'15,"-5"3"-40"-15,10 0-34 0,-5 0-54 0,5 0-51 16,-2 0-43-16,0 0-67 0,0 0-87 0,-1 0-118 16,1 0-179-16,0 0-512 0,-1 5 136 15,-4-3 5-15,2 2 87 0</inkml:trace>
  <inkml:trace contextRef="#ctx0" brushRef="#br0" timeOffset="57852.95">11810 8763 906 0,'0'0'404'0,"0"0"-33"16,0 0-125-16,0 0-8 0,0 0-13 16,21 0-46-16,-14-2-17 0,1-2-11 0,2 3-46 15,1-1-41-15,1-1-26 0,2 1-58 16,0-1-129-16,2-5-125 0,-1 8-494 0,-4 0 87 16,2 0 77-16,-1 1 16 0</inkml:trace>
  <inkml:trace contextRef="#ctx0" brushRef="#br0" timeOffset="58555.5">11774 9072 1162 0,'-2'4'414'16,"-1"1"-17"-16,3 0-62 0,0 1-30 0,0 0-21 15,0 2-28-15,-2-1-77 0,2 3-46 0,0-1-23 16,0 0 8-16,0 0-28 0,0-2-11 0,2 3-10 16,-2-4-5-16,0 1-13 0,0-2 8 0,0 1 8 15,0-3-6-15,3 2 11 0,-6-1 0 16,3-4-11-16,0 0 8 0,3 4 10 15,-3-4 1-15,0 0-6 0,0 0 16 0,0 0-24 16,-3-16 16-16,3 7-13 0,3-1-2 0,-1-1-21 16,-1 0 23-16,3-1-31 0,-1-1 21 0,0 4 0 15,-1-1 3-15,4 4-19 0,-4-2-2 16,3 2-5-16,0 2-3 0,-2 3 5 16,-3 1 1-16,10 0-14 0,-10 0-1 0,8 8 11 15,-6-3-24-15,3 1 1 0,-2 0 9 0,2 2-6 16,-2 1-10-16,1-3 6 0,0 2-17 0,0-1-1 15,-1-1 12-15,0 0 0 16,-1-1 5-16,1-2-5 0,-1 2 16 0,3-2 12 0,-2-2 3 16,-3-1 13-16,10-1 81 0,-10 1 1 15,13-4-8-15,-6-2 2 0,1 4 0 16,2-2 6-16,-2-1-8 16,0 4-23-16,0-2-21 0,2 0 0 0,-3 3-2 0,1 0 8 0,0 1-3 15,0 3-18-15,-1-2-8 0,1 2-13 0,0-1 1 16,-3 1-19-16,3 1-45 0,-1-2-26 15,-2 2-36-15,1 0-54 0,-1-3-40 0,2 4-1 16,-1-2-48-16,-2-2-64 0,2 3-126 0,-6-3-171 16,5 2-456-16,3-2 62 0,-1 2 155 15,-2-2 52-15,1-2 95 0,1 4 59 16</inkml:trace>
  <inkml:trace contextRef="#ctx0" brushRef="#br0" timeOffset="58814.99">12218 9182 1192 0,'0'-5'423'0,"0"1"-29"0,3-4-38 0,-3 4-13 15,2-1-5-15,-2-1-39 0,0 6 57 0,0-7-39 16,-2 3-22-16,2 4-29 0,0 0-8 16,0 0-17-16,0 0-47 0,0 0-9 15,0 0-34-15,-14 12-16 0,12-7-1 0,0 1-19 0,-1 1 2 16,3-1-22-16,-3 0-36 0,3 1 13 15,0-1-3-15,0 0-36 0,3 1-30 16,-3-1-49-16,5 0-49 0,0-1 16 0,0 0-49 16,3-3-54-16,-3 3-69 0,5-4-143 0,0 1-85 15,1 2-445-15,2-4 20 16,-2 1 121-16,1-1 97 0,0-1 36 0,-1 0 87 0</inkml:trace>
  <inkml:trace contextRef="#ctx0" brushRef="#br0" timeOffset="59370.62">12469 9133 1387 0,'-5'3'358'0,"0"-1"-22"16,-5-1-45-16,2 4-14 0,0 2-8 16,-2-2-31-16,2 1 46 0,0 1-21 0,1 1-32 15,-1 3-26-15,1-5-21 0,1 3-23 0,1 0-18 16,0-2-12-16,3 0-16 0,1-1-18 0,-1-1-7 15,4 2-46-15,-1-1-21 0,4-4 33 16,0 2-36-16,0-4 3 0,3 1 16 0,-1-1-21 16,1 0 15-16,0-1 10 0,0-3 19 15,2-1-1-15,0 0 16 0,-2-4 28 0,2 2-13 16,-2-6 23-16,2 0 21 0,-2-2-5 0,-1-1-6 16,-2-2 6-16,1-3-19 0,1-3-7 15,-1 3 21-15,-1-1-19 0,-1 3-5 0,-1 0-45 0,0 2-24 16,2 2 3-16,-3 2-10 15,-2 2 9-15,3 1 4 0,-3 1-3 0,0 2-3 16,3 1 5-16,-6 2-10 0,3 4 16 0,0 0 7 16,0 0-38-16,0 0 5 0,-10 11 2 0,5-3 8 15,2 3-4-15,-2 0-19 0,0 0 2 16,2 2 16-16,0 0-51 0,-1 1 15 0,1-1-22 16,3-1-19-16,-3 1-5 0,3 0 0 0,0-2 0 15,0 2-5-15,3-4-7 0,0 1 30 16,-1 0-11-16,1-1 14 0,2-3 17 0,-2 1-17 15,4-1 5-15,-2-1 5 0,1 2 5 0,-2-1-3 16,2-1 21-16,-1 0-13 0,2-1-2 16,-1 1 7-16,-2 0 2 0,2 0-9 15,-3-2-52 1,1 1-15-16,0-2-25 0,0 2-57 0,-1-2-28 0,0 2-47 0,-1-2-106 0,-2-2-180 16,0 0-491-16,8-1 122 0,-8 1 78 0,0 0 111 15,10-2 122-15,-8-2 17 0</inkml:trace>
  <inkml:trace contextRef="#ctx0" brushRef="#br0" timeOffset="59462.38">12679 9113 1118 0,'0'0'422'0,"0"-4"-40"0,0 4-44 0,3-3-54 0,-3 3-59 16,0 0-56-16,0 0-77 0,0 0-161 16,0 0-274-16,0 0-422 0,0 0 84 0,10 7 20 15</inkml:trace>
  <inkml:trace contextRef="#ctx0" brushRef="#br0" timeOffset="60184.48">12903 9081 1313 0,'-6'4'419'0,"-1"-2"-14"0,1 3-57 0,-1-3-20 16,-1 4-8-16,3-1-57 0,0 0-17 15,0 2-8-15,-1 0-46 0,2-1 5 16,1 2-33-16,-2-2-13 0,5 0-23 0,-2 0 5 16,1 0-113-16,2-1 11 0,1 0-5 0,0-2 10 15,1 3-18-15,2-5-1 0,0 3-6 16,-2-2 17-16,2-1 13 0,0 1 5 0,-5-2-8 15,11-2-7-15,-4 1 18 0,-2 1 15 0,0-7 76 16,0 3-24-16,1-1 12 0,-2 1-16 16,2-2-7-16,-1 0 13 0,-2 1 7 15,1 3-20-15,-1-2-74 0,0 1 2 0,-1-1 3 0,-2 4-13 16,5-3 8-16,-5 3-8 0,3-2-3 16,-3 2 9-16,0 0-1 0,0 0-16 15,7 9 4-15,-7-7 7 0,3 3-3 0,-3-5-4 16,1 7 17-16,1-3-38 0,-2 0 2 0,2 1 21 15,-2-1 0-15,3-2-18 0,-3 3-5 0,3-4 23 16,1 3-3-16,-3-1-4 16,-1-3 6-16,7 4 1 0,-4-2 13 0,2-2-18 0,-5 0 71 15,10 5-32-15,-5-5-4 0,1 1-7 16,-1-1 5-16,2 0-2 0,1 1 15 0,-8-1-21 16,13-1 18-16,-5 1-20 0,0 0-3 0,-1-1-27 15,3 1 17-15,-2-1-34 16,2-3-22-16,-2 3-46 0,0-1-65 0,2-1-40 0,-2 3-62 15,-1-4-102-15,1 1-271 0,2 2-474 16,-2-4 112-16,0 5 98 0,-1-2 149 0,1-2 30 16,-3 4 79-16,0-2 116 0</inkml:trace>
  <inkml:trace contextRef="#ctx0" brushRef="#br0" timeOffset="60441.42">13552 9058 1131 0,'0'0'317'0,"0"0"-25"0,0 0-59 0,22-1-49 0,-22 1-58 0,13 1-65 15,-5 2-125-15,-3-1-112 0,2-2-237 16,-1 4-265-16,-1-1 89 0</inkml:trace>
  <inkml:trace contextRef="#ctx0" brushRef="#br0" timeOffset="60642.07">13548 9188 1085 0,'0'0'407'0,"0"0"-16"16,0 0-14-16,0 0-55 0,0 0-35 15,0 0-8-15,0 0-18 0,0 0-28 16,16-2 46-16,-16 2-21 0,13-5-30 0,-3 5-46 16,0-2-54-16,3-2-18 0,0 2-61 15,-2 1-49-15,6-2-54 0,-4 2-74 0,2-2-151 16,-7 0-143-16,8 3-497 0,-2-2 107 0,0 0 65 15,-1 0 81-15,-3 2 70 0</inkml:trace>
  <inkml:trace contextRef="#ctx0" brushRef="#br0" timeOffset="61524.46">14041 9230 1523 0,'0'-5'458'0,"2"-1"-26"0,-1 0-102 0,1-2-7 16,-2-1-6-16,2-1-12 16,1-1-54-16,-2-4 5 0,-1-1-26 0,2-3-17 15,-2 0 7-15,2-2 0 0,1-1 33 0,0 3-17 0,-1 0-1 16,0 0-38-16,-1 2-7 0,1 6-24 15,1-1-25-15,-1 2-16 0,-2 2-7 16,2 3-10-16,-1-1-9 0,-1 6 4 16,0-1 2-16,0 1-16 15,0 0-25-15,0 0 0 0,0 14-20 0,2-8-24 0,-2 4-25 0,3-1 8 16,0-2-21-16,-1 5 3 0,4-2-6 0,-2-3 6 16,2 0-11-16,1 0 3 0,0-5 15 15,1 2 14-15,0-3 1 0,0 1 21 0,3-4-15 16,-4 1 13-16,3 1 10 0,0-2 15 0,0-2 8 15,1 4-116-15,-4-3 16 0,1 0 21 16,0 3-1-16,-3 0 19 0,-5 0-8 0,13 1 7 16,-8 4-7-16,1-1 5 15,-2-2-6-15,2 5-1 0,-2-1-45 0,-1-1-2 0,2 2-15 16,-2-1-31-16,2 1-46 0,-2 0-38 0,-1-2-16 16,3 1-15-16,-2 1-54 0,2-1-7 0,2-2-55 15,1-2-68-15,0 1 109 0,2-1-30 16,0-2-36-16,-1-1 47 15,-2 0 60-15,3-2 60 0,0-1 61 0,0 0 84 0,-2 0 41 0,0-3 59 16,0 1 31-16,-3 1 28 0,0-1-7 0,0 2 22 16,0 0 11-16,-2-1 12 15,-1 3-7-15,-2 2-8 0,3-4-12 0,-3 4 6 16,0 0-29-16,0 0 7 0,0 0-8 0,-6 17-2 16,4-10-8-16,0-1-21 0,2 2-4 0,-3 1-47 15,3-1 13-15,3 0 0 0,-3 2-5 16,2-4-35-16,3 2 1 0,1-2-4 15,1-1 28-15,0 0-8 0,1-2-18 0,2 1 31 16,1-3-15-16,-3-1 9 0,2 0 14 0,0-2 18 16,-2-2 7-16,0 3 10 0,-1-4 21 0,-1 0 8 15,-2-2-1-15,-1 2-9 0,0-2-22 16,-3 0 22-16,-3 1-26 0,0-1-11 0,-1 1-15 0,-2-2 0 16,-1-1-25-16,-1 2-11 0,-2 1-38 15,2 2-20-15,-2 0-27 0,2 0-55 16,0 1-44-16,1 1-82 0,-1 2-158 15,2 0-505-15,2 0 87 0,4 0 82 0,-10 1 56 16,10-1 70-16,0 0 56 0</inkml:trace>
  <inkml:trace contextRef="#ctx0" brushRef="#br0" timeOffset="62121.95">14810 8838 1208 0,'0'-2'504'0,"0"2"-2"0,0 0-37 0,0 0-60 0,3 11-31 16,-3-7-26-16,-3 6-44 0,3-2-14 15,0 4-22-15,0 1-35 0,-3 4-20 0,3-2-29 16,-2 3-7-16,0 1-14 0,2-2-32 0,0-2-6 16,-1 1-22-16,1-2-19 0,0 0-17 15,-2 0-26-15,4-4-23 0,-2 1 18 0,1-4-16 16,-2 2-5-16,1-2 11 0,0-4-13 15,-2 3 7-15,2-5 1 0,0-1-6 0,-5 4 11 0,5-4-13 16,0 0 30-16,-11-1-20 0,11 1 3 16,-12-4 2-16,6 4-15 0,2-1-3 15,-4 1 15-15,0 1-4 0,-2-1-3 0,2 0 2 16,0 4-2-16,-2-1-18 0,3 0-7 0,-1 0 17 16,0 2 3-16,0 0-21 0,1-1 26 15,1 1-13-15,-1 1 0 0,4 1 10 0,1-2-15 16,-1 1-2-16,6 0 7 0,-3-2-8 15,4-1 9-15,2 2-6 0,2-4-31 0,2 2-15 16,3-2-13-16,2-1 18 0,3-1-3 0,-2-1-7 16,6-1 18-16,-1-1-11 0,-1-2 29 0,1-2-3 15,2-2-23 1,-2 2 18-16,-4-4 15 0,1 0 1 0,-2-2 9 0,-3 2 19 0,-3 0-11 16,0-1 3-16,-2 2 33 0,-3 2-13 15,-2 0 21-15,-1 1-10 0,0 4-1 0,-4 0 16 16,2 4-5-16,-2-4 2 0,2 4-2 15,0 0 2-15,-16 8 11 0,11-1 9 0,0 1 6 16,0 0-18-16,2 4-13 0,0-1-2 0,1-1-5 16,0 1 14-16,4 1-91 0,1 0-13 0,2-1 21 15,0-2-24-15,3 1-25 0,0-2-18 16,2-2 2-16,0 1-18 0,-3-1-22 0,4 0-65 16,-1-3-27-16,0 1-32 0,1-3-114 15,-4-2-144-15,3 4-507 0,0-2 100 0,-2-1 146 16,0 0 38-16,-8 0 101 0,11-3 63 15</inkml:trace>
  <inkml:trace contextRef="#ctx0" brushRef="#br0" timeOffset="64226.87">10349 9544 778 0,'0'0'263'0,"0"0"-27"0,0 6-70 15,0-6-43-15,0 0-62 0,-3 4-63 0,3-4-100 16,-4 3-157-16,4 1-383 0,0-4 58 0</inkml:trace>
  <inkml:trace contextRef="#ctx0" brushRef="#br0" timeOffset="66781.45">10238 10948 985 0,'3'8'353'0,"-2"3"-28"0,-1 3-33 0,2 4-44 16,-2 1-10-16,0 4-25 15,0 5-19-15,-2 14-32 0,1 0-39 0,-4 2-18 0,3 2-47 16,-4-1-50-16,1 3-46 0,-3 9-118 0,1-9-72 15,-1 11-323-15,1-3-132 0,1-9 12 16,-4 10 77-16</inkml:trace>
  <inkml:trace contextRef="#ctx0" brushRef="#br0" timeOffset="93690.93">6428 3332 1615 0,'0'0'496'0,"0"0"-48"0,-6 6-38 16,5 0-34-16,1-1-20 0,-3 2-44 16,3 1-12-16,0 1-39 0,0 3-54 0,0 1-7 0,0 1-6 15,0 2-25-15,0-1-2 0,3-1-29 16,-3 1-5-16,0 0-28 0,1-2-16 16,1 1-7-16,-2-2-28 0,2 0-26 0,-2-3-25 0,0 3-19 15,0-2-14-15,-2-1-22 16,2 1-40-16,0-4-25 0,0 1-45 0,0-1-58 0,2 0-49 15,-2 0-127-15,-2-1-39 0,2-2-479 16,0 0 74-16,0-3 88 16,0 0 63-16,0 0 121 0,0 0-6 0</inkml:trace>
  <inkml:trace contextRef="#ctx0" brushRef="#br0" timeOffset="94007.28">6388 3516 1328 0,'0'0'389'0,"-5"-2"-20"0,5 2-29 15,0 0-25-15,0 0-28 0,-6 9-24 16,6-4-17-16,0 1-23 0,-2 1-21 0,2 2-20 16,2 0 53-16,-2 1-22 0,3-1-9 0,0 1-27 15,-1-2-18-15,4 2-24 16,-4-1-4-16,3-2-8 0,0 1-31 0,-2-1 23 0,2-1-23 15,0-3-28-15,1 2-7 0,0 0-1 16,0-3 18-16,-1-1-23 0,2-1-12 0,1 3 9 16,0-6-27-16,-8 3-11 0,15-3-18 15,-7 0-27-15,0-3-22 16,2-1-38-16,0 1-35 0,-1-2-21 0,1-2-46 0,0 0-123 0,0-3-136 0,1 1-542 16,-1 0 84-16,0 0 105 15,0 0 93-15,-2 2 63 0,-1 0 59 16</inkml:trace>
  <inkml:trace contextRef="#ctx0" brushRef="#br0" timeOffset="94735.63">6577 3176 1282 0,'0'0'412'0,"0"0"-25"0,0 0-47 15,0 0-18-15,-4 8-37 0,4-2-29 0,2 0 74 16,-2 1-64-16,2 3-28 0,1-3-13 16,-3 4-10-16,3-2-20 0,-3 1-24 0,2-1-25 15,0 1-13-15,-1-1-17 0,1-1 6 0,1 0-19 16,-1-1-19-16,-2-1-15 0,1 0 21 0,1 0-21 15,1-4-5-15,-3 2 10 0,2-2-7 16,-2-2-8-16,0 0 12 0,0 0-4 0,0 0-6 16,0 0 3-16,0 0 0 0,8-6-5 15,-8 1-20-15,2 1 2 0,1-2 10 0,-1 2 3 16,2-2-44-16,0 0 28 16,2 2-5-16,-2-1-27 0,2 2 19 0,-2 0 6 0,2 0-6 0,-1 2 9 15,1 1-4-15,1-1-27 0,-7 1 43 16,13 1-41-16,-9 3-2 0,4-3 22 15,-2 4-12-15,-2-2 3 0,2 2-6 0,-1 0 26 16,0-2-18-16,0 2-11 0,-2-1 14 0,2-1-16 16,-2 1 2-1,2-1 22-15,-3 0 1 0,-2-3 29 0,5 3 3 0,-2-2-3 0,-3-1-11 16,0 0 6-16,0 0 15 0,0 0-97 0,0 0 30 16,10-7 6-16,-7 4-10 0,2-1 4 0,-3 1 1 15,1-2 17-15,2-1 8 16,-2 2 6-16,-1 1-22 0,3-2-7 0,0 3 19 0,-3-1-9 15,4 0 16-15,-6 3 79 0,8 0-16 16,-8 0-17-16,10 4 3 0,-7-1-4 16,1 3-32-16,0-4-36 15,0 3-21-15,-1 0-36 0,0-1-51 0,-1 1-25 0,0 0-65 0,1 0-35 16,0-3-62-16,-1 2-76 0,-1-2-154 0,3 0-320 16,-1-1-187-16,-3-1 51 15,0 0 93-15,10-4 122 0,-5 0 95 0,1-2 46 16</inkml:trace>
  <inkml:trace contextRef="#ctx0" brushRef="#br0" timeOffset="95051.28">6952 3158 1382 0,'0'0'386'0,"0"0"-15"16,-10 11-35-16,7-9-34 0,3 3-8 0,-3 1 36 0,1-1-23 0,2 2-51 15,0-1-17 1,0 3-30-16,2-2-27 0,1 2 5 0,0-3-36 0,1 2-26 0,2-1-7 15,-1-3-41-15,1 1-8 16,3-1 13-16,-1-1-21 0,-1 0 3 0,2-3-5 0,0 2-5 0,-1-2 23 16,0-2-69-16,-3 2 9 15,3-2 32-15,-3-2 10 0,0 2 54 0,0-3 50 0,-5 3-6 16,0-2 27-16,0-1-15 0,0 5-46 16,-3-9 5-16,-1 5-21 0,1-2-12 0,-5 3 5 0,1-1-18 15,1 2-31-15,-4-2-13 16,3 3-58-16,-1 0-19 0,0 0-50 0,0 1-47 15,1 0-46-15,7 0-56 0,-13 0-115 0,8-3-272 16,-1 3-445-16,2-2 82 0,4 2 95 0,0 0 135 16,-3-5 67-16,3 5 80 0,0-9 45 15</inkml:trace>
  <inkml:trace contextRef="#ctx0" brushRef="#br0" timeOffset="95634.27">7195 2873 1484 0,'0'0'520'16,"6"-2"-65"-16,-6 2-14 0,0 0-4 0,4 6-60 0,-3-1-4 16,4 3-55-16,-3-1-21 0,1 5-11 0,-1 1-53 15,1 4-2-15,4 1-34 0,-3-3-33 16,3 4-16-16,-4 0 11 0,1-2-36 16,2 0-26-16,-1 0-31 0,0-1-4 0,-3-3-37 0,4-2 1 15,-1 0-16-15,0-1-17 0,0-1 14 16,0-1-4-16,-2-1-6 0,0 0 6 0,2-3-1 15,-3 1-14-15,1-3 14 0,-3-2-10 16,5 2 6-16,-5-2 22 0,0 0-25 0,0 0 13 16,0 0-16-16,2-10 13 15,-2 10-7-15,-2-5 4 0,2 5 14 0,-6-4-16 0,2 2 2 16,4 2-4-16,-8-2 4 0,8 2-7 0,-10 1 28 16,10-1-20-16,-8 3-13 0,3 2 25 15,-3-1-2-15,3 0-3 0,0 2 3 0,2-1-3 16,0 0-18-16,1 1 1 0,2-1 17 0,0 0-33 15,0-1 30-15,0 0-24 0,3-1-14 0,2 0-10 16,0-3-3-16,-5 0-38 0,15 0 6 16,-4-5-14-16,-1 1 6 0,2-3-3 0,1 0 12 15,3-4-4-15,-4 1 15 0,4-6 15 16,-5 4 1-16,-1-1 17 0,0 1 23 16,0-2-15-16,-2 0 11 0,-1 1 19 0,-1 1 14 15,-2 3 30-15,2 0-2 0,-4 4 4 0,1 0 4 16,-3 2-16-16,0 3 2 0,0 0 16 0,0 0 7 15,0 0 24-15,-7 15-46 0,4-8-16 16,2 3 25-16,1 1-14 0,-2-1-16 0,0 0 28 16,4 0-23-16,-2 1-12 0,0-1 4 0,2-1-12 15,1-3-29-15,0 1 3 16,2-1-43-16,0 0-21 0,0-3-25 0,0-1 2 16,0 0-44-16,0 0-25 0,-5-2-41 0,11-3-110 0,-6-5-133 15,2 4-512-15,1 1 115 0,-2-1 59 0,-1 0 84 16,2-1 52-16,-2 0 61 0</inkml:trace>
  <inkml:trace contextRef="#ctx0" brushRef="#br0" timeOffset="96811.3">9918 3383 1579 0,'0'-4'386'0,"0"4"-35"0,0 0-21 0,0 0-53 15,0 0-1-15,5 17 6 0,-4-8-62 16,-1 3-18-16,2 3-2 0,0 3-29 0,-2 2 8 16,0 0-46-16,3 3 3 0,-3-1-23 15,0 2-26-15,0-1 13 0,0-2-67 0,0 2-8 0,0 2-17 16,-3-5-31-16,3 0-23 0,-2-4-21 15,2-2-50-15,-2 2-27 0,1-5-19 16,1-1-75-16,-2 2-82 0,-4-2-82 0,6-3-461 16,-2 0 85-16,2-1 64 0,0-2 56 15</inkml:trace>
  <inkml:trace contextRef="#ctx0" brushRef="#br0" timeOffset="97145.72">9849 3709 1433 0,'0'0'374'0,"0"0"-8"0,0 0-44 16,0 0-25-16,0 0-15 0,3 15-42 0,-1-8-17 15,-2 1-21-15,2 1-7 0,1 1-42 0,0 1-2 16,-1-3-10-16,1 5-31 0,-1-3 10 16,2 2-15-16,-2-4-25 0,3-1-3 0,-2 1-6 15,1 1-7-15,2-4-10 0,-2 0 10 16,2-1-13-16,2-2-7 0,-3 1 9 0,2-3-12 16,1-1 11-16,3-2-19 0,-1 1-15 15,2-4 5-15,-1-1-33 0,4-2-26 0,-2 1-36 0,2-1-28 31,-2-2-46-31,2 0-48 0,-2 2-172 0,0-2-494 0,0 1-23 0,-3 0 102 0,0 1 54 16,-2 1 72-16,0 0 63 0</inkml:trace>
  <inkml:trace contextRef="#ctx0" brushRef="#br0" timeOffset="98240.73">9800 3056 1346 0,'0'0'427'0,"0"0"1"0,0 0-62 0,0 12-28 0,0-8-46 16,3 2-21-16,-3 4-23 0,2-3-33 0,1 0-74 15,-3 3-23-15,5-2-16 0,-3 0-35 16,-1 2 12-16,1-3-30 0,1 1 2 15,-1-1-5-15,1-1-23 0,-3 0 0 0,2-1 10 16,1 1-5-16,-3-2 29 0,3-1-32 0,-3 1-17 16,0-4 7-16,0 0 24 15,0 0-9-15,0 0 19 0,0 0-8 0,0 0 10 0,4-14-7 16,-3 6 4-16,2 0-2 0,-3 0 11 0,2-4-21 16,-2 1-13-16,5-1 2 0,-2 0 3 15,-1 3 8-15,3-2-13 31,0 3 3-31,0 2-3 0,1 0 3 0,1 1-14 0,-4 4 9 0,5-1-6 0,-3 0-5 0,-5 2 6 0,15 5 17 16,-10-1-18-16,3-1-4 16,-3 2 14-16,2 0-9 0,-1 2-4 0,-1-1-1 0,0 0-14 0,-3 1 8 15,1-1 8-15,0 0-5 0,-1-1-13 32,-1-1 33-32,3 0-13 0,-1 0 23 0,-2-1 26 0,1-1 21 0,-2-2 53 0,5 3 5 15,-5-3 8-15,0 0-30 0,0 0-16 0,10-5 0 16,-5 4 5-16,-3-3-3 0,4 3-25 15,-6 1 5-15,5-4 10 16,0 3-17-16,-5 1-29 0,10-2 5 0,-7 1 3 0,-3 1-49 0,10 0-35 16,-10 0-19-16,10 0-35 0,-4 1-59 15,-6-1-6-15,10 2-40 0,-5-2-39 0,-5 0-40 16,13-6-101-16,-6 4-112 0,1-5-38 16,0 2-454-16,0-1 82 0,2 0 85 0,-3-1 92 0,1-1 72 15,0 5 89-15,-3-6 497 0,0 3 141 16,0-1 63-16,-2 1 31 0,0 0 141 15,-1 2-15-15,-2 1-3 0,2 0-92 0,-2 3 34 16,0 0-39-16,0 0 5 16,0 0-36-16,0 0 5 0,0 0 0 0,0 0 26 0,-2 13-15 15,4-9-19-15,-2 2-14 0,0 0-27 0,3 0-25 16,0-3 26-16,-1 2-51 16,4-1-4-16,-2 0-6 15,2-2-1-15,-2 0-5 0,4-2 15 0,-8 0 29 0,10 1 2 0,-10-1-66 16,11-3 25-16,-6-2 31 0,0 2-13 15,1 0 100-15,-4-2-7 0,0 0 1 0,1 2-24 16,-3-4-19-16,0 1 5 0,-3 1-32 0,1 0-17 16,0-1 17-16,-2 0-22 0,0 1-30 15,-2 1-28-15,1 0-49 0,-2 1-51 0,2-1-20 16,-1 2-70-16,-2-1-48 0,4 2-113 0,-2 0-189 16,2 0-528-16,1-2 57 0,3 3 159 15,-3-6 15-15,3 3 94 0,0-2 67 16</inkml:trace>
  <inkml:trace contextRef="#ctx0" brushRef="#br0" timeOffset="98815.22">10385 2704 1364 0,'0'0'502'0,"0"0"-32"0,0 0-37 16,8 7-31-16,-6 1-54 0,0-2-13 15,-1 3-4-15,4 3-60 0,-3 0-15 0,4 5-33 16,-2-3-16-16,-1 0-25 0,2 2 5 15,0-1-42-15,1 1-19 0,-2-3-21 0,2-1-34 16,-1 0-9-16,-2-2-11 0,1 1-10 0,-1-1-26 16,2-3 8-16,-2 0 6 0,-1-1 12 0,1 0-16 0,-1-2 6 15,-2 0 5-15,0-4-26 16,0 3 21-16,0-3-11 0,0 0 13 0,-7 2-15 16,7-2-18-16,-10 0 11 0,10 0 22 0,-11 0-5 0,3 2-5 15,1-2-8-15,-3 1-20 16,2 2-5-16,-5 3 25 0,3-3 11 0,0 3-13 15,-1 0 17-15,1 1 1 0,0 2-28 16,3-2 15-16,-1 1-6 0,2 0-9 0,1 2 0 16,0-3-3-16,2 0 12 0,1 0-1 0,2 0-16 15,0-2-13-15,2 0 7 16,4-4 4-16,-1 3-4 0,3-3-19 0,2-3-32 16,2-2 19-16,1-1 4 0,5-3-7 0,2-3 16 15,-1 1-32-15,1-4 11 0,-2 1 28 0,1-3-10 0,5-4 25 16,-5 3 11-16,-3-2 2 0,-4 0-5 0,1 0 18 15,0 1 12 1,-3-1-9-16,-5 3 12 0,0 3 26 0,0 2 15 0,-3 1 23 16,-1 2-22-16,-1 3-6 0,0 0-21 0,0 5 11 15,-5 0 5-15,5 0-7 0,0 0-11 16,-10 12-18-16,7-6 0 0,0 3 26 16,1 0-21-16,2 1-25 0,0 2 17 0,2-1-12 0,1 2-23 15,4 0 0-15,1 0-13 0,2-2-8 0,3 0-23 16,0-4-46-16,-2 0-28 0,2-2-28 0,-1-3 10 15,1 0-20 1,0 0 23-16,-1-4-34 16,4 0-61-16,-3 0-133 0,0-1-254 0,2 0-394 0,-2 0 129 0,-1 1 109 0,-2 0 56 15,-1-1 78-15,1 1 68 16</inkml:trace>
  <inkml:trace contextRef="#ctx0" brushRef="#br0" timeOffset="106462.35">5795 3940 834 0,'-2'19'276'0,"2"-7"-30"0,-2 5-21 16,2 4-10-16,-3 8-25 0,2 12 61 16,-3 5-26-16,-2 0-8 0,-1 15-35 0,-1 1-5 0,-2 3-29 15,0 1-2 17,0 0-5-32,-6 1-26 0,5-3 3 0,-1 4-26 0,-3-4 3 0,2-1-41 0,2 1-16 0,-4-4 0 0,2-1-10 15,3-4-10-15,0-11 5 16,2-3-10-16,1-4-3 0,-1 1-7 0,0-1-16 0,0-2-17 15,6-8-11-15,-1-2-16 0,-2-2-30 0,2-2-20 16,1-2-19-16,-3 1-58 16,2-2 7-16,1-3-27 0,-1-2-27 0,1 0 34 0,1 0 18 15,-1-5-18-15,0-2-108 16,-1 2-373-16,3-3 105 0,0-1 2 0</inkml:trace>
  <inkml:trace contextRef="#ctx0" brushRef="#br0" timeOffset="107599.08">5462 3765 913 0,'-2'-5'328'0,"2"5"-21"0,0 0-10 15,0 0 36-15,0 0-29 0,-5 11-35 0,4-6-26 16,1 3-23-16,0 1-20 0,0 1-31 0,0 1 10 16,0 2-33-16,-2 1-20 0,2-1-16 15,2 2-8-15,-2-2 6 16,0-1-32-16,1 0-9 0,-1 1 33 0,2-5-41 0,1 0-21 0,-3 1 5 15,0-3 14-15,2 0-16 0,-2-3 10 16,0 2 5-16,0-5 26 0,0 5-31 16,0-5 18-16,0 0 16 0,0 0-39 0,0 0 5 15,0-15-10 1,-2 11 0-16,2-6-5 0,0 2 2 0,0-2 1 0,2 1-6 0,-2-2-13 16,1 3-55-16,1 2-4 0,0-4 14 0,1 4-6 15,2 2 18-15,-3-1-10 0,4 4 8 0,-4-1 10 16,-2 2-6-16,0 0 4 15,13 5 7-15,-8-1 10 0,-2-2-2 0,2 3-3 0,0 0-10 16,0 2 12-16,0-4-2 0,-2 3-15 16,2-1 23-16,-3-1-3 0,1-2-2 15,0 2-3-15,-1-1 31 0,0 1 10 0,-2-4 10 16,6 2 21-16,-6-2 5 16,3 1-8-16,-3-1 18 0,0 0-12 0,8-6 71 0,-6 4-11 15,0 0-1-15,1-2-22 0,0 2 6 0,1-2-25 16,-3 2-14-16,4-1-10 0,-5 3 13 0,4-4-28 15,0 1 13 1,-4 3-13-16,4-1 18 0,-4 1-6 0,0 0-112 0,9 0 23 0,-9 0-20 16,7 2-41-16,-7-2-11 0,7 3-30 0,-7-3-13 15,6 2-34-15,-6-2-20 0,5 1-17 16,-5-1-29-16,8 1-39 0,-8-1-25 0,9-1-140 16,-9 1-34-1,8-2-481-15,-2 1 71 0,-1 0 90 0,0-2 118 0,0 1 71 0,0 1 44 16</inkml:trace>
  <inkml:trace contextRef="#ctx0" brushRef="#br0" timeOffset="107870.93">5745 3776 988 0,'-1'-5'355'0,"1"0"-19"0,0 1 17 16,-2-1-18-16,-1 4-43 0,3 1-21 0,-3-6-25 16,3 6-23-16,-7 0-24 0,7 0-25 15,0 0-15-15,-8 6-8 0,3 0 41 0,0-2 10 16,2 2-33-16,1 1-28 0,0-1-18 0,1 3-8 15,-1-3-5-15,2 2-15 16,-3-1-5-16,3 0-9 0,0-1-9 0,3 1-16 0,-1-1-7 16,-1 0-26-16,3-2-25 0,-1 2-4 15,2-4-52-15,3 2 4 0,-3-2 3 0,5-2-49 16,-2 3-31-16,2-6-40 0,0 3-49 16,0 0-67-16,1-5-82 0,2 2-94 15,0-2-407 1,-1 0 86-16,1-3 106 0,0 3 28 0,-2-2 69 0</inkml:trace>
  <inkml:trace contextRef="#ctx0" brushRef="#br0" timeOffset="108432.83">5905 3664 1154 0,'-10'1'386'0,"6"2"-37"0,0-1-35 0,0 1-32 0,-1 2-11 0,2-1-30 0,-2 2-29 0,0 0-30 15,2 0-5-15,-2 1-29 0,2-1-7 0,-2 2-3 16,1-1-99-16,3-1-1 0,-1 3-20 16,-1-4-3-16,1 0 13 0,1 1-2 0,1-1-3 15,0 0 5-15,-2 0-2 0,2-5-8 0,2 3 30 16,-2-3-17 0,6 3 30-16,-6-3-22 0,0 0-24 0,0 0 3 0,15-5 13 0,-10 1 5 15,-2 3-11-15,2 0 21 0,0-3-5 0,-2 2 0 16,-3 2 18-16,7-3-23 0,-4 1-8 15,-3 2 31-15,7-2-23 0,-7 2 7 16,6 0-9-16,-6 0 17 0,7-3-20 16,-7 3 22-16,0 0-25 0,10 3 6 0,-10-3-4 15,11-3 6-15,-6 3 3 0,-5 0 9 0,10-1-30 16,-5-1 26-16,1 2-8 0,1-2-24 0,1 0 11 16,-1 0 16-16,-1 1-34 0,2-3-13 15,-1 3-22-15,-1-3-22 0,3 1-32 0,-4 1-47 16,3-2-48-16,0 1-51 0,-3 2-118 15,0-1-111-15,-2 2-454 0,-3 0 109 0,10-1 97 16,-10 1 47-16,0 0 46 0</inkml:trace>
  <inkml:trace contextRef="#ctx0" brushRef="#br0" timeOffset="109154.3">5142 4806 1384 0,'0'0'351'0,"0"0"-31"15,0 0-21-15,0 15-22 0,2-3 38 16,-2 2-3-16,0 8-48 0,1 6-16 0,-1 16-33 31,1 8-8-31,-2 12-22 0,0 4-11 0,1 1-34 0,-2 1-19 0,-1 0-44 16,1 2-31-16,2-2-26 0,-3-2-28 0,3-5-33 0,2-12-23 15,-2 2-69-15,0-4-118 16,1-3-143-16,-1-2-517 0,2-4 71 0,1-5 98 16,-1-9 87-16,0-1 56 0</inkml:trace>
  <inkml:trace contextRef="#ctx0" brushRef="#br0" timeOffset="110326.92">4632 4766 1075 0,'0'0'340'0,"0"0"-30"0,0 0-29 16,0 0 52-16,-8 9-5 0,8-7-31 0,0 3-54 15,-2 1-18-15,-1 0-23 0,2 0-15 16,1 0-21-16,0 1-14 0,0 1-4 0,0-3-25 16,0 2-11-16,0 0-81 0,0-1 10 15,0-1-23-15,0 1 8 0,1 0-14 16,-1-3 11-16,2 1 6 0,-2 1 6 0,1-2 4 0,-1-3 30 15,2 6-8-15,-2-6-2 0,0 4 0 16,0-4 3-16,0 0-1 0,0 0-10 16,0 0-7-16,0 0-8 0,0 0 5 0,0 0 5 0,0 0-16 15,0 0 6-15,0-16-5 0,0 12 5 16,0-1-23-16,-2-1 17 16,4 0-7-16,-2 1-15 0,0-1 15 0,0-1 10 0,0 1 8 15,-2 1-13-15,2-1 6 0,2-1-4 0,-4 0-4 16,2-1-6-16,2 1 14 0,-2-2-16 15,0 2 17 1,2 1-12-16,-2-1-5 0,0 1-2 0,3 3 9 16,-3-2-20-16,0 0 16 0,3 3-1 0,-3 2 1 0,2-4 7 15,-2 4-5-15,0 0-10 0,0 0 18 0,15 6-8 16,-11-1 7-16,0-2-12 0,2 2-5 0,-2 1 2 0,2 1-9 16,-2-1 17-16,2-1-8 0,-2 0-20 15,0 2 0-15,0-4 10 0,-1 1-5 0,0 1 2 16,0-3 9-16,-1 2 4 0,0-2-2 0,1 2 18 15,-3-4-14-15,0 0 94 0,7 1-22 16,-7-1 6-16,0 0-6 0,6-7-9 16,-1 2 9-16,-2-1-30 0,-1 1 13 15,1 0-8-15,2 1-21 0,-3-2 16 0,-1 2 23 0,1 2-20 16,0-2-21-16,1 1 5 0,-3 3-11 16,5-4 9-16,-5 4-3 0,5-1-3 0,-5 1-10 15,0 0 16-15,11 2-21 0,-7 1 10 16,-1 0-7-16,2 1 15 15,-2-2-21-15,2 2-27 0,-2-2-4 0,2 2-32 0,-2-1-31 16,1 1-21-16,-1-3-33 0,-1 3-44 0,1-2-9 16,0 2-16-16,2-3-67 0,0 1-28 15,-2-1-99-15,1 2-185 0,2-1-458 0,-2-2 71 16,-4 0 172-16,11 1 26 0,-11-1 66 0,8-1 64 16</inkml:trace>
  <inkml:trace contextRef="#ctx0" brushRef="#br0" timeOffset="110582.47">4942 4720 1172 0,'-3'-4'379'15,"1"1"48"-15,1-1-43 0,-1 1-20 0,0-1-11 16,2 4-54-16,-6-5-27 0,4 4-11 0,2 1-3 16,0 0-43-16,0 0-25 15,-13 0 2-15,10 4-29 0,3-4-27 0,-4 7 23 0,3-1-54 16,-1-1 5-16,-1 1-28 0,1 1 0 15,1-1-16-15,1 1-4 0,0-1-1 0,0 0-2 16,1 0-26-16,1 1-10 0,1-1-28 31,-1-1-38-31,1-2-21 0,2 2-21 0,2-2-12 0,-3 0-39 0,3-2-56 0,0-1-87 0,1 2-87 16,0-4-54-16,0 2-499 0,2-1 131 0,0-4 2 16,-3 1 64-16,2 0 123 0</inkml:trace>
  <inkml:trace contextRef="#ctx0" brushRef="#br0" timeOffset="110998.69">5075 4578 793 0,'-2'-14'315'0,"-1"0"79"0,-2 2-30 0,2 1-11 0,1 3-18 15,-3 1-30-15,3-3 2 0,-2 3-97 32,0 1 2-32,1-1-7 0,0 0-31 0,1 2-5 0,1 0-10 0,-3 2-11 0,4 3-10 0,-3-1-5 15,3 1-28 1,0 0-7-16,-11 7-6 0,7-3-10 0,1 5 18 0,3-1-29 0,-5 4 1 15,3 0 5-15,1 2-16 16,-1-1-17-16,2 3-24 0,-3-2-22 16,6 4-16-16,-3-4 0 0,0 2-10 0,2-3-1 0,1 0 4 15,2-1 2-15,-3 1 15 0,1-3-10 0,2-1 3 16,0-2 7-16,-2-1 23 0,2-1-2 0,0 1 8 16,0-4-3-1,-2-2-6-15,-3 0 27 0,13-1-14 0,-13 1 19 0,10-4-18 0,-5 4 12 16,0-3-2-16,0 3 2 0,-5 0 8 0,10-3-7 15,-10 3-6-15,8 2 16 16,-8-2-16 0,8 3-2-16,-3 1 17 0,0-2-40 0,0 3 10 0,-2 1-23 0,2-3-11 0,-2 4 14 0,2-3-47 15,-1 1-23 1,-1 1-17-16,2 0-1 0,-2-3-35 0,0 3-3 0,0-3-26 16,1-1-91-16,-1 3-37 0,0-4-107 0,-3-1-49 15,2 4-401-15,-2-4-3 0,8 0 107 0,-8 0 82 16,10-3 77-16</inkml:trace>
  <inkml:trace contextRef="#ctx0" brushRef="#br0" timeOffset="111471.22">5070 4733 1231 0,'-7'0'419'0,"7"0"-65"16,0 0-11-16,-11 1-67 0,5 2-7 0,2-1-31 15,1 3-33-15,0 0-16 0,-1 2-2 31,1-1-15-31,0 1-19 0,1-1-12 0,-1 2-5 0,1-2-26 0,2 4 0 0,0-3-13 0,2 0-79 16,1-1-10-16,-1 1 20 0,1-1-5 0,0-1 0 16,1 2-23-16,2-5 13 15,-2 2-42-15,4 1-12 0,0-4 1 0,-3-1-53 16,3 0-22-16,0-1-56 0,0-1-93 0,-1 0-74 16,3 1-164-16,-2-3-317 0,0 1 67 15,-3-2 107-15,2 0 59 0</inkml:trace>
  <inkml:trace contextRef="#ctx0" brushRef="#br0" timeOffset="111668.13">5193 4687 1223 0,'0'0'407'0,"0"0"-36"0,0 0-36 0,0 0-15 16,0 0-43-16,-6 13-13 0,6-7-14 15,0 1-37-15,-2 0-19 0,2 0-12 16,0 3-36-16,0-1-8 0,0-1-12 0,0 0-50 15,0 1-35-15,-2 1-43 0,2-2-72 32,0 3-103-32,2-5-163 0,-2 1-549 0,0-1 91 0,2 0 66 0,-2-4 84 0,1 3 87 0</inkml:trace>
  <inkml:trace contextRef="#ctx0" brushRef="#br0" timeOffset="111823.72">5229 4622 1428 0,'0'-3'443'16,"0"-1"-44"-16,0 4-48 16,-5-4-60-16,3 1-73 0,2 3-54 0,0 0-34 15,-1-4-91-15,1 4-60 0,0 0-171 16,0 0-74-16,0 0-530 0,0 0 72 0,0 0 58 0,11 8 103 16</inkml:trace>
  <inkml:trace contextRef="#ctx0" brushRef="#br0" timeOffset="112059.09">5285 4676 936 0,'0'5'302'0,"0"-5"-17"0,2 2-4 16,-2-2-35-16,4 5-11 0,-2-3-22 0,-2-2-14 15,5 3-17-15,-5-3-8 0,7 1-36 16,-1 0 3-16,-6-1 8 0,7 1-44 16,-7-1 28-16,11 0 2 0,-4 0-7 0,-7 0 57 15,9-1-22-15,-9 1 1 0,10 0-25 16,-3 0-17-16,-7 0-19 0,8 0 12 0,-3-1 5 15,-5 1-56 1,8 0-13-16,-8 0-53 16,10-4-36-16,-10 4-29 0,8 0-48 0,-8 0-113 0,7-7-143 0,-4 7-540 0,2-1 63 0,-5 1 106 15,6-3 79-15,-2 0 49 0,-1 2 97 0</inkml:trace>
  <inkml:trace contextRef="#ctx0" brushRef="#br0" timeOffset="115052.77">10349 4345 1331 0,'0'0'407'0,"0"0"-34"0,0 0-45 16,0 0-95-16,0 0-21 0,-11 13-15 0,7-2-5 0,-4 6-18 16,0 3-5-16,1 5-20 0,-4 9-24 15,1 3-10-15,0 5-10 0,-3 1-2 0,-2 8-1 16,4-10-17-16,-4 11-16 0,2-12-13 16,0 3 3-1,3-2-34-15,0-2 4 0,-1-2-9 0,1-1-22 0,5-7-21 0,0-6-21 16,-2 0-23-16,3-6-22 0,2-1-8 0,0-2-13 15,-1-2-24-15,0-2-17 0,3-4-48 16,0-2-50-16,3-1-47 16,-3-3 65-16,0 0-102 0,0 0-368 0,7-10-8 0,-3 4 110 0,0 0 36 15</inkml:trace>
  <inkml:trace contextRef="#ctx0" brushRef="#br0" timeOffset="116244.93">10511 4022 1218 0,'0'0'343'0,"0"-3"-21"15,0 3-32-15,0 0-27 0,0 0-27 16,0 0-13-16,0 14 17 0,-3-7-53 0,3 0-26 0,0 2-10 16,0 0-2-16,-1 0-8 0,-1 1-26 15,2 0-10-15,0-1-13 0,0 1-15 0,0-2-6 16,0 2-86-16,0-3 2 0,2-1 23 15,-2 1-20-15,-2-1 13 0,4-1 17 16,-1 1 21-16,-1-3 23 0,0 1-5 0,0-4-28 0,0 0 12 16,0 0 6-16,0 0-1 15,0 0 14-15,0 0 61 0,0 0-6 0,0 0 1 0,5-13-31 16,-3 8 3-16,-2-2-11 0,3 1 13 16,0-1-20-16,0 1-11 0,1 0-7 0,-1 0 5 15,2 1-13-15,1 4-7 0,-2-3 14 16,-4 4-17-16,8 3 20 0,-8-3-17 15,8 4-26-15,-5 0 25 0,1 1 11 16,2 1-24-16,-4 0 6 0,1-2-16 0,0 4-7 0,-1-3 2 16,0 0 1-16,1 1 9 0,-3-1 16 15,3 0-13-15,-3-2 46 0,2 1 3 0,-2 1 12 0,2-3-74 16,-2-2 13-16,3 5-7 0,-3-5 20 31,0 0-8-31,0 0 5 0,0 0 18 0,8-1 8 0,-8 1-28 0,7-4 10 0,-7 4-8 0,8-5 0 16,-5 3 11-16,2 1-6 15,2-2-15-15,-1 3 8 0,-6 0-3 0,12-2 8 16,-12 2 5-16,11 2-18 0,-4-2-13 0,-1 1-23 16,1 1-35-1,-1-2 2-15,-1 1-75 0,2 0-7 0,-1 0-30 0,1 2-37 0,-1-2-35 16,1 0-29-16,0 0-63 0,-1 0-67 0,2-1-108 16,-1 2-460-16,3-4 99 0,-2 2 42 15,-2-1 132 1,4 0 70-16,-5 0 46 0</inkml:trace>
  <inkml:trace contextRef="#ctx0" brushRef="#br0" timeOffset="116856.98">10887 4115 1000 0,'0'-6'351'0,"0"3"-11"0,-2-3-12 15,2 0-11-15,0-1 52 0,-3 3-8 16,1-2-15-16,-1 0-42 0,1 4-30 0,-1-3-3 16,-2 3-22-16,0-1-27 0,5 3-22 0,-10 1-16 15,4 2-12-15,1 0-29 0,-2 2-5 16,-1-1-15-16,5 3-13 0,-4-1 0 0,2 2-12 15,1-1-1-15,0 3-23 0,-2-4-2 0,4 2-21 16,0 2 0-16,2-3-5 0,-3 0-33 0,3 1-3 16,3-2 6-16,-3 4 2 0,2-4 15 15,3 1-41-15,0-4-15 0,1 3 3 0,-1-2-24 16,2 1-15-16,1-4-2 0,-1 1-11 16,1 1-7-16,0-3-34 15,0 0-15-15,-1 0 3 0,4-2-26 0,-4 0-18 0,3 0-8 16,0 2-20-16,-2-4-26 0,0 2 21 0,3-1 0 15,-3 0 20-15,-1-2 21 0,0 0 28 16,1 2 15-16,0-3 29 0,-3 0 32 0,1 0 39 16,1 1 39-16,-4-1 20 0,1 0 18 15,-1-1 0-15,0 0 28 0,-1 2 20 0,-2 0-10 16,0-1-2-16,2 2 2 0,-1-2-10 0,-1 1 23 16,-1 1-5-16,1 4 5 0,-2-4-20 0,-3 1 28 15,5 3-41-15,0 0 17 16,0 0-25-16,0 0-15 0,-13 7 5 0,8-4 0 0,3 1-26 15,-3-1 0-15,4 2 8 0,-4-2-5 16,5 1-23-16,-2 2 23 0,-1-4-21 16,3 2 3-16,0 2 15 0,-2-3 16 0,2-3-23 15,0 7-6-15,2-4-2 0,-2-3-5 0,3 2 5 16,-3-2 7-16,7 2 16 0,-7-2-7 16,9 0 9-16,-9 0-71 0,10 0 2 15,-6 2 26-15,-4-2-10 16,8-2 10-16,-8 2-2 0,10 0 9 0,-4 2 32 0,-6-2-27 0,7 2 17 0,-1-1 4 15,-2 0-5-15,2 1-10 0,-1-1 7 16,0 1-7-16,-3 1 11 0,4-2-22 16,-1 1 16-16,-3-1-2 0,4 2-3 0,-6-3-18 0,8 0-26 15,-8 0-33 1,10 0-56-16,-6-4-72 0,-4 4-112 0,8-2-582 0,-5-2-74 16,4-1 162-16,-4 2-11 0,3-2 87 0,1-1 72 15,0-2 52-15</inkml:trace>
  <inkml:trace contextRef="#ctx0" brushRef="#br0" timeOffset="117021.03">11528 4021 1315 0,'3'-3'479'0,"-3"3"-44"16,0 0-36-16,0-8-53 16,0 8-24-16,-3-4-40 0,3 4-70 0,0-5-63 15,0 5-62-15,0-4-67 0,0 4-63 0,0 0-113 16,0 0-215-16,0 0-482 0,0 0 80 15,0 0 79 1,-13 5 57-16</inkml:trace>
  <inkml:trace contextRef="#ctx0" brushRef="#br0" timeOffset="126516.89">614 9835 1192 0,'0'0'412'0,"-5"-4"-35"0,5 4-19 0,-7 0-48 0,7 0-21 16,-16 8-20-16,6 0 51 0,-6 8-28 0,-10 7 10 15,-2 3-62-15,-3 13-15 16,-4 4 14-16,-2 0-32 0,-1 5-20 0,2-1-21 0,0 2-10 15,3-1-20-15,2-3-8 0,4 0-23 16,8-13-13-16,4-2-36 0,7-4 21 16,1-6-5-16,4-3-8 0,3-1-13 0,3-4-23 15,1 0-15-15,4-2 30 0,2-3-12 0,1-2-13 16,4-5 0-16,1 0 8 0,4-2-24 0,8-8 21 16,5-5-2-1,3-4-14-15,-2 2 4 0,4-6-1 0,-4 2-18 0,-1 0 21 0,-2 2-11 16,-1 1 24-16,-7 3-34 0,-5 6 21 0,-5 2-5 15,0 2-13-15,-3 0 28 0,1 3 2 16,-6 1 14-16,3 4 7 0,-1-3 8 0,-2 6-44 16,0 1 15-16,0 3 16 0,-2 1 0 0,2-1-5 15,-3 2-15-15,-1 1-16 0,2 0 5 16,-1 2-2-16,0-2-24 0,-1 0-7 16,0-1-36-16,0-3-17 0,2 1-73 0,-1-2-17 15,-2-1-21 1,1-1-31-16,0-1-73 0,2 1-88 0,-3-6-241 0,3 2-340 15,-1 1 62-15,-2-3 53 0,8 0 131 0,-8 0 61 0,10-9 44 16</inkml:trace>
  <inkml:trace contextRef="#ctx0" brushRef="#br0" timeOffset="126913.11">822 10216 1164 0,'0'0'330'0,"-10"9"-25"0,7-3-3 15,3 1-49-15,-3 2-20 0,3 0-23 16,-2 1-25-16,2 0-4 0,2 1-27 0,1 2-29 16,-3-3-7-16,5 2 38 0,-2-2-30 0,4 1-1 15,-4-2-28-15,4-2-5 0,-1 0-5 16,-3-2 6-16,4-1-11 0,-2 2 7 15,0-5-2-15,0 2 31 0,3-3-23 0,-8 0 22 0,10-5 4 16,-5 0-22-16,1 2 9 16,1-1 10-16,-2-2-11 0,0 1 29 0,-2 2-31 0,2 0 10 15,-2 0-23-15,1 0-74 0,-4 3-15 16,6-2 15-16,-6 2-3 0,3-2-5 16,-3 2 21-16,0 0-31 0,10 3 10 0,-8 1-15 15,1-1-36-15,2 2-54 0,-3-2 11 0,3 0-21 16,0 2-13-16,1-3-35 0,-2 4-37 15,2-3-94-15,2-1-26 16,-4-1-38-16,5-1-64 0,-2 0-28 0,6-1-356 0,-5-4 348 0,2 5-202 16,1-6 12-16,1 1 73 0</inkml:trace>
  <inkml:trace contextRef="#ctx0" brushRef="#br0" timeOffset="127239.52">1202 10272 875 0,'0'0'310'0,"0"-4"-6"0,0 4-22 0,-6-6 84 16,6 6-41-16,-5 0-28 0,5 0-10 0,-10 4-34 15,4-2-10-15,-2 0-23 0,1 4-25 16,0-1-6-16,1 1-10 0,-1 1-7 0,-1-1 4 16,3 1-42-16,0 3-24 0,-1-3-8 0,4-1-15 15,-1 2-15-15,0-1 7 0,1 2-12 16,4-4-106-16,-2 0 1 0,1 0-8 0,4 1 2 16,-2-6 16-16,4 4 3 0,-2-3 19 0,1-1-4 15,3-2 2-15,-1-1 24 16,3 0-14-16,-1-1 1 0,0-2 20 0,-2 0-10 15,-1 2 5-15,1 0 25 16,-2 0 8-16,1 1 8 0,-2-1 13 0,0 1 7 0,0 1-27 0,-3-1 22 16,-2 3-15-16,7-3-6 0,-7 3 6 15,7 0-23-15,-7 0-26 0,0 0-17 0,5 6-16 16,-3-3-34-16,1-1-25 0,-3 4-15 16,0-2-56-16,5 0-52 0,-5 1-44 0,3-2-137 15,-1 0-70-15,3 2-481 0,-3-4 141 16,4 0 46-16,-6-1 67 0,11 0 79 0</inkml:trace>
  <inkml:trace contextRef="#ctx0" brushRef="#br0" timeOffset="127842.31">1412 10250 1039 0,'-6'0'309'0,"6"0"-22"0,-10 1-21 16,7 1-43-16,3-2-13 0,-7 4-3 0,5-1-30 15,1-1-3-15,-1 4-15 0,2-6 10 16,2 9-21-16,0-4-12 0,1 2 4 0,2 0-14 16,-2 1 86-16,3 0-35 0,-2 2 5 15,1-3 15-15,0 2-41 0,-2 1-18 0,2-1 11 16,0 2-98-16,-2 1-5 0,-1-4-3 0,-2 2-4 16,-2-1 7-1,2 2-5-15,-6 0-3 0,2-3 11 0,-1 3-24 0,-1-3 1 0,-1 2 0 31,1-2-21-31,1-2-3 0,-2-1-14 0,4-2-35 0,-2 2-22 0,2-4 0 0,1 2 8 16,2-3-26-16,0 0 15 0,0 0-7 0,0 0 2 16,0 0-2-16,0-13-3 0,4 4 0 15,2 3 0-15,2-3-5 0,-1-1 8 0,1-3 17 16,2 0 6-16,0 1 25 0,-2-2-20 16,2-3 7-16,1 4 19 0,-3 1 12 15,-1-1 26-15,0 4 30 0,-1-1 24 0,-4 3-1 16,4 0 24-16,-4-3-21 15,0 6 26-15,1-1-1 0,0 0-9 0,-2 0-6 0,1 1 11 16,-2 4-31-16,2-3 0 0,-2 3-3 0,0 0 0 16,0 0-20-16,0 0-3 0,8 8 26 0,-6-3-25 15,1 1 1-15,0 1-9 0,-1-1 7 16,1 1-7-16,-1 3-1 0,1-1-7 0,0 2 5 16,-2 0-5-16,2-3 3 0,0 3 7 15,-3 1-13-15,0-3 3 0,0 4 0 0,-3-1 21 0,1 0-4 16,-1 0-14-16,-2 1-6 15,0-3 3-15,-2 0-3 16,1 1-17-16,1-1 12 0,-3-1-48 0,3-3-44 0,0 1-13 0,0-1-51 16,3-2-28-16,-2-2-82 0,4-2-125 0,0 0-85 15,0 0-422-15,0 0 84 16,4-13 39-16,0 2 120 0,2 1 92 16</inkml:trace>
  <inkml:trace contextRef="#ctx0" brushRef="#br0" timeOffset="127981.93">1619 10354 975 0,'3'5'348'16,"-3"-2"-46"-16,0 4-18 0,2-1-31 16,-2 0 49-16,0 3-17 0,0 0-55 0,0-1-71 0,0 1-39 15,-2-1-115-15,-1-1-153 0,3 3-651 16,0-5 72-16,-2 3 33 0,2-2 78 16</inkml:trace>
  <inkml:trace contextRef="#ctx0" brushRef="#br0" timeOffset="128095.06">1683 10228 1185 0,'-2'-3'348'0,"2"-3"-44"0,-4 5-81 0,4 1-54 0,-4-6-46 0,4 6-187 16,-6 0-161-16,6 0-454 0,0 0 37 15,0 0 104-15</inkml:trace>
  <inkml:trace contextRef="#ctx0" brushRef="#br0" timeOffset="128977.4">1843 10261 1256 0,'0'0'423'0,"-7"-1"-32"15,7 1-45-15,0 0-8 0,-14 3-46 0,8 2-24 16,-1-1-17-16,1 0-44 0,1 1-30 0,-2 1 5 16,1 1-26-16,-1 3-18 0,2-1-15 15,-1 0 5-15,4-1-26 0,-1 0-22 16,1 2 9-16,-1-2-14 0,3 2-29 0,0-1-5 0,3-2 0 16,-3 3-16-16,2-3-4 0,1 1-11 15,-1-3-5-15,1 1 5 16,2-4-15-16,-2 2-3 0,2-2 1 0,0-1 25 0,-5-1-5 0,10-1 2 15,-10 1 18-15,10-2-2 16,-6-3 7-16,3 2-10 0,-4-1 11 0,1-3 27 16,-1 2-17-16,2-1 10 0,-2-1-82 0,2 1-5 15,-4 0 23-15,0 2 12 0,0 0-2 16,4-1-7-16,-5-1 9 0,2 4 4 0,-1-1 4 16,1-1 3-16,0 1-5 0,-2 3-8 0,3-3-5 15,-3 3 5-15,0 0 10 16,0 0-15-16,0 0 16 0,0 0 2 0,0 0-6 15,0 0 6-15,0 0 0 0,0 0-7 0,5 8 19 16,-3-6-17-16,-2-2-16 0,3 5 19 16,0-2-24-16,-1 0 13 0,-2-3-2 0,6 4-6 0,-6-4 1 15,4 2 12-15,-1-1-10 16,2 1 10-16,-5-2 6 0,5 2 14 0,1 0 4 0,-6-2-9 16,10 0 16-16,-10 0 0 0,8 0 5 15,-4 3 10-15,2-2 6 0,-6-1 2 0,10 1 15 16,-5 0 54-16,0-1-7 0,0 4-11 0,-5-4-8 15,8 0-32-15,-3 2 1 16,0-1-4-16,-5-1 10 0,8 2-38 0,-5-1-9 0,-3-1-14 16,8 1-77-16,-8-1-16 0,10-1-69 0,-5-2-36 15,2 2-27-15,1-1-170 0,-5-2-207 0,7 2-466 16,0-2 87-16,3 0 118 0,-6 1 69 16,2-3 51-16,0 0 75 0,0 1 68 15</inkml:trace>
  <inkml:trace contextRef="#ctx0" brushRef="#br0" timeOffset="129607.15">2670 9797 1546 0,'0'0'465'0,"0"0"-47"0,0 0-60 0,0 0-7 16,-8 15-111-16,3-1-20 0,3-3-17 15,-1 8-27-15,1 0-2 0,-1 0-18 0,0 6-20 16,-2 0-18-16,5 4-6 0,-3-2-22 0,3-2-21 15,1 0-10-15,-1-3-15 0,2-1-19 0,1-2 3 16,-1 0-2-16,1 0-13 0,2-4-11 16,-3-2-22-16,1-3-3 0,0 0 10 15,0-2 5-15,-1-2 11 0,0-1-1 0,-1-3-4 16,1 1 2-16,-2-3 15 0,0 0-10 0,0 0 11 16,0 0 4-16,-10-11 6 0,2 6 10 15,-2-1 2-15,2-1 6 0,-2 1 2 0,-2 1 5 16,1 1 0-16,-2 0 13 0,0-1-21 0,0 5-2 15,1 0 11-15,-4 4-4 0,1-2-25 16,2 3 13-16,0 1-3 0,-3 2-20 16,4 0 10-16,-1 2 3 0,3 3-3 0,0-2-21 0,4 1 9 15,-1-1 22 1,4-1-23-16,3 0-5 0,3-2-30 0,-3 1 17 0,7 0-23 16,1-3-7-16,1 0 25 0,2-4-20 0,2 3-6 15,3-4 4-15,2-2-9 0,0 1 8 31,0-5 39-31,5-1-3 0,-2 0-13 0,1-1 5 0,1-1 1 0,1 0 4 0,-7 0 21 0,-1 1-3 16,-1 4 14-16,-2-2 9 0,-3 1-10 0,1 1 3 16,-4 0-3-16,1 2 8 0,-1 0 2 15,1 1-17-15,-2 1-1 0,1 2 1 16,-4-1-6-16,2 2-59 0,-2-1-43 0,2 1-20 16,-3 0-88-16,0 2-132 0,-6-1-137 0,7-2-503 15,1 0 117-15,-1 2 64 16,-1-3 70-16,1 1 94 0,-3-3 48 0</inkml:trace>
  <inkml:trace contextRef="#ctx0" brushRef="#br0" timeOffset="129979.56">2991 10043 1069 0,'-3'5'356'16,"0"1"-31"-16,-1 0-20 0,1 2-18 0,2-1-11 16,-1 4 70-16,2 1-29 0,0-3-41 15,2 3 3-15,-2 4-48 0,4-3-11 0,-2 2-5 16,1-3-31-16,2 4-94 0,-3-3 12 15,1 2-22-15,2-3-1 0,-5 1-7 0,3-1 7 16,-1 0-10-16,-4-3-10 0,2 1-13 0,-3-1 5 16,0 1-17-16,-2 0-11 0,-2-2-23 15,-1-2-18-15,0 0-49 0,3-4-38 16,-3 3-59-16,1-4-102 0,-1-1-205 0,3-1-481 16,0-4 128-16,2 3 17 0,0-2 144 15,-1-3 52-15</inkml:trace>
  <inkml:trace contextRef="#ctx0" brushRef="#br0" timeOffset="130811.79">2827 10107 1200 0,'0'0'330'0,"-6"0"-15"0,6 0-54 0,-5-1-38 0,5 1-47 0,0 0-35 16,0 0-54-16,0 0-43 15,-10 0-80-15,10 0-151 0,0 0-100 0,0 0-401 16,0 0 33-16,0 0 71 0</inkml:trace>
  <inkml:trace contextRef="#ctx0" brushRef="#br0" timeOffset="131041.42">3083 9764 1348 0,'0'0'456'0,"0"0"-39"16,0 0-30-16,8 11-98 0,-8 0-41 0,4 2-7 15,-1 0-31-15,2 6 0 0,0 0-39 16,1 5-9-16,-1 0-35 0,0 3-22 0,3 8-5 15,-3-1-25-15,2-4-65 0,-1-3-23 0,-3-3-51 16,1 0-79-16,2 0-108 0,-2-3-110 16,2-2-149-16,-1 0-273 0,0-4 33 0,-2-2 46 15,2-1 85-15</inkml:trace>
  <inkml:trace contextRef="#ctx0" brushRef="#br0" timeOffset="131470.23">3065 10221 957 0,'-3'-2'358'0,"3"2"-25"0,-5-3-59 0,2-1-3 0,3 4-33 0,-2-2-18 15,2 2-10-15,2-6-25 0,1 0-40 0,2 1-1 16,0-1-11-16,1-1 69 0,-1 1-15 0,3 0 2 16,0-2-2-16,1-2-33 0,0 6-13 15,0-3 4-15,-1-1-11 0,5 3-22 0,-3-1-7 16,-2 2 8-16,2 0-13 0,1 3-3 0,-4-1-8 15,3 2-9-15,-2 0 20 0,2 2-24 16,-2-1 4-16,0 5-3 0,2-4-8 0,-2 4 7 16,-3-1-17-16,3 1-23 15,-1 1-13-15,1-1 34 0,-1 0-16 0,-1 1 12 16,-3-1-17-16,1-1 5 0,-1-1 20 0,0 0 19 16,-1 1-60-16,3-1 1 0,-4-2 22 0,-1-2 8 15,4 1 98-15,-4-1-8 16,0 0 7-16,0 0-38 0,0 0 13 0,0 0-23 0,3-9-21 15,-1 3 6-15,-1-1-26 0,1-2-3 0,0 1-36 16,1-3 14-16,2 2-39 0,-2-1-36 0,2 1-21 16,-2 0 3-16,2 1-28 15,0 0-59-15,0 2 6 0,0-1-70 0,0 1-36 0,0 0-66 16,3 1-152-16,-4 0-460 0,2 3-64 16,2-2 103-16,-1-1 30 0,1 3 130 0,0-3 60 15,0 3 53-15</inkml:trace>
  <inkml:trace contextRef="#ctx0" brushRef="#br0" timeOffset="131618.29">3532 10031 949 0,'4'5'376'0,"-4"-4"-10"0,1 5-33 0,-1-6 56 15,0 8-41-15,2-3-7 0,-2 1-29 16,0 1-33-16,-2 2-15 16,2-1-49-16,-1 0-26 0,1-2-28 0,0 4-61 0,0-2-31 0,-2 0-63 15,2 1-109-15,-2-3-209 16,2 1-622-16,-3 1 97 0,1-3 84 0,1 0 67 0,1-2 41 15</inkml:trace>
  <inkml:trace contextRef="#ctx0" brushRef="#br0" timeOffset="131741.29">3501 9882 877 0,'-3'-4'303'15,"0"0"-73"-15,1-1-64 0,0 4-120 16,2 1-110-16,-3-5-517 0,3 5-30 0</inkml:trace>
  <inkml:trace contextRef="#ctx0" brushRef="#br0" timeOffset="132338.14">3644 9725 949 0,'0'0'364'16,"0"0"-52"-16,0 0-5 0,0 18-28 0,0-10 44 0,0 7-26 16,3-1-36-16,-3 5-39 0,0 0-2 0,3 2-28 15,-3 3-20-15,0 0-6 0,2-1-17 16,-2 3-44-16,1 0 7 0,-1-4-20 16,0 0-7-16,0-3-6 0,1-3-17 0,0-1 20 15,-1-2-3-15,0-1 8 0,2-3 21 16,-2 0-4-16,0-4-11 0,3 1 14 0,-3-4-30 15,0 2-18-15,0-4 30 0,0 0-12 0,0 0-15 16,7-9-1-16,-4 2-7 0,0 1-70 16,1 0 1-16,0-1 15 0,1 1-10 0,3 0 0 15,-1-1 4-15,0 2 17 0,1 4-1 0,-2-1 18 16,1-1 74-16,0 4 3 0,1 1-18 16,-3 0 8-16,1 1-18 0,-1 2 5 0,0 2 0 15,-3-3-8-15,1 6 0 0,-3-4-15 0,0 3 13 16,-3 0-36-16,-2 1-3 0,-2 0 3 15,1-2-16-15,-1 3-35 0,-1-3 10 0,-2 2-31 16,2-2-13-16,-2-2-20 0,0-1-41 16,2-2-46-16,3 2-26 0,-3-4-48 0,3 2-113 0,5-3-167 15,-10-3-475-15,10 2 58 0,-3-4 88 16,3 5 104-16,3-7 103 0,-3 1 25 16</inkml:trace>
  <inkml:trace contextRef="#ctx0" brushRef="#br0" timeOffset="133098.99">3875 9976 1057 0,'0'0'402'16,"0"0"-29"-16,0 0-22 0,0 0-31 16,0 0-26-16,0 0-45 0,0 0 4 0,0 0-33 0,0 0-36 15,-10 13-10-15,8-8-2 16,-1 1-39-16,3 0 3 0,0-1-31 0,-3 3-16 0,3-2-15 15,0 1-20-15,-2 2 8 16,4-3-9-16,-2 1-12 0,0-1-23 0,3-2 16 0,-3 1-29 16,2 1-3-16,1-6 19 0,-1 6-14 0,1-6 4 15,-3 0-9-15,8 1 21 0,-8-1-13 16,10-1 8-16,-4 0 5 0,1-4-5 16,-2 5-10-16,2-4 15 0,-2 2 3 0,1 0-14 15,-3-1 11-15,2 1 6 0,-5 2 6 0,10-1-6 16,-10 1 4-16,7 1 5 0,-2 1-4 15,1 1-4-15,-3-1-14 0,1 0 22 16,2 0-15-16,-2 0-13 0,2 2 3 0,-3-2-10 0,4-1-6 16,-2 2 3-16,0-3 3 0,-5 0 7 15,13 0 3-15,-5-4-18 0,0-2 17 0,2 2 14 16,-3-3 7-16,4-1 6 0,-1 0 2 16,-3-2 28-1,-1 1 15-15,4-5-81 0,-5-1 2 0,3 1 23 0,-1-3 3 16,-1-2 2-16,-1 4 13 0,0-2-10 0,0 0 10 0,-2 1 10 15,2 0-10-15,-3 7 6 0,-1-1 12 0,1 1-18 16,0 0-11-16,-2 3 4 0,3 3 2 16,-3-1-10-16,0 4 2 0,0 0-15 15,0 0-26-15,0 0-15 0,0 18-26 0,0-11-48 16,0 5-36-16,-3-2-23 0,3 3-85 0,0 1-89 16,-3-1-174-16,2 0-492 15,0 0 144-15,1-1 22 0,0-1 142 0,0 0 91 0,0-2 37 16</inkml:trace>
  <inkml:trace contextRef="#ctx0" brushRef="#br0" timeOffset="133435.94">4088 9950 1098 0,'3'-3'417'0,"-1"-1"-41"0,1 0-46 0,2 0-5 0,0 0-51 16,1-2-25-16,1 3-19 0,3-2-33 16,0 0 8-1,0-1-39-15,1 1-28 0,-1-1-4 0,3 2-17 0,-5 0-2 0,2 3 6 16,0-2-16-16,-3 2 2 0,-1 1 1 16,2 0-14-16,-1 1-83 0,1 2 9 0,-1-1-7 0,-1 4 7 15,-1 0 9-15,0 0 12 0,0 0-24 16,-3 2 9-16,1 3 5 0,0-3-6 15,-1 2-9-15,-1-1-29 0,0 1-66 0,-1-2-14 16,0 3-40-16,1-3-102 0,-1-3-180 0,3 5-509 0,-3-2 125 16,0-2 37-16,0 0 55 0,0-2 116 15</inkml:trace>
  <inkml:trace contextRef="#ctx0" brushRef="#br0" timeOffset="133545.06">4344 9845 565 0,'0'-3'62'0,"0"3"-121"15,-2-5-484-15</inkml:trace>
  <inkml:trace contextRef="#ctx0" brushRef="#br0" timeOffset="134432.44">4455 9831 903 0,'-2'4'364'0,"-2"-2"-14"16,0 5-35-16,1 2-28 0,0-1-44 15,0 0-18-15,1 5-15 0,0-3-23 0,2-1-5 16,-3 2-24-16,3 0-19 0,0-2-11 0,0 2 5 16,3-3-31-16,-1 3 6 15,0-4-16-15,-1 0-28 0,4 1-3 0,-3-1 16 16,1-4-11-16,2 3-19 0,0-2 9 0,0-2-13 0,0-1 6 16,1-1 0-16,-6 0-16 15,12-1 3-15,-6-1 7 16,-2-2 14-16,-1 1 12 0,2 0-5 0,-2-4 7 0,-1 2-66 0,1-1 8 15,-3 2-18-15,0-2-3 0,-3 1 16 16,3-2-13-16,0 2 20 0,-2-2-12 0,0 1 10 16,1 1 5-16,-1-1-18 15,-1 0 23-15,1 4-10 0,-1-3-16 0,1 0 11 0,2 2-6 16,-4 0 11-16,4 3-10 0,1-6-11 0,-1 6 3 16,3-3 2-16,-3 3-10 0,7-4 11 0,-2 3-8 15,-5 1 4-15,13 0-1 0,-5 0 7 16,0 1 20-16,-1 2-33 0,3 0 3 0,-2-2 5 15,0 2 3-15,2 0-14 0,-5 0 26 0,2-1-2 16,1 2-16-16,-2-2 24 0,-1 0-14 0,0 1 14 16,0-1 9-16,0-2 6 15,-2 3 15-15,2 0 13 16,-5-3 13-16,7 4-1 0,-4-3 4 0,-3-1 14 0,6 2 31 0,-2 1-25 16,0 0-21-16,0-3-10 0,-4 0 21 15,8 4-26-15,-3-3 0 0,-5-1-13 0,8 1-21 16,-1-1-35-16,-7 0-10 0,11 0-34 0,-3-1-41 31,-1-3-10-31,1 3-61 0,2-5-42 0,-2 5-71 0,0-5-161 0,1 4-445 0,0-3-11 16,1-1 102-16,-3 4 67 0,1-2 72 15,-1-1 69-15</inkml:trace>
  <inkml:trace contextRef="#ctx0" brushRef="#br0" timeOffset="145998.29">18787 9638 1282 0,'0'0'402'0,"0"0"-44"0,0 0-35 16,0 0-42-16,0 0-20 0,12 12-20 15,-4-6-26-15,2-1-15 0,3 0-16 0,3 2-33 16,1 0-8-16,-1-2-5 0,2 2-48 16,0-1-3-16,2 0-13 0,-4 0-10 0,-1-3-2 15,1 3-6-15,-4-1-10 0,-1-3-13 0,-1 4-2 16,-2-1 8-16,-2-1 14 0,-2 2-9 0,-4-2 15 15,0 1 0-15,-3 1-1 0,-2 1 12 16,-3-1-1-16,-2 1 10 0,0 2-25 16,-3 0 7-16,-3-1-22 0,2 3 22 0,-2-4-15 15,3 3-5-15,0-2 0 0,-2 2-26 16,2-1-33-16,1 0-35 0,3-1-37 0,0-1-61 16,0 0-107-16,-6 0-277 0,14 1-436 0,-3-5 116 15,2 4 70-15,2-4 117 0,0-3 48 0,6 3 52 0</inkml:trace>
  <inkml:trace contextRef="#ctx0" brushRef="#br0" timeOffset="147045.01">19230 9512 837 0,'0'-4'353'0,"0"4"-38"0,0 0-21 0,0 0-23 0,0 0-28 0,0 0-10 16,0 0-25-16,0 18-9 0,0-7-2 15,0-1-48-15,-1 3 5 0,-1 0-26 0,2 0-13 16,-2 1-8-16,2 0-15 0,-2 1-2 16,-1-1-3-16,3 0-26 0,-3 1 14 0,1 0 83 15,-1-2-42-15,0 0-14 0,-1-1 41 16,3 1-25-16,-4 0-26 0,3-2 11 0,1 2 9 15,-1-6-81-15,0 3 20 0,-1-2-15 16,1 0-11-16,1 0 34 0,-1-4 3 0,0 2 4 16,2-1 11-16,-3 0 72 0,3-5 9 0,0 6-19 15,0-6-6-15,0 0-16 0,0 0-19 0,0 0-4 16,0 0-4-16,0 0-18 0,17-11-1 16,-14 6-14-1,3-1 1-15,1-1-24 0,1 1 25 0,1 0-6 0,-3 2 1 0,4-2-26 16,-2 3-2-16,0-3-8 0,-1 4 13 15,1 0 7-15,0-1-30 0,-3 3 20 0,-5 0-13 0,13 6-12 16,-8-5 17-16,3 5-35 0,-3-1 10 16,0 1 0-16,0-1 12 0,0-1-7 0,0 4-18 15,1-4 11-15,1 2-22 0,-2-1-9 0,3-2 25 16,-2 0-7-16,1 2-11 0,1-3 18 16,2-2 11-16,-2 0-16 0,2 0 0 15,-2-1-3-15,2-3 9 0,0 0-27 0,1-2 29 0,-1 1 2 16,0-2-10-16,0 0 26 0,-2-3-18 15,-1 2 10-15,-1-3 15 0,1 5-7 16,-2-3 15-16,1 2-28 0,-2-1 23 0,-1 4-13 16,2-1-21-16,-2 1 11 15,-3 4 3-15,0 0-8 0,0 0 22 0,0 0 1 0,0 0-13 16,-3 13 3-16,1-7 12 16,-1 4 8-16,2-2-15 0,-3-1 5 0,4 4-13 0,-2-3-3 0,2 3 6 15,0-4 4-15,2 3-4 0,0-2-34 16,1-1-15-16,0 2-15 0,2-2-11 0,0-1 16 15,0 0-29-15,3-3 8 0,0 0 6 0,-1-2-6 16,4 0 3-16,-1-2 12 0,0-3 1 0,1 3 20 16,1-4-10-16,-2 0 20 15,3-2-2-15,-3 3 2 0,3-5 28 0,-5 2-17 0,2 1 15 16,0 1 25-16,-2 1-15 0,-2-1 6 0,-2 4 4 16,2-3 8-16,-4 4-10 0,-2 0 2 15,0 0 8-15,5 7-10 0,-5-1 5 16,0-2 2-16,0 2-7 0,-3 2-31 15,1-1-46-15,0 0-13 0,-1 3-74 0,0-3-53 0,-1 0-239 16,0-1-571-16,2 4 65 0,0-3 163 16,1-4 36-1,1 2 71-15,0 0 101 0</inkml:trace>
  <inkml:trace contextRef="#ctx0" brushRef="#br0" timeOffset="147163.22">19792 9743 980 0,'0'0'230'0,"0"-6"-168"16,0 6-684-16,0 0 82 0</inkml:trace>
  <inkml:trace contextRef="#ctx0" brushRef="#br0" timeOffset="148038.84">19992 9761 1095 0,'-8'-1'376'0,"8"1"-28"16,-10 2-107-16,2-2-13 0,-2 6-13 0,0-5-21 15,-1 5-22-15,-1 0-3 0,1 1-16 0,-2-1-7 0,3 0 46 16,-1 0-15-16,1 0-18 0,0 0-6 16,6-1-27-16,-2-2-9 0,3 2 9 15,1-4-31-15,2-1-3 0,0 5 5 0,0-5 3 16,0 0-23-16,11 0 4 0,-11 0-6 16,14-3 4-16,-4 0-7 0,0 1-6 0,-1-1-2 15,-1 1 8-15,2 0 10 0,0-1-28 0,0 3 10 16,-2 0-8-16,0 1-13 15,-1 3 39-15,-1 1-18 0,1 1-89 0,-4 3 17 0,2 0-7 16,-2 1 12-16,-3 1 29 0,0 1-34 0,-3 2 18 16,2-2-7-16,-6 5 2 0,4-2-8 0,-3 1 11 15,-2 0 2-15,-1-1-5 16,-1-1-10-16,0-1 0 0,0 1 5 0,0-3-10 0,2-2-28 16,0 1-24-16,1-3-7 0,1-1-26 15,1 0-45-15,-2-1-42 0,5-3-107 16,-4 1-200-16,5-3-458 0,1 0 110 0,0 0 58 15,0 0 127-15,0 0 45 0,9-12 64 16</inkml:trace>
  <inkml:trace contextRef="#ctx0" brushRef="#br0" timeOffset="148330.15">20123 9719 1067 0,'-2'5'363'0,"-2"2"-9"0,0-1 30 0,0 6-26 0,0-2-30 0,-2 0-24 0,3 1-27 0,-1-2-6 16,1 2-33-16,-2 0-107 0,3-2-14 15,-1 2-9-15,0-3 2 0,1 1-8 0,-1-1-15 16,3-1-5-16,0-3 31 0,0 1 7 0,3-2-12 16,-3-3 12-16,5 3 72 0,-5-3-23 0,10-3-3 15,-10 3 6-15,10-1-6 0,-2 0 3 16,-2 0-38-16,2-2-83 0,-8 3-4 0,12 4 15 15,-5-3-16-15,-1 1-28 0,1 3 11 16,-2-1-16-16,0 2-28 0,-2-3-28 0,2 3-41 16,-5-2-33-16,3-1-41 0,-1 2-36 15,0 0-39-15,-1-3-86 0,-1-2-172 0,7 3-510 16,-4-3 111-16,2 0 56 0,3-3 110 0,-1 0 74 16,-1-3 67-16</inkml:trace>
  <inkml:trace contextRef="#ctx0" brushRef="#br0" timeOffset="148501.5">20347 9719 965 0,'7'-13'350'0,"-3"2"6"0,-1 5 0 16,0 1 69-16,-1 1-44 0,0 0-43 16,-2 4-3-16,0 0-43 0,0 0-18 0,0 0-39 15,6 10-2-15,-9-3-43 0,3 0 7 16,0 3-49-16,-3 2-91 0,1 1-45 0,0-1-42 0,-1 2-44 16,-3 0-37-16,-1 3-81 0,2-2-145 15,-1 2-114-15,2-5-437 0,-2 0 59 0,2-4 194 16,1 2-15-16,-2-3 53 0</inkml:trace>
  <inkml:trace contextRef="#ctx0" brushRef="#br0" timeOffset="148798.75">20254 9876 1069 0,'-3'-2'425'16,"3"2"-41"-16,0-6-36 0,2 1-20 0,0 3-46 0,1-3-34 16,3 4-7-16,1-4-42 0,1 3-9 15,2-2-21-15,3 3-62 0,0-3-46 16,2 1-35-16,2-2-98 0,-1 0-63 0,-1 2-88 15,1-3-59-15,2 1 6 0,-5-1 41 16,-1 0-32-16,-1 0 75 0,-1 3 90 0,-2-2 92 16,2 0 69-16,-4 3 38 0,0-2 31 0,-2-1 38 15,-2 4 8-15,1-2-7 0,-3 3 22 16,2-4 18-16,-2 4-20 0,0 0 5 0,0 0-13 16,0 0 8-16,0 0-10 0,-2 13-6 0,1-9-20 15,-1-1-10-15,2 3 5 0,0 0-26 16,-2-1-2-16,2 2-8 0,0-1-20 0,-3 2-3 15,3 1-100-15,-1-3-10 0,-1 1-54 0,0-2-43 16,2-2-77-16,-2 3-151 16,2 1-625-16,0-3 126 0,0-2 48 0,0-2 118 15,-1 6 52-15,1-6 71 0</inkml:trace>
  <inkml:trace contextRef="#ctx0" brushRef="#br0" timeOffset="149598.99">21074 9639 1028 0,'0'0'390'0,"-3"-1"-22"0,3 1-30 16,0 0-26-16,0 0-40 0,0 0-9 16,-15 10-30-16,10-5-5 0,2 2-39 15,-2 0 62-15,2 1-25 0,1-1-24 0,-1 5-28 16,1-1 8-16,-1 0-29 0,0-1-22 0,1 2-1 15,0-1-35-15,2-3-5 0,0 3-1 0,2-4-22 16,0-1-19-16,4 1 14 0,-2-4-24 16,2 0-7-16,-1-3 23 0,-5 0-3 0,15-3-38 15,-7-2 12-15,-3 0 11 0,3-3-21 16,-3-1-2-16,0 1 20 0,-2-4-7 0,2 0-3 31,-2 2-15-31,-3-2 7 0,2-3-2 0,0 7-8 0,-2-3 21 0,3 4-8 0,-2 0-16 16,-1 3 16-16,2 1-10 0,-2 3-6 15,2-2 19-15,-2 2-21 0,0 0 2 0,6 14 16 0,-4-5-20 16,0 4 7-16,-2 4 15 0,0 2-22 16,0 1-19-16,0 3 3 0,-2 2 0 15,-6 8-7-15,-2 4 22 0,2-5-25 0,-2 1 13 0,2-5-8 16,-7 2 10-16,3 0-8 0,1-8 34 16,-2-3 5-16,6-1 23 0,-2-5 13 0,0 0 33 15,1-2-46-15,3-3 10 0,1 1 0 16,-2-6 8-16,2 0-10 0,2-2 4 0,2-1 4 15,0 0 4-15,-2-10-10 0,6 2 72 16,2-3-8-16,2-3-33 0,4-4-7 0,7-8-19 16,3-1-20-16,1-1-54 0,3 1-31 0,3 2-35 15,-1 1-39-15,2 0-41 0,-2 4-33 16,3 0-59-16,-3 2-87 0,-2 4-182 0,-5 2-494 16,4 2 80-16,-2-1 107 0,-2 2 126 0,2-1-6 15,0 2 77-15</inkml:trace>
  <inkml:trace contextRef="#ctx0" brushRef="#br0" timeOffset="150753.99">21717 9576 1238 0,'0'0'379'0,"2"15"-33"15,-2-6-36-15,0 1-14 16,0 3-27-16,0 2-36 0,0 3-26 0,0 2-91 0,0 2-19 16,0 5-23-16,0-1 13 0,-2 3 13 15,2-3-46-15,-2 2-16 0,2-2 8 16,-1 0-30-16,0 0-22 0,0-6-6 0,-2 2-4 15,3-3-4-15,0-3-1 0,0 0 6 0,-2-2-3 16,2-1 26-16,0-2 33 0,0-3 12 16,-1-2 4-16,1-1 4 0,-4 2 29 0,1-5 5 15,3-2-3-15,0 0 13 0,0 0 10 0,0 0 64 16,-7-12 8-16,7 4-31 0,2-5-13 0,1-2 1 16,4-8-106-16,1 2-2 15,3-14-5-15,6 5 12 0,1 3-15 0,6 0 8 16,0 3 5-16,-5 7-13 0,-1 3 18 0,-3 6-25 15,1-1 2-15,-2 3-16 16,0 4 11-16,-4 1-2 16,-3 2 20-16,-1 0-1 0,-1 4-9 0,-2-2 15 0,-3 5 5 0,-3-1-15 0,0 1-1 15,-2 2-4-15,-8-1-5 0,1 4-1 16,-1-3 8-16,-3-1-23 16,3 1 8-16,-3-1-21 0,0 1-20 15,0-2-38-15,3-2-32 0,1 0-22 0,1 1-41 0,1-4-34 0,2 0-125 0,3 2-186 16,4-4-475-16,1-1 144 0,-7 0 28 15,7 0 159-15,0 0 46 0,0 0 77 16</inkml:trace>
  <inkml:trace contextRef="#ctx0" brushRef="#br0" timeOffset="151707.41">22031 9843 1154 0,'8'-7'361'0,"-4"2"-36"0,1-3-31 15,0 2-12-15,0 1-13 16,-2-2 71-16,1 1-38 0,-3 1-18 0,1-1-10 16,1 3-20-16,-2-1-27 0,0-2-22 0,-1 3-26 15,0 3-10-15,-2-3 18 0,2 3-59 0,0 0-3 16,0 0-7-16,0 0-5 0,-10 6-21 16,7 0 3-16,1-2-24 0,-1 2-2 0,0 1-10 15,1 0 5-15,1 0-20 16,1 3-24-16,0-3 9 0,0-1-32 0,1 1-2 0,1-2-11 15,3 2-12-15,-2-4-18 0,4 3 0 0,1-3-28 16,0 0 10-16,0-3 0 0,2 0-13 16,0 0 0-16,3-1 6 0,-2-3 14 0,3 1 14 15,-3-2 2-15,3-1 8 0,-2 0 17 16,-2 1 14-16,2-2 25 0,-3 1-13 0,-1 0 51 0,-1 2 9 16,-2 0 6-16,0 0-4 15,-2 2-3-15,1 0-30 0,-4 2 9 0,0 0 6 16,0 0 2-16,0 0-12 0,0 0-16 0,0 0-5 15,0 9-15-15,0-9 12 0,0 9 1 16,0-5-11-16,1-1-5 0,-1 0-3 0,2 2-2 16,1 1-2-16,0-5-8 0,2 2-8 0,0 0 18 31,0-3-10-31,-5 0 7 0,13 0-5 0,-5-3 3 0,-1 0 13 0,1 2-3 0,0-5 0 16,0 3-7-16,1-2 9 0,-2-1 11 0,-3 0 3 15,0 1-6-15,-1 0 16 0,0 1-31 16,-3 0-3-16,0 4 18 15,-3-5 6-15,3 5-11 16,-7-1 0-16,7 1 19 0,-10 0-24 0,10 0 13 0,-10 1-29 0,6 2-17 0,4-3-36 0,-10 3 5 16,8-3-28-1,1 4-10-15,1-4 15 0,0 0 3 0,0 0 10 0,0 0 20 0,0 0-12 16,0 0-8-16,16-1 30 0,-11-2 11 16,5 0-18-16,0-2 7 0,1-1 27 15,-1 0-6-15,3 1 15 0,-2-3 31 0,3 0 11 16,-5 0 17-16,1 2 0 0,0 2 1 0,-5-1 14 15,3 0-2-15,-1 2-15 0,-4 0 3 16,3 2 4-16,-6 1-5 0,0 0-2 16,7 8 0-16,-6 1 17 0,0 0-12 0,-1 1-5 0,0 5 2 15,-2 4 6-15,-1 3-26 0,1 5 28 16,0-1-39-16,1 2 9 0,-4 10-6 16,3-7-26-16,1-3 11 0,-1-3-31 15,-1 3-10-15,3-6-23 0,0-3 25 0,0 0-12 0,0-2 5 16,0-4 9-16,-2 0 48 0,2 0 34 15,2-4-29-15,-4-3 22 0,4-2-8 0,-2-2 49 16,0-2-38-16,0 0 18 0,0 0 33 0,8-10-90 16,-2 1 11-16,2-6 10 15,0 2-6-15,1-4-9 0,4 1-11 0,0 0 5 0,-3 3-12 16,0 0 7-16,0 5 11 0,-2-1-1 0,0 1 8 16,-1 6-5-16,-1-1-25 0,0 2 17 0,-6 1 0 15,0 0 3-15,6 6 13 16,-6 0-8-16,-2 0-10 0,-2 1-13 0,-3 1-8 15,-1 1-5-15,-1-1-17 0,1 2-19 0,-5-1-53 16,3 1-11-16,2-2-35 0,0-3-34 16,3-1-33-16,0 0-77 0,0-3-222 0,3 1-544 15,2-2 104-15,0 0 124 0,0 0 68 0,0 0 83 16,7-18 80-16,1 8 51 0</inkml:trace>
  <inkml:trace contextRef="#ctx0" brushRef="#br0" timeOffset="152039.68">22807 9641 913 0,'5'-3'420'0,"-4"3"-39"0,-1 0 55 0,0 0-22 0,-1 12-20 0,-4-5-40 15,4 2-19-15,-3 1-25 0,1 5-13 16,-2 0-93-16,0 3-27 0,0 2-41 0,2 2 5 16,-2-3-8-16,2 1-34 0,1-1-17 0,-1 1-5 15,1-1 13 1,2-6-19-16,0 3-30 0,2-2-18 0,1-3 13 0,0-3-10 0,1 2-11 15,-1-6-10-15,5 1-2 0,-1-2 2 0,-1-3-18 16,-6 0 18-16,15-8-5 0,-7 4 28 16,2-3-22-16,-2-1 1 0,-1 2 21 15,1 1 19-15,-3 0-4 0,-2 0 21 0,3 1-18 0,-4 1-15 16,-2 3 10-16,0 0 0 0,0 0-16 0,0 0 3 16,4 9 1-1,-4-3-9-15,0-1-20 0,-2 3 0 0,2 1-31 0,0-2-38 16,5 0-43-16,-5 0-14 15,7 1-40-15,3 0-67 0,1-2-123 0,3-2-194 0,0 1-420 16,4 0 125-16,-5-4 51 0,3 1 157 0,-1 2 30 16,-5-3 55-16</inkml:trace>
  <inkml:trace contextRef="#ctx0" brushRef="#br0" timeOffset="152780.6">18772 10732 944 0,'0'-3'399'0,"0"3"-109"0,0 0-27 0,0 0-25 15,15 6 0-15,-6-4-43 0,-1 1-21 0,3 0-15 16,-1 2-21-16,3 0-2 0,3-2-16 15,-4 4-13-15,6-1-25 0,-3-1 18 16,-1 1-23-16,3 1 0 0,-6-1 15 0,1-2-18 16,-2 0-23-16,-2 1 11 0,-3 1 2 0,1 0 7 15,-4-1 6-15,-2 2 79 0,-2-1-5 16,-4 1-7-16,-2 0 7 0,-2 2-105 0,-3 0 5 16,-5 4-10-16,-2-3-8 0,-1-1-2 0,-1 4 25 31,1-2-61-31,-2 0-36 0,0-2-5 0,4 3-46 0,-1 0-26 0,0-2-79 0,2 2-136 15,3-2-376-15,4 0-156 0,1-2 100 16,2-2 63-16,3-2 121 0,2-1-13 16</inkml:trace>
  <inkml:trace contextRef="#ctx0" brushRef="#br0" timeOffset="155527.56">19546 10586 783 0,'2'-5'338'0,"-2"5"61"15,3 0-38-15,-3 0-23 0,0 0-26 0,0 12-36 16,0-5-35-16,0 5 25 15,0 1-51 1,0 3-30-16,2-1-24 0,-4 4-18 0,-1 0-7 0,1-1-13 0,1 1-26 0,-1 0-28 0,2-1-13 16,-3-2-9-16,3-1-1 15,0-2-18-15,0 0 5 0,0-3 13 0,3-1-10 16,-3 0 2-16,3-2-10 0,-1-1-2 0,4-3 23 16,-2 0 17-16,2-2-22 0,1-2 7 0,1-2 10 15,2 2-20-15,3-4 8 0,0 2 10 16,2-2-26-16,0 2 23 0,-2 0-12 0,0 1-6 15,4-1-4-15,-6 2-9 0,-1 1-2 0,2 0 3 16,-3 1 17-16,-1 2 14 16,0-1-27-16,-1 2 9 0,-4 2 9 0,-3 1-4 0,0 0 2 15,-2 1-8-15,-4 2-4 0,1-1-4 16,-3-3-1-16,-2 5-101 0,-2-3 3 16,4 2-16-16,-3-4-15 0,-1 2-20 15,1-1-10 1,3-2-47-16,-4 0-41 0,4-2-122 0,-2-1-126 0,6 0-432 0,4-2 30 0,0 0 126 0,-8-5 51 15,8-1 97-15</inkml:trace>
  <inkml:trace contextRef="#ctx0" brushRef="#br0" timeOffset="155700.16">19984 10569 1277 0,'0'7'386'16,"0"2"-17"-16,-2 3-34 0,-2 4-15 15,0 3-28-15,-2 0-41 0,1 3-16 0,-2 2-25 16,2-2-97-16,-3 3 12 0,0 0-53 16,0-1-49-16,1 0-51 0,-1-1-44 0,1-1-89 15,1-5-103-15,4 0-56 0,1-2-432 16,1-2 20-16,1-1 74 0,-1-4 77 0</inkml:trace>
  <inkml:trace contextRef="#ctx0" brushRef="#br0" timeOffset="155982.38">20104 10903 1034 0,'-5'13'289'0,"5"-13"-33"15,0 8-39-15,0-2-7 0,3-1-15 16,-1-2-29-16,-1 3-5 0,1-1 3 16,3-1-33-16,-2-1-65 0,3-3 6 0,0 0 13 15,-6 0 30-15,13 0 10 0,-7-2 72 0,1-1-12 16,-2-1 17-16,1 0-10 0,-2-2-8 15,-1-1 5-15,-3 1-7 0,0-1-8 16,0-1-13-16,-5-1-17 0,3 2-3 0,0 0-31 16,-2 0-5-16,-1 1-6 0,0 1-29 0,0-1-17 0,0 3-12 15,0-1-48-15,2 1-37 0,-2 1-25 16,5 2-46-16,-4-2-39 0,4 2-94 16,0 0-144-16,0-3-575 0,0 3 122 0,0 0 39 15,9-1 120-15,-1 0 92 0,0 0 13 16</inkml:trace>
  <inkml:trace contextRef="#ctx0" brushRef="#br0" timeOffset="156203.84">20246 10862 624 0,'2'6'315'0,"1"0"-44"0,1 1-2 15,-3-2-23-15,4 2-6 0,-2-2-45 0,1 1-13 16,2 0-13-16,-1-3-21 16,4 3-5-16,-3-1 13 0,2-4-10 0,-1 1 23 0,1-1 0 15,0-1-84-15,-3-3 20 0,3 2 0 0,-8 1 25 16,9-5-4-16,-5 2-9 15,-1-2-1-15,-1 0 1 0,-2 0-7 0,-1 1-10 0,0-1-18 16,-5-1-3-16,3 1-9 0,-4 0-32 0,2 0-33 16,-1 0-36-16,1 1-45 15,-2-1-52-15,1 2-105 0,1-1-190 16,0 3-478-16,2-3 85 0,1 2 114 0,2 2 96 0,0-9 73 16</inkml:trace>
  <inkml:trace contextRef="#ctx0" brushRef="#br0" timeOffset="156545.94">20722 10574 1251 0,'0'0'366'0,"1"8"-15"15,-1-1-21-15,-1 1-7 0,0 1-26 16,-3 0-44-16,4 1-23 0,-2 2-30 0,2 0 18 16,0 0-50-16,0-1-16 0,2-2-12 0,-2 3-30 15,3-2-20-15,-1-1 0 0,-1 0-3 16,1-1-3-16,-2-2-12 0,2 0 2 0,-2-3-2 15,3 1-1-15,-3-4-14 0,0 5-1 16,0-5-28-16,0 0 18 0,0 0-10 0,-7 3-26 16,7-3 11-16,-8 4-9 0,5-1 4 0,-5 1 2 15,1 1-8-15,-2 1-2 0,1 1-3 16,-1 1 13-16,1-2-16 0,1 1 24 0,-1 2-16 16,3-3-2-16,0 2-3 0,2-2 8 15,-2 1 0-15,5-2-3 0,3-2-10 0,-3 2 2 16,2 0-12-16,3-3 0 0,2-2-52 15,-1 4-32-15,-1-2-52 0,3-2-15 0,2 0-31 16,3-2-95-16,-3 2-174 0,5-4-425 16,1 4 49-16,5-2 95 0,-4-3 59 0,4 3 71 0</inkml:trace>
  <inkml:trace contextRef="#ctx0" brushRef="#br0" timeOffset="156919.87">21625 10569 1336 0,'-3'7'389'0,"-2"1"-31"0,3 5-30 16,-4 3-19-16,4 3-22 0,1 0-46 16,-1 5-16-16,0-2-30 0,-1 2 50 15,1 2-9-15,2 0-72 0,-3-1-34 0,3 2-40 0,-2-3-75 16,2-4-69-16,0 3-94 15,0-2-257-15,0 0-462 0,2-1 96 0,-2-2 55 0,2-2 50 16,-1-2 87-16</inkml:trace>
  <inkml:trace contextRef="#ctx0" brushRef="#br0" timeOffset="157413.13">21582 10863 1154 0,'6'-22'386'0,"2"0"-30"0,2 7-41 0,-1-3-5 16,3 1-39-16,1 4-7 0,-2 3-11 0,1 1-33 15,1 3-20-15,0 1-16 0,0 3-7 16,-2 2-13-16,-1 3-16 0,2 1-4 16,-2 2-17-16,-2 1-6 0,0 0-11 0,-5 3 0 0,-1-2-20 15,0 3-16-15,-4 0-3 0,-3-1-7 16,0 1-5-16,-1-2 82 0,-1 1-5 15,-1-3-39 1,0 0 5-16,0 1-7 0,4-4-10 0,-2 1-4 0,1 1-9 0,-2-5-18 0,4 1 25 16,3-2-25-16,0 0 0 0,0 0-18 15,-10-5 2-15,12 1-2 0,-2 4-3 0,6-12-7 16,-1 6-16-16,5 0 23 0,-2-1-5 16,4 2-25-16,1 1 15 0,-3 0-16 15,1 1-4-15,1 0 7 0,-3 3 3 0,1 0-13 0,0 0 2 16,1 0-10-16,-5 3 5 0,5-1 11 15,-2-1 0-15,-3 2-6 0,-3 1 13 0,4-4-12 16,-4 3 7-16,2-1-8 0,-5-2 19 16,5 4 4-16,1-3 19 0,-6-1 17 0,4 2 0 15,-4-2 6-15,0 0-24 0,10-2-12 0,-10 2 22 16,6-4-12-16,-3 2-15 0,2-2 22 16,0-2 1-16,2 2-21 0,2-4-6 0,-2 2 4 15,3-1-42-15,0 0-12 0,-2 2-15 0,2-2-37 16,0 1-30-16,-2 3-28 0,0 0-34 15,2 0-30-15,-1 2-54 16,0-2-131-16,-4 6-166 0,5-3-453 0,0 1 59 0,-4-1 138 0,2 3 71 16,-3-1 85-16,2 1 67 0</inkml:trace>
  <inkml:trace contextRef="#ctx0" brushRef="#br0" timeOffset="158061.97">22147 10811 1034 0,'-2'-4'335'0,"2"4"-38"0,0 0-41 0,0 0-5 0,0 0-24 15,0 0-29-15,0 0-9 0,0 0-18 16,0 0-17-16,0 0-21 0,0 0-5 16,-12 8-10-16,12-8-8 0,-2 3-8 0,2-3-2 15,0 0 33-15,0 0-10 0,0 0-13 16,0 0-69-16,0 0 0 0,0 0 5 15,0 0-2-15,0 0-6 0,0 0 11 0,12-12 7 0,-8 7 21 16,-1-2 0-16,2 1-3 0,-2 0 77 0,0-1 8 16,1 1-26-16,-3 0 2 0,-1 2 6 15,2-2-10-15,-2 3-26 0,0 3 7 16,-2-6-22-16,2 6-29 0,0 0 1 0,0 0-6 0,-13 10 3 16,7-4 2-16,2 0-12 0,0 2-6 15,-2 0 11-15,0 3-8 0,2-2-5 16,0 0-10-16,2-1-11 0,0 1-17 0,2-1-6 15,0 0-32-15,0 0-19 0,0-1-13 0,2-3-20 16,0 4-25-16,4-3-34 0,-1-2-41 16,0 0-110-1,0 2-79-15,2-5-34 0,2 3-522 0,0-3 34 0,0 0 128 0,3 0 86 0,1-3 65 16,-3 0 73-16</inkml:trace>
  <inkml:trace contextRef="#ctx0" brushRef="#br0" timeOffset="158377.03">22347 10780 798 0,'0'-5'297'0,"-2"2"-21"0,2 3 60 0,-2-6-16 16,-1 3-34-16,3 3-22 0,-5-3-13 0,5 3-31 16,0 0-13-16,0 0-38 0,0 0-10 15,-10 5-3-15,8-1-18 0,2 1-20 0,-1 0 8 16,1 2-24-16,-3-2 3 0,1 3-8 0,2-1-10 16,0 3 26-16,-2-1-93 0,4-3 11 15,-2 3 23-15,-2 0-13 0,4-1 2 0,-2 1 6 16,0-1-18-1,-2-1 22-15,2-1-4 0,-2 1 84 0,-2 0 26 0,1 1-57 0,-1-4-7 16,1 2-6-16,-2-1-27 0,0-4-8 16,0 4-11-16,2-1 1 0,-2-1-29 0,0-3-2 0,0 4-28 15,0-4-49-15,5 0-34 16,-5 2-32-16,5-2-32 0,0 0-40 0,0 0-43 16,0 0-63-16,0 0-104 0,8-9-28 0,-4 5-364 15,6-1-2-15,-4 0 107 0,6-2 59 16,-2 0 51-16</inkml:trace>
  <inkml:trace contextRef="#ctx0" brushRef="#br0" timeOffset="158626.14">22427 10802 888 0,'0'-5'299'16,"3"2"-20"-16,-3 3-2 0,1-7-11 15,-1 7 49-15,1-3-23 0,-1 3-49 0,1-4-10 0,-1 4-24 16,0 0-24-16,0 0-14 16,0 0-2-16,0 0-10 0,2 11-29 15,-2-6-22-15,0 0 5 0,0 1-8 0,2 2-21 0,0 2 11 16,-2-4-8-16,1 4 25 0,-1-1-25 15,0 3-56-15,0-3-8 0,0-1 0 0,0 0 13 16,-1 1 2-16,-3 1 11 0,2-3 77 0,0 3-6 16,-4-3-36-16,3 0 6 15,-2 2-18-15,0-2 7 0,0-3-10 0,-3 1-13 0,3 1 3 16,-1-2-18-16,-1-1-43 0,4 0-19 16,-1-1-38-16,1-1-48 0,3-1-42 0,0 0-117 15,0 0-100-15,0 0-499 0,0 0-13 16,0-10 41-16,5 7 125 0,0-3 67 0,3 3 49 0</inkml:trace>
  <inkml:trace contextRef="#ctx0" brushRef="#br0" timeOffset="159053.29">22614 10850 752 0,'1'7'328'0,"-1"-7"-42"0,-2 5-12 15,-2 1 51-15,4-2-38 16,-2 0-36-16,2 1 5 0,-1 0-41 0,1 0 0 15,0-2-33-15,-2 3-29 0,2 0-4 0,2-2-29 16,-2-1-10-16,1 1 26 0,4-1-34 16,-2 1-10-16,-1-3 8 0,4 1-3 0,-6-2-76 15,9 0 12-15,-9 0 11 0,11-3 14 0,-7 2 6 16,2-3-10-16,2 1 15 16,-3 0-7-16,1 1 4 0,-2 1 24 0,1-3-34 0,0 3-7 15,1-1-1-15,-2-1 6 0,-4 3 3 16,10 0-34-16,-10 0-11 0,0 0 27 0,9 1-16 15,-5 2 77-15,0-1-6 0,0 2-25 0,0-2-15 32,-2 1 13-32,0 1-21 0,2 0-13 0,0-2 11 0,-2 2-14 0,0-1-9 0,-1 0 17 15,-1-3-12-15,5 3 2 0,-2 2 10 0,-3-5-20 16,2 3 21-16,-2-3-1 0,6 1-17 0,-6-1-6 16,0 0 36-16,0 0-30 15,10-4-34-15,-6-1 20 0,-1 4 6 0,2-4-8 16,1 1-10-16,1 0-15 0,0-2-8 0,-1 1-1 15,-1 1-32-15,1-1-36 0,2 1-34 0,-2-2-51 16,-3 5-50-16,4-1-68 16,-4-7-130-1,3 9-497-15,-1-1 32 0,-5 1 111 0,0 0 78 0,11 3 71 0,-7-2 74 0</inkml:trace>
  <inkml:trace contextRef="#ctx0" brushRef="#br0" timeOffset="159291.84">22976 10874 1185 0,'0'-5'430'0,"0"5"-31"0,0 0-15 16,0 0-39-16,0 0-91 0,0 0-13 0,0 0-50 16,0 0-14-16,-15 8 7 0,12-4-35 15,2 1 10-15,-1 1-11 0,0-4-33 16,2 4-7-16,0 0-21 0,2-2 10 0,0 1 18 0,-1-1 23 16,4 0 3-16,-2-2-20 0,4 1-22 15,0-1-17-15,-1-2-8 0,2 2-40 0,-3 0-16 16,3-1-13-16,-1-1-13 0,-7 0-28 15,11 1-5-15,-11-1-43 0,10 0-31 16,-10 0-67-16,5 0-123 0,-5 0-97 0,0 0-532 0,0 0 79 16,0 0 121-16,0 0 63 0,0 0 75 15,0 0 81-15</inkml:trace>
  <inkml:trace contextRef="#ctx0" brushRef="#br0" timeOffset="161146.03">18720 11812 1011 0,'5'3'266'0,"0"-1"-18"15,3 3-20-15,5-2-18 0,-2 2-28 0,-1 1-21 16,4-2-10-16,-3 2-23 0,5 2-8 0,-2-1 3 16,-4 0-8-16,-1 0 34 15,-2 2-16-15,-2 1 7 0,0 1 6 0,-5-2-15 0,0 1-18 16,-5 2 2-16,1 0-8 0,-4 1-9 0,0 1-17 16,-5 4-1-16,1-1 4 15,-2-1-15-15,-1 0-10 0,2-1-13 0,0-4-20 16,1 0-44-16,4-2-23 0,0 2-5 15,3-4-51-15,0 2-70 0,5-1-140 0,0-3-520 0,0-1 44 16,5 0 72-16,0-1 63 0,2-3 100 16</inkml:trace>
  <inkml:trace contextRef="#ctx0" brushRef="#br0" timeOffset="161526.97">19630 11718 1318 0,'-5'11'358'0,"3"-4"-23"0,1 1-40 0,0 3-9 0,-3 2-37 16,0 0-32-16,4 2-20 0,-6 2-12 0,1 0-9 15,0 2-27 1,2-2-19-16,-2 1-9 0,0-2-42 0,0 2-33 0,0 0-20 0,-1 0-54 15,1-2-65-15,0-4-76 0,2 2-112 16,-1-1-139-16,-1-3-391 0,4 1 56 0,-1-4 110 16,-1 0 56-16</inkml:trace>
  <inkml:trace contextRef="#ctx0" brushRef="#br0" timeOffset="162005.07">19561 11810 1269 0,'2'-7'381'15,"-1"2"-35"-15,-1 1-36 0,2 3-13 0,-2 1-54 16,0 0-18-16,0 0-15 0,13 5-28 0,-8-1-6 16,0 0-27-16,2 2-8 0,-1-1 5 15,1 2-34-15,4-1-12 0,-1 0-8 0,0 1-28 16,3-3-18-16,0-2 8 0,0 3 2 16,2-5 1-16,-2 1-11 0,3-2-21 0,-1 1 37 15,1-3-37-15,-4-1 6 0,4 0 18 0,-4-2-24 16,-1 4 32-16,-1-3 27 0,-2 3 3 0,-1-2 10 15,-2 3-10 1,0-2-10 0,-5 3 10-16,0 0-13 0,0 0 1 0,0 0 1 0,0 0-17 0,-7 12 5 0,-1-7-97 0,0 2-5 15,0 2-8-15,1-1-13 0,-1 0-18 16,0 1-28-16,0-1-10 0,1 1-34 0,0 1-15 16,4-4-45-16,-2 1-65 0,5-3-21 15,0 0-53-15,6-1-8 0,-2-3 62 0,-4 0-3 16,16-3 54-16,-6 1 82 0,3-4 53 0,-1-1 75 15,1-2 87-15,3-3 22 0,1-3 34 0,-6 5 16 16,1-1 17-16,-2 1 16 16,-2 2 15-16,-3 2-18 0,1 1-5 0,1 2 10 0,-4 0-17 15,2 3-3-15,-5 0-6 0,3 6 3 16,-3-1-53-16,0 1 17 0,0 2-4 16,0 2-9-16,0 1-22 0,-3 1-21 0,2 1-10 15,-3 2-31-15,2-2-51 0,-1 1-59 0,0 0-72 16,3 1-158-16,-2-2-49 0,4 2-494 15,1-3 113-15,0-1 71 0,3-2 62 0,-2 0 92 16</inkml:trace>
  <inkml:trace contextRef="#ctx0" brushRef="#br0" timeOffset="162466.41">20182 11936 1064 0,'-8'-3'461'0,"2"3"-28"0,6 0-111 0,-12 2-45 15,2 1-24-15,1 0-23 0,1 0-27 16,-4 3-14-16,2 0-20 0,-1-1 5 0,1 1-33 16,0 2-18-16,0-1-16 0,2 1-12 0,1-1-23 15,1 0-8-15,1-2 0 16,3 1-16-16,1-3-25 0,1 1 0 0,0-4 13 0,3 4-8 16,-3-4 3-16,11 0-8 0,-11 0-3 0,13-2 1 15,-6 0 33-15,1-1-16 0,2 2 1 16,-2-1-4-16,0-1 1 0,2 3-5 0,-2-2 5 15,-1 2-6 1,1 1 6-16,0 0-2 0,-1 1-1 0,-2 0 5 0,3 0-2 16,-3 2-23-16,0 1 28 0,-2-2 54 15,2 4-21-15,0-1-5 0,-5-1-8 0,3 1-2 0,-3-2 5 16,2-1-13-16,-2 1 16 0,0 1 33 16,0-2-82-1,2 1-6-15,-2-4 27 0,1 3-1 0,-1-3-12 0,0 0 7 0,0 0 0 0,0 0-4 16,0 0 19-16,0 0-17 0,5-13-11 0,-2 9 9 15,-1-3-9-15,3 0-10 0,-2 2-17 16,2-2-16-16,-2 0-29 16,1 1-4-16,-1-1-41 0,2 1-29 0,0-1-30 0,0 0-28 0,1 2-77 15,-1-2-75-15,3-2-127 0,-1 1-64 16,4 0-364-16,-1 0 93 0,0-1 73 16,1 0 42-16,1 0 97 0</inkml:trace>
  <inkml:trace contextRef="#ctx0" brushRef="#br0" timeOffset="162642.44">20417 11861 880 0,'3'-5'305'0,"-1"3"4"15,-2 2-12-15,1-3-41 0,-1 3 92 0,0 0-15 16,0 0-5-16,0 0-21 0,-10 11-28 16,6-4-92-16,2 1-21 0,-1 0 8 0,1-1-23 15,-1 1-10-15,-2 4-28 0,3 0-11 0,-1 0 11 16,-4-1-21-16,3 2-3 0,0-1 60 16,1 0-39-16,-2 0-33 0,0 1-67 15,0-3-20-15,4 2-26 0,-3-2-38 0,1-1-52 0,2 0-109 16,-3-6-182-16,4 6-456 0,0-4 28 15,0 2 98-15,0-2 50 0,0 0 75 16,0-2 77-16</inkml:trace>
  <inkml:trace contextRef="#ctx0" brushRef="#br0" timeOffset="163122.07">20505 11993 1356 0,'-13'3'405'0,"3"0"-9"0,2 1-60 0,2-2-39 15,1 2-29-15,0-1-40 0,2 0-13 0,1 0-28 16,0 1-10-16,2 1-14 0,0-1-101 16,2 1 2-16,1-3-13 0,-1 2-2 0,6-1-29 15,-3 0-4-15,5-2-24 0,-2 0 13 0,2 1-8 16,3-4 9-16,-2 1-6 0,-1 0 2 0,2-2 1 16,-1 2 15-16,-1-1 20 31,-2 1-7-31,0-2 12 0,-1 2 8 0,0 0-5 0,-1 0-7 0,-6 1 17 0,11 1 29 0,-4-1-16 15,-4 2 5-15,1 0-2 0,2 0-1 16,-1 3 14-16,-3-2 71 0,3 2-18 0,-2-1-23 16,2 1 11-16,-3 0-21 15,-1 0-11-15,1 0-12 0,1 0 3 0,-1-1-21 0,-4 2 5 16,2 0-18-16,0-1-30 0,-3 0-44 0,1-2-44 16,-1 1-28-16,-2 2-53 0,4-4-67 0,1-2-208 15,-9 5-595-15,4-1 104 0,2-2 64 16,-2 1 172-16,5-3 15 0,-8 0 92 0,8 0 62 15</inkml:trace>
  <inkml:trace contextRef="#ctx0" brushRef="#br0" timeOffset="164399.43">21306 11871 1410 0,'-2'-4'427'0,"4"-1"-35"0,-2 1-52 15,0 4-30-15,0-5-15 0,0 5-42 0,0-4-23 16,0 4-25-16,0 0-5 0,0 0-31 0,-4 12-21 16,1-5 1-16,1 0-19 0,1 4-33 15,-1-3-7-15,0 5-16 0,-1-1 11 16,3-1-24-16,-1 0-15 0,1-1-20 0,1 0-11 15,-1-1-10-15,3 1-2 0,-1-4 5 0,3 1 30 16,0-2-23 0,0-2-10-16,1 0 8 0,2-1 3 0,-1 0 17 0,-2-3-10 15,3-1-3-15,0-2 29 0,-1 1-11 0,-1-4 3 0,2 0-2 16,-2-3-6-16,-2 1 16 16,0-1-21-16,-2 1 8 0,-1 1 15 0,-1-1-3 15,0 1-9-15,0-1-11 0,-1 2-5 0,1 2-5 16,-4-1-5-16,1 2 2 0,-2 0 18 0,3-1-2 15,-1 5-31-15,-2-3 21 16,5 3-24-16,-5-4-7 0,5 4-21 0,0 0 23 0,-3-2-17 16,3 2 30-16,0 0 0 0,0 0 3 15,0 0-6-15,0 0-2 0,24 3 8 0,-17 0-18 16,1 0-1-16,2 0-6 0,-2 0 19 0,0 0-66 16,2 2 13-16,-3-1-16 15,1 2 19 1,-2-1-16-16,1 0 18 0,0-1 15 0,-1 1-10 0,-2 1 18 0,0 0 15 0,0-1-2 15,-1-2 23 1,0 2 0-16,-1-1 5 0,0-1 99 0,-1 2 4 0,4-3-19 0,-5 2 21 16,0-4 13-16,4 3-65 0,-4-3-9 0,3 4 2 15,0-3-6-15,-3-1 9 0,3 5-18 16,-3-5-6-16,8 0 19 0,-8 0-9 0,7 0-14 16,-7 0-6-16,10 0-5 0,-5 0-18 0,-5 0-20 15,11 0-26-15,-3 0-63 0,2-2-42 0,0 2-36 16,0 0-63-16,2-1-121 0,-1 1-205 15,2 1-461-15,4 1 132 0,-1-2 68 16,-1 0 108-16,-1 2 91 0,3-2 63 0</inkml:trace>
  <inkml:trace contextRef="#ctx0" brushRef="#br0" timeOffset="164831.6">22199 11911 1110 0,'-13'3'436'16,"5"-2"-22"-16,-2 0-30 0,3 1-46 15,-1-1-23-15,0 2-34 0,0-1-7 0,2 0-41 16,0-2-13-16,0 3-28 0,6-3-20 16,-5 2-31-16,5-2 7 0,-1 2-7 0,1-2-36 15,0 0-69-15,12 3-3 16,-4-2 13-16,-1 0 0 0,3-1-7 0,-2 4 19 0,2-2 12 0,-2 2-22 15,0-1 19-15,0 2-14 0,2-1-19 0,-3-1 9 16,3 1-2-16,-2 3-2 16,0-4-32-16,0 0-50 0,-1 2-34 0,1-1-23 0,0-2-53 15,0 1-109-15,-1 1-206 16,4-3-461-16,-4 1 59 0,1-2 130 0,-1 0 56 16,-7 0 142-16,11-2-1 0</inkml:trace>
  <inkml:trace contextRef="#ctx0" brushRef="#br0" timeOffset="165121.38">22617 11776 1016 0,'0'0'486'0,"2"11"-30"0,-4-4-26 15,2 2-75-15,-2 0-19 0,1 1-29 16,-1 2-49-16,-1 1 9 0,0 0-47 0,-1 0-44 16,1 1-25-16,-2-1-76 0,0 2-65 15,2-1-46-15,-2 1-117 0,0-3-188 16,1-1-568-16,-2 0 108 0,3 0 54 0,-2-2 66 15,0 0 72-15</inkml:trace>
  <inkml:trace contextRef="#ctx0" brushRef="#br0" timeOffset="165667.15">22465 11980 870 0,'3'-5'361'0,"3"4"-41"0,1-3-21 16,0 3-12-16,4-3-64 0,-3 1 25 16,7 1-54-16,-2-2-9 0,2 1-9 0,3-1-27 15,-5-1-11-15,5 3-54 0,-4-3-4 16,3-1-3-16,-2 1-13 0,-2 1 5 16,1 0-21-16,-2-2 24 0,-4 4-21 0,-1-3-12 15,3 3 76-15,-4-1 13 0,2 0-5 0,-4-2-39 16,1 3 29-16,-2-1-16 0,-1 2 13 15,-2 1-8-15,3-5-2 0,-3 5 0 16,0 0-8-16,0 0 8 0,0 0 0 0,0 0-23 0,0 0-13 16,0 0 10-16,0 0-13 0,0 0 6 15,-13 10-11-15,11-6-10 0,2 1 3 0,-2 0 0 16,2 1-11-16,0-1-7 0,0 1-8 16,2 0 25-16,0-2-32 0,1 2 20 15,0 0-85-15,-1-1-5 0,3 1 3 0,2-2 18 16,-1-1 2-16,-1 0 3 0,1-1 30 0,2 1-35 15,-4-1 5-15,4-2 2 16,-8 0-2-16,15-2 18 0,-8 2 2 0,1-3-12 0,-3 3 15 16,3-1 40-16,0 0-29 0,-3-1-4 0,2 2 14 15,-1-1-6-15,-6 1 10 16,10 1 16-16,-10-1-21 0,9 0-4 0,-5 2 9 16,-2 0-5-16,-2-2 3 0,3 6 8 0,0-4 5 0,-1 1-16 15,0 1-2-15,-2 0 10 16,0 0-46-16,0-4-8 0,-4 9-25 0,1-5-39 0,0 0-17 15,-1-1-52-15,2 0-41 0,-2 2-79 16,2-2-180-16,-1 1-477 0,1-1 57 16,2-3 150-16,-3 3 45 0,3-3 80 0,0 0 43 15</inkml:trace>
  <inkml:trace contextRef="#ctx0" brushRef="#br0" timeOffset="166166.88">23102 11851 1320 0,'3'-3'379'0,"-2"-1"54"0,-1 4-3 0,1-5-44 0,-1 5-48 15,0-5-15-15,2 1-11 0,-2 4-10 16,0 0-49-16,0-5-22 0,0 5-11 16,0 0-31-16,0 0 1 0,0 0-32 0,0 0-86 15,0 0 20-15,4 14-7 16,-4-9-3-16,0 5 10 0,-1-2-23 0,1 2-10 0,-3-1 5 16,1 2-13-16,2 2 0 0,-1 0-12 0,1-2-16 15,0 1-34-15,0-1-19 0,0-1-22 0,-1 3-22 16,1-2-44-16,-1-3-35 0,1 2-11 15,-2-3-33-15,-1 1-33 0,3-3-24 0,-1 0-12 16,-3 0-26-16,1-2-5 0,-2-2 34 16,5-1 19-16,-5 2 45 0,5-2 4 15,0 0 39-15,-7-6 51 0,4 2 85 0,0 0 30 16,3-1 49-16,0 5 20 0,0-8 11 0,4 3-3 16,-2 1 13-16,4-1-1 0,-2 0 6 0,4 0-18 15,-1 1-20 1,6-1 10-16,-1-1-13 0,1 2 15 0,3-3-25 0,4 3 12 0,5-3-30 0,0 1-23 15,0 1-31 1,5-1-33-16,-1 1-100 0,3 1-100 0,-3-1-263 0,2 2-306 16,1-1 117-16,-5-3 19 0,1 3 80 0</inkml:trace>
  <inkml:trace contextRef="#ctx0" brushRef="#br0" timeOffset="174331.15">10624 9172 1162 0,'0'0'355'0,"0"0"-27"15,0 0-8-15,0 0-26 0,0 0-27 0,0 0-11 16,0 0-75-16,0 0-12 15,0 0-20-15,0 0 7 0,0 0-8 0,0 0 3 16,0 0-28-16,0 0-13 0,0 0 16 0,0 0-27 16,0 0-9-16,0 0-5 0,-13 9 63 15,7-2-2-15,-2-2-26 0,1 2 21 16,-1 3-16-16,-2-1-17 0,0 3-82 0,0 0-21 0,-1 1 7 16,-2 2-17-16,0 2 21 0,-2 1 7 15,0-2 7-15,-1 1-12 0,3 1-25 0,-1-2 14 16,3-4 1-16,-2 0 0 0,6-2-11 15,-4 2-10-15,4-3-12 0,1-2-9 0,1-1-19 0,-2 0-16 16,1-2 7-16,1 2-33 0,0-1 1 16,2-2-16-16,-1 0-36 0,1-2-15 15,3-1-42-15,0 0-37 0,0 0-83 0,0 0-38 16,-5 0-478-16,5 0 58 0,0 0 95 16,0 0 120-16,0 0-5 0</inkml:trace>
  <inkml:trace contextRef="#ctx0" brushRef="#br0" timeOffset="174688.3">10418 9245 1018 0,'0'0'458'0,"0"0"-35"0,-7 11-32 16,3-6-104-16,0 3-8 0,-2 2-18 0,2 2-28 15,-2 2-18-15,1 0-31 0,0-1 3 16,2 2-31-16,-4 0-2 0,4-1-21 0,-2-3 3 16,3 2-34-16,1 0 1 0,1-2-14 0,0-3-7 15,3 2 8-15,2-2-24 0,-2-2-17 0,5 0 7 16,2 0-30-16,0-4-19 0,3 3-19 15,0-5-17 1,2 4-9-16,1-4-46 0,-1 0-26 0,3 0-44 0,0-1-79 0,0-2-125 16,-1 3-525-16,1 0 71 0,0 0 90 15,-2 0 49-15,2 0 100 0</inkml:trace>
  <inkml:trace contextRef="#ctx0" brushRef="#br0" timeOffset="178147.41">10031 12874 673 0,'0'0'315'0,"0"0"-3"16,-3-4-25-16,3 4-39 0,0 0-13 15,0 0-7-15,0 0-18 0,0 0 8 0,0 0-34 16,0 0-15-16,-4-3-28 0,4 3 17 16,-6-2-27-16,6 2-8 0,-12-2 17 0,4 0-116 15,0 0-12-15,-7 2 1 0,-4-3 18 16,-1 3-16-16,-3-2-2 0,-8 1 102 0,-2-1-35 16,-18-1-27-16,2-1-30 15,-3 2-15-15,-3 0-3 0,0 0-30 0,-4-1 4 0,3 0-15 0,0 0-41 16,2 1-30-16,3-1-67 15,2-2-80-15,3 2-76 0,10 2-491 0,2-2 109 16,1 2 26-16,0-1 74 0</inkml:trace>
  <inkml:trace contextRef="#ctx0" brushRef="#br0" timeOffset="180206.74">10536 12893 778 0,'-5'-3'286'0,"5"3"-35"0,-5-1-23 0,5 1-3 16,0 0-33-16,0 0-10 0,0 0-3 0,0 0-12 16,0 0-19-16,23 2 3 0,-8 0-20 15,3-1-3-15,3 2-24 0,7-1 14 16,5 3-26-16,11-1 1 0,4 3-19 0,4-1-69 16,2 2-3-16,10 0-4 0,3 2-11 15,-1-2 3-15,1 1 15 0,-13-3-5 0,-1 2 3 0,-1-1-6 16,-1-1 13-16,3 1-7 0,-2-2-6 15,-1-1 13-15,-3 1-2 16,-2 0-3-16,1-1-20 0,-4-1-13 16,-7-1 12-16,-8 2-25 0,-2-4-5 0,-3 0-46 0,2 2-46 15,-4-1-49-15,-1 0-18 0,-4 0-30 0,-1-1 4 16,-2 0-7-16,2 1-427 0,-4-1 12 0,1 0 116 16</inkml:trace>
  <inkml:trace contextRef="#ctx0" brushRef="#br0" timeOffset="180808.47">11775 12904 819 0,'0'0'258'0,"7"-2"-22"16,-7 2-11-16,0 0-2 0,0 0-44 0,15 5-10 16,-9-3 2-16,1 2-27 0,1 0-22 0,2 0 14 15,0-1-13-15,0 3-23 0,1-2-3 16,-1 1-15-16,3-2-8 0,-3 3-15 0,-2-3 10 16,0 1-10-16,0 1-23 0,2-1 12 15,-5 0 16-15,0 0 18 0,0 1-23 0,-2 0-2 16,-3 2 14-16,-3-2-22 0,0 3 15 15,-2 1-18-15,-7 3-28 0,-1-1-49 0,-3 1-56 16,1-1-64-16,-3-1-113 16,-3 5-575-16,-7 2 63 0,8-5 77 0,-1 1 72 0</inkml:trace>
  <inkml:trace contextRef="#ctx0" brushRef="#br0" timeOffset="182596.37">11918 12422 593 0,'-3'3'318'0,"3"-3"-6"0,0 0-30 0,0 0-6 16,0 0-28-16,0 5-15 0,0-5 5 15,0 0-30-15,0 0-75 0,0 0 8 0,0 0-34 16,0 0-5-16,0 0-7 0,0 0 5 0,0 0-8 15,0 0-7-15,0 0-14 0,-2-13-4 16,2 13 7-16,0-7-20 0,2 2 7 0,-1-1-2 16,1 0 3-16,1 0-22 0,1-2-4 0,-1 2-10 31,2-2 2-31,-2 2 5 0,2-3 6 0,2 4-11 0,-1-2-13 0,4 0-12 0,-5 2 7 16,3 0 28-16,0 2-17 0,2 0 2 0,-2 1 10 15,2 0-12-15,2 1 4 16,-1 0-9-16,1 1-16 0,2 0 25 0,1 1-14 15,1 0 73-15,-1 1-10 0,3 1-5 0,-3-1 6 16,6 1-19-16,-4 0-5 16,4-1-25-16,0 1 27 0,-4-1-14 0,1-2-14 0,-2 5-2 15,2-4 6-15,-3 1 9 0,1 0-5 16,-3-1-12-16,-1 1-8 0,1-1 30 0,-3-1-30 16,-2 2-5-16,2-1-3 0,-2 0 5 0,-3 0 10 15,2-1-15-15,-1 2-2 0,-6-2 25 16,10 1-23-16,-7 1 8 0,-3-2 2 15,8 0-4-15,-4 0 9 0,-4 0-20 0,3 4 0 0,-3-4 18 16,5 5-20-16,-3-3 7 16,-2 1 7-16,4 2-1 0,-7 0 9 0,6 1-15 15,-3 1-7-15,-3 1 9 0,3 2 1 0,-1-1 7 16,1 4-15-16,-2-1 0 0,0 2 16 16,-1 0-16-16,3 1-5 0,-5 3 2 0,3 0-71 15,-1 0 23 1,0 0-8-16,1 0-3 0,1-2 24 0,-1 2-21 0,0-2 8 0,-1-1 28 15,3-2-5-15,-3 3-3 0,1-2-2 0,2-2 35 16,-3 2-17-16,3-4 10 0,0-1 13 16,-2 2-29-1,1-2 11-15,1 0-6 0,0-1 4 0,0-1 1 0,0 0 14 0,-2-2 10 16,4 1-18-16,-4 1 2 0,2-1 16 0,0 0-18 0,0-1 5 16,0 1 15-16,0 0-12 0,0-1 9 15,0 0 12-15,0 1-14 0,-2 1 8 16,2-2-6-16,0 0-6 0,2-2-4 0,-2 0-2 15,0 3-2-15,0-6 7 0,0 7 5 0,0-5 5 16,0-2-25-16,0 5-10 0,0-5-19 16,2 3-12-16,-2-3-10 0,0 0-60 0,0 0-43 15,8-10-127-15,-5 7-114 0,4-4-419 32,-1-2 71-32,1-1 24 0,3-3 38 0,-2-1 112 0</inkml:trace>
  <inkml:trace contextRef="#ctx0" brushRef="#br0" timeOffset="182967.72">12436 12361 1080 0,'5'-3'350'0,"0"-2"-40"0,3 0-39 0,4-1-40 0,-1 0 7 16,5-2-15-16,1 1-106 15,4-2-12-15,0 1-8 0,1-2-25 0,1 2 8 0,1 2-40 16,-4-4-22-16,3 1-51 0,0 2-85 0,-3 0-148 16,-2 1-120-1,-2-1-290-15,2 2 36 0,-3-2 56 0</inkml:trace>
  <inkml:trace contextRef="#ctx0" brushRef="#br0" timeOffset="183264.79">12795 12061 668 0,'8'-2'286'0,"-3"0"-25"0,2 2 64 16,3 2-12-16,-2 0-37 0,0 1-5 0,-1 1-30 16,1 2-90-16,2-1-8 0,-2 3 6 15,0-1-6-15,-3 2-10 0,-2-1-10 0,-1 1-2 16,-1 1-4-16,-1 0-25 0,-1 3-5 0,-4-1-15 16,0 0 5-16,-2-2-13 0,-1 2-31 0,3-2-17 15,-3 0-9-15,0-1-32 0,3-1-32 16,-3-1-14-16,3-2-124 0,3-1-53 15,1-2-113-15,1-2-404 0,0 0 4 0,0 0 121 16,8 2 29-16</inkml:trace>
  <inkml:trace contextRef="#ctx0" brushRef="#br0" timeOffset="183877.79">13123 11962 1146 0,'-8'1'415'0,"-2"3"-105"0,-2 1-16 0,1 0-51 0,-2 0-7 16,3 3-26-16,-3 1-26 0,3-1-13 0,0 2-17 15,2 0 2-15,3 0-25 0,-1-2-14 0,4 2-12 16,2-4-20-16,0 1 4 0,2-1 11 16,1-1-28-16,4-3 0 0,1 1-8 0,0-3 15 15,0-1-7-15,3-1-8 0,1 0 10 16,-2-1 3-16,1-2-3 0,1-1 21 0,-2 1 7 15,1 0-10-15,-3 2-5 0,0 0 28 16,-1-1 64-16,-2 1-35 0,1 2 4 0,-6 1-15 16,7 1-7-16,-7-1-6 0,5 5-23 0,-3-3 13 15,1 2-28-15,-3 0-38 0,3 3-26 16,-3-2-23-16,0 2-31 0,2 1-15 0,-2 0-36 16,0 0 5-16,0-2-44 0,1 4-15 0,1-2 19 31,0-2-9-31,1 0 6 0,-1-1 2 0,1-2 33 0,3 0-7 0,-2-1 15 0,2-2 18 15,-2 0-10-15,-4 0 15 0,11-2 38 16,-3-1-2-16,-3 2 16 0,0-3 25 16,0 1 35-16,0 2 1 0,0-2 0 0,-2 1-16 15,-3 2 11-15,8 0 2 16,-8 0-2-16,0 0 4 0,12 4-17 0,-9-2-10 0,4 1-6 0,-1 1 11 16,-1-1-5-16,0 0-13 0,2 2 10 15,-1-2 10-15,2 0-23 0,-1-1 16 16,3-1 15-1,-4 1 10-15,2-4 8 0,-1 2 20 0,1-2-12 0,-1-1 25 0,-2 1 0 16,1-2 5-16,-1-1 0 0,-3-1-4 0,-1 1-65 16,-1-1 2-16,-1-1-19 0,-1-1-6 0,-3-1 10 0,-1 1-20 15,1-2 13-15,-2 2 2 16,2 0-18-16,-5 0-12 0,2 1-6 0,0-1-38 16,0 1-31-16,3 1 1 0,-3 1-44 0,1 1-44 15,4 0-59-15,1 0-43 0,-1-3-220 0,6 4-466 16,-1-1 107-16,3 0 44 0,6-1 125 15,4-2 65-15,5-2 91 0</inkml:trace>
  <inkml:trace contextRef="#ctx0" brushRef="#br0" timeOffset="184052.75">13646 11875 998 0,'8'0'430'0,"-8"0"-54"16,2 6-74-16,0-1-15 0,-2 1-21 0,0 1-15 15,1-1-23-15,-2 5-29 0,-1-1 62 0,2 2-28 16,-2-2-33-16,0 2-52 0,-2 0-27 15,0 1-57-15,-2 1-36 0,1-3-79 0,-3 3-236 32,0 0-570-32,-2-2 58 0,3 2 75 0,-3-4 61 0,2-1 92 0</inkml:trace>
  <inkml:trace contextRef="#ctx0" brushRef="#br0" timeOffset="184165.97">13510 11935 847 0,'-2'-6'210'0,"2"0"-95"16,2 2-107-16,1-1-119 0,-3 5-475 0</inkml:trace>
  <inkml:trace contextRef="#ctx0" brushRef="#br0" timeOffset="184338.96">13877 12038 980 0,'10'2'391'0,"-2"0"-40"0,-3 0 0 0,0-1-39 0,0 1-38 0,-5-2-18 0,5 2-3 15,-5-2-50-15,0 0-32 0,6 0-12 16,-6 0-13-16,0 0-72 0,0 0-43 16,0 0-54-16,2 3-29 0,-2-3-134 0,0 0-114 15,-8 8-560-15,3-4 146 0,0 1 71 0,-3 0 29 16,4 1 71-16</inkml:trace>
  <inkml:trace contextRef="#ctx0" brushRef="#br0" timeOffset="187963.66">8139 12792 703 0,'0'6'274'0,"0"-6"-18"0,0 0-5 16,0 0-18-16,0 0-5 16,0 0-16-16,0 0-25 0,0 0-3 0,0 0-17 0,0 0-8 15,10-12-108-15,-7 7 18 0,-1 0-5 16,1 0-5-16,-1-4-8 0,1 0-15 15,-1-3 25-15,1 1-15 0,0-3-7 0,-1 0 2 16,1-4-13-16,-1 2 8 0,1-3-3 16,-3-1 8-16,3 0 5 0,-3-2-10 0,0 0-13 15,0-1 10-15,0-4-10 0,0 0 10 16,0 1 16-16,0 4-11 0,0 1-2 0,0-1-5 0,0 3 15 16,0 2-13-16,0 3 16 15,0-2-18-15,0 4 81 0,2-1-2 0,0 1-30 16,-1 2-19-16,1 1 6 0,1 1-1 15,1 1 8-15,2-1-38 0,-3 2 0 0,4-2 5 16,1 4 0-16,-3-1-15 0,3 0 2 16,2 3-8-16,0-2 19 0,3 1-27 0,0-1-65 0,2 2 9 15,1-2-7-15,1 2 5 0,1-1 0 16,0 2 0-16,-2 0 28 0,1-2-8 0,2 2 11 16,-3-2 0-16,4 0-6 0,-5 1-10 15,1-3 13-15,-2 5-10 16,-3-1 26-16,-1 0-24 0,0-1 13 0,0 1 1 0,-4 1 9 0,2-1 11 15,-8 1-8-15,12 0 7 16,-12 0 21-16,8-1-10 0,-8 1-2 0,11-1 9 0,-11 1-4 16,4 0 2-16,-4 0 5 0,0 0-15 0,8-1 7 15,-8 1 3-15,0 0 18 0,0 0-20 16,6 3-8-16,-6-3-3 0,2 3-10 16,-2-3 20-16,0 3 3 0,0-3-18 0,0 7 11 15,0-3-1-15,0 1-7 0,0-2 5 16,0 4-8-16,0 0-5 15,-2 0 28-15,2 1-18 0,0 0-10 0,-4 1-2 0,4 1 7 0,-2-2 0 16,0 1-3-16,2-2-4 0,-3 2 4 16,3-4-27-16,0 1-16 0,0-1 0 0,-3 1-28 15,3-1-11-15,0-5-48 16,-2 5-61-16,2-5-126 0,0 0-71 0,0 0-400 0,0 0 10 16,0 0 95-16,0 0 52 15,0 0 32-15</inkml:trace>
  <inkml:trace contextRef="#ctx0" brushRef="#br0" timeOffset="188952.1">7846 12024 918 0,'-2'-3'372'0,"0"0"-37"0,2 3-23 0,0-7-25 16,2 3-47-16,0 1 4 16,4 0-27-16,-1 1-12 0,0 0-10 0,3 1-29 0,-8 1 0 15,13 0-17-15,-6 2-16 0,0 1-3 16,-1 0 9-16,-1 0-17 0,0 2-11 15,-2 1-19-15,-1-1-8 0,-2 1 1 0,0 1-101 16,0-1-4-16,-2 2 4 0,-1-1 22 0,1 0 1 0,-1 1-14 16,0-2 12-16,1-1-3 0,0 2-9 15,2-3 4-15,0 2-5 0,0-1 13 16,0 0-5-16,2-2-7 0,-2 3 22 0,2-1-12 16,1-1-3-16,2 0-13 15,-4 1 15-15,1-1 1 0,3 1-6 0,-5-2 3 0,3 2 13 16,-3-1 15-16,2-1-25 0,-2 2-13 0,0-2 10 15,0-3 2-15,-2 8-30 16,2-4-15 0,-3-1-11-16,-2 0-28 0,2 0-5 0,3-3-36 0,-8 2-48 0,8-2-96 0,-7 3-37 0,7-3-11 15,0 0-31 1,0 0-232-16,-5-9-129 0,7 4 50 0,0-2 81 0</inkml:trace>
  <inkml:trace contextRef="#ctx0" brushRef="#br0" timeOffset="189214.34">7987 12023 857 0,'0'0'266'0,"-7"13"3"0,7-11-46 16,0 5-88-16,0-2-53 0,0 2 36 15,3 0-21-15,-1 1-7 0,1-2-1 0,2 0-27 16,3 1-8-16,-1-4 17 0,1 3-17 0,0-2 18 16,-1-2-1-16,1 1 1 0,0-2-3 0,-1 0 21 15,1-2 84-15,0 1 0 0,-3-4-3 16,-5 4 3-16,8-2-5 0,-6-1-25 15,0 0-1-15,-2-1-15 0,0 4 5 0,-2-7-25 16,0 4-14-16,-1 0 24 0,-4 0-39 16,1-1-9-16,-2-1-9 0,1 4-2 0,-1-3-26 31,0 2-56-31,3-1-10 0,-2-1-34 0,-1 2-53 0,5-2-80 0,-2 0-74 0,2-3-104 16,4 3-516-16,1-2 131 0,1-3 31 0,2 0 72 15,0-2 84-15</inkml:trace>
  <inkml:trace contextRef="#ctx0" brushRef="#br0" timeOffset="189365.75">8185 11839 1082 0,'0'0'282'15,"5"9"-8"-15,-5-4-18 0,3 0-13 0,-6 3-23 0,3 0-25 16,0 2-19-16,-2 0-9 0,1 1 60 16,1 2-30-16,-4-1-10 0,1 2-77 0,0-2-51 15,1 4-72-15,-1-2-122 0,-5-1-198 0,6 1-494 16,-1-1 82-16,1-4 111 0,0-2 47 15</inkml:trace>
  <inkml:trace contextRef="#ctx0" brushRef="#br0" timeOffset="189602.56">8154 11849 527 0,'3'-1'161'0,"-3"1"0"15,0 0-28-15,13 1-58 0,-10 3-19 0,1-1-10 16,2 0-10-16,-2 0-3 0,2 3 18 16,-2-3 26-16,4 1 5 0,-2 2 15 0,-1-2 11 15,0-1 15-15,0 1-23 0,0 1 22 0,0-2-22 16,-2 0-10-16,2 1 5 0,-3-2-29 16,4 0-15-16,-4 1-10 0,1-2-66 0,2 2-83 15,-5-3-102-15,8 0-504 0,-8 0 54 16,7 0 71-16</inkml:trace>
  <inkml:trace contextRef="#ctx0" brushRef="#br0" timeOffset="190719.09">8070 11903 527 0,'0'0'74'0,"0"0"-64"0,0 0-25 16,5 8-131-16</inkml:trace>
  <inkml:trace contextRef="#ctx0" brushRef="#br0" timeOffset="204885.05">10283 11138 268 0,'0'9'85'0,"-1"-2"-72"0,-1 1 12 0,2 1-22 16,-3 1-11-16,3 0-12 0,-2-1-1 15,1 2 11-15,-1 0 0 0,2 1-65 0,-3-2 63 0,3 0-11 16,0-2 46-16,-2 3 0 16,2-3-26-16,0 2 36 0,0-2 18 0,0 0 3 0,0 0 8 15,2 0-1-15,-2 0 29 0,0-2 48 0,0 0 3 16,0 2-16-16,0 1 6 15,0-2-29-15,0 0 11 0,-2 1-19 0,4-2 9 0,-4 3-21 16,2-2-13-16,0-1-15 0,0 2-1 16,-2 0-22-16,2 2-10 31,-1-2 12-31,1 3-41 0,-2-4 0 0,2 4-4 0,0-1-11 0,-3 0-8 0,1 0-2 0,2 0-39 0,0 1 13 16,-1-3 5-16,1 3 29 0,0-1-42 15,1-1 1-15,-2 0 7 0,1 0-23 0,1-1-10 16,-2 1-6-16,2-3-1 0,-2 1-35 15,2 1-377-15</inkml:trace>
  <inkml:trace contextRef="#ctx0" brushRef="#br0" timeOffset="207515.83">19456 2852 1046 0,'0'0'397'0,"0"0"-97"0,0 0-3 0,0 0-16 0,2 24 8 16,1 3-20-16,-6 21-10 0,1 20 94 16,-3 18-118-1,-3 31-17-15,-5 11-6 0,0 12-40 0,-5 10-16 0,-5 5 0 0,-5 3-23 16,-13 45 3-16,6-52-3 0,0 4-46 0,-13 46-2 15,12-52 4-15,-2 1-40 0,-3-4 58 16,4-4-15-16,-1-9-38 16,5-4 8-16,2-10-21 0,3-8-18 0,5-10-8 0,0-7-12 0,7-25-16 15,1-5-13-15,5-2-12 0,-3-10 10 16,8-10-42-16,-3-4 4 0,3-10-19 16,2-7-27-16,-1-6-8 0,1-4-3 0,3-4-31 0,0-2-35 15,0-5-26-15,0 0-54 16,0 0 8-16,8-19-126 0,-6 6 29 0,1-1-236 15,2-4-138-15,2-6 36 0,-1 2 89 0,-1-1 47 16</inkml:trace>
  <inkml:trace contextRef="#ctx0" brushRef="#br0" timeOffset="208084.41">18399 5491 1284 0,'-10'-3'395'0,"3"3"-104"0,-1 0-29 16,8 0-1-16,-8 0-41 0,8 0-28 16,0 0 5-16,0 0-13 0,0 0-15 0,0 0-13 15,33 3 0-15,-9-5-17 0,7 2-4 16,14-1-20-16,10-1-10 0,16-1-5 0,6-3 51 16,10 1 18-16,10-2-15 0,4 1-3 31,29-3-16-31,7-1 1 0,5 3-3 0,2 0-12 0,5 0 6 0,8 1-14 0,2 1-8 0,2-1 13 15,0 4-29-15,1 1-7 0,4 2-23 16,4 1 15-16,-3 4 8 0,5-1-107 16,4 3 17-16,-7-2-15 0,2 5 13 0,2 1 7 0,-3 0-15 15,-5 1 18-15,0-1-7 0,-3 1-4 16,-4-1 34-16,-6 1-33 0,-3-1 5 16,-6-2-5-16,-7 2 10 0,-5 0 2 0,-8-1-12 15,-28-3 0-15,-5 2 10 0,-4-2-5 0,-1 2-36 16,-8-2 15-16,-1-1-7 0,-8 3 2 0,-13-4-25 15,-3-3-11-15,-8 3 1 0,-8-2-26 16,-9-1-11-16,-6 1-4 0,-3-4 66 0,-5 0-18 16,-3 0-5-16,1-1-26 0,-6-2-94 0,-3 3-34 15,2-4-76-15,-4 4-62 0,-6-9-529 16,1 4 32 0,-8-1 170-16,0-2-3 0,-9-1 92 0,-11-7 67 0</inkml:trace>
  <inkml:trace contextRef="#ctx0" brushRef="#br0" timeOffset="210842.28">19240 5119 1185 0,'0'0'361'0,"0"0"-26"0,0 0-13 15,0 0-20-15,0 0-94 0,0 0-26 16,0 0-21-16,0 0-20 0,0 0 10 15,22 0-23-15,-18 2-8 0,4-1 5 0,0 1-17 0,-1-1-11 16,3-1 3-16,3 0-16 0,-2 0-9 16,4-3-4-16,1 0 62 0,4 0 6 15,0-1-27-15,6-2-2 0,0 0-7 16,2-2-14-16,-3 0-12 0,14-1 8 0,-3-1-29 0,-1-3-15 0,-6 7 38 16,-1-2-23-16,-2 1-20 15,-3 0-8-15,2-2 11 0,-1 0-16 0,0 0 0 16,-3 2 3-16,0-1 2 0,-3-2-5 0,0 2 2 15,0 2-17-15,-3-2 30 0,1-1-17 16,-1 0-11-16,0-1 23 0,3-3-30 0,-5 4 10 16,7-3 20-16,-7 0-5 0,3-1-10 0,2 0 15 15,1 0-17-15,-2 0-6 0,1-2-5 32,0 1-13-32,-3 2 21 0,3 0 0 0,-4-1 5 0,0 1-13 0,2-1 5 0,-1-1 0 15,1 0 8-15,-1-1-12 0,2 1 1 16,-1-3 16-16,1 2-10 0,0-1 0 0,5-5 10 0,-1 2-10 15,-3 3-21-15,5-6 39 0,2-1-21 16,-6 6-18-16,-1 1 24 16,2-7-1-16,3 2-33 0,-3 2 10 0,-4 2-2 0,-3 0 13 15,2 2-1-15,-2-1 11 0,2 0-5 0,-2-1-13 16,2 2 0-16,-2-3 22 0,-2 1-14 0,2-2 7 16,0 2-23-1,-6 4 11-15,6-5 12 0,-3 0-10 0,1 1 0 0,-1-2 3 16,0 1 7-16,3-1 3 0,-3 0-11 0,3 0-9 0,-3 1 9 15,3 0 8-15,-1 1-4 16,-1-2 9-16,2 4-23 0,-3-4 24 16,0 2-14-16,1 3 6 0,-4-1 5 0,3 1-3 0,0-1 18 15,1-2-25-15,-1-1-3 0,0 3-16 0,3-3 34 16,-5 2-15-16,0 0 15 0,2 0-3 16,-2 2-2-16,0 0-13 15,2-3 25-15,-2 1-22 0,-1 0 10 0,3-2-3 0,-2 4 8 0,0-3-5 16,-1 0 10-16,-2 2-11 15,5-1 14-15,-4 0-5 0,2 0-16 0,-1 1-5 0,-1 0-11 16,1 0 32-16,0-2-16 0,-1 3 3 16,2 0-3-16,-1-3 5 0,1 3-7 0,0-1 2 15,0 0 20-15,-1 2-17 0,1 0 23 16,1-3-21-16,-2 3-20 0,0 0 25 0,0-1-10 16,1 0-15-16,2 2 10 0,-2-1 33 0,0-2-20 15,2 2-36-15,-1 0 28 0,-3-1 3 16,2 2 2-16,2-2 3 0,-1 2-18 15,0-1-13-15,1 1 0 0,-1 0 20 0,1-1-2 0,0 0 6 16,-3 1-6-16,4 1 2 16,-1-2 13-16,-1 1-17 0,-1 0 2 0,1 1 0 0,-1 2 2 15,-1-1-2-15,-2 0 0 0,3 1 8 16,-3-1-16-16,3 2 16 0,-1 0 8 0,1 0-9 16,-3-1 1-16,1 2 0 0,-2 1 12 0,2-3-12 15,1 2-11-15,-2-1 21 0,1 1-15 31,-1 1-3-31,0-1 25 0,0 1-35 0,1 0 2 0,-2-1 39 0,6 0-31 0,-4 2 8 16,1-2-6-16,1 1 1 0,0 0 5 0,0 3-3 16,-1-1 0-16,-2-1 31 0,3 2-34 15,0-1 24 1,-1 1-24-16,1-1-2 0,2 2 3 0,-2-1 2 0,0 1 31 0,-1 1-29 0,1-2 9 16,2 0 4-16,-2 2-12 0,0-2 2 0,2 2 16 15,-2 0-13 1,-1 0-13-16,1 1 10 0,0 0-8 0,0 0 4 0,-1 0 29 0,3-3-19 15,-2 3-1-15,2 0 11 16,0 3-8-16,2-3-23 0,-3 1 20 0,1 1 5 0,0-1 1 16,-2 1-6-16,4-1 1 0,-3 2 4 0,1 0-5 15,2-1-17-15,-1 2-3 16,2-2 15-16,-3 2 0 0,1 0 6 16,1 1 4-16,0 1 0 0,-3-1-4 0,3 0-6 0,-2 2 5 15,1 0-15-15,-1-1 31 0,0 1-26 16,-2 1 3-16,2-2-11 0,-2 1 16 0,2 2-13 0,0-1 21 15,0-2-11-15,-1 2-10 0,-1 1 15 16,0-2-17-16,-2 1 4 0,4 1-4 16,-4-1-3-16,2 0 23 0,-1 1-85 0,1 0 11 15,0 1-6-15,2 0 24 0,-2 1-26 0,3 1 31 16,-5-3-11-16,5 2 11 0,-4 0 23 0,3 0-11 16,-1 2 3-16,-1-4-2 0,2 4-6 15,0-2 18-15,0 2-2 0,-2-3-13 0,3 3 23 16,-1-4-28-16,-1 4 20 0,-1-2 8 15,0 2 13-15,2-2-18 0,-2 0-3 0,2 2-2 16,-2-3 15-16,0 2 0 0,-1-1 18 0,1 2-28 16,-1-2 21-16,1 2-1 0,0 0-15 15,-1 0 5-15,1-1 5 0,0 1 6 0,-3 0-11 16,3-2-5-16,-2 2 15 0,2-1-5 0,-2-1 3 16,2 1-3-16,0 0-12 0,-1-2 7 31,1 3-18-31,-2-2 18 0,2 0 0 0,0-1 3 0,-4 1 13 0,1-1-14 0,3 2 6 0,-3-3-10 15,2 1-11-15,-1 0-2 0,1 1 25 16,-2 0 5-16,1 1-7 0,0-3 8 16,-2 3-11-16,1-1 0 0,1 1 11 0,0-2-8 15,0 1 2-15,2 2-18 16,-2-1 24-16,0 0-39 0,-1 0 36 0,0 0-3 0,1 2 11 16,1-4 2-16,-1 3-20 0,1-3-8 0,-2 2 10 15,3 3-18-15,-3-3 31 0,2 2-20 16,1-1 20-16,-3 0-13 0,3 1-25 0,-2-1 4 0,1 2 6 15,-2-3 8-15,3 2-13 0,-3 0-1 16,3 1 27-16,-2-2-9 0,-2 1 6 0,4-1-10 16,-3-2 10-1,2 2-13 1,-1 0 5-16,-1-1 15 0,3 0-10 0,-1 1 1 0,-2-1-9 0,1-3 3 0,1 3-7 16,0-1 4-16,2 1 85 0,-2-2-7 0,-2 0-4 0,3 2-9 15,-3-1-6-15,3-1-20 0,-1 2 29 0,-1-2-30 16,1 2-9-16,-1-3 15 0,2 7-102 15,0-6 20-15,0 3-2 0,0-2-1 16,-2 2 19-16,2 0-6 0,-1-1-10 0,1 2 21 0,2 0 23 16,-2-1-21-16,0-1 0 0,2 1-5 0,-3-1 23 15,5 1-28-15,-3 0 21 16,-1 0 7-16,2 0-28 0,0-1 2 0,-2 1 29 16,2 0-8-16,-2-1 8 0,0 0-3 0,3 0-5 15,-1 0 2-15,-1 0-4 0,2-1 10 0,-4-1 7 16,4 1-2-16,1 1-34 0,-4 0 14 15,3-4 19 1,-1 5-27-16,0-2 35 0,0-1-2 0,-1-1-5 0,0 0-21 0,-2 1 29 0,3 1 7 16,-1-1 3-16,1 0-23 0,-2-2 4 15,2 3-9-15,-2 0-3 0,2-4 25 16,-3 2-12-16,1 1-13 0,0-2 21 0,0 3 7 16,2-3 8-16,-2 3-31 0,-1-3 5 0,6 2 23 0,-4-1 11 15,0 1-6-15,1 2-10 0,4-4-12 16,-4 3 4-16,4-3-27 0,-3 3 22 0,4-2 13 15,-2 1-30-15,3 1 19 0,-1-2 7 16,5 2-24-16,0 1 0 0,-3-3 0 0,3 1 0 16,0 3 0-16,1-4 0 0,1 3 0 15,-3-2 0-15,4 2 0 0,-3-3 0 0,1 2 0 16,-3 1 0-16,2-1 0 16,0-2 0-16,-2 2 0 0,-1 0 0 0,0-4 0 0,-1 5 0 0,2-3 0 15,-3 1 0-15,3-1 0 0,-2 1 0 16,1-3 0-16,1 6 0 0,0-5 0 0,3 1 0 15,-3-2 0-15,0 1 0 0,0-2 0 0,-1 1 0 16,1-1 0-16,-2-1 0 0,-1-2 0 16,1 0-31-16,-2-1-169 0,-3-2-25 15,3 0-75-15,-4 0-53 0,0 0-95 0,0 0-212 16,-3-2-410-16,1 2 66 0,-3-3 139 0,-5 3 59 16,7-2 94-16,-7 2 62 0,0 0 49 0</inkml:trace>
  <inkml:trace contextRef="#ctx0" brushRef="#br0" timeOffset="212283.14">23232 5583 762 0,'-5'17'330'0,"1"2"-48"15,-2-5-52-15,1 0-66 0,2 1-92 0,0-2-105 16,-1 2-72-16,0 0-553 0,0-1 90 15</inkml:trace>
  <inkml:trace contextRef="#ctx0" brushRef="#br0" timeOffset="212784.68">23090 5910 1098 0,'0'0'417'0,"0"0"-18"16,0 0-51-16,-16 12 44 0,15-5-47 16,-4 2-40-16,1 2-13 0,-2 4-108 0,1 2-23 15,-1-1-25-15,-1 6-28 0,4-3-32 16,-1-1-17-16,2 1-5 0,1-5-46 15,1 2-8-15,1-2 2 0,0-1-17 0,0 0 2 0,5-3 11 16,-2-2 14-16,0-2-9 0,-1 0 22 16,0-1 4-16,1-2 6 0,-3-2 14 15,-1-1 18-15,7 0-8 0,-7 0 12 0,0 0 3 16,0 0-15-16,0-9-2 0,0 9 1 0,-4-7-4 16,1 2-10-16,0 0-19 0,-2 2 32 15,0-1-55-15,0 0-20 0,-2 2-20 0,1-3-24 16,1 4-48-16,-2 0-41 0,7 1-84 0,-13 0-121 15,5 1-519-15,8-1 20 0,-13 1 123 16,8 1 71-16,5-2 57 0</inkml:trace>
  <inkml:trace contextRef="#ctx0" brushRef="#br0" timeOffset="213376.84">23261 5944 1213 0,'-3'-3'397'0,"3"3"-31"0,0 0-34 15,0 0-22-15,-8 11 56 0,8-1-54 0,-2-2-17 16,-1 3 4-16,3 1-50 0,-2 3-29 15,-1 0-3-15,2 2-30 0,-1 2-36 0,2-1-8 16,-2 4-20-16,2-2-36 0,-2-1-10 0,2-3-33 16,0-1-3-16,0 2 0 0,-2-2-21 15,-2-2-7-15,4-1 2 0,-3 1-28 0,-2-2 8 16,1-4 0-16,-2 0-8 0,1 0 3 16,-1-2 0-16,-2-1 7 0,-1-3 1 0,2 0-3 0,-1-1 2 15,3 0 31-15,5 0-18 0,-13-4-7 16,8 2 12-16,2 0-9 0,3-3 1 15,-3 1 6-15,5 0-5 0,-2 0-16 0,1-3 5 16,6 1-12-16,-4-1 0 0,5-4-11 16,2 3-23-16,0-4-9 0,3 1 17 0,2-3 18 15,-2-4-16-15,5 2 9 16,-2 0 6-16,2 0-1 0,-5 1 12 0,2 2 11 0,0 2-4 0,-4 0 45 16,-1 3-14-16,0 3 24 15,-5 3-8-15,3 1 33 0,-2-2-10 0,-6 3 21 0,4 9-26 16,-4-2-1-16,0 1 14 0,0 1-28 15,-4 3 4-15,-2 3-2 0,-2-1 3 0,-2 5-18 16,0-2-8-16,-1 1-18 0,-1 0-3 0,4-4-17 16,-1 0-13-16,0-3 0 0,2-1 15 15,5-2-18-15,1-2-25 0,2-4-21 16,-1-2-20-16,9 1-39 0,2-2-64 16,-1-4-145-16,5-3-116 0,3 2-458 0,0-1 46 0,3-4 162 15,3 3 40-15,-7-3 52 0,3-1 107 16</inkml:trace>
  <inkml:trace contextRef="#ctx0" brushRef="#br0" timeOffset="213910.73">20330 5375 1364 0,'0'6'384'16,"0"3"-44"-16,0 3-12 0,0 0-41 15,0 4-19-15,0-2-30 0,-3 0-53 0,-1 4-29 16,3 0-49-16,-4 0-53 0,0 0-72 0,0-3-66 15,0 3-126-15,-1-4-128 0,2 2-476 16,1-3 95-16,-4-1 38 31,4-2 82-31</inkml:trace>
  <inkml:trace contextRef="#ctx0" brushRef="#br0" timeOffset="-214647.02">20043 5808 1011 0,'3'4'458'0,"-1"-1"-36"0,1 1-7 0,-1 2-57 16,-2-1-46-16,-2 2-40 0,2 1-16 0,-3-1-31 16,1 3-10-16,1-3-23 0,-1 4-8 15,2-3-20-15,0 0-90 0,3 2-12 0,-1-2-11 16,3 2-5-16,-2-3-8 0,2 1 26 16,-2-1-10-16,1 2 18 0,-1-3 15 0,0 2 89 15,-1-1 6-15,-2-1-5 16,0 1-8-16,-2-1-3 0,2 1-12 0,-3 0-16 0,-2 0-2 0,1 0-24 15,-4 1-9-15,0-2-9 0,0 0-35 16,0 0-15 0,-2 0-47-16,-1-2-30 0,1 1-41 0,0 1-52 0,0-2-45 0,2-2-39 0,3 1-182 15,0-2-207-15,0-1-379 0,5 0 52 16,0 0 96-16,0 0 109 0,0 0 47 16,7-13 88-16</inkml:trace>
  <inkml:trace contextRef="#ctx0" brushRef="#br0" timeOffset="-214308.31">20261 5783 1528 0,'3'-2'430'0,"-3"2"-44"0,0 0-22 0,0 0-44 0,0 0-26 0,0 0-18 0,-11 10 1 0,6-1 20 16,0 0-31-16,0 2-36 0,2 2 1 15,-2 3-34-15,-2 3-28 0,1 0-5 16,1 7-13-16,0-3-26 0,0 2-10 0,2 2 3 15,0-2-23-15,-1 2-16 0,1 0-20 0,3-6-5 16,-3 0-36-16,1 0-3 0,2-1-25 16,-5-1-21-16,2-2 8 0,-2-1-13 15,0 0-5 1,1-3-10-16,-2 0 28 0,1-4 2 0,-3 0-30 0,0-2 36 0,3 0 25 0,-3-5-12 0,1 1-6 16,1-3 16-16,6 0-8 15,-10-3-6-15,8 1 17 0,2 2 7 0,-3-7-21 16,3 3 18-16,0 4-7 0,2-8 0 0,1 3 5 15,2-1-24-15,0-1-30 16,1-1-35-16,2-1-50 0,4 0-38 0,-1-2-87 0,1 2-163 16,1-1-561-16,0 1 68 0,2-1 111 0,1 1 72 15,-1 1 76-15,1 3 90 0</inkml:trace>
  <inkml:trace contextRef="#ctx0" brushRef="#br0" timeOffset="-214217">20384 6149 796 0,'4'5'322'0,"-3"2"-33"16,-1 0-15-16,0-1-31 15,3 0-25-15,-3 0-44 0,0 2-31 0,-3-1-48 16,3-1-113 0,0 0-166-16,0 1-512 0,0-1 15 0,-1-1 59 0</inkml:trace>
  <inkml:trace contextRef="#ctx0" brushRef="#br0" timeOffset="-213228.26">19454 5114 1041 0,'2'-1'354'0,"-2"1"78"0,0 0-35 0,0 0-41 16,0 0-8-16,12 8-41 0,-8 1-54 0,-4-1 19 15,4 4-55 1,-2 6-17-16,-1 0-3 0,-1 1-18 0,0 1-94 0,0 0-24 0,0 4-25 16,-1-3-36-16,-1 1-10 0,0 2 12 15,0-3-38-15,1-3-30 0,-2-1-31 16,1-3-26-16,2-1-39 0,-2 0-53 0,2-2-79 15,0-5-57-15,0 1-463 16,0-1 57-16,0-4 86 0,0-2 36 0</inkml:trace>
  <inkml:trace contextRef="#ctx0" brushRef="#br0" timeOffset="-212884.89">19509 5084 947 0,'6'-3'304'0,"2"-3"-12"16,2 5-31-16,0-3 0 0,3 2-30 15,-1-1-29-15,4 3 13 0,-1 0-44 0,3 0-12 0,-2 0-26 16,-1 4-2-16,1-2-9 0,-2 2-14 16,0 1-1-16,-1 3 4 0,-1-1-12 15,0 6-14-15,-4-2 10 0,-2 2-19 0,-1 0 6 16,1 4-8-16,-4-2-15 0,0 4 8 0,-2 0-3 15,0-1 69-15,-2 2-20 16,1-1-14-16,0 0 4 0,-2 0-24 0,0-1-61 0,1 3-15 16,-1-1 17-16,0-1-17 0,1-4-1 0,1 1 1 15,-1-2-29-15,0-1-17 0,-1-1-16 16,2-3-56-16,-1-1-57 0,0-2-68 0,4 0-160 16,0-4-452-16,-1 2 40 0,-1-4 106 0,0 0 10 15,0 0 92-15</inkml:trace>
  <inkml:trace contextRef="#ctx0" brushRef="#br0" timeOffset="-212266.36">19766 5014 1108 0,'0'0'338'0,"0"0"-16"15,0 0-50-15,0 0 9 0,0 0 1 16,13-1-106-16,-4 1-7 0,-1-1-23 0,1 1-18 0,3-3 15 16,4 2-35-16,-1 0 7 15,1 0-10-15,2-2-20 0,2 0-3 0,1-1-18 16,-1 4 28-16,-2-2 54 0,3-1-47 0,-4-1 14 15,4 1 0-15,-6 1-29 0,3-1-12 0,-3 1-57 16,-1 0-28-16,0 1 13 0,-1-2 16 16,0 1-21-16,-2 2 12 0,-1 0 19 0,-2-2-18 15,2 1 7-15,-3 1 16 32,1 1-11-32,-2 1 6 0,1-2-6 0,0 2 19 0,-1 2-14 0,-1 0 6 0,0 3 0 0,0 1 7 15,1 1 5-15,-2 2-7 0,4 3-8 0,-3 2 1 0,0 1-6 16,-2 3 7-16,2 0 19 0,-2 4-23 15,2 1 2-15,-3 0 8 16,-1-1-29-16,-1 2 4 0,0-1 4 0,0-3-7 16,0 1-19-16,-1 1 6 0,-1-4-20 0,-1 3-14 0,1-3-15 15,1 0-22-15,-3-1-22 0,1-6-9 16,1 3-42-16,1-3-40 0,-1-2-90 0,-3-1-113 16,4 0-278-16,-1-3-154 0,0 0 104 0,-1-2 34 15,3 1 92-15</inkml:trace>
  <inkml:trace contextRef="#ctx0" brushRef="#br0" timeOffset="-210341.04">23178 5555 944 0,'0'0'410'0,"0"0"-39"0,0 0-23 16,-2-13 3-16,2 9-57 0,0-3 3 15,2 1-11-15,-2-3-99 0,0 1-20 0,0-1-6 16,0-2-7-16,0-3-3 0,3-2-26 0,-3-2-2 16,0-3-13-16,3 1 5 0,-1-8-23 15,3 1-15 1,0-10-3-16,1-1 3 0,-1 3-23 0,0 7 0 0,0 3 2 0,0 1-10 16,-2 4-10-16,3 2 10 0,-2 0-13 15,0 2 18-15,0 0-25 0,-2 4-16 0,1-1 13 16,2 3-7-16,-1 1 4 0,0-2 6 0,0 3 4 15,-1 2-22-15,5 0 7 0,-3 0 65 16,6 1-16-16,-4 4 33 0,6-4-33 0,0 3-10 16,2 1 0-16,0-2-3 0,3 1-31 15,-1 2 13-15,0 0 24 0,1 0-47 0,0 0 16 16,3 2-21-16,-7-2 10 0,2 1 16 0,-1 2-6 16,-1-1-14-1,-2 0 14-15,0 1-27 0,-2 2-3 0,-1-2 30 0,-1 2-12 0,-1 1-16 16,-2 1 34-16,1 3-18 0,0 0-21 0,-5 1 52 15,2 2-37-15,-1 1-4 0,-2 2 7 16,-2 3-12-16,-1 1-9 0,3 2 27 0,-5 2-14 16,2 1-2-16,-7 8-2 0,3-6-8 15,1-3-16-15,1 1 21 0,-1-1-23 0,-1-2 23 16,2-1-24-16,3-1 17 0,-1-2-1 0,-2 0 0 16,2-2-7-16,2-1-39 0,-3-1-18 15,4 0 13-15,0-1-26 0,-2-1-7 0,1-1 7 16,0-3-43-16,0 3-25 0,-2-5-75 0,3 2-54 15,0 1-66-15,-2-2-111 0,0-1-434 16,4 0 110-16,-4-3 89 0,2 1 46 0,0-4 62 16</inkml:trace>
  <inkml:trace contextRef="#ctx0" brushRef="#br0" timeOffset="-209605.68">23568 5296 752 0,'-2'-3'282'0,"2"3"9"0,0 0-32 0,0 0-24 15,0 0-30-15,6-6 15 0,-6 6-33 16,9-1-26-16,0 1 8 0,0-2-28 0,1 1-8 16,4 1-25-16,0-1 4 0,2 1-2 0,2 0-25 15,-1-1-8-15,2 0-6 0,1-2-12 16,-2 3-5-16,1 0 13 0,0-2-6 0,-3 2-30 16,2-3 5-16,0 3 15 0,-3-1-13 15,1-1-20-15,0 2 13 0,0 0 5 0,-5 0 12 16,3-1 1-16,-4 2-31 0,0-2 25 15,2 2 55-15,-3-1 24 0,-1 2-9 0,-2 2-18 16,2 1-3-16,-2 1 10 0,0-1-25 16,-2 4-3-16,1 1-5 0,-3 0-12 0,3 4 30 0,-2-2-105 15,-1 1 3-15,1 3 15 16,-1 1-8-16,-1 2 0 16,-1 0 13-16,2 0-5 0,1-1-2 0,-3 2-16 0,1 0-5 0,-5-2-16 15,4 2-50-15,-2-1-29 16,1 0-41-16,0 0-61 0,0-1-89 0,-2-1-86 0,3-2-478 15,-2 1 90-15,1-3 59 0,1 0 86 0,-2 1 37 16</inkml:trace>
  <inkml:trace contextRef="#ctx0" brushRef="#br0" timeOffset="-207888.5">20299 5145 949 0,'0'0'315'0,"6"-5"-5"15,-6 5-29-15,2-7-20 0,-2 5-5 0,2-4-12 16,1 0-106-16,-3 1 18 16,1-3-28-1,-1 1 2-15,2-3-7 0,-2-1-20 0,2-2 14 0,-2-2 52 0,0-1-25 0,3-3 9 16,-1-2-25-16,1-4-5 0,2-3 0 16,0-7-26-16,3-3-12 0,2 1-6 0,-2-1-7 15,2 2-13-15,3 4-8 0,-3 4-3 0,-2 7-1 31,-1 4-19-31,-1 2 2 0,2-2 22 0,2 3-14 16,-3 1-18-16,4 1 21 0,1 1-30 0,-1 0 7 0,-1 3 5 0,2 0-26 0,-1 2 13 16,-1-1-5-16,3 2-12 0,-3 0-1 15,3 3 23-15,-2 1-2 0,-1-1-8 0,0 1 6 16,2 1-11-16,-1 0 15 0,-1 3-18 16,3-2 1-16,-3 5 12 0,4-1-18 0,-4 3 11 0,0 4 25 15,0 0-30-15,0 1 2 0,0 6 10 16,-1 2-15-16,-1 2 0 0,-2 2 12 15,4 8-4-15,-4 3-11 0,-1-5 8 0,-2-1 5 32,-1 8 8-32,-1 1-8 0,-1 4 0 0,-3 2 0 0,0-2 6 0,-5 2-17 0,3 0-6 15,-3 2-16-15,1-7-39 0,-4 1-12 0,4-2-98 16,-1-3-92-16,3-8-89 0,-4-5-144 16,5-4-330-16,2-5 77 15,-1-3-5-15,3 0 94 0,0-4 70 0</inkml:trace>
  <inkml:trace contextRef="#ctx0" brushRef="#br0" timeOffset="-206930.07">20797 4683 622 0,'2'-4'330'0,"-2"4"-10"0,3-7-11 15,-1 2-22-15,-1 0-3 0,1-1-5 16,0-5-105-16,4 0 5 0,-4-1-15 15,4-1 18-15,-2-2 53 0,4-9-17 0,0 0-80 16,2-9-7-16,0-2-6 0,-2-1-17 0,3-1-8 16,-1-2 10-16,0-2-28 0,2-3 7 15,-1-12-27-15,1 12-9 0,-2 1 6 0,-1 1-8 16,-1 4-7-16,-1 1 7 0,-4 7-10 0,4 7-5 16,-4-1-3-16,2 6-5 15,-2 0 0-15,-1 4 6 0,1 2-4 0,-1 0 9 0,1 1-6 16,0 2-38-16,-3 3 13 0,2-3 7 15,3 5-5-15,-2-2-7 0,3 2 38 16,-2 2-28-16,4-2-16 0,-1 3 18 0,4 0-12 16,-1 1-13-16,0-1 17 0,3-2 11 0,0 3-2 15,4-1-9-15,-1 2-7 0,1-1 3 16,-3 0 10-16,5 0 7 0,-3-1-17 0,2 0 2 16,-2 0-18-16,-1 1 5 15,1-2 8-15,-3 1-2 0,2-1-11 0,-2 1 23 0,-2 1-12 0,-1-3-6 16,0 3 3-16,0-1-8 0,-2 1-2 15,-1 0 12-15,1 4-15 0,0 0 13 16,-1 5 13-16,0 3-6 0,-1 4 6 0,-1 6 13 0,3 15 4 31,-3 3 3-31,0 2-5 0,-1 7-2 0,-2 2-6 0,-2 16 6 0,-1-1 17 0,0 3-17 16,-3 3 9-16,2-1-12 0,-1 4 51 16,-2 0-48-16,2 1-21 0,-2 4 23 0,2 1-8 0,-5 1-10 15,2-3-25-15,-2-2-13 16,0-4-26-16,-2-4-10 0,-1-7-31 0,-1-4-3 15,4-14-20-15,-2-3-7 0,2-6 12 0,3-6 8 16,0-8-5-16,0-3 15 0,2-4-51 16,0-2-123-16,1-3-133 0,0-4-445 15,2-3 112-15,0-2 64 0,0 0 18 0,0 0 60 16</inkml:trace>
  <inkml:trace contextRef="#ctx0" brushRef="#br0" timeOffset="-205894.66">21464 4015 862 0,'2'-6'312'0,"-2"-2"1"0,2 1-32 0,-2-4-12 16,3-3-87-16,-2-2-11 15,1-3-22-15,0-1 94 0,0-6-54 0,2-2-10 16,2-11-15-16,0 0 0 0,2-5-38 0,2-3-6 15,1-10-15-15,1 2-10 0,1 1 2 16,2 1-5-16,-2 1-10 0,-1 1-11 0,2-3-4 16,-2 10 7-16,-1 1-20 0,-1 2-3 0,2-2-2 15,-3 6-16-15,1-1 29 16,-2 3-29 0,0 7-5-16,-4 4-2 0,2 1 7 0,-2 4-2 0,-1-1 25 0,0 3-13 0,1-2-20 15,-3 6 3-15,4-1 15 0,-2 1-23 16,-1 2-8-16,3 3 6 0,-2-2-14 0,2 4-7 0,0 1 18 15,3 1 23-15,2-1-34 16,0 4-4-16,1 1 14 0,4 0-19 0,2 1 12 16,2 1-5-16,1 2 15 0,1-1-10 0,1 1-2 15,4 0-3-15,0 1 15 0,-2 0-5 0,1 1 19 16,3-1-24-16,-2 0 0 0,-1 1-18 0,1 0 23 16,-3-3-17-16,-1 4 9 0,-3-2-15 15,-1 2 13-15,0 0-5 0,-3 1 8 0,-1 1 5 16,-2 1 4-16,0 0-14 0,-4 1-1 15,1 1 24-15,-2 1-11 0,-2 4 16 0,0-2-1 16,0 2-2-16,-2 2-28 0,0-1 41 16,-1 2-28-16,0 0 4 0,-2 2 6 0,3 3-2 15,-4 2 4-15,1 1-2 0,1 12 15 16,-4 0-12-16,-1 4 33 0,-2 1-42 16,1 2 19-16,0 0-5 0,-3 11 2 0,1 3-26 0,-4-1 1 15,4 1 20-15,-3 3-15 0,0 2 12 16,2-4 3-16,-1 0-15 0,-3 1 10 0,2-4 23 15,0 1-21-15,0 2 16 0,-1 0-8 0,1 1-10 16,-2 0 3-16,0-1 17 0,0 2-10 16,1 3-2-16,-1-4 7 15,2 2-5-15,2 2-20 0,0-2 23 0,0 1-19 0,1 2-1 0,-1-4 12 16,-2 4 2-16,2-6-15 0,0 0 1 16,1-2-29-16,-3-1 13 0,2-3-6 0,-2-3 4 15,2-10-6-15,0-2-8 0,3-4 4 16,-1-8 4-16,2-5-3 0,1-5 9 0,-2 0-11 15,3-3 8-15,2-4-8 0,-3 1-13 16,3-4 0-16,-3-2-17 16,3 2-11-16,-2-6-18 0,2 2 0 0,-2-1-18 0,2-4-38 0,0 0-31 15,0 0-92-15,0 0-104 16,0 0-160-16,0-17-376 0,2 6 85 0,0-2 71 16,1-5 113-16,2-2 38 0</inkml:trace>
  <inkml:trace contextRef="#ctx0" brushRef="#br0" timeOffset="-205253.64">22199 4113 675 0,'0'0'249'0,"8"0"-14"0,-8 0 72 16,12-1-48-16,1 2-16 0,-2-2-10 0,2 2-5 0,4-1-36 15,2 0-18-15,3 1-18 0,1-1-3 0,1 1-27 16,1 2-3-16,1-2-8 0,-3-1-33 15,3 1 12-15,-3 1-12 0,0 1-7 16,-3-3-14 0,1 1-5-16,-3 0 6 0,-3-1-16 0,2 4 8 0,-2-4 20 0,-3 3-13 15,0 1 8-15,-1-1 18 0,-3 6-7 0,1-2 30 16,-2 1-28-16,-3 5-8 0,1 0-82 0,-2 4 11 16,-1 2 7-16,-2 4-5 15,0 4 13-15,-5 11-10 0,4 5 25 0,-6 2 0 16,2 1 11-16,-2-1-6 0,-1 1-2 0,2 2-5 15,-6 5-6-15,7-6 62 0,-6-2 6 0,5-1-6 16,-5 0-23-16,3-1-13 0,-2 1-26 16,0-1-4-16,0 0-24 0,-1-3 1 15,-2 1 9-15,0 0-27 0,1-2-11 0,-4 2-10 0,1 0-38 16,-1-6-36-16,1 2-54 0,1-5-126 0,-2 1-71 16,5-13-38-16,1 0-453 15,0 0 50-15,4-4 75 0,1-3 87 0,0-4 95 16</inkml:trace>
  <inkml:trace contextRef="#ctx0" brushRef="#br0" timeOffset="-204717.44">22617 4651 890 0,'10'0'266'0,"3"-1"-30"0,0 1-1 0,2 0 68 0,5 1-37 16,1 0-28-16,3 0-31 0,1-1-5 0,3 3-40 15,1 1 4-15,-1 0-30 0,-3 3 2 16,1-2 3-16,-3 3-24 0,0 3 19 16,-5 1-5-16,2 1-14 0,-4 5 29 0,-3 0-20 15,-1 1-78-15,1 12 27 0,-5-4-27 0,0 9-7 16,-6-5 10-16,1 0-15 16,-3 9-3-16,-3 2 13 0,-2 1-17 0,-1-4 4 0,0 4-31 15,-3 0-27-15,-1 1-16 0,0-5-59 0,0 2-69 16,2-2-118-16,-4-2-102 15,3 0-448-15,5-9 16 0,-4-4 168 0,3 0 13 0,4-3 95 16</inkml:trace>
  <inkml:trace contextRef="#ctx0" brushRef="#br0" timeOffset="-203106.47">21330 5714 1226 0,'0'0'381'0,"0"0"-46"0,0 0-17 0,-8 12-16 0,1-6-21 16,-1 0-53-16,0 2-3 0,-3 2-30 0,-3 1 12 15,-2-1-22-15,1 2-111 0,-1 4 13 0,-2-2-10 16,3 0-11-16,2 0 8 15,0-3-20-15,1 2 92 0,3-2-26 0,-1 1-22 0,3-4 4 16,0 3-7-16,-1-4-13 0,6 0 17 0,1-1-29 16,-2 0-14-16,6 1 39 15,-1-1-42-15,1 0-9 0,5-2 10 0,0-1-3 16,-1 1-18-16,6-3-7 0,-2 0-14 0,3 2-40 16,0-2-8-16,0-5-22 0,2 4-24 15,-1-2-23-15,-1-2-21 0,1 1-63 0,0-1-80 16,-2 1-48-1,-3-3-159-15,1 1-402 0,-1-3 79 0,0-1 90 0,-2 2 107 0,0-3 55 16</inkml:trace>
  <inkml:trace contextRef="#ctx0" brushRef="#br0" timeOffset="-202896.51">21392 5777 588 0,'0'-7'279'0,"-3"1"82"0,3 1-13 16,-1 2-18-16,1 0-30 0,0 3-16 16,0 0-13-16,0 0-10 0,0 0 8 0,-12 10-123 0,8-3-2 15,-2 4 4-15,1 2-25 16,0 1 0-16,0 4 2 0,-1 1 77 15,1 0-38-15,-2 3-10 0,1 0-11 0,2 1-7 0,-2 2-36 16,3-3-8-16,-2 2-18 0,2 1-2 0,-1-6-1 16,-1 0-32-1,4-1-29-15,-1 0-13 0,0-4-40 0,-1-1-21 0,3-2-39 0,0-1-81 16,0-1-85-16,0-5-120 0,3 2-517 0,1-5 90 16,2 0 71-16,-1 0 79 0,-5-1 93 15,20-3 23-15</inkml:trace>
  <inkml:trace contextRef="#ctx0" brushRef="#br0" timeOffset="-202287.25">22158 5806 977 0,'-10'-4'410'0,"10"4"-39"0,-9 3-5 0,2-1-51 0,7-2-5 16,-15 1-62-16,7 3-20 0,3-3-13 15,0 4-41-15,0-2-3 0,0 2-9 0,2-3-32 16,1 3-74-16,2 0-10 0,0 2-2 0,0-1 10 16,5-1-26-16,0 3 26 15,0 1-24-15,3 0 60 0,0-1 30 0,0 2-12 0,2-2-8 16,0 2 28-16,0-2-16 0,-2 0-9 0,-1 2-52 16,-1-4-13-16,-2 1 3 15,-1-1 26-15,-3 2-8 0,3-2 5 0,-6 2-18 0,2-1 82 16,-5 0-23-16,-2 0-24 15,0 0 17-15,-2-1-19 0,2 1-2 0,-5-1-11 0,3-1-14 16,-3 1-34-16,1-3 10 0,1 1-56 16,2-3-42-16,0 1-19 0,1 1-55 0,1-3-22 15,2 1-26-15,5-1-64 0,0 0-84 0,0 0-139 16,-6-5-442-16,6 5 73 16,0 0 78-16,10-8 66 0,-4 4 92 0,2 1 59 15</inkml:trace>
  <inkml:trace contextRef="#ctx0" brushRef="#br0" timeOffset="-201733.68">22286 5833 1371 0,'2'-3'377'0,"-2"-1"-19"0,1-1-25 0,-1 5-39 0,0 0-20 16,0 0-33-16,0 0-24 0,0 0-25 0,0 0-13 16,-1 17-15-16,1-6 72 0,0 2-16 15,0 2-38-15,0 4-21 0,-2 5 21 0,0 0-57 16,2 6-7-16,-3-3 0 0,3 3-6 0,-3-2-76 15,-1 0-18-15,2-1-33 0,-4-2-44 16,3-1 5-16,-2-1 3 0,0-4-3 16,0-4 23-16,0 2-5 31,-1-4-10-31,0-2 28 0,0-2-2 0,0-3-13 0,2-1 20 0,1-2-18 0,-2 0 24 0,5-3 1 0,-5 0-4 16,5 0 2-16,0 0-2 0,-3-10 0 0,3 7 0 15,3-2 5-15,-1-2 0 0,0 2-8 0,1-3-3 16,3-2-2-1,1 2-20-15,-2-3 2 0,3 0-2 0,0-3 5 0,5-3 7 16,-1 0 0-16,1-1 1 0,0 0 7 0,-1-2 8 0,1 1-1 16,1-2 29-16,-2 6-10 0,-2-1 30 15,-1 3 16 1,-2 5 13-16,-2-3 15 0,0 4-11 0,0 0 1 0,1 1-11 0,-4 5 1 16,0 0 9-16,-2 1-14 0,0 0 2 0,0 0-3 15,3 9-10-15,-3-3-18 16,-3-1-18-16,1 1 8 0,0 1-51 0,-1 1-26 0,-2 3 5 15,2-1-66-15,-4-1-31 0,4 2-10 16,-3-3-13-16,-1 1 23 0,4-2 18 0,-2-2 7 0,3-1 11 16,1 1 25-16,-3-3 14 0,4 2 19 15,0-4 22-15,0 0 22 0,0 0-13 0,0 0 18 16,0 0-22-16,12-1 9 16,-12 1 19-16,6-5-21 0,-1 3-16 0,1-2-17 0,-2 3-82 15,1-3-98-15,0 2-529 0,1-2 10 0,-2 1 51 16,-1-1 131-16,0 2 35 15</inkml:trace>
  <inkml:trace contextRef="#ctx0" brushRef="#br0" timeOffset="-200811.56">21425 5856 888 0,'0'0'389'16,"0"0"-18"-16,0 0-38 0,0 0-24 0,-2 18 32 16,2-9-6-16,0 3-43 0,0 3-41 0,0 0-13 15,0 3-38-15,0 0-16 0,0 2-15 16,0 0-39-16,-2 4-25 0,-2 2-18 0,2-7-25 16,-4 5-19-16,3-4-20 0,-4-2-7 15,2 0-9-15,-1-4-7 0,0 2 11 0,0-4 1 16,2-3 6-16,-2-1 0 0,3-3-20 0,-2 1-3 15,3-1 17-15,-1-5-4 0,3 0-3 16,0 0-5-16,0 0 5 0,-5-10-20 0,8 5-21 16,-1-4-7-16,1-2-57 0,2-1-54 0,2-3-43 15,1-3-56-15,4-1-55 0,-3 0-19 16,1-2-111-16,8-8 39 0,-3 4 158 16,1-3 75-16,0 6 53 0,-4 4 39 0,0 0 46 0,-2 5 46 15,-3 5 33-15,1-2 62 16,-2 5 45-16,0 1 19 0,-4 4 5 0,-2 0 2 15,0 0-13-15,5 8 19 0,-5 0-3 0,0 0-31 16,-1 3 2-16,-3 0-6 0,-1 1-9 0,2 1-23 16,-1 0 3-16,1 3-18 15,-3-1-18-15,-1 1 15 0,-1-2-40 0,5 2-24 0,-4-2-17 16,2-2-52-16,1-3 5 0,-2 2-12 16,3-3-3-16,-2-2-59 0,3-1-2 15,1 0 5-15,1-5-3 0,0 0 0 0,0 0 13 16,0 0 13-16,13-11 12 0,-5 5 6 0,2-1 0 15,0 0 33-15,0-1-11 0,-1-1 24 16,1 1-21-16,2 2 13 0,-1-1-2 0,-1 1-26 16,0-1-113-16,2 1-455 0,-1-1-139 0,-1-2 37 15,4 2 129-15,0 0-4 0</inkml:trace>
</inkml:ink>
</file>

<file path=ppt/ink/ink1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6:13:32.558"/>
    </inkml:context>
    <inkml:brush xml:id="br0">
      <inkml:brushProperty name="width" value="0.05292" units="cm"/>
      <inkml:brushProperty name="height" value="0.05292" units="cm"/>
      <inkml:brushProperty name="color" value="#0070C0"/>
    </inkml:brush>
  </inkml:definitions>
  <inkml:trace contextRef="#ctx0" brushRef="#br0">20107 4638 1113 0,'0'0'358'0,"0"0"-30"0,0 0-29 0,0 0-37 15,-5 11-1-15,5-7-18 0,-3 2-38 16,1 2-1-16,2 0-22 0,-3 0-23 0,1 5-8 16,-1-1-31-16,0 4 13 0,1-2-30 0,-3 5-24 15,2-1 11-15,-2 0 2 16,2-1-49-16,-1 2 8 0,2 2-7 0,-2-5-3 0,2 2-5 15,0 0-6-15,-1-2 6 0,0-2-8 16,3-1 8 0,-2 0-28-16,1-2 28 0,1-1 0 0,-2 1-26 0,2-4 8 0,-3 2-3 15,3-2 11-15,0-1-8 0,0-1 10 0,3-2-21 16,-3 3-1-16,2-2 19 0,-2-4-12 0,6 2 2 16,-3 1-4-1,-3-3-4-15,8 2 6 0,-8-2 5 0,9-3 5 0,-1 1 5 0,-1 1-18 16,3-1 26-16,1-3-2 0,3 1-17 0,3 1 12 15,3-3-4-15,1 1 34 0,7-1-13 16,0-1 10-16,15 0-15 0,1-3-10 0,2 2 13 16,1-1-9-1,1 1 19-15,-2 1-10 0,6 0-11 0,-1 1-15 0,0 1 41 0,1-2-52 16,1 6 34-16,2-4-46 0,-2 4 39 16,1-2-34-16,0 3 2 0,-3-1 6 0,3 1-6 15,-5 1 16-15,1-1-2 0,-3 3 9 0,0-2-35 16,-6 0 38-16,-8-1-28 0,0 4 3 0,1-4-1 15,-1 0 26-15,-1 0-15 0,-3 2-8 16,2-2-17-16,-5 0 17 0,-1 0 15 0,-1 0-4 16,0 0-11-16,-3-1-8 0,-3 0 26 0,-2 1-23 15,-1 0 31-15,-2 0-31 0,-3 0 8 16,0-3 22-16,1 2-14 0,-4 1 2 16,1-2 51-16,-2 1-16 0,-2-2-4 0,2 0-13 0,-2-1 41 15,-1 2-21-15,0-4-84 0,-1 0-26 0,0 0 41 16,-2-1 34-16,0-4-24 15,0 1 44-15,0-4-28 16,-4 0 5-16,1-4 15 0,1-1 0 0,-1-1-10 0,-2-3 21 0,4 2-39 16,-1 2 28-16,0-3 6 15,0 3 4-15,1 0-17 0,0 1-16 0,-3 4 3 0,2 1-18 16,1 0-8-16,0 2-33 0,-3 2-26 0,2-1-56 16,0 3-48-16,-1 1-19 0,-2 2-10 15,2 2-35-15,-2 0-21 0,0-1-59 0,5 3-36 16,-13 4-143-16,10-3-402 0,-1 0 69 15,-4 3 87-15,2 1 85 0,3-2 61 0</inkml:trace>
  <inkml:trace contextRef="#ctx0" brushRef="#br0" timeOffset="59653.51">21147 5708 857 0,'-2'-6'371'0,"0"-1"-38"0,-3 1 0 16,2 1-31-16,-2-1-28 0,2 3-6 15,-4-1-7-15,-4 2-43 0,1 2-13 0,0 0-6 0,-5 2-88 16,-4 5-19-16,-1 4-16 0,-8 6 11 15,2 4 62-15,0 2 5 0,1 2-26 0,0 6 12 16,4 1-19-16,-5 7-19 0,5-3 6 16,-1 9-29-16,1 1-15 0,5-6 18 0,2-1-3 15,3-1 3 1,1 2-26-16,2-5-17 0,6-5 2 0,-1-3-26 0,3-4 13 0,3-2-33 16,-1 1-13-16,3-1 10 15,2 1 3-15,0-8-13 0,2 4-15 0,-1-5 28 0,3-3-31 0,1-2 11 16,-1-5 7-16,1 0 2 0,1-3-2 15,0-1 8-15,5-3 0 0,-1-4-8 0,2-3 23 16,1-3-20-16,3-9 20 0,1-1 33 16,1-2-30-16,-5-1 0 0,4-5-8 0,-2 2-3 0,-6-5 24 15,1 3-21-15,-6-2 5 16,-1-1 7-16,-4 8-1 0,-1 1 2 0,-4 0-1 16,-2 5-1-16,-2-5 24 0,-1 1-6 15,-4 3-19-15,0 1 8 0,-1 2-8 0,-3 1 18 0,-3 4 0 16,2 2-12-16,0 0 12 0,1 1 0 15,-4 4-28-15,3 1 5 0,1 4-13 0,-2 1 29 16,2 0-26-16,-1 2 7 0,3 0 11 0,-2 1-23 16,0 3 23-16,2 0-13 0,0 2-5 15,3-1 7-15,3-1-7 0,0 2-3 16,1 1 16-16,3-3-21 0,0 3 0 0,3-2 21 0,1 4-8 16,2-2 8-16,2 0-26 0,4 3 5 0,-1 0 26 15,1-1-23 1,6 4 10-16,-5-4 5 0,3 2-3 0,-1 1 6 0,3 0-3 15,0 0-20-15,-3 2 25 0,1-2-5 0,-1 0-15 16,3 2 5-16,-8-3-11 0,0 2 19 16,2 1-26-16,-6-2 13 0,2 1 25 0,-3 2-23 15,0-3-4-15,-3 0 24 0,-2-1-4 16,0 0 0-16,0 1-16 0,-2-1 5 0,0-4-2 0,-1 3-5 16,1-3 25-16,-1 1 6 0,1 0-8 15,-4-4 30-15,4 2-20 0,-1-1 31 16,-2-4-3-16,3 2-18 0,-1-3 24 0,3-1-42 0,0 0 13 15,-8-6-5-15,8 0-7 0,0-2 2 16,0-3 20-16,1-2-12 0,1 0 27 0,3-5 11 16,0 1-41-16,0 0 23 0,0 0-43 15,3-1 30-15,4-2-15 0,-3 2 10 16,1-1-15-16,0 5 10 0,-2-2 21 0,4 3-8 16,-1 0-21-16,-1 1 8 0,0 0-18 0,0 4-36 15,-2-1-43-15,1 1-21 0,0 2-33 0,-4 1-33 16,5-2-33-16,-4 5-55 0,2-3-81 0,-1-2-174 15,1 4-479-15,0 0 105 16,0-1 97-16,-1 1 100 0,2-1 59 16,0-3 67-16</inkml:trace>
  <inkml:trace contextRef="#ctx0" brushRef="#br0" timeOffset="60248.88">21633 5620 793 0,'2'-2'394'0,"3"-2"-23"0,-5 3-40 15,0 1-45-15,7-1-14 0,-7 1-6 0,0 0-31 16,6 10-4-16,-3-1-21 0,-1 3-24 16,1 0-22-16,-1 3-8 0,1 3-10 15,-1 0-20-15,1 3-6 0,-1 2-18 0,1 2-4 16,-3 0-68-16,4-4-9 0,-2 3-13 0,0 2-19 16,2-1 27-16,0-4-19 0,-2 0 11 15,0-2-8-15,1 0 7 0,0-5-7 0,1 1 13 16,-3-2-18-16,1-1 3 15,2 0 9-15,-3-3-2 0,0-3 3 0,1 1 15 0,-2-1-23 16,2-1 10-16,-2-3-2 0,0-2-3 0,0 0-2 16,-2 4 25-16,2-4-18 0,0 0 3 15,0 0 2-15,-10-11-2 16,7 6-3-16,-2-1 16 0,0-1 2 0,-3 1-10 0,2 0 89 16,-2-1-22-16,-1 1 15 0,-3 3 2 0,1-2-15 0,1 5 10 15,-1-1-4-15,-1-1-12 16,-1 2-1-16,1 2-34 0,1-1 23 0,-4 1-5 15,2 2 0-15,3 1-21 0,0-1-12 0,-1 2 15 0,1 0-12 16,2 0-11-16,0 1 10 0,3-2-28 0,-2 1 28 16,5 0-15-16,-2-1-15 15,4 2 4-15,0-4 1 0,4 1 13 0,0 0-34 16,2-2 3-16,4-1 17 0,0-1 6 0,2-1-3 16,1 0 1-16,5-5-14 0,-2 1 21 15,1-3-3-15,1 2-5 0,0-2-15 0,1-3 8 16,-4 5 2-16,1-1 13 0,-4 0 15 15,0 3-5-15,-3-2 13 16,3 1 0-16,-2 3-20 0,1 1-24 0,-1-1 16 0,-3 4 15 16,2-1-7-16,-1 3-3 0,0 0-3 0,-2 1-7 0,0 1-14 15,-1 0 40-15,2 1-55 0,-4 1-17 0,0 1-1 16,1-2-42-16,-3 2-32 0,-1 1-18 16,2-3-27-16,-4 1-52 0,4 2-64 15,-4-3-92-15,1 1-159 0,-1-3-422 16,2 1 118-16,0 0 35 0,0-1 141 0,-2-3 47 0,2-2 32 15</inkml:trace>
  <inkml:trace contextRef="#ctx0" brushRef="#br0" timeOffset="60371.44">21876 5902 685 0,'0'0'236'0,"-3"-2"-52"0,3 2-79 0,-7-1-118 15,7 1-166-15,0 0-371 0</inkml:trace>
  <inkml:trace contextRef="#ctx0" brushRef="#br0" timeOffset="60780.73">21943 5899 801 0,'4'3'317'0,"-3"4"-30"16,1 2 56-16,3-2-31 0,-2 4-20 15,2-1-92-15,-2 1-11 0,-1 0-30 0,4-1-21 0,-4 2-5 16,2-2-8-16,-2 2-12 0,2-1-16 0,-4-2-2 16,2-1-5-16,2 1-9 0,-2-2 7 15,0 0 4-15,-1 0 25 0,-1-3 45 0,2-1-16 16,1 1-11-16,-1-2-20 0,-2-2 65 0,0 0 14 15,0 0 6-15,0 0-103 0,15-8 18 16,-11 3-2-16,0-1-6 0,2-1-14 0,1 1-12 16,0 0-1-16,-1-2 4 0,2 3-22 0,-1-2-9 15,-1 2 29-15,1 1-36 0,4 1 8 16,-4-2-33-16,1 3 27 0,0 4-14 16,0-2-6-16,1 3 15 0,-1 0-27 0,-1 2 9 15,-1 0 3-15,-1-2-17 0,3 3 7 0,-3 0-36 16,-2 1-11-16,1-1-70 0,-1 1-11 0,0-1-52 15,1-1-14-15,-3 1-55 0,2-1-37 16,-1 2-63-16,-2-2-99 16,0 0-10-16,2-2-448 0,1 1 48 0,-3-4 90 0,3 3 44 0,-3-3 81 15</inkml:trace>
  <inkml:trace contextRef="#ctx0" brushRef="#br0" timeOffset="61709.05">22517 5992 952 0,'0'0'304'0,"0"0"-14"0,0 0-70 0,2-3-41 15,-2 3-3-15,0 0 9 0,0 0 81 16,0 0-33-16,0-5 18 16,0 5-41-16,0 0 7 0,0 0 8 0,0 0-40 0,-7-3 2 0,7 3 2 15,-8 0-25-15,8 0 0 0,-10 0-34 16,10 0-7-16,-10 1 8 0,2 4-11 0,0-4-10 15,3 3-95-15,-3-1 1 0,0 1 2 16,1-2-8-16,0 3 13 0,1 2-26 0,1-1 14 16,-2 0-4-16,1 1-17 0,-1-1-8 0,4 0-5 15,-2 1-2-15,0-3-11 0,5 0-3 0,-3 0 9 16,3 1-1-16,0-5 8 0,0 6 0 31,3-5 23-31,-3-1-28 0,0 0 22 0,15-1-4 0,-15 1-3 0,11-4-4 0,-4 4-1 16,-7 0 5-16,11 0-5 0,-5 0 0 15,0 0 10-15,-3 4 3 0,2-2-2 0,0 1 1 16,0 1 4-16,-2 1-3 0,3 1 7 0,-2 0-12 16,1-1 10-16,2-2-18 0,-1 2 8 0,-1 0 12 15,3-3 6-15,2-1-5 0,0-1 2 16,3-2-3-16,0-2 3 0,0-2 13 0,2-1-5 16,3-6 15-16,2 0 34 0,1-8-14 0,0 3 19 15,-1-8-6-15,1-3 19 16,0-3-11-16,-4-3 3 0,7-9-1 0,-4-1-20 0,3 0-10 15,-5 8 11-15,0 6 81 0,0 3-18 16,-6 5 31-16,-4 7-44 0,-3 3 8 0,0 4-28 16,-2 3-8-16,-3 5 3 0,0 1 0 15,0 0 30-15,-8 16-32 0,3-3-9 0,-2 3 3 16,1 5-18-16,-1 2 1 0,2-2-4 0,2 3-7 16,0 0-7-16,3-3-1 0,3 4-5 15,2-1 13-15,3 2-38 0,2-3 12 16,0-3-36-16,3 2-22 0,0-6-24 0,0 2 19 0,2-3-44 15,-5-5 7-15,5 1-30 0,-2-3-3 16,-1 1-18-16,0-5-12 0,-1 2 30 16,1-2-48-16,2-1-11 0,-5 0-12 0,4-3-3 0,-2 0-36 15,-2 0-13-15,1-1-30 0,-2-2 15 16,2 1-169-16,-2-1-476 0,0 1 121 0,-1-3 17 0,0 2 107 16,-3-2 127-16</inkml:trace>
  <inkml:trace contextRef="#ctx0" brushRef="#br0" timeOffset="68376.14">12713 4677 1249 0,'0'0'384'16,"0"0"-11"-16,-6-3-60 0,6 3-24 0,0 0-23 0,0 0-7 16,0 0-47-16,0 0 6 0,-7 9-32 15,4-2-6-15,1-1-27 0,0 0-9 0,-1 4-11 16,-2-2-26-16,2 5 8 0,0-2-89 0,-1 1-21 16,3 0 8-16,-4-2 12 0,3 2 9 15,-1 0-21-15,1 0-3 0,-1-1 38 0,3-3-37 16,-3 3 12-16,3-3-11 0,-2 2-6 0,2-3 32 15,0 1-7-15,-2-2-11 0,4 0-20 0,-4-1 21 16,4 0-16-16,-2-2-10 16,2 3 10-16,1-2-3 0,0-1 6 15,2 0 10-15,0-1-5 0,0-1-6 0,5 3-4 0,0-4 2 16,0 2 13-16,1 1-10 16,4-1 2-16,-2-1-5 0,5 0 10 0,-3-1-9 0,1 0 4 15,4 0-10-15,-1 0 74 0,3 0-5 0,1 0-15 16,1-1-6-16,-1 1-7 0,2-1-12 15,-1 1 32-15,1 0-48 0,1 1 23 0,0-1 5 16,-1 1-26-16,1-1 18 0,2 0 1 0,0 1-14 16,-2 2-17-16,-1-3 27 0,1 0-4 0,0 1-18 15,-3-1-3-15,2 2-16 0,-1 0 29 16,1-1-5-16,-5-1 0 0,1 0 5 16,-4 1 5-16,0-1-15 0,1 2 20 0,-3 0-31 0,0-1 8 15,-2-1-7-15,2 2-6 0,-2-1 16 16,0-1-11-16,-3 3 11 0,0-3 7 15,0 0-20-15,-2 0 8 0,2 2-6 32,-4-2-10-32,-1 1 8 0,3 0 18 0,-4 1-5 0,-4-2 15 0,11 1-31 0,-6-1 5 0,-5 0-9 15,8 1 19-15,-8-1-4 0,5 0-3 0,-5 0 13 16,8 2-21-16,-8-2-5 0,0 0 13 0,8 1 18 16,-8-1-20-16,0 0-11 0,7 0 26 15,-7 0-16-15,5 2 3 0,-5-2 8 16,0 0-13-16,8 0-16 0,-8 0 21 0,5 0 13 0,-5 0-16 15,0 0-15-15,8 0 39 0,-8 0-42 0,0 0 21 16,0 0 29-16,8 0-42 16,-8 0 18-16,4-3 21 0,-4 3-16 0,8-2-15 15,-8 2 5-15,5-2 2 16,-2-1-7-16,-3 3 20 0,5-3-7 0,-2 0-18 0,-3 3 15 0,7-2 0 16,-4 1-2-1,0-4-29-15,-3 5 26 0,9-2-10 0,-6-1 5 0,-3 3 0 0,6-3-1 16,-2 0 1-16,-4 3 8 0,6-3 2 0,-4 2-5 15,-2 1 10-15,5-5-7 0,-5 5-11 16,5-3 3-16,-5 3-3 0,8-1 3 0,-8 1 3 16,5 0 4-16,-5 0-4 0,8-2-3 15,-3 1-13-15,-5 1 5 0,7 0 3 16,-7 0 4-16,8 0 17 0,-8 0-11 0,0 0 7 16,8 0-12-16,-8 0 21 0,5 1-1 0,-5-1 3 15,0 0-26-15,8-1 8 0,-8 1 10 16,7-2-17-16,-7 2 27 0,0 0-25 0,5-4 18 15,-5 4-16-15,8-3 1 0,-5 2 2 0,-3 1 5 16,5-6 8-16,-2 4 0 0,2-2-13 0,-1-1 28 16,-1-1-5-16,2-2 5 0,-2 1-13 15,3-3-2 1,-2 0-8-16,-1-3 26 0,2-3-26 0,-3 1-5 0,4-6 10 0,-4 1-38 0,1-1-28 16,0 2-21-16,-3-3-7 0,0 6-39 15,0 0-21-15,0 1-50 0,-3 3-26 16,3-1-154-16,-3 3-184 0,1 1-394 0,-1 3 143 15,0 0 41-15,1 0 138 0,0 1 59 0</inkml:trace>
  <inkml:trace contextRef="#ctx0" brushRef="#br0" timeOffset="70161.58">18535 3976 1182 0,'0'0'384'0,"0"0"-36"16,0 0-20-16,-2-4-36 0,2 4-29 0,0 0-4 15,0 0-47-15,0 0-15 0,0 0-5 0,0 0-48 16,0 0-19-16,0 0-30 0,-3-3-29 15,3 3-43-15,0 0-38 0,0 0-26 0,0 0-26 16,0 0-43-16,0 0-61 0,0 0-100 0,0 0-90 16,0-3-440-16,0 3 86 0,0 0 78 15,0 0 41-15</inkml:trace>
  <inkml:trace contextRef="#ctx0" brushRef="#br0" timeOffset="70935.97">18787 3847 427 0,'0'0'223'0,"0"0"-16"0,0 0-15 0,0 0-3 16,0 0-35-16,0 0 0 0,0 0-16 0,0 0-3 15,0 0-4-15,0 0-16 0,0 0-79 16,0 0-13-16,0 0 15 0,0 0 9 16,0 0-32-16,0 0 23 0,0 0 11 0,0 0-11 15,0 0 1-15,0 0 4 0,0 0-4 0,0 0-11 16,0 0-5-16,0 0 13 0,0 0 5 16,0 0-11-16,0 0-2 0,0 0-12 0,0 0 9 15,5-1 14-15,-5 1-11 0,0 0 0 0,0 0 8 16,0 0-3-16,0 0-17 0,0 0 32 15,0 0-17-15,0 0 97 0,0 0-5 0,0 0-34 16,0 0 4-16,0 0-17 0,0 0-4 16,0 0 2-16,0 0-20 0,0 0-3 0,0 0 34 15,-16 6-16-15,16-6-18 0,-8 4-5 16,6-3-28-16,2-1 18 0,-8 3-16 0,6-1 14 16,2-2-19-16,-5 3 3 0,2 0 5 0,3-3-15 15,-3 2-16-15,3-2-5 0,0 0 46 16,-4 2-35-16,1 1 20 0,3-3-8 0,0 0 3 15,0 6-21-15,0-6 18 0,0 0-2 0,5 7 0 16,-2-6 2-16,-1 1-20 0,1 1 10 16,2 1 15-16,0-1 3 0,0 2-21 0,1-3 1 15,-2 3 15-15,4-2 7 0,-3 2-25 0,0 0 18 16,-2 1 25 0,2-3 1-16,-2 2 1 0,2 0 35 0,-3 0-27 0,-1-1-63 0,-1 1 18 15,-1 0-11-15,-1 0 0 0,-1 1 3 16,-2 0 20-16,-1 1-30 0,-1-4 2 15,0 3-33-15,-3-1-18 0,2 0-7 16,0-3-1-16,-2 1-56 0,2 0-69 0,0 1-95 0,-2-3-28 16,0 1-499-16,2 2 66 0,0-1 85 15,0 0 74-15</inkml:trace>
  <inkml:trace contextRef="#ctx0" brushRef="#br0" timeOffset="71631.89">18597 4577 921 0,'-8'-1'299'0,"8"1"-20"0,-5-1-25 0,5 1-21 0,0 0-49 15,0 0-12-15,-5-1-32 0,5 1-45 0,0 0-41 16,0 0-3-16,0 0-46 0,0 0-48 0,0 0-75 16,0 0-95-16,-5-4-83 0,5 4-365 15,0 0 24-15,0 0 79 0</inkml:trace>
  <inkml:trace contextRef="#ctx0" brushRef="#br0" timeOffset="72656.95">18733 4427 824 0,'-3'-3'261'0,"3"3"-28"0,0 0-16 0,0 0-4 16,11-5 50-16,-11 5-32 16,10 0-14-16,-5-1-25 0,1-1-18 0,0 2 3 0,-6 0-23 15,11-1-14-15,-3 0-30 0,-1 2-63 0,-7-1 4 16,11 1 15-16,-3-1-4 0,-4 3-3 15,2-2-6-15,1 4 4 0,-2-3 12 0,-2 2 2 16,2 3-22-16,0-1-3 0,0 1 21 16,-4 1 9-16,1 1-29 0,3-1 4 15,-2 4-23-15,-1-3-5 0,-2 2 18 16,2 0-5-16,-2 2-11 0,0-1 1 0,3 0-11 0,-3 0-4 16,0-2-1-16,0 1-28 0,0 0-13 0,-3-2 3 15,3 2-44-15,0-1-5 16,0-1-10-16,-2-3-30 0,0 2-24 0,2-1-10 0,0-1-74 15,0-1-59-15,0-1-90 0,0 0-381 0,0 0 33 16,0 0 82-16,0-4 31 0</inkml:trace>
  <inkml:trace contextRef="#ctx0" brushRef="#br0" timeOffset="72870.11">18763 4588 934 0,'3'-3'261'16,"-3"3"-18"-16,10-2-13 0,-4 0-22 16,4 2-27-16,-3-3-117 0,4 2 11 15,2-1 4-15,-3 1-41 0,3-3-32 0,-3 4-35 0,6-1-58 16,-2-2-41-16,2 2-43 0,-5 0-479 15,6 1-6-15,-4 0 101 0</inkml:trace>
  <inkml:trace contextRef="#ctx0" brushRef="#br0" timeOffset="75301.7">13479 5247 1057 0,'0'0'314'0,"0"0"-22"16,0-5-15-16,0 5-39 0,-2-4-13 0,2 4-2 0,0 0-42 15,0 0-24-15,0 0-32 0,0 0 3 16,0 0 0-16,0 0-8 0,-3 18-15 0,3-8-7 16,0 1-19-16,-2 3 8 0,-1 4 66 0,1 0-19 15,1 1-29-15,-1 0-1 16,0-1-19-16,-1 0-18 0,0 0-34 0,1 0-13 0,0 0-15 16,1-4 1-16,-2 1-40 0,1-2-12 15,0 2-15-15,2-2-14 0,-3-4-17 16,3 1-33-16,-3-2-13 0,3-1-31 15,0 0-62-15,-2-2-63 0,2 0 7 0,0 1-97 0,0-4-363 16,0-2 61-16,0 6 133 0,0-6 41 16</inkml:trace>
  <inkml:trace contextRef="#ctx0" brushRef="#br0" timeOffset="75677.6">13277 5453 857 0,'-5'-3'274'0,"5"3"-23"15,-3-1-41-15,3 1-29 0,0 0 6 0,0 0-5 0,0 0-8 16,0 14-26-16,3-7-25 0,0 4 18 15,1-3-38-15,1 5-4 0,-2 0-7 0,0-1-2 16,2 4-11-16,0-3-7 0,0 0-10 16,-2 0-14-16,4-2-2 0,-4-1-2 0,5 1-3 15,-1-1 10-15,-2-3 0 0,5 0 3 16,-4-1-29-16,2-1 16 0,2-4-15 0,-3 0 0 16,4 0 20-16,-1-2-31 0,0 0-7 0,3-3 7 15,0-1-15-15,-1 2-18 16,2-2-20-16,-2 0-21 0,-1 2-28 0,1-3-8 0,-1 1-48 15,-1-1-90-15,3 1-56 0,-3-2 20 0,0 5-450 16,-2-1 4-16,0 0 58 0,2 2 129 16</inkml:trace>
  <inkml:trace contextRef="#ctx0" brushRef="#br0" timeOffset="97437.2">12410 5977 875 0,'0'5'351'0,"3"2"-16"0,-3 1-46 0,-3 1-18 0,3 3-22 16,0-3-21-16,-2 7-19 0,1-3-6 16,1 1-39-16,-2 4 2 0,0 1-18 0,-1 0-15 0,3-2 6 15,-3 1-42-15,-1 1 10 0,1 0-14 16,0-5-19-16,1 3-18 0,-1-2-12 15,-2 2-19-15,3-3-20 0,-1-1-28 0,-2-1-28 16,2 1-46-16,1-3-39 0,-1-1-76 0,0-2 4 16,-4 3-142-16,6-5-492 0,-1-1 94 0,2 0 126 15,-2-3 13-15</inkml:trace>
  <inkml:trace contextRef="#ctx0" brushRef="#br0" timeOffset="97785.1">12318 5995 1069 0,'8'-6'328'0,"0"-1"-34"0,-1 3-22 0,1 2-24 16,2 1-10-16,0 0-13 0,0 2-20 15,1 0-18-15,-1 1-21 0,3 4-7 0,0 0-10 16,2 4-14-16,-4 1-17 0,1-1 10 16,-2 2-5-16,1 4-23 0,-3-2-11 0,-1 2 3 15,-2-1-17-15,-2 3 14 0,2 0 6 16,-5 1-36-16,-3 0 2 0,0-3-2 0,-4 6 15 16,0-2-28-16,-1 0 6 0,0-4-14 0,-5 3 3 15,-2 0 8-15,0-3 53 0,2 0-59 16,-3-3 6-16,3-2-54 0,-2 1-33 0,2-4-6 15,-3 0-35-15,2-1-60 0,3-3-60 0,1 1-103 16,0-4-92-16,2 0-402 0,0-1-8 16,0 0 38-16,8 0 155 0,-12-2 40 15</inkml:trace>
  <inkml:trace contextRef="#ctx0" brushRef="#br0" timeOffset="98055.28">12628 6083 1233 0,'3'5'423'0,"-1"1"-24"16,-1 0-48-16,1 2-26 0,0 2-31 15,-2-1-48-15,3 3-11 0,-3 0-20 16,-3 3-7-16,3 0-24 0,-2-2-38 0,0 0-41 15,1 0-8-15,-1 3-56 0,-3-3-56 0,2 0-39 16,1 0-72 0,2-4-140-16,-6 2-179 0,4-2-408 0,-1 0 42 0,3-3 158 0,-2 0 29 15,1-1 109-15</inkml:trace>
  <inkml:trace contextRef="#ctx0" brushRef="#br0" timeOffset="98272.04">12682 6024 1269 0,'-3'-5'343'0,"3"5"-13"0,-2-5-71 15,2 5-49-15,0 0-46 0,0 0-54 0,0 0-41 16,0 0-95-16,0 0-145 15,0 0-413-15,0 0-97 0,8 12 44 0,-3-8 117 0</inkml:trace>
  <inkml:trace contextRef="#ctx0" brushRef="#br0" timeOffset="98636.98">12872 6084 1387 0,'-10'5'420'0,"0"0"-44"0,4-1-28 0,1-1-51 0,-2 2-10 0,4-3-13 0,-2 3-26 0,4 1-49 0,-1-1-17 16,2-2-15-16,0 2-29 0,0 2-13 16,3-1 3-16,-1 0-15 0,3 2-1 0,-2 1-19 15,2-2-22-15,0 1-2 0,1 1 16 0,-2 0-3 16,2-3-3-16,-2 1-79 15,-1-1-5-15,0 3 0 0,0 0 23 0,-1-3 25 16,-2 2-20-16,0 1-5 0,-3-2 16 0,1 1 53 16,-4-2 12-16,-1 2 6 0,0 1-12 0,-4-3-6 15,3 2-31-15,-2-2-15 0,0 0-18 16,-3-1-28-16,3-2-13 0,-1 1-10 0,-1 2-24 16,1-3-24-16,3 1-24 0,-2-3-36 15,3 0-28-15,-1-1-25 0,2 1-57 0,-1 1-58 16,7-2-170-16,-7-2-440 0,1 2 103 0,6 0 35 15,0 0 95-15,-10-2 88 0</inkml:trace>
  <inkml:trace contextRef="#ctx0" brushRef="#br0" timeOffset="101084.93">13236 6115 898 0,'0'0'269'0,"-10"3"-24"0,5-1-7 0,-1 3-33 0,-2-3-8 16,-2 3 0-16,5 2 31 0,-3 1 0 0,-2 1-13 16,2-1-28-16,1 2-18 0,0-1 10 15,1 2-33-15,1-2-31 0,0 2 29 0,0 0-45 16,2-3 1-16,3 2-20 0,-2-3-9 0,2 2-2 15,0 1-18-15,2-3-30 16,1-1 5-16,-1 1-16 0,1-1 0 0,2 1-20 0,-2-1-26 16,4-1-46-16,-2 0-31 0,1-3-94 15,1 2-105-15,-2-2-123 0,3 0-364 16,0 1 34-16,-3-3 112 0,3 1 62 0</inkml:trace>
  <inkml:trace contextRef="#ctx0" brushRef="#br0" timeOffset="101461.34">13307 6164 767 0,'0'0'308'0,"3"-2"-14"0,-3 2-43 0,7-1-11 0,-7 1-14 0,0 0 7 0,8 8-34 0,-5-3-9 0,2 1-27 16,-2 0-6-16,2 2-22 0,-2-1 11 16,1 4-10-16,-1-3-16 0,-2 2 57 15,1 1-34-15,0-1 3 0,-2 1-23 0,3-3-8 0,-3 0 3 16,0 2-21-16,0-3-25 0,0-2 28 16,0 1-3-16,0 0 0 0,0-2 13 15,0-1-7-15,0-3-1 0,0 6-10 0,0-6-13 16,0 5-4-16,0-5 1 0,0 0 1 0,0 0-8 15,0 0-23-15,0 0 3 0,7-11 0 16,-6 6-19-16,1 2 4 0,3-4-34 0,-2 0-3 16,4 0-17-16,-4 2-16 0,3 0-28 0,-2 1-10 15,2-2-16-15,-4 1-43 0,3 2-33 16,0 2-42-16,1-2-84 0,-2 2-94 0,-4 1-502 16,0 0 12-16,11 4 170 0,-6-2 33 0,-2 2 58 15,-1-1 55-15</inkml:trace>
  <inkml:trace contextRef="#ctx0" brushRef="#br0" timeOffset="101991.34">13500 6343 826 0,'13'-3'277'0,"-9"0"-24"0,0 0-40 0,0 1 2 16,2-3-13-16,-3-1-26 0,4-1-9 16,-4 1 76-16,5-2-23 0,-4-3-30 0,4 0 7 15,-5 2-5-15,6-4-21 0,-3 1-28 0,-1 1 34 16,0-2-110-16,-2 5 7 0,2-3-5 15,-2 4 13-15,-1 0 28 0,3 1-23 0,-2 0-13 16,-3 1-17-16,2 4 17 0,-2 1-28 0,0-5-15 16,0 5 33-16,0 0-21 0,0 0 13 15,0 0-4-15,-5 13-19 0,2-7 5 16,1 0 11-16,2 4-26 0,-2-3 15 0,-1 0-10 16,3 0-30-16,0 3 10 0,0-2 7 15,3-1-28-15,-3 0-5 0,2 0 3 0,0-1-8 16,1 0-3-16,0-1 1 0,1 0 9 0,0-1 1 15,-2 0 10-15,3-3-5 0,0 1-3 0,-5-2 13 16,11-2-8-16,-4 1 6 0,-2-4 2 16,3-1-13-16,-3 2 23 0,3-5 8 15,0 1-13-15,0-3 15 0,-1-2 27 0,0 0-14 16,-1-1 8 0,-1-3 13-16,2 2 7 0,-1-1 6 0,-1 0 84 0,0 0-23 0,-2 3-11 15,1 2 9-15,0 3 9 0,-2-2-73 0,0 2-11 0,0 2-13 16,-1 3-9-16,-1 0-6 0,0 3 25 15,0 0-9-15,0 0-1 16,0 0 0-16,-3 17-7 0,1-7 0 0,0 1-21 0,1 1-7 16,-2 2-14-16,-1 0-22 0,1 0-31 0,0-1-38 15,1 1-13-15,0-1-3 0,1 3-36 16,1-6-30-16,-2 1-13 0,2 0-26 0,0 0-17 16,0-3-73-16,0 3 3 0,0-5-109 0,0 1-452 15,2-4 104-15,-2 2 27 0,1 1 95 0,1-3 125 16</inkml:trace>
  <inkml:trace contextRef="#ctx0" brushRef="#br0" timeOffset="102437.68">13672 6226 1172 0,'-3'-6'368'15,"3"6"-32"-15,-2 0-19 0,2 0-48 0,0 0-16 16,5-7-20-16,-5 7 8 0,5-4-70 0,-3 2 6 15,4 0-13 1,1 0-31-16,1 0-15 0,-1 0-6 0,4-1-20 0,2 1-17 0,0-3-11 16,2 3-13-16,2-2-5 0,0 1-10 0,0-2-11 15,4-1 4-15,-4 3-4 16,-3-1-12-16,0 0-3 0,0 1 3 0,-4 0 13 16,-3 2-3-16,1 0 5 0,-5 1 10 0,-3 0 3 15,8 0-8-15,-8 0 6 0,0 0-19 16,2 6 24-16,-2-6 10 0,-5 8-21 0,3-2 18 15,-4 1 5-15,1 0-2 0,2 1-10 0,1 0-11 16,0-2-15-16,-1 2 2 0,3-2-7 16,-3 3 31-16,3-2-24 0,3 0 16 15,-3-1-11-15,5 0 1 0,0-3-3 0,-2 1-5 0,5 1 5 16,-1-3-10-16,1-2 7 0,2 0 26 16,0-2-38-16,-2-1 10 0,2 1 31 0,-2-2-1 15,2 1-12-15,-2-4-3 16,-1 0 8-16,-1-1-15 0,-2 1 15 0,0 1-5 0,-2-1-8 15,0-1 18-15,-2 2-33 0,-2-3 7 16,0 2-27-16,-4 2 22 0,1 1-43 0,-5-1-39 16,2 2-4-16,-2 0-50 0,0 3-61 0,-3 0-89 15,2-2-161-15,-4 4-541 0,3-1 95 16,-4 4 90-16,4-3 84 0,1 3 79 0,-2 1 67 16</inkml:trace>
  <inkml:trace contextRef="#ctx0" brushRef="#br0" timeOffset="104641.85">13979 6276 491 0,'6'-1'210'16,"-2"-3"-23"-16,2 1-3 0,-1-1-2 0,2-1-21 0,1 3-71 16,-2-4-11-16,1 0-7 0,-1-1 91 0,1-1-4 15,-2 2 13 1,-3-3 12-16,2 1 5 0,-2 2-84 0,-2 1-5 0,0-2 8 0,0 1-6 16,-2 3-7-16,-2-3-1 0,-1 1 57 0,0 0-5 15,-2 4-10-15,1 0-21 0,-2 1 3 16,-2 0-28-16,0 2 20 0,0 3 0 0,0 1-34 15,-1 2 1-15,1-1 18 0,-2 4-28 16,2 1 2-16,1-1 0 0,1 1-5 16,1 1-13-16,2-3-2 0,0 2-1 0,5-2-2 15,0 1-5-15,0-2-18 0,5 2 44 0,0-3-16 16,2 4-43-16,2-5 15 0,1 4-23 16,2-4-13-16,4 0-13 0,-1-1 16 15,-1 0-39-15,0-2-7 0,4-1-16 16,0-3-7-16,1 4-28 0,-4-3 12 0,3-1-25 0,-3 0-19 15,3 0-37-15,-2 0-55 0,-1-1-48 16,0-2-110-16,0 2-425 0,-1-1 98 0,-2 2 14 0,-2-2 96 16</inkml:trace>
  <inkml:trace contextRef="#ctx0" brushRef="#br0" timeOffset="107630.4">5332 4943 811 0,'0'0'276'0,"0"0"-7"0,0 0-10 0,0 0-47 16,0 0-15-16,0 0-30 0,0 0 9 0,-14 8-27 15,10-1-6-15,1-1 5 16,-4 4-27-16,4-1-11 0,-3 4 5 0,-1 4-18 0,2-2 1 16,-3 7-24-16,0 2-5 0,1-3 3 0,-1 5 2 15,0-2-90-15,1 0 4 0,2-1-1 16,2 0-2-16,-2-4 4 0,2-2 6 0,-2 1-10 16,5-4 15-16,-5 3-5 0,5-4-6 15,0-1 1-15,0-4 8 0,0 3 7 0,0-5-31 16,0 2 103 15,2-1-34-31,-1-1 16 0,3 0-13 0,-1 0 8 0,2-1-23 0,1-3 7 0,-2 3-2 0,4-1-5 0,0-3-3 16,2 1-5-16,-2 2 8 0,2-4-1 0,3 0-4 15,0 0 5-15,3-3-24 0,-1 3 6 0,3-1 0 16,4 0 10-16,-1 0-8 0,2 0-12 16,0-3 2-16,3 1 8 0,2-1 15 0,3 0-25 15,-3 0 22-15,6-1-22 0,-1 5 7 0,13-6 0 16,2 0-5-16,-1 4-10 0,1-2 31 15,1 3-8-15,-3-4-8 0,1 4-10 0,1 0 20 16,-2 1-12-16,-4-2-8 0,6 2 0 16,0 0 8-16,-7 0-16 0,6-1 3 0,-8 1 8 15,-4-2 4-15,1 2-4 0,0 0-6 16,-2 0 1-16,1 0 17 0,1 0-15 0,0 0-5 16,-3-1-8-16,0 2 21 0,-2-1-16 0,0 0 36 15,0 0-33-15,0 0-2 0,-3 0 12 16,-3 0-10-16,-1 0-1 0,1 0 1 15,-2 0 0-15,1 0 10 0,1 0-20 0,-7 0 10 0,1 0 0 16,-2 0 7-16,-1 0 6 0,-1 0 10 16,-2 0-28-16,-1 0 25 0,-1 2-7 15,-1-4-3-15,0 2-10 0,-2 0 12 0,0 2 1 16,-1-2 2-16,0 0-5 0,1 0 8 16,-8 0-18-16,11 0 0 0,-6 0 0 0,-5 0 12 15,8-2 11-15,-8 2-12 0,10 2 19 0,-10-2 1 16,7-2-6-16,-7 2 19 0,6 0-14 15,-3-3-7-15,-3 3-3 0,7-3-4 0,-7 3 19 16,5-5-4-16,-2 3 5 0,-1-2 12 0,-2 4-20 16,3-7 13-16,-1 2 0 0,1 2 13 15,-3-3-11-15,0 0 29 0,3-1-21 16,-3-3 10-16,0 2 16 0,0-3-26 0,2 0 10 16,-2 2 8-16,0-4-28 0,0-2 10 15,-2 0-3-15,2 0-14 0,0-2 12 0,0-2-11 16,-3 1 19-16,3-2-49 0,0 2 36 0,-3-1-82 15,3 2-11-15,0 3-7 0,-2-2 28 0,2 3-7 16,-2 0-6-16,1 1 34 0,1 3-11 16,-2-1 6-16,2 1-21 0,-3 0 5 0,3 3-23 15,-3-1-10-15,2 4-13 0,0-3-5 0,-2 2-18 16,3 4-23-16,-7-5-13 0,2 4-27 16,5 1-78-16,0 0-23 0,-13 0-125 0,10 4-446 15,-2 1 62-15,0-1 87 0,5 1 72 16</inkml:trace>
  <inkml:trace contextRef="#ctx0" brushRef="#br0" timeOffset="128122.7">6246 5488 934 0,'-2'6'330'0,"-3"2"-31"0,2 3 39 0,-1 2-15 0,0 1-26 16,0 4-44-16,1 0-22 0,-2 2-29 0,2 1-31 15,-2 1 3-15,0 1-18 16,-2 2-25-16,2-4-26 0,1 2-15 0,0-4-42 0,-2 1-12 16,-1 3-51-16,2-7-111 0,0 1-38 0,-1 0-79 15,-1-2 8-15,-6 2-157 0,7-5-389 0,2-3 113 16,1 1 41-16,0-3 44 0</inkml:trace>
  <inkml:trace contextRef="#ctx0" brushRef="#br0" timeOffset="128545.62">5942 5784 1000 0,'0'0'343'0,"0"0"-33"15,0 0-36-15,0 0-10 0,-3 16-26 16,6-8-11-16,-3 3 4 0,2 2-47 0,0 0 23 15,-2 5 16-15,0 1-46 0,3-1-13 16,0-1-21-16,0-1-2 0,4 1-29 0,-4-5 1 16,4 2-26-16,1-1 13 0,-1-2-21 0,2-2-12 15,0-2-8-15,2 0-3 0,1-4-2 16,-1-2-8-16,2-1-8 0,0 0 11 16,2-3 2-16,3-2-25 0,0-2 4 0,0-3-12 0,2 3-15 15,1-7-19-15,-1 2-22 0,-1 0-36 31,-1 3 7-31,-4-1-33 0,-1 1-30 0,3 0-39 0,-6 2-64 0,0 0-90 0,-2 2-122 16,0 3-423-16,-3-2 103 0,-3 3 74 16,-2 1 87-16,0 0 56 0</inkml:trace>
  <inkml:trace contextRef="#ctx0" brushRef="#br0" timeOffset="129543.82">4986 6763 1218 0,'0'0'432'0,"-1"-5"-48"16,1 5-48-16,-5-3-29 0,5 3-13 0,0 0-25 16,0 0-39-16,-7 13 19 0,4-6-44 15,3 0-42 1,-3 5-19-16,1 0 4 0,-1 2-17 0,3 0-14 0,-2 2-19 0,2-2-6 0,-3 3-23 15,3-3 5-15,0 3-18 0,-2-2 11 0,2 1-16 16,2-3-10-16,-2 1 0 0,0-1-25 16,0-2-1-16,0 0-5 0,3-2-20 15,-3 1 18-15,0-3-14 0,2 0 14 0,-2 0-8 16,0-2-2-16,0 0 14 0,0-4-9 16,0-1 15-16,0 0 7 0,0 0-25 0,0 0 16 15,0 0-16-15,0 0 15 0,3-16-10 0,-3 7 0 16,2-3 0-16,-2 0-10 0,0-3 18 0,0-2 0 15,3-3-8-15,-3 1 16 0,3-4-14 16,-3-2 6-16,2-1-5 0,0 6 15 16,1-2-8-16,0 6 3 0,0-1-10 0,-1 5 7 0,1 0 0 15,-1 4-12-15,1 1 2 16,2 2 16-16,0 1-4 0,0 4-11 0,-5 0 17 0,7 6-77 16,-4-1 0-16,2 1 0 0,1 6 13 15,-1-2 8-15,0 4 0 16,2 0-26-16,1 0 10 0,-2 0-15 0,1 0 11 0,1-1 14 15,-1-3-2-15,-1 1 3 0,1-1-3 0,-1-2 18 16,1 0-10-16,0-2 33 16,-1-1-26-16,-1 0 11 0,0-3 25 0,0 0-2 0,1-2 10 15,-6 0-3-15,15-4 3 0,-10-1 25 0,3-2 1 16,-3-4-19-16,2 0 6 0,1-3 8 16,-3-1-24-16,3-4 18 0,-1-3 0 15,-2 3-10-15,-2-1-12 0,2-3-4 0,-2 4 6 16,0 1-10-16,-1 2 17 0,1 0-53 0,-3 4 0 0,2 3-59 15,1-2-3-15,-3 5-84 16,0 1-21-16,0 2-59 31,0-2-117-31,0 5-438 0,0-1-20 0,0 1 89 0,0 0 56 0,0 0 113 0</inkml:trace>
  <inkml:trace contextRef="#ctx0" brushRef="#br0" timeOffset="129884.54">5316 6745 908 0,'-2'13'282'0,"4"-2"-6"0,-2 2-15 0,2-1-23 15,1-1-28-15,-2 1-28 16,3 1-44-16,-1 1 6 0,2-2-9 0,0 0-22 0,0-1-13 16,3 0-1-16,-3-1-9 0,3-1 0 15,-1 0-24-15,4-3-2 0,-3-2-7 16,-1 0 12-16,3-3-10 0,0 2 28 0,-2-6 12 15,3 2-19-15,-2-3 35 0,0-3 72 0,-2 0 28 16,1-1-23-16,-1-3 18 0,-4 0-11 16,0 1 6-16,-1-3-56 0,-2 0-75 0,-2-1 5 15,-1 3 13-15,0-3-28 0,-4 1 18 0,2 3-31 16,0-1-12-16,-3 3-14 0,-2-1 9 16,0 2-6-16,0 1-23 0,-1 0-38 0,1 5-13 15,0-1-59-15,-1 3-34 0,1 0-32 16,0 1-36-16,-1 3-80 0,1-1-179 0,3-1-479 15,-1 3 68-15,0 0 119 16,3-1 74-16,2 1 57 0,0-1 82 0</inkml:trace>
  <inkml:trace contextRef="#ctx0" brushRef="#br0" timeOffset="130638.15">5505 6713 1139 0,'0'0'322'0,"13"5"1"16,-10-4-114-16,0 4-17 0,-1-3-10 16,1 3-15-16,0 0 4 0,-1-1-38 0,0 4-18 15,1-1 11-15,2-3-26 0,-4 4-13 16,1-2 12-16,0 1-29 0,1-1-6 16,-1 1-8-16,-2 1 5 0,1-3 1 0,1 2-8 0,-2 0-3 15,3-2-10-15,-3 0 0 0,0 1-6 16,2-3 17-16,-2 2-22 0,0 0 19 0,0-1 0 15,0 0-3-15,0 0 5 0,0-4 15 0,1 4-2 16,-1-4-7-16,0 5 78 0,0-5 9 16,0 0-44-16,2 4 12 0,-2-4 14 0,0 0 14 15,-2 5-37-15,2-5-11 0,0 0-20 16,0 0-1-16,0 0 29 0,0 0-33 0,0 0-1 16,0 0-4-16,0 0-24 0,0 0 18 15,4-11 6-15,-4 11-16 0,3-7 18 0,-3 3-51 16,2-1 7-16,1-1 1 0,-3 3 9 0,2-3 9 15,1 0-6-15,-3 0-10 0,5 1 33 16,-5-2-35-16,2 1-77 0,2 3 17 0,-2-1 16 16,0-2-8-16,1 2 8 0,0 1 11 0,-3-1-19 15,0 4 10-15,5-3 3 16,-3 1 26-16,-2 2-36 0,0 0 36 0,10 0-3 0,-10 0 5 16,0 0-10-16,8 4 13 0,-5-3-8 15,0 3 0-15,1-2 18 0,-1 2-28 0,0-1-8 16,-1 1 5-16,0-2 11 15,1 2 2-15,0 2-2 0,-1-4 10 0,-1 4-8 0,4-3 0 16,-5-1 0-16,2 3 18 0,-1-4 3 16,-1-1-19-16,4 6 32 0,-4-6-21 0,3 2 92 15,-3-2 20-15,0 0-2 0,0 0 10 0,2 3-17 16,-2-3-22-16,0 0-17 0,0 0-30 16,5-12 27-16,-4 8-7 0,1-2-26 0,1 3 20 15,-1-2-17-15,1-1-26 0,2 1 46 16,-3 0-10-16,4 2-23 0,-4-3-11 0,1 2 16 15,-1 3-18-15,3-3 3 0,-2 2 30 16,-3 2-138-16,10-1 3 0,-4 1 12 0,-6 0-2 16,10 1 13-16,-6 1 25 0,2 1-7 0,-1-1-1 15,3 2 24-15,-3-1-21 0,2 2 11 0,-1 0 2 16,-1-1-16-16,2-1 29 0,-4 3-36 16,2-1-18-16,-2 1 5 0,2-4-18 0,-5 3-38 15,3-2-26-15,-1 1-35 0,0 1-37 0,-2-5-38 16,0 6-33-16,0-4-43 0,0-2-142 15,-2 5-53-15,2-5-425 0,0 0 89 0,0 0 93 16,0 0 69-16,0 0 87 0</inkml:trace>
  <inkml:trace contextRef="#ctx0" brushRef="#br0" timeOffset="130821.27">5888 6726 982 0,'0'0'290'0,"0"0"-4"0,0 0-19 0,0 0-11 0,0 0-18 16,0 0 43-16,5 12 1 0,-5-8-24 15,0 2-48-15,2-3-23 0,-2 4-5 0,0-1-29 16,0 3-43-16,0-2-43 0,0 0-57 0,0 0-53 16,0 0-108-16,0-4-100 0,0 4-561 15,0-1 27-15,-2-3 96 0,2 3 121 0,0-2 5 16</inkml:trace>
  <inkml:trace contextRef="#ctx0" brushRef="#br0" timeOffset="130950.48">5885 6662 1062 0,'-5'-3'304'0,"0"1"-68"0,5 2-93 0,-8-1-138 0,8 1-156 16,-7-1-522-16,7 1 92 0</inkml:trace>
  <inkml:trace contextRef="#ctx0" brushRef="#br0" timeOffset="131330.73">5970 6606 1274 0,'2'3'420'0,"1"1"-49"0,-1 2-36 16,4-1 6-16,-4 2-39 0,1-1-20 0,2 3 2 15,-3 1-18-15,1-2-54 0,2 3 3 0,-3 0-28 16,4-3-8-16,-4 1-28 0,-1 0 8 0,3 0-13 15,-1 0-8-15,-2-3-2 0,1 0 51 16,0 1-11-16,-2-4-109 0,3 1 51 0,0 1-36 16,-1-3 30-16,-2-2-15 0,2 4 62 15,-2-4-8 1,0 0-2-16,0 0-11 0,0 0-15 0,10-5 5 0,-10 5 2 0,6-4-35 16,-4 1 2-16,1 0-17 0,0 1 9 0,2 0-20 0,-3-1 11 15,-2 3-9-15,8-3-22 16,-3 1-6-16,0 1-35 0,1 0 28 0,-2-1-23 15,2 0-16-15,-6 2-4 0,10-2-40 0,-5 2-68 16,1-1-51-16,-6 1-29 0,10 0-35 0,-10 0-36 16,10 0 0-1,-10 0-75-15,10 0-143 0,-5 0-598 0,3 0 86 0,-3 1 131 0,5-1 69 16,-3 0 71-16,1 0 108 0,0 0 26 0</inkml:trace>
  <inkml:trace contextRef="#ctx0" brushRef="#br0" timeOffset="131881.01">6401 6656 1254 0,'-8'-2'363'0,"3"-1"-38"16,5 3-15-16,-8 0-26 0,8 0-18 0,-10 0-12 0,10 0-34 15,-8 1-8-15,3 1-25 16,5-2-18-16,-11 1 21 0,7 0-34 0,4-1-23 0,-8 1-3 15,8-1-12-15,-6 2-28 0,2 0-3 0,4-2-3 16,-6 2-20-16,6-2-20 0,0 0-1 16,0 0 19-16,0 0-32 15,-7 0-1-15,7 0 1 0,0 0 11 0,0 0 13 0,0 0-39 16,2 5 19-16,-2-5-27 0,0 0 24 16,0 0-5-16,5 5-32 0,-1-3 17 0,0-1-4 15,-1 3 9-15,2-3-16 0,-5-1 5 0,10 2 10 16,-5-2-20-16,-5 0 8 0,14-2 17 15,-7-2 6-15,3 1-103 0,1-1 31 0,-4-3 5 16,3 0 15-16,0-3-2 16,-2 1 33-16,0-2 23 0,2-1-5 0,-2-2 21 0,-1 2 23 15,1-5-3-15,-2-1 25 0,1-2-4 0,0 1-39 16,-1 1 20-16,-3-1-22 0,2 4 25 16,-3 2 36-16,0 1-3 0,-1 1 108 0,1 2-69 15,1 0-41-15,-3 4-16 16,0 2 24-16,0 3-34 0,0 0 23 0,0 0-58 15,0 0 30-15,-6 20 2 0,5-8-27 0,0 5 53 0,1-3 34 16,0 5-16-16,3 0-33 0,2 0-21 0,0-1-12 16,3-1-18-16,0 3-11 15,2-3-23-15,0-1-12 0,0 0-23 16,3-1-49-16,-3-3-11 0,1 1-24 0,-1-1-45 0,-2-4-7 16,2 2-15-16,-2-4-54 0,-1-3-39 0,0 1-181 15,-1-3-88-15,1 2-452 0,-1-3 69 16,2 0 104-16,-1-4 67 0,1 3 121 0,2-4 15 15</inkml:trace>
  <inkml:trace contextRef="#ctx0" brushRef="#br0" timeOffset="133097.19">8885 4956 1231 0,'0'0'348'0,"0"0"-8"16,0 0-33-16,-5 11 3 0,2-2-31 16,1 3-13-16,-1 6-33 15,-2 1-5-15,0 5 0 0,-1 1-26 0,-1 1-33 0,2-1-26 16,0 0 11-16,0 1-31 0,2-1-13 0,-2-1-18 16,3-4-5-16,-1 3 3 15,0-5-8-15,3 1-3 0,0-5-12 0,0 0-11 0,3-1-18 0,-3-1 19 16,3-1-19-16,1 0 8 0,0-3-2 15,2-2-29-15,0 0 26 0,4-4-3 0,0 2-15 16,1-4 0-16,4 0 0 0,0-4 36 16,6 2-107-16,7-6 12 0,8-3-3 0,5 0 14 15,3-1-11-15,4 0 10 0,-4 2 1 0,5-2 4 32,10-4 1-32,-11 8 10 0,1-5 10 0,-3 3-24 0,5 2 19 0,-2-3 8 15,2 4-21-15,1 0 26 0,-1 2-13 0,0 3 7 16,-1-1 1-16,1 2 2 0,-3 0-5 15,1 0 15-15,-8 2-10 0,-6-1-15 0,2 1 25 16,-2 0-12-16,-1 3-8 16,-1-3 25-16,-2 0-15 0,2 2 18 0,1-1-25 0,-4 2 4 0,3-2 19 15,-2-1-6-15,0 0-22 0,0 2-9 16,-6-3 11-16,2 2 5 0,-4-2 13 0,-1 1-13 16,-1 1-13-1,-3-2 26-15,0 1-5 0,-3-1-3 0,-2 1 2 0,-2-1 16 0,-1 0-5 16,0 0 28-16,-2 0-2 15,-1 0-36-15,1 0 45 0,0 0-12 0,-1 0-5 0,-7 0-10 16,8 0 25-16,-1 0-20 0,-7 0-3 0,8-4-13 16,-3 3 21-16,0-1-5 0,-2-1 15 15,3 1 0-15,-2 0-18 0,-1-3 21 0,0 0 15 16,1-1 15-16,-1-2-15 0,0-2 23 0,-1 2-23 16,0-5-5-16,2 0 18 0,-4-4-26 15,4 2-28 1,-3-7-8-16,4-3 42 0,-3 0-32 0,1-2 3 0,2-10 8 0,0 1-13 0,1-1 0 15,-2 9-18-15,2 4-12 0,-2 2 12 16,-3 3 13-16,1 1-23 0,-2 3 7 16,3 2-15-16,-3 0-28 0,2 2-12 0,-4 3-14 15,2 0-30-15,-3-1-36 0,1 4-28 0,-1 2-31 16,1 0-21-16,-4 0-56 0,6 3-63 16,-10 0-165-16,5 0-468 0,-2 1 72 15,1 2 104-15,-1-1 80 0,-1 1 82 0,2 1 49 0</inkml:trace>
  <inkml:trace contextRef="#ctx0" brushRef="#br0" timeOffset="141017.84">8775 6608 1100 0,'-2'6'389'0,"-1"-1"-25"0,0 0-14 0,1-3-35 16,2 3-28-16,0-5-16 0,-1 2-20 16,1-2 8-16,-2 4 7 0,2-4 49 15,0 0-64-15,0 0 99 0,0 0-68 0,0 0-67 16,-3-12 5-16,3 5-38 0,0-3-13 16,3-3-11-16,-1-1-32 0,-1-5-16 0,4 1 5 15,-3-6 8-15,3-2-26 0,1 0-18 0,1 1 16 16,0 1-23-16,-1 4-24 0,-1 2 4 15,1 1 7-15,-2 4 7 0,-1 2-10 0,2 2-27 16,-3 3 12-16,4 1-13 0,-4 4 15 16,-2 1-7-16,0 0-8 0,10 12-2 0,-9-6 12 15,1 3 6-15,1 5-24 0,-1 1-25 0,0-1-15 0,-2 5-24 16,1-1 16-16,1 1-34 0,1-6-25 31,-1 3-7-31,1-3 30 0,-1 1-21 0,2-2 14 0,0 0 17 16,-1-4 15-16,0 1 19 0,1-3-16 0,-1-4 23 0,2 0 34 15,-5-2 10-15,10-3-1 0,-4-2-7 0,-1-1 18 16,2-5 23-16,1-2-20 0,-1-1 15 0,-1-4 2 16,-1-6-7-16,2-9-11 0,1-4 19 0,-3-1-11 15,3-1-33-15,-2-1 2 0,1 6 1 16,-2 4-24-16,-2 7-2 0,0 3 28 0,1 1-46 16,-4 5 3-16,3 1-24 0,0 1-2 0,-3 0-84 15,0 6-45-15,2-1-47 0,-2 2-37 0,0 5-63 16,0 0-139-16,-5 1-156 0,5-1-371 15,-2 9 100-15,1-6 46 0,-1 3 112 16,0 0 67-16,2 0 69 0</inkml:trace>
  <inkml:trace contextRef="#ctx0" brushRef="#br0" timeOffset="141338.25">9095 6328 1226 0,'-2'15'401'15,"-1"-3"-91"-15,0 1-23 16,3-2-31-16,0-1-28 0,0 1-21 0,0-3-25 16,3 3-24-16,-3-3 1 0,3 2-33 0,-1-2-11 15,0-2 23-15,4 1-43 0,-1-2-3 0,0-1 13 16,3-2-5-16,2-3 5 0,-2-3 7 16,0 3 6-16,1-4 20 0,-1 2 29 0,-3-2 14 15,3-3 50-15,-2-2-1 0,-2 3 3 0,-1-5 5 16,-3 4-46-16,0-3 23 0,-3 1-13 15,1 1-28-15,-3-2-25 0,2 3-21 0,-2-2-34 16,-2 2-27-16,1 2-3 16,-1 0-33-1,-3 1-21-15,2 3-49 0,-2-1-86 0,-1 3 2 0,1 2-35 0,0-1-60 0,0-1-51 0,0 4-143 16,-1-1-154-16,3 2-483 0,0-2 104 16,1 1 129-16,2 0 63 0,2-2 44 0,0-1 95 0</inkml:trace>
  <inkml:trace contextRef="#ctx0" brushRef="#br0" timeOffset="142061.66">9175 6285 1246 0,'0'0'415'0,"10"0"12"0,-10 0-22 16,12 2-62-16,-6-1-23 16,-1 0-13-16,0 2-36 0,0 0-15 0,3 1-18 15,-2-2-51-15,0 3-5 0,-2 0-6 0,1 0-22 0,0 0-6 16,-1 0-7-16,-1 1-33 15,2-1-16-15,-2 1 10 0,-1 0-89 0,2-3-13 0,-2 2 26 16,0 1-14-16,1-2 4 0,-3-1-11 0,3-1-10 16,-1 1 33-16,-2-3-10 15,5 5 15-15,-5-5 54 0,0 3-23 0,0-3-20 16,0 0 25-16,0 0 2 0,0 0 1 0,0 0-13 16,8-7-13-16,-8 7-13 15,5-6 8-15,-2 3 41 0,-1 0-20 0,1-2-1 0,1 2 13 16,-1 0-28-16,2 1-18 0,-2 0 8 15,2-1-2-15,-5 3-4 0,7-3-14 0,-7 3 14 16,8-1-4-16,-8 1-3 0,6-2 5 16,-6 2-7-16,7 0-1 0,-7 0 3 0,8 3-20 15,-8-3 4-15,8 2-17 0,-6-1 33 16,1 3 0-16,-3-4-2 0,5 2-24 0,-3 1 42 0,-2-3-6 16,6 2-46-16,-2 0 16 0,-4-2 9 15,6 4-35-15,-6-4 110 0,2 1 21 0,-2-1 7 16,0 0-2-16,6 3 15 0,-6-3-34 15,0 0-78-15,0 0 14 0,7-5-17 16,-4 0 18-16,-3 5-18 0,5-4 5 0,0 2 7 0,-2 0 1 16,1-2 25-16,0 2-15 15,0-1-16-15,-4 3-4 0,8-2-9 0,-8 2 52 0,8-1-64 16,-8 1 0-16,7 0 18 0,-7 0 7 0,8 2-20 16,-3-1-15-16,-5-1-36 15,5 3-16-15,-5-3-50 0,6 2-29 0,-6-2-59 0,4 1-31 16,-4-1-22-16,0 0-34 0,6 3-13 15,-6-3-7-15,0 0 8 0,0 0 1 0,10-4 12 16,-7 3 42-16,2-3 11 0,0 1 31 0,0-1 51 16,0 1 20-16,-2-2 57 0,4 0 38 15,-4 1 41-15,2 1 25 0,0-1 45 16,-2 1 22-16,-1 2 13 0,-2 1 2 0,5-4 26 0,-5 4-10 16,0 0 13-16,0 0 2 0,0 0-23 0,11 5 8 15,-11-5-36-15,3 5 5 16,-3-3-2-16,2 3-8 0,-2-5-3 0,0 7-25 0,0-2-31 15,0-2-10-15,-2 1-77 0,2 3-49 16,-1-2-40-16,-1-2-78 0,2 2-132 0,-3 1-229 0,1-2-296 16,-1-1 33 15,0 2 110-31,1-3 49 0,2-2 92 0</inkml:trace>
  <inkml:trace contextRef="#ctx0" brushRef="#br0" timeOffset="142221.94">9605 6236 1072 0,'-2'-6'435'0,"2"1"-38"0,-3 0-46 0,1 2-42 0,1-1-25 0,1 0-46 16,0 4-63-16,-2-4-58 0,0 0-55 15,2 4-70-15,-3-2-117 0,3 2-101 16,0-4-291-16,0 4-192 0,0 0 3 0,0 0 127 16,3-7 44-16</inkml:trace>
  <inkml:trace contextRef="#ctx0" brushRef="#br0" timeOffset="142506.79">9656 6164 1011 0,'6'4'373'0,"-3"-3"-4"0,1 3-34 16,0 1-61-16,-2 0-18 0,0 2-18 0,4 2-8 16,-4-3-17-16,3 2-13 0,-5-1-16 0,5 3 18 15,-3-2-10-15,-1 2-3 0,4-2-35 16,-3-1 43-16,1 1-20 0,0 1 33 0,-1-2-85 16,0-2 129-16,1 0-27 0,-3-1-81 0,3 3 10 15,-1-2 24-15,-2-2-14 0,3 0 103 0,-3-3-47 16,5 4-22-16,-5-4-31 15,0 0 5-15,11-4-10 0,-7 3 2 0,2-4 3 16,1 1-59-16,-2 1 62 0,3-2-54 16,0 4-118-16,-1-4 0 0,1 2 0 0,0 0 0 0,0 1 0 15,-4 0 0-15,2-1 0 0,1 3 0 0,-1-1 0 16,-6 1 0-16,12 0 0 16,-6 1 0-16,-6-1 0 0,10 0-218 0,-5 0-48 0,1 0-39 15,-6 0-25-15,14 0-87 0,-8 0-62 0,4-1-59 16,0-2-242-16,0 1-216 0,3 0 136 15,3-3 59-15,-4 0 89 0,4 0 90 0,-3 2 49 16</inkml:trace>
  <inkml:trace contextRef="#ctx0" brushRef="#br0" timeOffset="142951.44">10090 6212 770 0,'5'-6'266'15,"-3"3"18"-15,-2 2-7 0,0 1 63 0,0 0-4 16,0 0-9-16,0 0-25 0,-7-3 3 0,7 3-100 16,0 0 25-16,-15 2 3 0,7 0-23 0,0 1 15 15,1-2-15-15,-1 4-16 0,0-3-22 16,3 1-3-16,-3 0-23 0,1 1-3 0,2-2-15 15,-1 3-8-15,1 0-20 0,2-2-2 16,1 2-19-16,2-4-13 0,-2 4-17 16,2-5 20-16,2 5-30 0,0-3-24 0,-2-2-20 15,8 5-3-15,-2-3 16 0,-2 1 10 0,2-1-5 16,-1 0-13-16,0 1-31 0,0-1 31 16,3-2 13-16,-3 1-24 0,0 0 19 0,3 1-28 15,-8-2 14-15,11-2-1 16,-4 0-11-16,0 1 26 0,1-3-3 0,2-2 5 0,-2-1 15 15,2 0 39-15,-2 0 6 0,-1-4-14 0,4 2 64 16,-3-2-15-16,2-3-69 0,-2-2 25 0,-1 1 21 16,1-2 26-16,-3 4-37 0,3 1 1 0,-3 3 2 15,0 0 106-15,-3 1-11 16,1 2 25-16,0 0-35 0,-1 5-18 0,-2 1-19 0,0 0 22 16,0 0-90-16,3 11-54 0,-3-3 0 0,0 1 0 15,0 2 0-15,0 3 0 0,0 1 0 16,2-1 0-16,-2 0 0 0,3 3 0 0,0-4 0 15,-1 0 0-15,0-1 0 0,4 1 0 16,-1-2 0 0,-2-2 0-16,2 1-152 0,2-3-132 0,-4 0-10 0,4-2-5 0,-1 0-27 0,-4-2-45 15,3 0-97-15,-5-3-121 0,6-2-440 16,-6 2 69-16,0 0 118 16,2-5 113-16,-2 5 58 0,-8-9 146 0,-2 3-56 0</inkml:trace>
  <inkml:trace contextRef="#ctx0" brushRef="#br0" timeOffset="144256.01">1988 5070 1310 0,'-3'-4'394'0,"3"4"-20"0,0 0-41 0,-10 5-36 0,5 0-18 16,0 6-21-16,0-3-15 0,-8 9-7 0,3 1-24 15,2 2-25-15,-2-1-38 0,-8 8-70 16,5 2-10-16,-2-1 0 0,2-5-2 15,3-3-19-15,-1-1-7 0,4 0 13 0,-1-3-5 16,0-1-21-16,1-5 13 0,4 3-23 0,-2-4-3 16,2 0 8-16,0-2 3 0,2 1 2 15,0-3-8-15,2 1 1 0,3-1-8 0,4-2 2 16,2 0 3-16,1 0 18 0,5-3-16 0,1 0 8 16,9 0 3-16,7 0-13 0,15 0 18 15,4-2-13-15,-1-2 8 0,5 1-13 0,19-2-8 16,-3-2 77-16,5 1-23 0,0 3 7 15,4 0-24-15,2-1 17 0,1 3-24 0,-2 1 9 16,-2 1-13-16,-1 3-3 16,-4-1 21-16,-1 2-18 0,-2-1-16 0,-1 2 1 15,-14-1 4-15,-3 2 11 0,-3-1-31 0,0-2 18 0,-5 3 13 16,-2-2-8-16,-10-1-17 16,-4-3-1-16,-4 3 13 15,-3-3-15-15,-2-1 9 0,1 2 1 0,-6-2 8 0,-1 0 23 0,-1-1-49 0,0 0 23 16,-4-4 2-16,1 0-2 0,2-1 41 15,-3-3-25-15,-3-3-32 0,1 1 14 0,-2-3 4 16,-1-4 1-16,0-1 7 0,-2-5 24 0,1-1-19 16,-4-2-25-16,0-1 7 0,0 1-20 15,-2 2 26-15,0 4-31 0,1-1 23 0,-4 2-54 16,2 3 26-16,1-1-19 0,0 4-11 16,-3 1-30-16,2 1-29 0,1 4-50 0,-1-2-22 15,0 3-42-15,1 0-33 0,-1 3-12 0,0 1-31 16,-1 3-100-16,1-5-16 15,3 5-511-15,0 0 71 0,-11 5 98 0,8-3 61 0,3-2 59 16</inkml:trace>
  <inkml:trace contextRef="#ctx0" brushRef="#br0" timeOffset="158197.15">3034 9835 1090 0,'0'0'481'0,"-5"-4"-53"0,5 4-39 0,13-2-36 0,-5-1-20 15,-1 3-11-15,3-3-58 0,4-1-29 16,-1 2-22-16,1-3-1 0,5 1-27 16,-2 1-40-16,-1-2 17 0,5-1-50 0,-4 1 1 15,-3 2 0-15,0-2-16 0,-1 4-5 0,-5-1 23 16,2-1 44-16,-4 1-11 0,-2-1 6 15,-4 3-21-15,6-1-20 0,-6 1-37 0,0 0 6 16,0 0-15-16,-26 6 12 0,8 0-30 0,0 1 7 16,-8-1 31-16,-7 7-41 0,2-3 13 15,5-1-13-15,-9 2-18 0,9 0 8 16,0-3 13-16,6-1-26 0,0 2 15 0,4-2-22 0,-1 0 4 16,6-1-10-16,-1-1-12 0,4-1-29 0,2 1 23 15,1 1 11-15,3 1-13 16,2-1-16-16,2 0 6 0,1 1 2 15,2-1 5-15,2 0 13 0,4 1-13 0,2-2-12 0,-3 2-4 16,2 0 29-16,4-1-23 0,-1 1-7 0,-2-2-1 16,1 1 23-16,0-1 1 0,-4 0-4 15,1-2 14-15,-1 2-1 0,-2 0 16 0,0-3 21 16,-4 3 2-16,2 0-18 16,-4-2 15-16,-2 3 34 0,-4 1-6 0,-2-2-30 0,-2 1-10 15,-4 4 12-15,-1-1-7 0,-2 0-3 16,-1 0 0-16,-1-1-23 0,0 1 11 0,0-3-44 0,-1 1-24 15,2-1-30-15,-2 1-22 0,4-3-37 0,1 0-97 16,-1 0-23 0,4-2-39-16,3-1-15 0,-1 2-168 0,2-2-465 0,4-1 17 0,2 0 66 15,0 0 138-15,0 0 71 0,0 0 65 16</inkml:trace>
  <inkml:trace contextRef="#ctx0" brushRef="#br0" timeOffset="158544.54">3642 9829 1123 0,'0'0'389'0,"0"0"-12"0,-16 8-68 0,6-4 14 0,0-1-24 16,-5 6 3-16,-6 1-7 15,3 1-42-15,-5-2-7 0,0 3-13 0,2-1-3 16,1 2-28-16,-1-1 6 0,3-1-32 0,3-2-32 15,2 1-14-15,1-3-17 0,3-1 2 16,0 1-23-16,4-2-2 0,-1 1-16 0,3-1-5 16,2-2-20-16,2 3 12 0,2-2-10 0,3-1-5 15,4 1 11-15,2-2-19 0,1 3-2 16,5-4-5-16,2 2-11 0,1-2-2 0,0 1 28 16,4-1-18-16,-1-1-15 0,2 0 0 0,2 0 0 15,2-2 46-15,-5 2 2 0,-1-1-71 0,3-2-21 16,-2 2-33-16,-3 1-33 0,-1-1-24 15,-3 1-1-15,-4-1-37 0,0 1-54 16,-4-1-119-16,-2-2-101 0,-1 3-460 0,-4-2-26 16,-3 2 110-16,5-4 69 0,-5 4 82 0,-2-7 67 15</inkml:trace>
  <inkml:trace contextRef="#ctx0" brushRef="#br0" timeOffset="158801.9">3701 9820 1208 0,'0'0'422'0,"0"0"13"0,0 0-36 16,0 0-27-16,-10 9-98 0,7-4-3 0,2 4-8 15,0-2-14-15,0 6 12 16,-1-2-44-16,0 2-9 0,2 1-32 0,-4 4-17 16,4-2-10-16,-4 0 4 0,1 3-25 0,3 2-5 15,-3-2-28-15,-1 1-8 0,1-1-10 16,0 0-19-16,-2-1-4 0,3 0-23 0,-4-2-64 15,1 1-26-15,2-4-49 0,1 3-27 0,-3-3-52 16,3-1-51-16,1-2-67 0,-1-1-102 0,2-1-164 16,0-3-294-16,0 1 95 15,0-4 45-15,2 2 106 0,-2-4 56 0</inkml:trace>
  <inkml:trace contextRef="#ctx0" brushRef="#br0" timeOffset="159187.96">4075 9817 1151 0,'0'9'489'0,"-2"-1"-64"0,2 3-33 0,-3 1 7 0,3 4-84 16,-3 2-13-16,1 0-26 0,2-2-25 0,0 3-41 15,2 3-10-15,1-3-49 0,0 0-13 0,2-1-12 16,2-3-22-16,1 2-4 16,2-4 3-16,-1-1-21 0,3-3 12 0,-2 0-7 15,1-3 0-15,-1 0 8 0,0-4 5 0,0-1 10 16,-2-1 64-16,-3 0-13 0,-5 0-120 0,10-5 8 16,-5 1 89-16,-5 0-18 0,0-1-7 15,-5-1 5-15,0 0 2 0,-5-1-23 16,0 3 6-16,-3-1-32 15,-5-2-22-15,0 2-26 0,0 1-41 0,-2-1-43 0,4 3-26 16,-1 0-31-16,0 2-46 0,0 2-43 0,1-1-36 16,-2 2-82-16,-2 2-116 0,-1 5-580 0,4-3 64 0,-4 5 112 15,1 0 62-15,1 1 109 16,-9 5 40-16,2 1 50 16</inkml:trace>
  <inkml:trace contextRef="#ctx0" brushRef="#br0" timeOffset="159834.79">2911 10645 982 0,'3'-2'377'0,"2"0"-34"0,0-2-23 0,0 3-36 0,1-3-95 16,1 0-15-16,-2 1-15 0,3 0 15 0,-1 0-20 15,-2 0 7-15,1 0-23 16,-6 3 8-16,5-2-18 0,-5 2 87 0,5-1-18 16,-5 1-20-16,0 0-29 0,0 0-7 0,0 0 5 15,-16 7-23-15,9-4-26 0,0 2 0 16,-1-1-12-16,-1 2-26 0,0 0 10 0,1 0 5 16,-3 1-15-16,4-1-11 0,0 0-14 0,-1 0 2 15,3 0 30-15,1-2-53 0,0 2-23 16,1 0 15-16,1-1-13 0,4 0-10 15,-2 1-7-15,3-3 4 0,1 3 6 0,0-1 5 0,1 0-3 16,3-2 5-16,1 2-12 16,0 2 20-16,1-1 28 0,0-1-8 0,-3-1 1 0,4-1 14 15,-4 2-6-15,-1-2 22 0,-1 2 31 16,2 0 0-16,-1-1-18 0,-2-1 74 16,-1 1-10-16,-3 1 0 0,0 0-64 0,-2 0-46 15,-1 1 18-15,-5 0-11 0,0 1-12 0,-4-1 15 16,-4 4 16-16,-4-1-24 0,2 1 8 15,-2-2-43-15,-1 3 18 0,-5-3-9 0,4-1-24 16,3-1-14-16,-1 0-48 0,0-2-23 0,4-1-26 16,1 2-36-16,1-3-30 0,4 2-34 0,0-3-71 15,3-1-115-15,-1 2-42 0,5-2-439 16,3 0 68-16,0 0 72 0,0 0 110 0,0 0 57 16</inkml:trace>
  <inkml:trace contextRef="#ctx0" brushRef="#br0" timeOffset="160163.53">3344 10651 998 0,'0'0'384'0,"0"0"-39"0,6 3-25 0,-6-3-5 0,-3 8-41 0,-2-3-10 15,-3 1 48-15,0 2-25 0,-2-1-14 16,0 4-27-16,0-3-36 0,0 3 0 15,-1-2-15-15,1 1-14 0,-1 3-35 0,1-2-13 16,0 2-2-16,2-5-3 0,1 3-8 0,0-2-20 16,1 0-103-16,1-2 3 0,2 0-5 15,3 2 10-15,-2-3-10 0,2-1 3 0,2 2-9 16,1-2 9-16,4 0 7 0,-1 1-13 0,2-1 16 16,-1-2 2-16,6 2-2 0,-1-2 5 15,2-1-21-15,3-1 13 0,-1-1-5 16,7 0-18-16,-3 0-23 0,1 0 0 0,1-1-23 0,2-1-23 15,-1-1-12-15,-3 1-50 32,1-1-25-32,-2 0-46 0,-2 1-182 0,-4-1-200 0,-1 1-217 0,-1-2 36 0,-3 3 102 0,-1-3 95 0,-2 2 18 15</inkml:trace>
  <inkml:trace contextRef="#ctx0" brushRef="#br0" timeOffset="160463.37">3408 10712 1077 0,'-2'-3'433'16,"-1"1"38"-16,3 2-44 0,0 0-7 16,0 0-39-16,0 0-45 0,-12 6 12 15,9 0-21-15,2 1-83 0,0 2-22 0,0 0-9 16,1 2-16-16,0 2-13 0,0-1 26 0,-2 2 23 16,4 2 23-16,-4 3-64 0,2-3-10 15,0 1-1-15,0 3-40 0,0 1-23 0,0-2 15 16,0 0-36-16,-2-3-38 0,2 2 5 0,0-5-43 15,-3 2-47-15,3-2 0 0,0-1-63 16,3-3-11-16,-3 0-51 0,2-1-21 16,0-2-30-16,-2 0-26 0,6-3-51 0,-4 1-94 15,3-5-252-15,3 2-386 0,-2-2 125 0,1-3 62 16,0-1 120-16,3-2 67 0,-2 1 89 16</inkml:trace>
  <inkml:trace contextRef="#ctx0" brushRef="#br0" timeOffset="160780.93">3955 10644 1415 0,'12'-1'451'0,"-2"1"-27"0,-2 0-42 16,0 0 7-16,0 1-10 0,-1 2-29 15,3 1-45-15,-2 1 5 0,2 1-100 0,-1 4-24 16,1 0-14-16,0 3-8 0,-2 2-16 16,-1-2 14-16,1 1-42 0,-1 0 13 15,-1 2-36 1,-1-3 16-16,0 1-26 0,-4-1 0 0,3 2-23 0,-2-2-26 0,-1-1-48 0,2-2-23 16,-1 2-21-16,-2-2-25 0,0-2-42 0,2 3-7 15,-2-3-33-15,0-1-33 0,0-1-47 16,0 0-43-16,1 1-144 15,-1-2-50-15,0-1-428 0,-1-2 112 0,1-2 44 0,0 0 110 0,0 0 80 16</inkml:trace>
  <inkml:trace contextRef="#ctx0" brushRef="#br0" timeOffset="161014.96">3908 10825 1087 0,'0'0'333'0,"0"0"-3"16,18-4-5-16,-8 2 49 0,3 2 23 16,5 0-34-16,3-1-35 0,5 0-39 0,5 0-25 15,1 1-21-15,4-4-10 0,11 4-46 0,4 0-28 16,0-1-6-16,-2-3 1 0,2 3-62 16,-2 1-5-16,-3-4-10 0,-8 3-41 0,-7-1-42 15,-5 2-42-15,-3 0-29 0,0-2-51 0,-8 3-33 16,-2-1-34-16,-3 1-97 31,-4-2-179-31,-2 2-399 0,-1 1 18 0,-3-2 135 0,0 0 67 0,-15 9 87 0</inkml:trace>
  <inkml:trace contextRef="#ctx0" brushRef="#br0" timeOffset="161445.31">1808 11353 1210 0,'-14'3'387'0,"3"0"-39"16,3-2-41-16,3 0-31 0,5-1-12 0,0 0-90 0,0 0-7 15,0 0-6-15,23 0 64 0,-5-1 5 16,14-3 14-16,20 2-34 0,23-5-11 0,5 2-4 15,7-2-6-15,12-2 8 0,30 1-64 0,1-3 0 16,1-2 6-16,-2 4-19 0,-1-5 23 16,5 2-35-16,-7 0 2 0,2 2-13 0,-5-2-38 15,0 2-18-15,-3 0 18 0,-20 1 10 16,-2 0-13-16,-3 3 6 0,-2 1-1 0,1-2-117 16,-4 1 10-16,-5 4 35 0,-6-4-22 15,-3 4-28-15,-16-1-19 0,-6 2 1 0,-3 0-18 16,-13 0 0-16,-7-1-3 0,-5 1-3 0,-3 1-27 15,-5 0 17-15,0 0-17 16,-6 0 7-16,-1-1 13 0,-1 2-11 0,-2-1 16 0,-3 0-2 16,-5 0-18-1,7 1-34-15,-7-1-31 0,0 0-53 0,0 0-77 0,0 0 0 0,-12 7-478 16,4-6 43-16,1 0 99 0,-4-1 91 16,1 0 35-16</inkml:trace>
  <inkml:trace contextRef="#ctx0" brushRef="#br0" timeOffset="214454.25">1206 12334 1476 0,'-4'-3'397'0,"4"3"-49"0,0 0-99 0,-1-4-129 16,1 4-51-16,0 0-13 0,0 0-86 0,0 0-198 15,0 0 10-15,-3-1-460 0,3 1 2 0,0 0 123 16</inkml:trace>
  <inkml:trace contextRef="#ctx0" brushRef="#br0" timeOffset="-207092.81">1988 6713 1287 0,'0'0'443'0,"-5"-1"-49"0,5 1-20 16,0 0-47-16,-15 3-32 0,12 1-26 16,-2 1-8-16,0 1-131 0,0 2 6 15,0 4-8-15,-1 1-8 0,-1 2-5 0,1 2-23 16,-1 3 8-16,0 2-20 0,-1 2-16 15,2-3 10-15,1 3 5 0,0 0-22 0,2-3-19 16,-1-2 8-16,1 0-31 0,2-1 3 0,0-1-15 16,2-3-11-16,3-1 8 0,-2-1-15 15,0-1-3-15,1-3-8 0,2-2 26 0,0-1-23 16,3-3-10-16,0-3 12 0,0 1 14 0,2-4-9 16,1-3 11-16,1 1 3 0,1-3-8 0,4-7 7 15,-4 2-5-15,-2-5 3 0,2 0 3 16,-3 0 9-16,-3 2-17 0,-3-1 25 15,0 0-20-15,-1 3 26 0,-3-3-1 0,-3 3 14 16,0 0-17-16,1 1-1 0,-4 2 30 16,2 3-23-16,-4-1-10 0,0 2-1 0,-2 1 6 15,0 2 11 17,0 0 4-32,0 3-15 0,1-2 2 0,2 2-15 0,-3 1 6 0,2 1-19 0,2-3 28 0,2 2-25 0,4 1 16 15,0 0-11-15,-13 4-11 0,13-4 1 0,3 3 2 0,-3-3 6 16,5 7-14-16,2-2 19 0,1 0 0 15,2 1-14-15,3 2-1 0,0-2 4 16,3 4-10-16,1-2 3 0,-2 3 17 16,6-2-22-16,-6 3-1 0,4 0 11 0,-4 0 12 0,1 1-4 15,-1 1-3-15,0 2-5 0,-5-2-6 16,-2-1 3-16,-1 5-10 0,-1-3 18 0,-4 2-8 16,0-1-4-16,-3-2 19 0,1-1 1 0,-3 1-8 15,-2-2 2-15,0 0 18 0,-1 0-7 16,1 0-3-16,-4-4 13 0,1 2-5 0,0-4 18 15,3 0 7-15,-1-3-2 0,-2 0-11 16,3-3-7-16,5 0 8 0,-10-5-3 16,8-1-13-16,-1 0 16 0,0-5 17 0,3 1-32 0,1-2 6 15,1-3 14-15,4 1-28 16,1 1 27-16,0-1-17 0,1-2-5 0,2 3 12 0,0 0-4 16,4 1-16-16,-2 4 10 0,1-4-2 0,0 4-3 15,2-2-10-15,-2 3-23 0,0 2-24 16,0-2-32-16,-3 1-34 15,1 4-35-15,-1-2-75 0,0 0-131 0,-2 1-58 0,2 2-492 16,-3-2 139-16,1 1 79 0,0-3-3 0,2 3 90 16</inkml:trace>
  <inkml:trace contextRef="#ctx0" brushRef="#br0" timeOffset="-206526.25">2532 6684 1156 0,'0'0'326'15,"0"0"-22"-15,0 0-9 0,0 0-24 16,0 0-23-16,-3 16-28 0,3-5-10 16,-2-1-26-16,1 5-7 0,1-1-11 0,-2 0-27 15,2 8-16-15,-2-3 7 0,-1 1-25 0,3 1-23 16,0 1 2-16,0-1-9 0,0 1-9 16,0-2 1-16,0-2-29 0,0 1-12 0,3-4 10 15,-1 0-18-15,-2-2 7 0,2 0-27 0,-2-5 2 16,3 3 7-16,-3-4 3 0,0 1-10 15,3-3 21-15,-1 0-3 0,-1-4-16 0,1 3-2 16,-2-4 0-16,0 0 13 0,0 0 3 0,0 0-9 16,0 0 3-16,0 0 34 15,0 0-26-15,-8-10 5 0,3 5 5 0,0 3-5 16,2 1-7-16,-4-3-4 0,1 4 1 0,-3-1-10 16,1 1 12-16,-1 1 0 0,-1 0 6 15,0 3 10-15,-3 2 20 0,1 0-28 16,1-1 0-16,-1 3-3 0,-1-2 14 0,2 2-1 0,1-1-20 15,2 2 12-15,1 0-27 0,-1-3 22 0,3 1-2 16,2-2-3 0,1 1-22-16,2 0 22 0,0-1 3 0,0-5-10 0,3 6-6 15,2-6 19-15,2 0-21 0,-7 0 0 0,16-4 23 0,-6-1-16 16,5-2 57-16,1 0 11 16,-1 0-11-16,0 0 7 0,1-2-4 0,0 1 10 0,1 2-44 15,-7 0 11-15,1 0 9 0,1 3 1 16,-4-1 20-16,2 2-38 0,-1-1 15 15,-2 3 6-15,3-1 12 0,-3 1-28 0,1 2-11 16,-2 2-14-16,1 0 22 0,-1-2-15 16,-2 4-7-16,2-1-29 0,-1 0-13 0,-3 0-28 15,1 0-20-15,-3 1-64 0,2-1-41 0,-2 0-80 16,0-5-171-16,3 6-563 0,-3-3 56 0,0 2 110 16,0-5 59-16,0 5 88 0,0-5 63 0</inkml:trace>
  <inkml:trace contextRef="#ctx0" brushRef="#br0" timeOffset="-206000.03">2755 6955 1185 0,'2'6'473'0,"-2"1"-33"0,3 0-38 0,-3 1-92 0,2 3-44 0,1-3 3 0,-1 3-26 0,-2 0-15 16,1-3 28-16,1 2 5 0,1-1-48 15,-3 2-4-15,2-4-35 0,-2 2-12 16,2-1-1-16,-2 0-28 0,0-3 10 0,0 1 55 16,0-2-63-16,1 1 3 0,2-1-51 0,-1-2-10 0,-2-2 18 15,3 4 7-15,-3-4 52 16,0 0-49-16,0 0 2 0,9-6 16 0,-3 2-36 0,-3 3 23 16,1-5-53-16,2 1 17 0,1 2-43 15,1-3 17-15,0-1-38 0,2 3 37 16,0-3 11-16,1 3 4 0,-1 2 12 0,3 0 3 15,-3-2-21-15,1 2-35 0,1-1 30 0,-2 3 3 16,3 0-19-16,-3 0 109 0,0 1-24 16,1 2-56-16,-1-2-2 0,0 0-62 15,-2 3 0 1,2-2 0-16,-2 1 0 0,0 0-29 0,-3 2-70 0,2-4-40 0,-1 3-63 0,-3-1-21 0,1 1-56 16,-1-1-46-16,-1 0-110 0,1-1-148 15,-3 2-521-15,0-4 114 0,2 2 99 0,-2-2 69 16,0 0 95-16,3 6 67 0,-3-6 74 15</inkml:trace>
  <inkml:trace contextRef="#ctx0" brushRef="#br0" timeOffset="-205295.37">3327 7000 1228 0,'2'-4'425'0,"-2"4"-38"0,0 0-24 16,0 0-17-16,0 0-32 0,-8-2-83 0,8 2-29 16,0 0-13-16,-10 0 9 0,10 0-35 15,-13 5-4-15,8-3 20 0,-3 2 52 0,1-2-42 0,2 2-15 16,-1 0 0-16,-1 1-110 16,2 1 0-16,2-3-15 0,-2 0 2 0,2 3-8 15,1-4-9-15,-1 3-11 0,1-2 0 0,1 0 18 16,1-3-13-16,0 5-28 0,0-5 26 15,0 0-16-15,8 2-3 0,-8-2 11 0,8 0 3 16,-8 0 2-16,11 1-15 0,-4-1-3 16,0 0 10-16,-7 0-23 0,14-1 11 0,-9 2 15 0,2-2-23 15,2 1 20-15,0-2 8 0,-1 1 3 16,0-4-8-16,2 0-6 0,0-3-6 16,1-2 9-16,4 0 5 0,-4-2-4 0,3-4-1 15,0 1-2-15,-2-4 30 0,1 0 16 16,3-9 33-16,-4 4-22 0,-2 2 27 0,-2 2-8 0,0-2 16 15,-3 4 0-15,1 3 26 0,-2 2-36 16,-1 2 25-16,2-2-36 0,-3 5 32 0,-2 0-29 16,3 3 0-1,-3 2-11-15,0 3-19 0,0 0 89 0,0 0-36 0,-3 19-11 0,1-5-17 16,-1 3-20-16,0 2 48 0,-1 0-46 16,1 6 8-16,0 0-31 0,3-1-41 0,0-3 0 0,0 2 0 15,0-1 0-15,3-1 0 0,-3 0-82 16,3-2-69-16,1 0-47 0,-3-2-34 15,4-1-37-15,-2-3-44 0,2 0-14 0,-3-4-24 16,1 3-63-16,-1-6-88 0,1-1 5 0,-1 0-488 16,-1-2 68-16,1 1 129 0,-2-4 46 0,0 0 86 15,-2 5 65-15</inkml:trace>
  <inkml:trace contextRef="#ctx0" brushRef="#br0" timeOffset="-204842.67">1801 7379 888 0,'13'0'384'0,"2"-2"-36"0,8 1-33 16,8-1 10-16,13-2-46 0,5-2-26 0,4 2-10 16,3-5-40-16,11 3-9 0,0-3-81 0,0 0-24 15,0 1-7-15,-4-3 0 0,-11 4-38 16,1 0-6-16,-6 1-35 0,1 1-26 0,-12 2-26 15,-7-1-38-15,-6 4-49 0,-1-2-92 16,-6 1-63-16,-3 1-521 0,-1 1 124 16,-6-1 55-16,-2 1 52 0</inkml:trace>
  <inkml:trace contextRef="#ctx0" brushRef="#br0" timeOffset="-204584.61">1760 7482 813 0,'0'0'310'0,"18"5"59"15,-5-8-44-15,2 1-28 0,6-1-16 16,9-2-30-16,14-1-5 0,2 1-11 0,5-2-27 0,-2-1-1 16,5-1-35-16,10 0-11 15,-2-1-84-15,2-1-18 0,-12 3-3 0,8-5-8 16,-11 6-17-16,-5-4-10 0,-1 4-26 0,-1 0-29 15,-9 2-27-15,-8 2-26 0,-4 0-36 16,0-1-15-16,-7 1-70 0,2 2-50 0,-3-4-29 16,-3 5-501-16,0 0 51 0,-2 0 102 15,0-2 74-15</inkml:trace>
  <inkml:trace contextRef="#ctx0" brushRef="#br0" timeOffset="-204213.08">2898 6870 1223 0,'0'0'448'0,"-5"-1"-41"0,5 1-77 0,0 0-41 0,-5-2-66 15,5 2-54-15,0 0-102 0,0 0-93 0,-3-4-199 16,3 4-556-16,0 0 69 0,0 0 57 16,0 0 97-16</inkml:trace>
  <inkml:trace contextRef="#ctx0" brushRef="#br0" timeOffset="-197720.77">15425 5010 773 0,'0'0'314'0,"0"-5"-35"0,0 5-10 0,-2-5-13 16,2 5-38-16,0 0 66 0,0 0 13 0,0 0-49 15,0 0-12-15,-10 9-21 0,7-1-18 16,-2 0-28-16,0 4-8 0,-3 1-18 0,0 2 3 16,-2 5-36-16,2 1 5 0,-2-2 1 0,0 2-27 15,0-3-27-15,5-1 22 0,-3-1-12 16,3 0-19-16,2-3-1 0,-2 0-4 31,2-1 16-31,1-2-25 0,0-2 14 0,2 0-4 0,-1-2 2 0,2 2 3 0,1 0 5 16,0-4 0-16,4 0 5 0,-1 2-26 0,5-4-10 15,-2 2-56 1,4-3 5-16,2 4 0 0,0-3 3 0,2 2 27 0,5-4-20 0,1 2 11 0,1-1 2 16,6 3 8-16,2-4-19 15,15 3 16-15,3 0 3 0,0-3 13 16,-1 2 12-16,3-1-18 0,-2 2-10 0,5 2 6 0,-3-3 1 0,0 2-9 15,0-3 69 1,1 2 12-16,-1 1-10 0,-3 2-20 0,1-4 10 0,0 3-10 16,0 2-3-16,2-3 0 0,-2 3-5 0,-2-1-10 0,1-1-3 15,-5-2-7-15,-1 4-11 16,1-3-12-16,-5 1 15 0,-7-2-5 0,16 1-70 16,-4 3 4-16,1-2 22 0,-1-2 5 15,1 2-12-15,-8 0 12 0,-1-4 16 0,10 3-3 0,-3-1-18 16,0 3-4-16,-6-1 27 0,-6-3 16 15,1 2-34-15,-2-2 3 0,1 2-3 0,-1-1 19 16,1 1-14-16,-1 1 14 0,-2-3-6 0,1 3 5 16,-1-2 8-16,1 1 5 0,-5-2-12 0,0 2 12 15,0-3-13-15,-2 3-7 16,1-2 20-16,-1 1-10 0,2 0 0 0,0-1 7 16,0 1 8-16,-2-1-7 0,2 3 7 0,0-3 3 0,0 1-5 15,0-2 10-15,-3 1 10 31,1 1-26-31,2-1 8 0,-5-1-22 0,-2 3 22 0,4-3-15 0,0 1 15 0,-4 1 21 0,-1-2-18 16,3 1-11-16,-3 1 13 0,1-1-2 0,2-1-8 16,-3 0 0-16,-2 2 8 0,5 0 18 15,-5-2-16-15,2 2 11 16,1-1-8-16,-1 1-8 0,1-2-7 0,-2-1-1 0,0 2 8 16,-1 1-2-1,2-2 0-15,0-1-6 0,-2 1 4 0,0 0 6 0,0-1-17 0,-3 1 0 16,0 0 10-16,1-2 0 0,-1 2 0 0,0-2-15 15,-2 1 13-15,2 0-19 0,0 1 9 0,0 1 2 16,-2-4-1-16,2 2-1 0,-2 2 14 0,2-2 34 16,-2 0-25-16,2-2-24 0,0 2 13 15,0 0 0-15,0-1-2 0,-1 1-6 0,1-1 8 16,0 1-10-16,-2 0 13 0,0-1 7 0,-1 0-9 16,3 1 9-16,-2-1-15 0,0-2 46 15,2 1 0-15,-2 2 23 0,0-4 8 16,-1 2 0-16,1-2 28 0,-3-3 18 0,4 4-42 15,-3-3 53-15,2-2 4 0,-3 0-23 0,1 1 18 0,2-5-51 16,-4 1-21 0,2-2 29-16,1-2 10 0,-2-1-21 0,3 0-33 0,0-7 23 0,-3 0-46 15,2 1 6-15,-2-3 6 0,3-3-35 16,-2-6-25-16,1 4-14 0,1 8-32 0,-3-1 9 16,0 4-12-16,0 0-39 15,-2 2-20-15,-1 4-13 0,1 1-38 0,0 4-41 0,-1-2-21 16,-2 4-5-16,-2 3-20 0,-1-2-26 0,3 5-13 15,-8-1-40-15,8 1-134 0,-15 8-450 16,7-1 84-16,-7 3 38 0,-1 0 116 0,-2 5 69 16,-8 4 82-16</inkml:trace>
  <inkml:trace contextRef="#ctx0" brushRef="#br0" timeOffset="-197275.33">17466 5571 770 0,'0'0'399'0,"-10"12"-30"0,8-5-8 0,-1 3-34 0,0 2-12 0,-2 3-15 0,0 4-21 16,0 5 5-16,-5 8-31 0,-1 2-25 0,-2 0-23 15,1 3-23-15,-1 1-93 0,-3-3-7 0,4-2 0 16,-1 0-10-16,-3-1-16 16,4-2-5-16,-1-1-5 15,0-6-28-15,3-3-33 0,-1-1-16 0,4-5-20 0,-1 1-28 0,1 0-11 16,-1-6-7-16,3 2-6 0,-3-3-50 0,3 1-67 16,-2-5-49-16,1 1-36 0,-2 0 3 15,5-3-422-15,-1 1-16 0,0-1 126 0,4-2 45 16</inkml:trace>
  <inkml:trace contextRef="#ctx0" brushRef="#br0" timeOffset="-196897.73">17051 5974 1039 0,'-3'6'396'16,"3"-1"-117"-16,-2 5-5 0,1-4-10 16,0 7-8-16,-2-1-26 0,0 2-17 0,3 1-19 15,0 0-14-15,0-1-4 0,0 2 1 0,3-2-11 16,0-1-15-16,-1 0-20 0,3 2 22 16,5-1 11-16,-3-6-21 0,4 1-4 15,5-1-1-15,2-3 8 0,2-3-23 0,3-2 0 0,3 0-11 16,2-1-4-16,3-5-3 15,-3 1-26-15,13-4 11 0,-3-2 50 0,1 0 1 0,-9 3-23 16,4-3-29-16,-9 2-30 0,-4 0-38 0,-1 1-11 16,-4 2-59-16,-3 0-4 0,2 1-37 15,-4 3-23-15,-1-3-58 0,-3 2-39 16,-1-2-82-16,-2 3-84 0,-4 2-77 16,6 0-504-16,-6 0 84 0,0 0 146 0,0 0 23 0,5 4 67 15,-5-4 109-15</inkml:trace>
  <inkml:trace contextRef="#ctx0" brushRef="#br0" timeOffset="-187560.09">16082 6818 939 0,'3'-5'361'0,"-1"-1"-82"0,3 4-21 16,-3-2-4-16,-1-1 53 0,-1 5 3 0,2-4-29 16,-2 4-17-16,-2-6-11 0,2 6-33 15,-10-4-7-15,2 4-19 0,0 4-32 0,-7-1-4 16,-3 2-2-16,-1 5-28 0,-4-1 16 15,-9 5-57-15,1 7 43 0,-3-1-22 16,1 1-36-16,0 3-6 0,2 0-4 0,-3 2-60 0,6-1-27 31,0 1 17-31,5-1-13 0,0 0 11 0,7-6-3 0,4-1-10 0,1-4-5 0,4 2 10 16,-1-3-18-16,3 1 6 0,3-2 14 16,1-1-12-16,1-3-10 15,1 2 30-15,1-4-20 0,3 1 5 0,3-2 20 0,2-3-9 0,3-1-6 16,2-1 25-16,3-1-20 0,2-1 8 15,4-3 8-15,2-6 7 0,9-1-33 0,1-1 26 16,-5-2 2-16,0-3 13 0,-1 1-29 0,-9 3 14 16,-1 3-11-16,-2-3 31 0,-2 5 16 15,-6 0-6-15,1 1-10 0,-1 2 13 0,-3-1 10 16,-2 1-18-16,1 2-2 0,-4 2-6 16,-2 2-2-16,0 0 36 0,0 0-49 15,0 0 18-15,0 0-10 0,-13 12-11 0,6-4 14 16,-1 0-9-16,0 4 19 0,0-1-16 0,1 3-10 15,-1-1 0-15,3-1-5 0,0 0 5 0,-1 0-5 16,2 1-10-16,1-2 2 0,3-3-2 16,-3 2-1-16,3-1 9 0,3-2-9 0,-3-1 8 15,5 1-15-15,1-2 0 0,1 0 13 0,0-4-8 16,1 0 13-16,2-1-3 16,-1-1-2-16,3 0 5 0,0-4-8 0,-1 0 8 0,2 1-5 15,-3-5 25-15,-2 2-7 0,-3 1-5 0,3-3 14 31,-6-1-14-31,1 3-3 0,-1-1 18 0,1-1-3 0,-6 1 1 0,1 1-9 0,0 0 9 16,-1-3-14-16,-3 5 3 0,-1 1 6 0,0-1-11 16,-1 0 10-16,0 0 21 0,0 4-31 15,1-1 17-15,1-1-24 0,-2 2 7 16,1-1-5-16,7 2-11 0,-8 0-4 16,8 0 7-16,-8 0 8 0,8 0 15 0,0 0-15 0,0 0 20 15,0 0-22-15,0 0 2 0,0 0 5 16,13 7 0-16,-5-6 20 0,0 0-20 0,2 2 3 15,0-1-16-15,-2-1 15 0,5 3 6 0,-3-3-21 16,0 5 16-16,3-1-11 0,-5-3-5 16,2 4 8-16,0 1 5 0,-2-2 8 15,-3 0-6-15,3 1 24 0,-3 0-23 0,-2 0 15 16,1-2-21-16,0 2 0 0,-2-1 11 0,0 0-3 31,-2 0-2-31,2-2 38 0,-1 1-8 0,-1-2 31 0,3 4 3 0,-1-5 32 0,-2-1 32 16,2 4 35-16,-2-4-58 0,0 0 22 0,0 0-27 15,0 0 4-15,0 0-102 0,11-7 13 0,-9 3 5 16,4-2 0 0,-1 4-10-16,0-4-10 0,3 1 25 0,-1 3-8 0,1-3 1 0,0 3 12 15,-1-2-41-15,-2 4 8 16,3 0 29-16,0 0-9 0,-8 0-2 0,10 1 0 0,-2 4 15 16,-3-3-23-16,2 3 11 0,-1 0 28 0,-1 1-39 15,0-1 18-15,-2 1-13 0,1-2-20 16,-1 2-18-16,0 0-8 0,-1-1-15 0,1 1-28 15,0 0-26-15,-3-1-25 16,2-2-31-16,-2 2 5 0,0 0-67 0,2-2-38 0,-1 2-38 16,-1-1-77-16,2-2-49 0,-2-1-535 0,3 2 62 15,-3-3 102-15,0 0 87 0,0 0 67 0,3 3 48 16</inkml:trace>
  <inkml:trace contextRef="#ctx0" brushRef="#br0" timeOffset="-187266.33">16605 6921 1215 0,'2'-3'502'0,"1"-2"-21"0,2 3-20 16,-5-1-44-16,0 3-58 0,0 0-29 15,0 0 49-15,0 0-88 0,0 0-91 0,2 11 5 16,-4-2-16-16,-3 0-20 0,2 5-15 15,-5-1-21-15,3 4-20 0,-3 2 73 0,-1 1-24 16,1 2 9-16,-3 0-20 0,1 0-36 16,0-1-25-16,0 2-31 0,-1-1-51 0,1 0-42 0,0-1-12 15,0-2-56-15,2-1-24 0,1 1-27 16,1-6-26-16,2-1-34 0,-2 1-48 16,1-2-100-16,2-4-166 0,1 0-402 0,2 0 104 15,0-2 42-15,0-2 87 0,0 0 87 0,0-3 56 16</inkml:trace>
  <inkml:trace contextRef="#ctx0" brushRef="#br0" timeOffset="-186914.4">16335 7195 1167 0,'0'0'348'0,"-4"-4"-26"0,4 4-48 0,0-4-15 0,0 4 12 16,5-5-51-16,0 4-18 0,0-1-10 0,5-1-20 15,-2-1-11-15,5 1-12 0,2-2-6 16,3 2-15-16,-3-1 18 0,6 2-21 0,-1-3 3 16,0 0 23-16,1 2-33 0,-3-1 2 0,0 3-4 15,-3-3 14-15,1 2-4 0,-3 1-24 16,-1 1-7-16,-1-3 4 0,-1 6-14 16,1-3-3-16,-4 3-16 0,1 1 11 0,0 1 5 15,-1 1-23-15,0 1 0 0,-1 1 0 0,-3 3 0 16,2-3-11-16,-3 1 6 0,0 1-28 0,-1 0 12 15,-1 2-10-15,0-3 16 0,-3 4-37 0,1-1-7 16,-1 1-18-16,-2-2-12 16,0 1-52-16,0-1-28 0,-1-1-52 0,-1 0-27 15,2-2-75-15,0-1-150 0,-1-1-70 0,2 0-484 16,1-5 119-16,0 3 86 0,3-4 69 0,0 0 69 16,0 0 62-16</inkml:trace>
  <inkml:trace contextRef="#ctx0" brushRef="#br0" timeOffset="-186782.04">16744 7042 952 0,'0'0'97'16,"-6"-3"-118"-16,6 3-567 0</inkml:trace>
  <inkml:trace contextRef="#ctx0" brushRef="#br0" timeOffset="-186371.3">16784 7059 1164 0,'0'0'428'0,"-2"10"-47"0,-1-4-30 0,1 2-13 16,1 2-29-16,-3-2-22 0,1 2-3 15,-2-1-54-15,3 4-32 0,-4-2-1 0,4 2-8 16,-4-2-12-16,4-2-39 0,-1 3-18 0,-2-1 8 16,3-3-20-16,-1 1-24 0,3-2 11 15,-3 0 15-15,1 0-10 0,2-3 18 0,-1 0 22 16,-1 1-1-16,2-2 29 0,0-3-134 0,2 3 25 16,-2-3-3-16,0 0 0 0,9 0-10 0,-9 0 29 15,8-5-37-15,-1 4 16 0,-2-3 46 16,3 1 7-16,-3-2 18 0,3 4-35 15,-3-4 10-15,0 4-8 0,0 0-13 0,0 0-2 16,-5 1-15-16,10-1-21 16,-10 1 7-16,8 3-2 0,-3-3-10 0,-2 6-18 0,-1-2 26 15,3 1-19-15,-2-1 14 0,-1 2-19 16,-1 1 0 0,1-1-30-16,1 0-31 0,-1 1-33 0,-2-2-59 0,0 1-5 0,1 0-36 15,-1 0-36-15,0-1-41 0,2-1-54 0,-2 1-76 16,0-5-187-16,2 6-441 0,1-3 103 0,0 0 51 0,-3-3 115 15,7 2 44-15,-4 0 66 0</inkml:trace>
  <inkml:trace contextRef="#ctx0" brushRef="#br0" timeOffset="-185349.69">17007 7201 1203 0,'0'0'376'0,"-2"-6"-31"0,2 6-27 0,0 0-21 0,0 0-13 0,0 0-44 0,0 0 1 16,0 0-5-16,0 0-42 0,-10 10 6 0,10-7 2 16,-3 2-48-16,0 0-16 0,3 0 18 15,-2 1-38-15,1 1-11 0,-1-3-22 16,0 5-9-16,2-3 4 0,0 1-16 0,0-1 2 0,2 0-12 16,-2 0-3-16,0-1-15 15,2-1 13-15,-1 1-1 0,4-3 11 0,-3 2-2 16,1-4-14-16,3 1-10 0,-6-1 6 0,12-1 9 15,-4-1 27-15,-1-2-9 0,1-1-7 16,0 3-8-16,2-4 36 0,-2 1-10 0,2 2-36 16,-5 0 10-16,3-1 13 0,-3 1-31 0,0 2 6 15,1 0-3-15,-2-1 12 16,-4 2-12-16,0 0 0 0,10 4 18 0,-7-3-24 0,0 2 6 16,-1 0-23-16,1 1-5 0,-1-2-8 0,1 2-41 15,0 1-26-15,-1-2-12 0,3 2-21 0,-3-3-15 16,1 3-31-16,5-1 26 15,-3-1-19-15,3-2 9 0,1-1 4 0,-1 3 4 16,3-1 12-16,-1-4 7 0,0-1 11 0,1 2-3 16,2 0 31-16,0-3 11 0,-3 2 9 0,0-2 24 15,-2 2 7-15,2 2 13 0,-3-2 31 16,-1-1 12-16,1 2-17 0,-2 0 22 0,-5 1 1 16,8-1-6-16,-8 1-2 0,0 0-10 0,5 2 0 15,-5-2-6-15,3 6 1 0,-3-4 5 16,0-2-1-16,2 8 11 0,-1-5-15 0,-1 3-26 15,2-5 8-15,1 4 2 0,-1-3 0 0,1 3 8 16,2-4 0-16,-2 3 18 0,4-3-3 16,-2-1-7-16,-5 0-21 0,10 0 18 0,-10 0 10 15,11-1-5 1,-6-1-2-16,-2-1 10 0,1-1-3 0,0 1 18 0,-2-1 5 0,0 2-30 0,1-4 18 16,-3 4-3-16,0 2-1 15,-3-7-1-15,1 3-3 0,-4 4-11 0,2-2 34 16,-2-1-33-16,-1 2-21 0,-1 0 3 15,8 1 2-15,-13 0 5 0,6 0-7 0,7 0 2 16,-11 1-15-16,4-1-21 0,7 0 19 0,-8 1-14 16,8-1 3-16,-8 0-12 0,8 0 1 0,0 0 22 15,0 0 2-15,0 0-6 0,0 0 1 16,0 0 0 0,0 0 5-16,0 0-8 0,26-1 8 0,-21 1 10 0,2-2-15 0,1-1 2 15,0 3 11-15,0-2-14 0,-3 2 19 0,3-1-13 16,-1 1 23-16,-7 0-13 0,11 0-13 15,-4 1 1-15,-2-1 17 0,0 4-8 0,0-1 14 32,-2 1-21-32,2-2 25 0,-2 3-22 0,2 0-4 0,-2-1 12 0,1 2-4 0,-1-1 6 0,0 0 5 15,1-2-13-15,0 2 0 0,-2 0 41 16,3-3-31-16,-2 2-10 0,2-2 5 16,0-2 18-16,-5 0-5 0,10 3 2 0,-10-3-17 0,13-3 12 15,-5 3 31-15,-1-4-20 16,4 1 23-16,-4 1-24 0,3-2 39 0,1-1-7 0,-1 2-6 15,-2 0 2-15,0 1 6 0,2 0-13 16,-2-2 18-16,-1 4-28 0,0-2 85 0,-1-1 17 16,2 3-20-16,-8 0-6 0,10 5-25 15,-7-5 18-15,1 2 13 0,-1 2-29 0,2-2-7 16,-2 3 18-16,0-2-59 0,-3 0 26 0,2 3-34 16,0-2-38-16,-4-1-46 0,2 3-13 15,-2-2-69-15,-1-1-31 0,-2 2-28 0,-1 1-33 16,-1 0-24-16,-3 1-22 0,-1-1-75 15,1 0-125-15,-7 2-74 0,3 1-486 0,-3-2 130 16,-1 0 84-16,-1-1 98 0,-6 2 48 0,-1-3 116 16,-15 6 35-16</inkml:trace>
  <inkml:trace contextRef="#ctx0" brushRef="#br0" timeOffset="-185030.28">15682 7592 1364 0,'-8'-3'389'0,"6"2"-28"0,2 1-41 16,0 0 33-16,13-7-33 0,2 6-21 15,5-3-7-15,11 2 3 16,15-2-42-16,8 4 31 0,2-3-41 0,16-1 47 0,5 3-114 0,3 0-2 16,7 1 8-16,0-2-8 15,3 2-26-15,-4-2-20 0,2 2-30 0,-6 5-11 0,3-4 13 16,-6-1-21-16,-2 3-5 15,-16-3-25-15,-4 4-26 0,-6-4-3 0,-12 0-48 0,-6 0-46 16,-7 3-18-16,-3-2-23 0,-7 0-39 16,-2 0-20-16,-3 0-26 0,-6 2-53 15,-5-3-39-15,0 0 23 0,0 0-181 0,-31 6 20 0,3-4-320 16,-8-1-74-16,-15 3 89 0,-6-3 46 0,-22-1 108 16</inkml:trace>
  <inkml:trace contextRef="#ctx0" brushRef="#br0" timeOffset="-184784.79">15723 7618 819 0,'-46'1'268'0,"7"2"4"0,8 1-16 0,1-3-23 0,7 1 10 0,2 0-3 16,6-1-32-16,2 1-9 0,5 2 70 0,5-1 23 15,3-3-92-15,0 0-3 0,16 4 89 16,7-1-63-16,8-1-16 0,18-1-25 0,10-1 33 16,17 1-10-16,3 2-23 0,7-3-3 0,3-4-43 15,1 4 22-15,4-1-40 16,-1 1 5-16,2 0 2 0,-7 0-22 0,-2 1-32 0,-3-2 1 15,-7 0-13-15,-1-3 7 0,-19 4-20 16,0-4-22-16,-6 1-1 0,-5-3-59 16,-4 0-46-16,-5 4-13 0,-7-3-35 0,-4-1-29 15,1 0-36-15,-3-1-22 0,0 2-57 0,-5 2 23 0,0-3-207 16,0-4 28-16,-6 8-448 0,2-2 64 16,-2 0 77-16,-1 0 66 0,-1-1 123 15</inkml:trace>
  <inkml:trace contextRef="#ctx0" brushRef="#br0" timeOffset="-184009.44">17592 7326 732 0,'-5'-2'263'0,"5"2"-53"0,0 0-8 15,0 0 1-15,0 0-11 0,0 0-21 0,8-6 54 16,-8 6 1-1,4-4-29-15,2 3 10 0,-6 1-30 0,8-6 4 0,-4 6-27 0,2-5 17 16,-2 3-17-16,-1 0-16 0,3-2 0 0,-1 2 29 16,-3-1-42-16,1 0 31 0,2 0-12 0,-2 1-27 15,-1-2 17-15,-2 4-6 16,5-3 2-16,-5 3-45 0,5-4 4 0,-5 4-12 0,6 0-11 16,-6 0-17-16,0 0 15 0,0 0-10 15,4 7 18-15,-4-1 2 0,0-1 23 16,0 1-48-16,0 2-65 0,0 1 16 0,-2-1 11 15,2-1 27-15,-2 4-10 0,-1-3-10 0,0 2 8 16,1-1 12-16,-1 2-10 16,-2-3-15-16,-3 2 5 0,3-2-10 0,-3 3-14 0,-2-3-19 15,0-2-42-15,0 3-45 0,-3-1-32 0,0-1-45 16,0 0-47-16,1-1-84 0,3-2-156 0,-3 0-468 16,2 1 99-1,0-1 77-15,0-2 69 0,2 2 80 16,0-2 48-16</inkml:trace>
</inkml:ink>
</file>

<file path=ppt/ink/ink11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9T16:25:48.864"/>
    </inkml:context>
    <inkml:brush xml:id="br0">
      <inkml:brushProperty name="width" value="0.05292" units="cm"/>
      <inkml:brushProperty name="height" value="0.05292" units="cm"/>
      <inkml:brushProperty name="color" value="#0070C0"/>
    </inkml:brush>
  </inkml:definitions>
  <inkml:trace contextRef="#ctx0" brushRef="#br0">11505 9606 816 0,'0'-5'374'0,"2"1"-47"0,-2-1-22 0,0 0 15 0,-2-1-38 0,2-1-37 0,-2 0-19 16,2 0-19-16,-3-3 21 0,0 4-126 0,1-6 16 15,-3 3-31-15,-3-2-5 0,0 2-5 16,-2-2 4-16,-2 0-17 0,-6-1 3 15,-3 0-16-15,-2 4 11 0,-3-3-4 0,-2 5 86 16,-8-7-24-16,-2 7-7 0,-6-1 4 0,3 1-104 16,5 0 8 15,2 6 2-31,-11-4-10 0,-2 6 10 0,-1 0 15 0,-1 1-5 0,3 3-5 0,-3 2 6 0,-2 4 9 0,-6 3-2 16,11-2-5-16,-5 5 20 0,10 1-38 0,-8 5 23 15,3 0-2-15,8-4-11 0,5 2 8 16,-3 1 10-16,3 1-34 0,4-1 14 0,-1 1-16 0,3 2 6 15,2 0-9-15,5 1 16 0,-1 2 8 16,3-2-5-16,5-3-6 16,3-5-12-16,3 4-6 0,3-5 21 0,0-2-2 0,1 2-8 0,6 0 0 15,-1 1 10-15,1-2-18 0,7-2 15 16,-3 2-15-16,1-2 11 0,5 2-4 16,0-1-9-16,4 0 12 0,-1-3-10 0,3-1-2 0,1 1 5 15,1-1-1-15,3-1 6 0,0-3-5 16,1 3 2-16,1-3 0 0,0 1 6 15,12-1-3-15,-1 0-24 0,-5 2 22 0,5-2 1 16,-4-2-4-16,-5 1 15 0,3-1-26 16,-1-1 3-16,9 3 0 0,-6-3 11 0,-2 0-6 15,0-3-3-15,15 4-2 0,-10-2-2 0,5-1 10 16,-3 2-1-16,-7-4-2 0,2 3 3 0,0-1-5 16,1-2-9-16,0 1 4 15,-1-2 12-15,0 2-2 0,1-2 5 0,-1 0-13 0,3 1-3 16,-5-1 13-16,2-1-7 0,3 1 5 0,-3 0 7 15,3 0-10-15,-3 0 3 16,3 0-6-16,0-2-17 16,10 0 7-16,-10 2 8 0,-2 0 10 0,-1-1-7 0,3 1-8 0,-1-2 10 15,10 1-5-15,-5 1-5 0,-7-1 7 16,1-1 9-16,0 1-6 0,-1 1-10 0,0-1 10 16,3-1-13-16,-3-1 0 0,1 2 16 0,1 1-13 15,-1 0 8-15,1-1-3 0,1 1-11 0,-2 0 9 16,2 0 22-16,-1 0-22 0,1 0 12 15,-2 1-13-15,2-1-2 0,-3 0 8 0,3 0 10 16,-3 0-1-16,3 1-9 0,-2-1-11 16,-1 0 6-16,0 3-3 0,3-3 5 15,-3 0 0-15,1 0 10 0,-1 0-5 16,0 2-3-16,1-2-4 0,-1 0 10 0,0 0-11 0,-2 0 13 16,3 0-2-16,-2 0-5 0,2 1 7 0,-3 0-18 15,0 1 8-15,0-1 15 16,1 0-12-16,-1 1-3 0,0-1 18 0,-5 1-23 0,-1-2 5 15,6 2-8-15,-5-2 3 0,2 0 10 16,-2 0-2-16,7 0-8 0,-5 0-6 0,0 0 1 16,3 0 13-16,-3 0-3 0,6 0-5 15,-3 0-3 1,2-2 8-16,-2 2 18 0,2 0-3 0,-2 0-15 0,0-2 5 0,0 1 8 0,-1 1-10 0,-1 0-3 16,-4 0 5-16,1 0-10 15,-1 0 5-15,3 0 15 0,-2-2-15 0,5 2-5 16,-1-1 7-16,-4 1 9 15,0-1-22-15,2 1 14 0,0 0 10 0,-2 0-13 0,4 0-18 16,1 0 13-16,0 0 2 0,3-2 6 0,-4 1-16 16,3 1 8-16,-2 0 2 15,0-1-2 1,3 1 5-16,-4 0-8 0,3 0 24 0,-7 0-21 0,7 0 0 0,-2 0 7 0,-5 0 3 16,2 0 8-16,3 0-5 0,-3-2 2 0,0 2-10 0,3 0 5 15,0-3-13-15,-3 3 14 0,3-1 6 0,-1 1-32 16,4-1 22-16,-3 1 6 15,0-1-10-15,2 0 35 0,-3-1-15 16,1 2-13-16,0-1-8 0,-1-1-2 0,-1-1 0 0,1 2 0 16,-4 0 15-16,3 0-15 0,-4-3 0 0,3 3-13 15,-2-2 21-15,-3 1 2 0,-2 2-10 16,2-3 10-16,0 0-18 0,-3 2 10 16,-2-2 19-16,3 0-11 0,-1-1-18 0,-2 2 33 0,2-1-14 15,-1-1-1-15,1-1 2 0,-2 2 11 16,2 0-10-16,-1-1-13 0,-4 1 10 15,3 0-5-15,0-1 10 0,0-1-15 0,-3 3 0 0,1-2 0 16,-1 2 0 0,0 0 5-16,1-1 2 0,-1 1 1 0,-2 0-1 0,2 0 1 0,-2-1-6 15,0 0 6-15,2 2 0 0,-2-2-3 16,3 0-11-16,-4 1 6 0,4-2 3 16,-3 1-6-16,2-2 3 15,0 0 18-15,-2 1-18 0,0 0 5 0,4-3 15 0,-3 1-5 0,-1-4-10 16,1 3 15-16,0-4-22 15,1 2 4-15,-2-2 3 0,0 1 3 0,0-1 4 0,-1-2-1 16,2 1-14-16,-2-1 5 0,-2 1 90 0,1-3-7 16,-1 1-34-16,0 1-3 0,-2 0 16 15,0 0-18-15,-1 2 0 0,-1-3 3 0,1 1-19 16,-4 0-15-16,1 1 31 0,-1-1-23 16,-2 0 5-16,-1-1-10 0,0 1 13 0,-1 0-11 15,-4 0 11-15,2-4-8 0,-4 3 0 16,2-1 17-16,-3-1-17 0,-2-3 8 0,-3 4-26 15,0-2-3-15,-2 0 1 0,1 4-1 0,-3-2 8 16,-1 1 0-16,-2 2-17 0,-1 1 17 0,-2-1 5 16,2 2-23-16,-2 1 18 0,-2-1 8 15,-1 2-23 1,0 1 20-16,-2 0-23 0,0 0 16 0,-2 2 10 0,-1 0-6 0,-8-2 24 16,3 2-26-16,5 2-10 0,1 0 3 0,-1-4-16 0,0 6 28 15,-2-4-26-15,-1 5 22 0,3-5 17 16,-2 3-31-16,-11-4 0 15,6 3 11-15,3 0-11 0,1 3 3 0,-10-5 2 0,6 4-4 16,4-1 4-16,-1 1 6 0,-9-3-6 16,6 2 16-16,5-1 0 0,-1 2-16 0,3-3 8 15,-2 3-30-15,2-2 35 0,-2 0-23 0,2 2 0 16,-3-1 1-16,2-2 4 0,1 2 3 16,-2-1 25-16,2 2-7 0,-3-1-26 0,3-2 13 15,-2 3 8-15,3 1-11 0,-1-1 11 0,0-1 7 16,0 2-12-16,0-3-3 0,0 3-3 0,0 0 3 15,3 0 0-15,-3 0 6 16,6 0 1 0,-5-2-2-16,3 2-12 0,-5-1 12 0,1 2-5 0,0-1 0 0,0 0-8 0,-2 2 24 15,0-2-45-15,0 0 24 0,-1 0 26 0,1 3-21 16,0-2 10-16,-1 1-15 0,1-2 15 0,0 0 3 16,2 0-21-16,-3 0 3 0,1 1 13 15,2-1-6-15,-2-1-4 0,-1 2-1 0,1-1 19 16,0 2-11-16,-3-2 5 0,-1-2-15 15,2 4 5-15,-3-4-8 0,-9 1 11 0,-2 2-6 16,4 2 6-16,4-2 15 0,7 1-21 0,-1-2 11 16,-2 0-6-16,2 0-15 0,-2 0 3 0,-1 0 13 15,2 0 4-15,-10 0-9 0,7 0 2 16,4-2 2-16,-1 1 1 0,0 0 7 0,2-1-10 16,-2 1-5-16,1 1-3 15,1-1-12-15,1 0 23 0,0 1 7 0,2-1 5 0,-3-2-7 16,4 3 2-16,4 0-7 0,0 0 2 15,-6 0 2-15,5 0-9 0,2 0 4 0,2 0 24 16,-2-2-26-16,4-1 13 0,-2 2 0 0,5 1-24 16,0 0 27-16,0 0 7 0,0-2-23 15,0 2 2-15,3 0 1 0,-3-2 28 0,3 1-31 16,-1 1 5-16,3-2 10 16,-2 2-12-16,4 0 2 0,-1 0 15 0,1 0-22 0,-1 0 9 15,2 0 9-15,-1 0-21 0,3-1 7 0,-2 1 1 16,0-1-6-16,2 1 8 0,0 0 6 0,8 0-1 15,-14 0 5-15,5 1-15 0,2-1-10 16,-1 0 7-16,-3 0-2 0,1 1 15 0,0-1 1 16,0 0-4-16,0 0-9 0,2 2-16 15,0-2 26-15,-1 1 2 0,0 1-13 0,2-1 19 16,-1 0-1-16,1-1-23 0,7 0 13 0,-14 0-7 16,9 0 4-16,-3 0-12 0,-1 0 28 15,1 0-31-15,0 0 21 0,1 0 0 0,-3 0-6 16,1 0-4-16,-1 0-3 0,2 0 5 15,-2 0-6-15,0 0-1 0,2 0 17 0,-2 0-10 16,0 1-3-16,2 1 19 0,-2-1-24 16,-1-1 16-16,1 2-18 0,0-2 7 0,-1 0 16 15,-1 3-26-15,2-2 18 0,-3 0-5 0,0 0 3 16,-2 0-14-16,2 1 4 0,-3 0 9 16,4 0-4-1,-4-2-24-15,3 0 11 0,-2 3-11 0,0-2-10 0,-1 0-10 0,3 0-33 0,-2-1-18 16,0 0-26-16,2 0-56 15,3 0-34-15,-3 0-66 0,2 0-128 0,-1 0-153 0,1 3-462 16,1-3 126-16,0 0 49 0,-3 1 87 0,1-1 89 16,-6 2 65-16</inkml:trace>
  <inkml:trace contextRef="#ctx0" brushRef="#br0" timeOffset="2755.48">7049 11544 1000 0,'-13'-1'407'0,"-2"2"-33"0,-1-1-36 15,-6 2-5-15,-9 1-34 0,0-1-28 0,-18 3-35 16,1 0-6-16,-3 1-27 0,-1-2-17 16,-7 0-91-16,3 2-13 0,-1-2 5 0,3-3 10 15,1 0-30-15,4 0-8 0,0-1 0 0,9 0 5 16,6 0-23-16,3 0 17 16,5 0-27-16,0 0 8 0,4 0-1 0,4 0-5 0,0 0-15 15,5 2-15-15,0-2-8 0,3 1-13 0,0 1-10 16,2-1-26-16,0 4-18 0,4-4-7 31,1 1-39-31,0 1-36 0,3-3-20 0,-2 5-51 0,2-5-67 0,5 4-40 0,-5-4-52 16,7 2-407-16,1-2 174 0,0 0-31 0,2-2 52 15</inkml:trace>
  <inkml:trace contextRef="#ctx0" brushRef="#br0" timeOffset="3277.07">6288 11419 816 0,'-18'2'330'0,"3"3"-46"0,-1 0 8 15,-1 2-36-15,-4 2-13 0,0 1-17 16,1 2-19-16,-1 0-18 0,3 1-17 0,0 2-19 15,0-1-7-15,3 0-10 0,5-2-11 0,-1 1-15 16,1 0-10-16,5-2-8 0,3 1 1 16,-1-3-14-16,6 2 3 0,-1 0-10 15,6-3-11-15,-3 2-15 0,5-1 10 0,3 0-17 0,0 0-1 16,2-3 13-16,0 1-17 0,0 0 19 16,3 0-14-16,1-2-11 15,-1 1 13-15,2-2-8 0,-5-2 72 0,1 2 0 0,2-2 0 16,-5-1-21-16,2 2-12 0,0-2 0 0,-2 1 22 15,0-2-42-15,-5 3-6 0,2-2 18 16,-2 0-3-16,0-1-17 0,-1 2 17 0,1-2-71 16,-3 0-8-16,0 3 23 0,-5-3 16 0,8 1-9 15,-8-1 22-15,7 0-14 16,-1 2 8-16,-6-2 6 0,0 0-24 0,0 0 21 0,3 3-3 16,-3-3-5-16,0 0-16 0,0 0 24 0,0 0-16 15,0 0-2-15,4 1 13 16,-4-1-21-16,0 0-13 0,0 0-22 0,0 0-24 0,0 0-20 15,0 0-19-15,0 0-37 0,0 0-21 16,6-6-31-16,-2 2-53 0,2 2-57 0,2-4-123 16,-1 0-406-16,3-1-45 0,4-1 137 15,0-3 25-15,2 0 56 0,-1 4 131 0</inkml:trace>
  <inkml:trace contextRef="#ctx0" brushRef="#br0" timeOffset="4008.23">7155 11551 1213 0,'-6'2'399'0,"6"-2"-28"15,0 0-28-15,0 0-20 0,26-2-52 0,-11 2 0 16,9 0-48-16,4 0 2 0,5 0-28 0,5 0 8 16,11-2-28-16,2 2-11 0,-1-5-79 15,1 5-15-15,2-1-18 0,1-1 5 16,-3 1-13-16,-2 0 0 0,0 1 36 0,-11-2-31 15,-4 1-10-15,-1 0-13 0,-3-2-8 0,-4 3 21 0,-2-2-7 16,1 2-19-16,-7-3 8 31,0 3 5-31,-2-2-10 0,-2 1-13 0,-1 1 26 0,-2-1-16 0,-1 0 24 0,-3 1-16 0,1 0-16 16,-2-2 1-16,1 1 13 0,-7 1-19 0,8 0-10 16,-3 0-9-16,-5 0-35 0,0 0-7 15,7-1 3-15,-7 1-44 0,0 0-15 0,3-3-44 16,-3 3-81-16,0 0-70 0,1-5-117 15,-1 1-436-15,0 4 77 0,0 0 72 0,0 0 72 16,-1-6 50-16</inkml:trace>
  <inkml:trace contextRef="#ctx0" brushRef="#br0" timeOffset="4270.92">8016 11374 1348 0,'8'0'392'0,"2"0"5"16,0 0-44-16,3 3-89 0,0 0-24 0,2-1-7 15,-2 3 64-15,7 1-25 16,-2 0 9-16,-2 1-38 0,-1-1-61 0,1 5-21 0,-2-3-2 16,-3 5-11-16,2-2 67 0,-8 5-12 0,0 0-42 15,-2 2 10-15,-6 1-30 0,-2 5 3 16,-8 7-50-16,-5 2-17 0,-4 2-28 15,-9 5-26-15,-6 2-41 0,-1-2-36 0,-3-3-41 0,0 0-71 16,0-5-85-16,2 0-199 0,9-5-567 16,-1-1 73-16,3-4 125 0,0 1 82 15,2 0 97-15,-2-2 87 0</inkml:trace>
  <inkml:trace contextRef="#ctx0" brushRef="#br0" timeOffset="8055.89">10882 3582 993 0,'5'-12'368'0,"5"1"-35"0,0 2-21 0,6-2-35 0,-1 1-3 16,9 0-39-16,-1 0-12 0,3 2-26 0,1 3-13 15,1 3-2-15,-4 2-18 0,-3 3-3 16,2 7 0-16,-3 3 24 0,3 11-24 15,-7 7-8-15,-6 9-2 0,-8 10-15 0,-7 23-8 16,-8 8 0-16,-8 21-31 0,-7 8-63 0,-2 3 58 16,-6-1-23-16,2 1-3 0,1-10-7 15,5-6 10-15,7-26-46 0,6-3 21 0,0-6-1 16,5-5-7-16,7-14 3 0,1-1-1 0,2-9-7 16,4-7-8-1,2-2 10-15,1-4-18 0,3-4 37 0,1-5-24 0,4-4-5 0,-2-5 5 16,5-3-10-16,5-5 10 0,13-10 3 15,0-3-21-15,7-8-18 0,-1-5 37 0,-1-7-17 0,-1-4-9 16,1-4 17-16,-2-2-17 0,-3 3-8 16,-1 3 10-16,-4 5 5 15,-7 13-5-15,-7 6-15 0,-6 7-3 0,-1 7 41 0,-3 8 6 16,1 4 9-16,-5 11 8 0,-3 11-5 0,-2 20 29 16,-1 22-42-16,-3 11 11 0,-4 22 14 15,0 6-6-15,0 2-22 16,2 1-14-16,6-2 2 0,-1-2 10 0,3-18-18 0,-2-3 5 0,4-2-15 15,0-3-7-15,1-6 2 16,0 1-26-16,-1-7 0 0,1-2 3 0,-6-2-16 0,1-8-2 16,-3-11-25-16,-3-2-16 0,-3-2-39 0,-4 5 14 31,-3-11-34-31,-2-4-16 0,-3-3-58 0,-3-4-107 0,1-6-124 0,-3-2-534 0,4-4 84 16,3-7 107-1,-3-2 111-15,3 0 53 0,-7-5 72 0</inkml:trace>
</inkml:ink>
</file>

<file path=ppt/ink/ink11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5:35:48.685"/>
    </inkml:context>
    <inkml:brush xml:id="br0">
      <inkml:brushProperty name="width" value="0.05292" units="cm"/>
      <inkml:brushProperty name="height" value="0.05292" units="cm"/>
      <inkml:brushProperty name="color" value="#0070C0"/>
    </inkml:brush>
  </inkml:definitions>
  <inkml:trace contextRef="#ctx0" brushRef="#br0">7363 8141 803 0,'9'10'348'0,"-4"-9"-33"0,3 3-10 15,3-3-52-15,6 4-28 0,-2-4-2 0,9 0-23 16,7 1-105-16,2-1-11 0,14-1 57 16,6-1-34-16,3-2-20 0,0 2-15 15,17-4-39-15,-4-1-56 0,0-1-36 0,0 1-56 16,3-1-44-16,0-4-68 0,-6 4-234 15,14-1-243-15,2-1 51 0,-3 1 62 16</inkml:trace>
  <inkml:trace contextRef="#ctx0" brushRef="#br0" timeOffset="481.65">12033 8298 770 0,'49'-10'241'0,"17"-3"-55"0,2 2-37 0,9 1-44 15,2 1-54-15,1 0-82 0,2 3-69 16,-1 0-22-16,-4 1-442 0,-5 7 1 0</inkml:trace>
</inkml:ink>
</file>

<file path=ppt/ink/ink11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5:35:59.666"/>
    </inkml:context>
    <inkml:brush xml:id="br0">
      <inkml:brushProperty name="width" value="0.05292" units="cm"/>
      <inkml:brushProperty name="height" value="0.05292" units="cm"/>
      <inkml:brushProperty name="color" value="#0070C0"/>
    </inkml:brush>
  </inkml:definitions>
  <inkml:trace contextRef="#ctx0" brushRef="#br0">1588 4814 565 0,'31'-6'187'0,"2"0"-10"16,8-2-16-16,0-1-23 0,6 0-10 0,1 2-13 16,6-1 11-16,-3 1-42 0,1 2-2 15,-1 0 3-15,-3-1-14 0,-1 1-14 16,-4 3 1-16,-6-2-55 16,-6 2-11-16,-1 2-28 0,-2-1-10 0,-5-1-41 0,3 0-33 0,-8 2-54 15,0 0-10-15,-1 0-369 0,-1 0-15 16</inkml:trace>
  <inkml:trace contextRef="#ctx0" brushRef="#br0" timeOffset="415.6">1570 4920 975 0,'0'0'335'0,"0"0"-79"16,0 0-36-16,18-4 3 0,-4 3 2 0,3-2 31 16,6 0-13-16,3 1-53 0,7-4-11 0,9-1 15 15,3 1-32-15,4-1-11 0,0 1-31 16,0-1 8-16,-1 1-15 0,-2-1-14 15,-2 2 1-15,-9-1-20 0,-4 2-11 0,-3 0-3 0,-1 0-4 16,-2 3-3-16,-5-3-3 0,-2 2-5 16,-2 1-2-16,-1-2-13 0,-2 3 7 15,-2-2-7-15,1 2 7 0,-4 0-4 0,2-2-3 16,-5 2-29-16,3-3 9 0,-3 3 2 0,2 0-13 16,-7 0 10-16,8-1-7 0,-8 1-13 15,0 0-31-15,0 0-23 0,8 0-33 0,-8 0-41 16,0 0-70-16,0 0-132 0,2 1-59 0,-2-1-441 15,1 3 34-15,-1-3 190 0,0 0-42 0,5 4 72 16</inkml:trace>
  <inkml:trace contextRef="#ctx0" brushRef="#br0" timeOffset="1720.97">4795 4857 1031 0,'-4'-1'289'0,"4"1"-15"0,0 0-10 0,0 0-34 16,0 0-30-16,15-10-8 0,-5 8-10 15,6-1-26-15,5 0 2 0,4-2-7 0,5-1-115 16,14 1 10-16,2-1-7 0,2-2-24 15,2 1 18-15,1 0-12 0,3 0-6 0,-3 1-10 16,-2 0 6-16,-4 0-1 0,0 0-20 0,-10 2-24 16,-4 2-4-16,-3-1-24 15,-5 1-4-15,1 0-21 0,-2 1-39 0,-6-1-32 16,1 1-27-16,-1 1-14 0,-6 0-21 0,3 0-6 0,-3 1-408 16,-1 1 12-16,-2-1 61 0</inkml:trace>
  <inkml:trace contextRef="#ctx0" brushRef="#br0" timeOffset="2219.62">4708 5093 857 0,'0'0'197'16,"0"0"5"-16,0 0-30 0,0 0 22 15,0 0-50-15,28-3 9 0,-15 2 1 0,3-1-39 16,4-3 0-16,3 1 67 0,5 0-16 0,13-5-30 15,6 1-64-15,-1-3-13 0,6 2-19 16,11-4 7-16,-4 1-14 0,-10 0 5 0,0 2 8 16,0 2 0-16,-4-3 3 0,-4 3-21 0,0 1-5 15,-7 0-15-15,-6-1 10 0,-2 4-8 16,-3-1 5-16,-3 1 6 0,1 1-16 0,-3-1-8 16,-3 3 90-16,0-1-7 0,-1-1 2 0,-2 0-21 15,-2 2-5-15,1-2-17 0,-3 2-6 0,-1-2-2 16,0 1 12-16,1 1-4 0,-2 0-6 15,-6 1 18-15,10 0-17 0,-10 0-17 16,7-1 22-16,-4-1-31 0,-3 2-1 0,5-1-4 16,-5 1-8-16,0 0-6 0,0 0-14 0,0 0-19 15,8-2-17-15,-8 2-24 0,0 0-43 16,0 0-28-16,0 0-77 0,0 0-46 0,5 0-501 16,-5 0 50-16,0 0 100 0,0 0 42 0</inkml:trace>
  <inkml:trace contextRef="#ctx0" brushRef="#br0" timeOffset="3637.17">755 4533 749 0,'0'0'310'15,"0"0"-36"-15,0 0-15 0,0 20-44 0,2-10-3 16,1-1-35-16,0 3 7 16,1 0-46-16,-1 0-12 0,0 1-27 0,0 0-37 0,2-2-26 15,-2 2-18-15,1-2-75 0,-1 2-63 0,-1-2-85 16,-2-3-66-16,3 3-425 0,-1-4 69 15,1 0 51-15</inkml:trace>
  <inkml:trace contextRef="#ctx0" brushRef="#br0" timeOffset="3926.81">583 4656 1131 0,'0'-4'322'0,"0"4"-9"0,3-8-45 0,2 3-9 16,-2-2-34-16,5 0-12 0,-1-3-34 0,6 1 0 15,-1-3-10-15,1-1-33 0,5 1-8 0,0-1-21 16,2 0-10-16,-1-1-15 0,1 1-25 15,-2 0-52-15,3 4-41 0,-6-1-23 0,1 1-107 16,-2 2-65-16,-4 1-130 0,4 2-409 0,-7 3 30 16,-1 0 116-16,-1 1 17 0</inkml:trace>
  <inkml:trace contextRef="#ctx0" brushRef="#br0" timeOffset="4160.17">704 4831 924 0,'0'0'299'0,"20"-6"-20"0,-12 3-28 16,2 0-23-16,0-3-34 0,3 1-15 16,-2-1-7-16,4-2-26 0,0 2-21 0,1-2-7 0,-2-1-3 15,0 4-41-15,-4-2 6 16,3 0-39-16,-3 2-8 0,0 0-38 0,-2 1-8 15,-1 0-51-15,1 1-92 0,-2-1-54 0,-6 2-95 16,5-1-414-16,0 1 51 0,-1 1 79 16</inkml:trace>
  <inkml:trace contextRef="#ctx0" brushRef="#br0" timeOffset="4959.55">7001 4469 1090 0,'-4'-4'307'0,"4"4"-43"0,0 0-24 0,0 0-4 16,0 0-24-16,-1 13-12 0,2-7-36 0,0 4-18 15,2-2 2-15,-1 5-7 0,0-1-34 0,1 1 11 16,0 3-26-16,-1-2-30 16,-1 4-24-16,1-4-25 0,0 3-62 0,1-3-33 15,-3 2-28-15,3-3-153 0,-3-4-16 0,2 3-479 16,0-1 52-16,-1-3 71 0,1 2 41 0</inkml:trace>
  <inkml:trace contextRef="#ctx0" brushRef="#br0" timeOffset="5233.55">7026 4449 924 0,'8'-8'284'0,"2"4"-16"0,0-2-1 15,1 3-42-15,1 2 3 16,-1 0-16-16,4 1-12 0,0 1-13 0,1 3-31 15,2 0-8-15,0 2 34 0,-3 2-49 0,1 0-2 16,-4 0 4-16,-1 3-27 0,-3 2 7 16,-1 0-20-16,-7 1-24 0,0 2-19 15,-5 2-11-15,-3 1-47 0,-7 9-22 0,1-4-56 0,-6 0-19 16,-3 3-191-16,3-2-466 0,2-6-26 16,-8 3 141-16,3-3 38 0,2-5 8 0</inkml:trace>
  <inkml:trace contextRef="#ctx0" brushRef="#br0" timeOffset="7667.28">3360 5346 394 0,'2'15'94'15,"1"-1"-17"-15,-3-1-20 0,2 1-9 16,-1-2 31-16,1 1-40 0,1 6 12 0,-1-1-13 16,1 1 6-16,0 0-16 0,1 6-28 15,-2 0-2-15,2 3 7 0,-2-2-5 0,3-1-18 16,-2 2 20-16,-1 2-12 0,1-3-8 0,-1 1-30 16,4 1 32-16,-4-2 14 0,1 1-32 15,2 1 29-15,-3-3 13 0,1 1-34 0,2-2 16 16,-3 0 31-16,1-1-34 0,2-4-8 0,-2 3 16 15,0-2-18-15,-1-1 10 0,1 0-5 16,2-1 29-16,-3 1-19 0,3 0 21 16,-2 0-23-16,2-1 27 0,-3 1-17 0,2 0-20 15,0-2 43-15,-3 1 3 0,4-2-29 16,-3 1 6-16,1 1 2 0,2-3 0 0,-3 2 15 16,1 1-15-16,2 0-5 0,-4-1-5 0,3 0 16 15,-2 1 9-15,1 1-7 0,0-3-16 16,-1 1 19-16,-1 0 7 0,1 1-18 0,1 0-3 15,1-1 19-15,-3-2-8 0,1 2 2 0,1 1 3 16,-1-2-13-16,-1 2 13 0,1 2-13 0,1-2 0 16,-1 1 16-16,-1 3-3 15,3-2-8-15,-1 4 15 0,-1-2-9 0,1 2 12 0,2 1-2 16,-5-1 9-16,3 2 1 0,1-2 3 0,-3 1 53 16,2 1-5-16,1-2-3 15,-3 1 8-15,1 1 1 16,1-6-14-16,-1 5 13 0,0 0-18 0,1-3 0 0,0-1 3 0,-1 3-18 15,-1 1-5-15,3 1 23 0,-1-2-16 16,-2-3-12-16,3 1-3 0,-2-3-5 0,-1 2-3 16,2-2 6-16,-1-1 9 0,0 1-9 0,1-2 2 15,0-2 5-15,-3 0-28 0,2 0 3 0,0-4 20 16,-1 2-28-16,1-1-87 0,1-4 25 16,-3 2 19-16,0-2-6 0,2-2-10 0,-2 1-3 15,0-1 9-15,1-1-6 0,1 0 15 16,-2-2 24-16,0 2-9 0,0-5-32 15,0 5-26-15,0-5-36 0,0 3-3 0,0-3-4 16,0 0-45-16,0 0-4 0,0 0-85 0,0 0-337 16,0 0 27-16</inkml:trace>
  <inkml:trace contextRef="#ctx0" brushRef="#br0" timeOffset="8021.2">3485 7442 831 0,'1'8'210'0,"4"3"-18"16,-1 2 0-16,4 1-18 0,0-1 0 16,-1 4 57-16,1-3-26 0,2 1-26 0,-2 1-13 15,2-3-28-15,1-1 13 0,-1 0-23 16,-2-1-18-16,2-3-17 0,0-1-12 0,-1-4 4 16,1 0-95-16,0-3 5 0,0 0-8 15,0-3-38-15,1-2-3 0,3-4-31 0,0 1-4 16,-2-5-44-16,3-4-59 0,6-6-44 0,-3-1-250 15,2-1-200-15,-2-4 89 0,1 3 29 0</inkml:trace>
  <inkml:trace contextRef="#ctx0" brushRef="#br0" timeOffset="8676.73">6116 5327 755 0,'-2'-2'279'0,"2"2"-36"0,0 0-23 0,0 0-10 15,0 0-23-15,-1 11-13 0,2-6-62 0,1 3-19 16,-2 1-76-16,0 4-106 0,2 0-139 16,-2 3-407-16,3 3 13 0,-2 2 59 0</inkml:trace>
  <inkml:trace contextRef="#ctx0" brushRef="#br0" timeOffset="8832.26">6177 6089 652 0,'0'13'126'0,"0"2"-134"0,0-2-473 0</inkml:trace>
  <inkml:trace contextRef="#ctx0" brushRef="#br0" timeOffset="9330.79">6249 7746 673 0,'-2'15'215'0,"2"-5"-13"15,0 1-5-15,0 0-31 0,0 1-17 0,-1-2-21 16,2 4-21-16,-1 0-20 0,0 0-48 16,0 0-6-16,0 2-38 0,2-1-72 0,-2 2-30 15,0-1-44-15,0 0 7 0,0 2-101 16,3 1-360-16,-1 0 40 0</inkml:trace>
  <inkml:trace contextRef="#ctx0" brushRef="#br0" timeOffset="14583.4">11869 8612 837 0,'0'0'271'0,"0"0"-13"0,-2 1-27 16,2-1-3-16,0 0-34 0,0 0-20 16,0 0-10-16,0 0 2 0,0 0-10 0,0 0-15 15,0 0-18-15,0 0-26 0,15-6 3 0,-10 5 0 16,3-4-26-16,-3 3-12 0,5-3 9 15,1 2-1-15,1-3-4 0,-1 1-5 16,4-2-20-16,1-2 3 0,2 1 5 0,2-3-6 0,1 3-4 16,-1-3-9-16,3-1 70 0,-3 3-10 15,4-3-14-15,7-5 1 0,-6 4-90 16,-2 1 3-16,5-3-5 0,-2 1-8 16,3-2 23-16,3-2-13 0,-1 1-2 0,-2 1-3 15,3-1 7-15,-1 0 9 0,0 2-1 0,3-3 6 0,-3 2 12 16,2 0-7-16,0-1-8 0,0 2 8 15,-2-2-13-15,2 3 2 0,-4 0 8 16,1-2-13-16,1 1 14 0,-5 3 11 0,-5 0-24 0,9-5 2 16,-4 5 0-16,-3-1 15 0,0 2-18 15,7-5 8-15,-1-1 18 0,2-1-28 0,-1 0 12 16,1 2-4-16,0-1 7 0,2-2 5 16,-2 1 3-16,2-1-8 0,0 0-2 15,1 1-11-15,-1-1 8 0,-2 0 13 16,0 1-6-16,-1 3-19 0,1-2 17 0,-7 5-18 0,-2-1-2 15,1 0 20-15,-2 3 7 0,2-3 12 0,-2 3-24 16,2-1-13-16,-1-1 20 0,2 0-17 0,-1 1 13 16,8-4 22-16,-3 4-17 0,1-4 2 15,-2 4-2-15,7-3 0 0,-3 1-6 0,-3 1 3 16,3-2-12-16,-3 3-1 0,-5 0 0 0,8-3 13 16,2-2 13-16,-7 4-10 0,-4 2-11 0,1-1-9 15,9-3 12-15,1-1 2 0,-2 2 3 16,1 0 0-16,-5 0 0 0,-4 2-17 0,10-3 7 15,-7 2 5-15,-1 4 5 0,-2-4 15 16,3 1-15-16,5-2 3 0,-4 3 0 16,-1 1-8-16,-3-2 0 0,1 3-3 0,1-3-12 15,-2 3 15-15,1-3 5 0,-2 3 8 16,1-2-3-16,1 2 5 0,-1-1-15 0,-1-1 8 0,-1 1-11 16,3 0 11-16,-2-1-3 0,-1 0 62 15,2-1-11-15,0 2-7 0,0-2-1 0,0 0-22 16,-2 2 7-16,2-1 6 0,0 1-16 0,-2-1 2 15,1-1-15-15,-1 3 16 0,-1-3 10 0,1 3-5 16,-3 0-8-16,5-2 0 0,-2 3-8 16,-1-4-18-16,1 3 19 0,2-3-8 15,-3 3 2-15,1-3 0 0,1 2 10 0,-1-1-22 16,0 1 4-16,2-1-7 0,-2-2 18 0,1 3-13 16,-1-2 3-16,2 0 12 0,8-2-20 15,-3-1 25-15,3 2-25 0,0-4 3 0,-4 6 4 16,-3-2 6-16,7-1 7 0,2-1-4 0,0-2-27 15,-2 3 14-15,3 1-1 0,-1-2-7 0,0 1 28 16,1-2 5-16,-2 1-18 0,-1 1 10 16,3-1-15-16,-3-1-10 0,2 1 20 0,-7 5-10 15,7-6 3-15,0 1 10 0,-2-1-13 0,2-1-8 16,0 4 23-16,-2-1-2 0,0-1-8 16,5 0-5-16,-3-1 16 0,3 2 2 15,-2-2-29-15,2-1 22 0,1 2-1 0,-2 1-13 16,-2 0 8-16,3-2 8 0,-3 1-10 0,0 1-1 15,-2-3 1-15,3 1-11 0,1 2 11 0,-1-3-6 16,1 1 21-16,2-3-21 0,-2 4 3 16,1-3 3-16,2-1 0 0,-2 1 4 15,3 1 11-15,1-2 13 0,-1 1-21 0,0 0-10 0,-1 1 0 16,1-3-2-16,-1 0-9 0,0 0 11 0,1 1 0 16,-1-1 18-16,3 1-15 0,-2-1-13 15,0 0 15-15,2 0 18 0,-1 1-31 0,-1-1 3 16,2 0 18-16,0 1 0 0,-2-1-8 0,1 0 25 15,-1 2-12-15,0-2 3 0,-1 2-29 16,-2-1 21-16,0-1-13 0,-1 0 15 16,3 1 11-16,-4 0-26 0,0 0 18 0,-1 1-21 15,1-1 13-15,1-1 11 0,-1 3-16 0,-1-1-5 16,0 2 8-16,-2-2-1 0,2 1 6 0,-5 0 0 16,3 1 2-16,0 0-15 0,0-3 11 15,-3 4 14-15,-3 0-4 0,-4 2-14 0,8-5-7 16,1-1-2-16,-4 5-1 0,-5 1 11 0,3 0-13 15,5-3-5-15,-6 2 4 16,0 1-9-16,-2 0 23 0,0 1 2 0,1-2-10 0,-1 2 8 16,1 1-11-16,-1-2-10 0,0 0 24 15,0-1 12-15,1 2-8 0,-1-1-13 0,0 0 14 16,1 0 12-16,-1 0-2 0,-1 1-16 0,4 0 0 16,-3-1 5-16,-1-1-17 0,0 0-1 15,-1 2 6-15,1 1-13 0,-3 0 17 0,-1-1-4 16,-1 4 7-16,-1-1 5 0,0-1-4 0,-3 3-16 15,-3-1-1-15,2 1-4 0,-2 1 13 16,0 2-1-16,-1-2 14 0,-2 3-19 16,0-2 42-16,0-1-24 0,0 3 0 0,-2 0-4 15,2-2 35-15,-2 3-21 0,-3 1-12 0,7-5 5 0,-4 4 31 16,-3 1-21-16,3-4-21 0,-3 4 19 16,4-3-3-16,-4 3 8 0,4-3-13 15,-4 3 10-15,2-3-18 0,-2 3 23 0,0 0 6 16,4-3-29-16,-4 3 0 0,0 0-15 0,0 0 13 15,4-2-29-15,-4 2-20 0,0 0-28 0,0 0-8 16,0 0-10-16,0 0-18 0,0 0-20 16,0 0-34-16,0 0-61 0,0 0-102 0,-11 0-195 15,11 0-430-15,0 0 94 0,-7-1 95 16,7 1 93-16,0 0 38 0,-8-1 92 16</inkml:trace>
  <inkml:trace contextRef="#ctx0" brushRef="#br0" timeOffset="14891.24">19158 4940 1095 0,'0'0'392'15,"0"0"-49"-15,0 0-100 0,10-6-15 0,-2 4-29 16,0 1-4-16,2-3-11 0,3 2-17 0,0-2-22 15,2 2-14-15,1 1-6 0,1-2 3 16,2 1-28-16,-2 2-8 0,2 0 44 16,-2 2 18-16,5 1-11 0,-2 0-30 0,-3 4 17 15,4 4 11-15,-4 6-21 0,-3 2 3 0,-2 14-10 16,-9 5 4-16,-5 5-12 0,-9 14-20 0,-9 5-49 16,-6 2-39-16,-15 19-69 0,-8 2-155 15,0 0-749-15,-4-3 81 0,4 0 91 0,-5-1 79 16,0 0 68-16,3-1 134 0</inkml:trace>
  <inkml:trace contextRef="#ctx0" brushRef="#br0" timeOffset="16966.49">11331 10206 1036 0,'0'0'295'16,"0"0"-27"-16,0 0-19 0,0 0-9 15,13 5-27-15,-1-4-32 0,6-1-9 0,8-1 51 16,8 0-24-16,17-3 11 0,5-1-20 0,11-1-45 16,4-1 1-16,2 0-18 0,-1-1-5 0,1-2-10 15,-3 1-18-15,-1-1-8 0,-2 0-93 16,-4 0 6-16,-1-2 0 0,-13 7 11 0,-1-3-22 15,-4 2 11-15,-8 1-30 16,-7-1 14-16,-1 4-27 0,-7 0-6 0,-4-1-20 16,-1 3 3-16,-1-3-27 0,-5 3 9 0,1-3-21 0,-4 3 3 15,0 0-70-15,-7 0-28 0,9 0-43 16,-9 0 79-16,0 0-71 0,4-1-336 0,-4 1-112 0,0 0 56 16,0 0 51-16</inkml:trace>
  <inkml:trace contextRef="#ctx0" brushRef="#br0" timeOffset="17253.14">12479 9967 803 0,'13'1'392'0,"0"0"-13"16,5 0-29-16,0 3-17 0,5-2-18 0,3 4-36 15,-1-1-95-15,1 2 13 0,0 2 8 16,-1-2-21-16,-4 2 67 0,-1 2 18 16,-1 2-5-16,-5 0-90 0,-5 0-3 0,-2 6-22 15,-7-1-19-15,-3 7-9 0,-10 7-9 0,-7 2-17 16,-9 7-31-16,-9 2-54 0,-3 0-33 16,-2 1-51-16,-4-1-54 0,-1-3-28 0,-4 2-67 15,-1-3-174-15,-1 1-496 0,-5-6 43 16,0 1 90-16,-5-8 84 0,-3-1 54 0,-7-8 59 0</inkml:trace>
  <inkml:trace contextRef="#ctx0" brushRef="#br0" timeOffset="18116.34">8362 8692 1343 0,'0'-33'451'15,"-3"-6"-34"-15,1-12-36 0,-1-18-43 16,1-4-107-16,-1-10-21 0,0-6-36 0,-1-30-13 16,4-1-41-16,2-2-2 0,0 2-31 0,1 2-10 15,7 13-36-15,-4 25-23 0,2 6-21 0,-1 8-51 16,-4 16-15-16,1 7-23 16,-4 11-44-16,0 8-94 0,-2 7-28 0,-3 6-528 0,2 1 43 15,-1 5 60-15,-2 4 53 0</inkml:trace>
  <inkml:trace contextRef="#ctx0" brushRef="#br0" timeOffset="18336.81">8344 7089 1197 0,'0'0'471'0,"0"0"-41"0,-2 15-87 16,-1-2-23-16,0 4-28 0,-1 7-28 15,-2 19-44-15,-2 0-13 0,-5 17-15 16,-4-1-15-16,1 5-34 0,-4 4-43 0,-4 0-33 16,2 3-70-16,-1-1-48 0,-1-5-36 0,1-7-33 15,3-3-39-15,-1-6-41 0,3-11-168 16,6-8-472-16,1-6 111 0,3-7 50 0,-2-7 85 16,5-2 77-16</inkml:trace>
  <inkml:trace contextRef="#ctx0" brushRef="#br0" timeOffset="18550.27">8285 7264 1364 0,'23'24'430'0,"5"1"-41"16,8 11-13-16,3 1-2 0,2 1-69 15,2 1 9-15,4-1-50 0,1-1-39 0,0-1-23 16,-1-3-68-16,2-1-37 0,0 0-56 0,-4-2-64 15,2-1-28-15,1-2-60 0,-6 0-73 0,-4-5-218 16,6 4-445-16,-11-3 46 0,0-2 71 16,-4 3 98-16,-4-5 61 0</inkml:trace>
  <inkml:trace contextRef="#ctx0" brushRef="#br0" timeOffset="22683.31">14548 13178 1052 0,'-5'4'327'0,"5"-4"-32"0,-5 3-4 16,5-3-42-16,0 5-70 0,0-5-8 16,5 6 1-16,-2-2-42 0,5 0 26 0,0 1-20 15,4 1-16-15,1 0 1 0,5-1 2 16,0 1-8-16,7 1-20 0,1-1-1 15,13 4 11-15,-1-4 64 0,6 0-28 0,-1-1-26 16,4 0-5-16,3-2-15 0,0 0 0 0,1-1-11 16,2 0 13-16,1-1-20 0,-2-1-21 0,-1 0 39 15,3-3-54-15,-3 0 10 0,1-1-2 16,1-2-13-16,1-1 0 0,-3-1-16 0,-2-2 24 16,2-1-3-16,-5 1-1 0,1-1-24 0,-4 0 20 15,1-2-29-15,-6 2 24 0,0-2-8 16,-4 2-8-16,-6 1-2 0,-2 2 13 0,-4-1-8 15,-1 1-5-15,-3 1-3 0,0-2-3 16,0 2-7-16,-3-1 11 0,1 0 14 0,-1 1-12 16,-1-1-10-16,0 0 4 0,-1 1 1 15,-2-1-3-15,-1 1-5 0,3 0 0 0,-3 0-8 16,1-1 8-16,-1 2 3 0,0-2-8 0,2 1 10 16,-4 0-18-16,3-1 13 0,-1 1 0 0,-2 0 10 15,-1 0 37-15,4 0-40 0,-4 0 9 16,3-1-37-16,-2 1 16 0,0-1 20 0,0 1-17 15,-1-2 4-15,1 3 9 0,0-2-17 0,-1 0 17 16,-2 1-14-16,1-2 11 0,-2 1-8 0,-1-1 15 16,2 1-17-16,-2-1 9 0,0-1-7 15,1-1-7-15,-3-1 4 0,1 3 8 0,3-3 5 16,-4 0 1-16,-1-1-24 0,2 2 15 0,0-2-2 16,-2 0 11-16,0 1-14 0,3-1-7 15,-3 2 7-15,0-2-17 0,0 2 20 16,0 0-5-16,0-1 12 0,0 0-4 0,-3 0 10 15,1 0-6-15,-1 0-1 0,-2-1-1 0,0 1 15 16,0 0-2-16,0 0-20 0,-3-1 14 16,0 0-1-16,1 1-9 0,-1 0 16 0,-2 0-3 15,0 0 3-15,0 2-31 0,1-2 24 0,-3 1 4 16,2 3 0-16,-4-3-4 0,2 3 7 0,-1-1-6 16,0 1 17-16,-2 1-27 0,-1 0-7 15,1 0 5-15,-1 0 33 0,1 2-22 16,-3 0 14-16,0 1-12 0,0-1 18 0,-2 2-16 15,-1 2 11-15,1-3-29 0,-3 3 29 16,0 1-16-16,-1-1-2 0,-1 1 2 0,-1 1 0 16,-5 0-2-16,-1-1-19 0,-2 4 6 15,1-3-61-15,0 1 15 0,-12 2 10 0,0 1-5 16,1-2 10-16,0 2-13 0,3 0 13 0,-2 0 23 16,-1-2 16-16,9 2-16 0,1-1-7 0,3-1 25 15,-2 0-28-15,4 1 25 0,-3 0 19 0,3-3-11 16,-1 3-25-16,1-1 20 0,6-1-8 0,-5 1 11 15,5-1 7-15,0 2 31 16,2-2-28-16,-2 2-15 0,3 0 15 0,-1-1-3 0,1 1-10 16,-1-1 26-16,1 2-16 0,-1 0 3 15,1-1-15-15,-4 5-8 0,2-3 23 0,-1 2-26 16,-1 0 11-16,3 1-3 0,-3-1 2 16,0 0-2-16,3 3 5 0,-2-1-5 0,1-1-10 15,-2 2 2-15,3-1 24 0,1 0 4 0,0 1 6 16,4-3 4-16,-1 2-32 0,1-2 10 0,1 1-11 15,-1 0 6-15,3 0 17 0,-2 0-25 16,2-1 5-16,3-1 2 0,-1 1 6 0,1 0 23 16,2-1-11-16,-2 0-4 0,3 2-11 0,-1 0-8 15,0 0 16-15,0 0 0 16,1 1-3-16,0 1 11 0,1 1-1 0,2-1-17 16,-2 1 17-16,4 1 8 0,-4 1-10 0,4-1-10 15,-1 1-13-15,3 1 23 0,-2 0 0 0,-1 0 2 16,3 2-28-16,0 0 19 0,0 2-4 0,3 0-4 15,-1 1 20-15,0 0-3 0,-1 1 1 16,4 3 63-16,0-1 8 0,1 2-17 0,3-2 4 16,-1 0 13-16,0-1-36 0,2 0-32 0,6 6 24 15,2 0 3-15,-1-3 3 0,7-1-5 0,-1-2-16 16,5-3 23-16,0 1-35 0,5-4-8 0,3-3 5 16,2 0-36-16,8-5-21 0,1-3 6 15,2-2-13-15,2-2-54 0,3-3-15 0,-1-2-29 16,2-2-17-16,-2-1-20 0,-2-4-32 0,-2 3-15 15,-2-4-33-15,-4 2-61 0,-2 1-157 16,-11 1-125-16,9-1-305 0,-8 1 64 16,-3 3 106-16,-5 1 78 0,-2 0 70 0,-4 2 38 15</inkml:trace>
</inkml:ink>
</file>

<file path=ppt/ink/ink11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5:36:31.332"/>
    </inkml:context>
    <inkml:brush xml:id="br0">
      <inkml:brushProperty name="width" value="0.05292" units="cm"/>
      <inkml:brushProperty name="height" value="0.05292" units="cm"/>
      <inkml:brushProperty name="color" value="#0070C0"/>
    </inkml:brush>
  </inkml:definitions>
  <inkml:trace contextRef="#ctx0" brushRef="#br0">8303 2485 980 0,'-8'0'351'0,"0"0"-37"0,1 0-22 0,7 0-23 16,-5 1-21-16,5-1-25 0,0 0-34 16,0 0 11-16,0 0-13 0,0 0-92 0,36 0-19 15,-15-1 4-15,11 1-19 0,12-3 13 0,10 0-20 16,2 1 0-16,3-3-5 0,11 2-9 16,1-2 1-16,1 0-28 0,2-1-8 15,-2 1-23-15,3-1 11 0,-6 1-37 0,-13 1-45 0,-2-1-11 16,0 2-61-16,-8-2-24 0,0 1-78 15,-13 1-47-15,-5 3-394 0,-4-2 44 16,-7 2 17-16,-3 0 90 0</inkml:trace>
  <inkml:trace contextRef="#ctx0" brushRef="#br0" timeOffset="252.25">8221 2732 1095 0,'0'0'328'16,"0"0"-19"-16,28 0-122 0,-7-2 18 0,7 0 43 0,20-4-20 15,19 0-13-15,5-3-31 0,2-1 6 16,5 1-44-16,4-4 5 0,4 0-26 16,3 1-17-16,2-3 7 0,-5 2-8 0,-2 0-14 15,-3 1-27-15,-10 2-2 0,-3-1-38 0,-16 4-24 16,-6 1-20-16,-1-1-53 0,-12 4-45 15,-6-5-178-15,-5 8-556 0,-5 1 70 0,-6 0 99 16,-4-1 105-16,-6 0 36 0</inkml:trace>
  <inkml:trace contextRef="#ctx0" brushRef="#br0" timeOffset="6238.35">837 4307 970 0,'-1'-6'322'0,"1"1"-27"0,-1-2-11 0,0 1-23 0,-1-1-13 16,-1 1-30-16,-2 0-1 0,-2 1-33 15,1 2-84-15,-3-2 5 0,-2 4-15 16,-2-3 10-16,-2 4-29 0,-3 0 4 0,-3 4 81 15,-1-1-33-15,-5 3-1 0,2 1 1 0,0 2-23 16,1 0-13-16,1 1 5 0,2 3-7 16,0-1-11-16,1 0-15 0,2 1 18 15,5-1-36-15,-2 1 17 0,2 0-9 0,6 1-21 16,-3-1 3-16,4 3 13 0,-1 0-11 0,4 1 3 16,3 1 2-16,0 1-18 0,1 1 16 15,3 3-8-15,1 2-12 0,1-3 4 0,-1 4-4 16,2 0-70-16,4 4 0 0,-1 3 8 0,0 0 3 15,-2-1 4-15,2 3 6 0,-5-8 15 16,1 10-2-16,-2-7-11 0,-1 1 36 0,0 8-28 16,-6-3 5-16,1 2 0 0,-1-1 10 0,-2 1-2 15,-3-5 15-15,-2 2 0 16,2-4-5-16,-2-5 29 0,2-5-6 0,-2 1-11 0,-2-3 17 16,3 0 14-16,-1-5-12 0,0-1 17 0,0-1-19 15,0-1 78-15,1-4 6 0,-1 1-29 16,2-3 21-16,-2 0-28 0,3-2 10 0,-1-1-41 15,0-1 15-15,1-1-17 0,7 0-16 16,-11-5 21-16,7 4-19 0,1-3 6 0,0 2-15 16,1-3-1-16,2 0-15 0,2 2-7 0,1-3 2 15,2-1 13-15,0 3-3 0,1 2 51 16,3-3-58-16,-1 4-8 0,0 1 12 0,5 0-2 16,-3 2-5-16,1 4-17 0,3 2 9 0,4 4-2 15,-5 4 15-15,2 3 18 0,-1 12-10 0,-1 3-16 16,-1 7 21-16,-4 3 28 15,-1 12-5-15,-3 5-8 0,-3 3-2 0,-1 3-77 16,-1 4 5-16,-3 5 33 0,0 3-7 0,-2 4 10 16,1 4-3-16,-3 25 6 0,0 0 7 0,1 5-16 15,2 5 32-15,5 1-34 0,-3 3 49 16,6 6-23-16,-1 1 28 0,1 2-18 0,4 0-5 16,-1-1 2-16,2-2-12 0,-1 4-13 0,-1-3-34 15,1 0-12-15,1-4-23 0,2-4-57 16,-4-3-20-16,3-3-66 0,-1-1-103 15,2-8-663-15,-2-24 77 0,0 21 28 0,0-22 164 16,-1-5 53-16,-4-1 111 0</inkml:trace>
  <inkml:trace contextRef="#ctx0" brushRef="#br0" timeOffset="9546.31">6255 4896 1003 0,'0'0'312'0,"0"0"-25"15,0 0-23-15,0 0-44 0,0 0 51 16,18-5-36-16,-6 2-30 0,4 0-28 0,4-1-31 16,1-1-28-16,4-1-49 0,1 0-46 0,2 1-75 15,0-1-88-15,0 3-93 0,0-3-346 16,1 2-158-16,-1-2 84 0,0 4 62 0</inkml:trace>
  <inkml:trace contextRef="#ctx0" brushRef="#br0" timeOffset="10484.73">10375 4837 742 0,'18'-4'315'15,"0"3"-39"-15,2-2-22 0,1 0-22 0,7-1-27 16,0 1-13-16,13-2-15 0,3 0-24 16,-1-1-27-16,1 3-24 0,-8-2-2 0,-3 4-41 15,1-2-13-15,-1 2-64 0,-3 1-31 0,-2 0-50 16,-5 3-68-16,1-1-35 15,-3 3-39-15,-7-2-109 0,2 3-311 0,-1 2 32 0,-4-1 129 16</inkml:trace>
  <inkml:trace contextRef="#ctx0" brushRef="#br0" timeOffset="29848.05">4904 7375 993 0,'0'0'445'16,"-3"-2"3"-16,3 2-61 0,0 0-37 0,0 0-17 15,0 0-46-15,21 0-19 0,-11 1-55 16,3-1-8-16,4 0-90 0,1 0-31 0,5-3-30 16,3 1-8-16,2 2-33 0,3-5-21 15,3 4-43-15,-2-1-36 0,1-1-36 0,1 1-110 16,-3-3-141-16,-3 5-452 0,3-1 81 0,-6 1 54 15,-1-2 107-15</inkml:trace>
  <inkml:trace contextRef="#ctx0" brushRef="#br0" timeOffset="31169.23">7234 5556 890 0,'0'0'246'0,"0"0"-49"0,0 0-41 0,0 5-66 15,0-5-47-15,0 0-73 0,2 3-93 0,1 2-507 16,-3-5 98-16</inkml:trace>
  <inkml:trace contextRef="#ctx0" brushRef="#br0" timeOffset="33185.83">14197 5843 1471 0,'8'6'430'0,"-3"-5"-120"0,-5-1-28 0,10 1-19 16,1 0-40-16,-1 1-5 0,1-1-39 0,3 0-3 16,-1 1-20-16,3-2-12 0,2 1-3 15,-3 1-39-15,3-1-2 0,-2 0-34 0,1-1-2 16,1 0-15-16,-2 0-18 0,-3 0-26 0,2 1-8 15,-5-1 6-15,1 0 12 0,-1 0 1 16,-3 0-9-16,1 0-12 0,-8 0 18 16,6 2-21-16,-6-2 6 0,0 0 14 0,0 0-19 15,0 0 9-15,-16 5-12 0,5-3 13 0,1 0-14 16,-5 0-6-16,-1 1 9 0,1-1 0 16,-6 0 3-16,4 1 15 0,-1-2-12 0,2 1 9 15,-2 1 11-15,5-1-2 0,-2-1 2 16,2 3 0-16,1-3-8 0,1-1 3 0,3 1 15 0,1 2-8 15,-1-2 16-15,1-1 0 16,1 2-21-16,1-1 18 0,0 2-7 0,5-3 12 16,0 0-2-16,-5 2-5 0,5-2 18 0,0 0-19 0,0 0 6 15,15 4-8-15,-7-4-2 0,0 0-16 16,4 0 13-16,-2-1 8 16,6-1-8-16,-3 1 0 0,3 0 3 0,-1-2 4 0,1 1-9 15,1 0-11-15,-4-1 8 0,2 1 8 0,1 2-1 16,-4-2 1-16,1-1 2 0,-2 3-2 15,1-2 2-15,-4 2 8 0,3-1 17 0,-4 0-9 16,1-1-1-16,-1 2-2 0,-2 0 8 0,-5 0-6 16,11-3 19-16,-11 3-34 0,7 0 5 0,-7 0-5 15,8-1 11-15,-8 1 2 16,8 0 20-16,-8 0-12 0,0 0-6 0,5-2 14 0,-5 2 68 16,0 0-5-16,7-1-12 0,-7 1 25 0,0 0-38 15,0 0-34-15,6-1 26 0,-6 1 8 16,0 0-31-16,0 0 20 0,0 0-15 15,0 0 11-15,7 0-16 0,-7 0-28 0,0 0 23 16,0 0-29-16,0 0 21 0,0 0-20 0,0 0 2 16,0 0 3-16,0 0-18 0,0 0 26 0,6-1-90 15,-6 1 17-15,0 0-9 0,0 0-8 16,0 0 8-16,0 0 4 0,0 0 27 0,0 0-16 16,0 0 0-16,0 0-6 0,0 0 1 0,0 0-8 15,0 0-5-15,0 0 24 0,0 0-1 0,0 0-44 16,0 0 44-16,0 0-38 15,0 0 15-15,0 0-23 0,0 0-5 0,0 0 5 16,0 0-21-16,10 1-14 0,-10-1-9 16,0 0-10-16,0 0-15 0,0 0-15 0,0 0-1 0,0 0-40 0,0 0-8 15,0 0-34-15,0 0-22 16,0 0-64-16,0 0-42 0,0 0-521 0,0 0 22 16,-13-7 103-16,13 7 38 0,0 0 118 0,-5-4 57 15</inkml:trace>
  <inkml:trace contextRef="#ctx0" brushRef="#br0" timeOffset="37587">4378 6389 1121 0,'0'0'417'0,"0"0"-46"0,0 0-36 0,8-6-22 16,-1 4-96-16,1 2-25 0,2-2-8 15,3-1-15-15,0 2-30 0,3-2-16 0,1 1 15 16,0 0-33-16,2-1 0 0,1 1-21 15,-2 1 3-15,0-4-13 0,-3 4-7 0,1 0-39 16,-3-2-5-16,-3 2 3 0,3 1 7 0,-6-1-10 16,-1 0 15-16,-6 1-22 0,5-3 4 0,-5 3-7 15,0 0 2-15,0 0-2 0,0 0 3 16,-28 5 1-16,17-4-1 0,-4 2-16 0,-1-2 13 16,2 0 10-16,-2-1-11 0,3 3 6 15,1 0-7-15,1-2-9 16,3-1-4-16,-2 1-1 0,3 2 0 0,1-1-7 0,1-2 0 15,5 0 2-15,-8 0 1 0,6 4 4 0,2-4-12 16,0 0 7-16,0 0 13 0,0 0-12 0,0 0 9 16,12 2 11-16,-12-2-11 0,11-1-17 15,-3 1 5-15,-1-1-8 0,-2-1-18 16,3 2-7-16,-2-2 12 0,1 2 3 0,-7 0-47 0,10-3 9 16,-7 1-26-16,-3 2-26 0,7-2-43 15,-7 2-52 1,0 0-89-16,0-1-71 0,0 1-416 0,0 0 47 0,0 0 115 0,0 0 33 15</inkml:trace>
  <inkml:trace contextRef="#ctx0" brushRef="#br0" timeOffset="38416.3">4937 6721 1328 0,'0'0'397'0,"-3"-2"-26"0,3 2-31 16,0 0-33-16,-8 0-28 0,8 0-20 0,-5 7-34 15,2-1-28-15,1 1-5 0,0 2-7 16,1-1-34-16,-1 3 7 0,2 0-50 0,-3 0-16 15,1 1-23-15,2 0-41 0,-2 0-15 16,2 1-31-16,-1-2-30 0,1-2-27 0,0 2-35 16,0-1-33-16,0-1-87 0,0-2-93 0,-2 3-56 15,2-4-458-15,0 1 113 0,2-2 58 16,-2 0 49-16</inkml:trace>
  <inkml:trace contextRef="#ctx0" brushRef="#br0" timeOffset="38825.53">4814 6806 1238 0,'-3'-1'336'0,"3"1"-24"0,-5-4-13 0,3 2-14 15,2 2-35-15,-3-4-6 0,3 4-32 0,0 0-17 16,0 0-16-16,0 0-26 0,0 0 60 0,-5 7-19 16,5-7-2-16,2 10-23 15,1-5-10-15,-1 2 0 0,1-1-26 0,-1 2-5 16,3-2-28-16,0 2-3 0,-1-2-23 0,3 4 0 16,-2-2 6-16,3-2-27 0,-3 1 9 15,3-1-11 1,0 0 3-16,2-1-13 0,0 0 5 0,-2-2-3 0,2 1-14 0,0-3-1 0,-2 0-8 15,2 0-12-15,0-2-1 0,3 0-9 0,-3 1-8 16,1-2 12-16,-4-2-12 16,4 0-13-16,-1 1-3 0,-3-2-20 0,1 3-13 0,-2-2 6 15,1-2-19-15,-2 4-38 0,0-4-5 16,1 2-39-16,1 3-58 0,-2-4-85 0,0 1-154 16,0 0-463-16,-2 2 70 0,4-2 94 15,-1 4 69-15,-2-2 95 0</inkml:trace>
  <inkml:trace contextRef="#ctx0" brushRef="#br0" timeOffset="39825.8">5808 6731 1320 0,'0'0'418'0,"-5"-2"-55"0,5 2-102 0,0 0-10 16,-16 2-23-16,12 1-8 0,-1 1-28 0,0 1-18 16,-1 1-23-16,1 0 0 0,-2 2-23 15,1-1-15-15,1 4 9 0,0-3-17 0,0 3-23 16,0-4-5-16,2 6-10 0,-1-7-14 0,3 4-7 16,-2-2 6-16,1-1-29 0,2 0 7 0,0-1-19 15,2 0 1-15,-2 0-1 0,3-3 4 16,0-1-12-16,2-1-1 0,2 1-4 15,-1-2 2-15,-6 0 18 0,15-3-13 0,-7-1-8 0,0 1 3 16,2-4 13-16,-2-2 0 16,2 2-11-16,-3 0 19 0,1-4-3 0,-2 3-3 15,1 0 13 1,-2 0 8-16,-2 1-23 0,2 1 18 0,-2 0 12 0,1-1 11 0,-1 5-26 0,-1-4 18 16,1 2-2-16,0 2-9 0,-1 0-12 15,-2 2 13-15,0 0 0 0,0 0-28 16,0 0 7-16,0 0 16 0,0 0-13 0,0 14-3 0,0-9 3 15,0 1-3-15,1-2 11 0,-1 2 0 16,2 1-14-16,-2-2-17 0,0 1-5 0,2 0-21 16,-2-1-15-16,3 2-25 0,-3-2 9 0,2-2-15 15,-1 1-46-15,1 1-28 0,0-3-15 16,-2 2-67-16,0-4-110 0,0 0-49 16,6 0-480-16,-6 0 104 0,0 0 77 0,0 0 79 0,0 0 23 15</inkml:trace>
  <inkml:trace contextRef="#ctx0" brushRef="#br0" timeOffset="40403.37">5867 6575 1118 0,'3'-6'443'0,"2"2"-21"0,0 1-48 0,2-1-36 16,-1-1-21-16,2 3-25 0,-3 0-39 0,3 1-30 15,-1-1-23-15,-2 2-11 16,1 3-15-16,-6-3-79 0,10 3-18 0,-6 2 2 15,-4 0-2-15,1 0-13 0,-2 2 20 0,1-1-22 0,-2 2-6 16,-3-1 11-16,2-1-11 0,-1 1-7 0,-2-1-21 16,2 1 3-16,0-1 9 15,0 0 4-15,1-1-13 0,0 1 5 0,-1-4 15 16,3 3-21-16,-4-1 14 0,3-2-18 0,1 3 12 16,1-5-7-16,-4 3-6 0,4-3 3 0,0 5-5 15,0-5 0-15,4 3 8 0,-4-3-18 16,8 2 7-16,-8-2 1 0,8 0-1 0,-3 1-2 15,1-1 18-15,-6 0-28 0,12 0 5 0,-7 0 2 16,2 0-2-16,-7 0 2 0,14 0-12 16,-9-1 27-16,-5 1-17 0,12 0 10 0,-6 0 0 15,-6 0-2-15,10 0-3 0,-5 0 2 16,-5 0-4-16,7 0 7 0,-7 0-5 0,0 0 2 0,11 0 6 16,-11 0-21-16,5-1 15 31,-5 1-2-31,0 0 15 0,0 0-20 0,7 0 15 0,-7 0-12 0,0 0-11 0,0 0 23 0,0 0-31 15,0 0-9-15,0 0 4 0,8 0-36 0,-8 0-61 16,0 0-23-16,0 0-66 0,0 0-36 16,0 0-98-16,3 2-210 0,0-1-432 0,-3-1 95 15,0 6 89-15,2-2 95 0,-2-2 48 0,0 3 88 16</inkml:trace>
  <inkml:trace contextRef="#ctx0" brushRef="#br0" timeOffset="41387.87">7518 6613 1057 0,'-2'-5'489'0,"2"2"-62"0,-2-1-40 0,2 4-21 0,-3-6-34 16,3 6-37-16,-3 0-47 0,3 0-5 16,0 0-20-16,0 0-29 0,0 0 6 0,-2 11-49 15,2-5 13-15,0 1-44 0,2 0 11 0,-2 3-21 16,0-1-10-16,3 2-1 0,-3 0 14 0,2-2-51 15,-2 4-4-15,1-2-6 16,1 0-6-16,0-1-8 0,1 0-20 0,-3-2 5 16,3 1-8-16,-3-2 14 0,2-1-9 0,0 0-5 15,-2-3 8-15,0 2 8 0,3 0-18 0,-3-3 0 16,0-2 40-16,3 4-45 0,-3-4 20 16,0 0 3-16,0 0-21 0,0 0-5 0,0 0 11 15,12-4-1-15,-12 4 6 0,6-2-16 0,-6 2 7 16,7-2-6-16,-7 2-4 0,8 0 19 15,-3-1-14-15,-5 1-2 0,8 3 21 16,-8-3-11-16,8 2-7 0,-3-2-5 0,-5 0 12 0,4 4 0 16,0-3 26-16,-4-1 0 0,0 7-15 15,0-5-1-15,0-2 19 0,-4 8-18 16,2-5 2-16,-3 2-5 0,0-2-8 0,-3 2-2 16,3 0 7-16,-4 0-9 0,1-2-11 0,0 1-5 15,0-2-26-15,-2 2-49 0,2-3-9 16,0-1-29-16,1 0-38 0,7 0-41 0,-13-5-100 15,5 3-156-15,3-2-535 0,0-3 102 0,0 1 65 16,0 0 68-16,2-2 77 0,0-2 59 0</inkml:trace>
  <inkml:trace contextRef="#ctx0" brushRef="#br0" timeOffset="41711.33">7652 6316 1162 0,'12'-2'335'0,"-1"1"41"0,-1 2-25 15,-2-1 2-15,0 4-56 0,-3-3-10 16,2 4-11-16,-2 1-38 0,1-2-10 0,-4 4 0 16,0 1-31-16,1 0-90 0,-3 1-9 0,-3 1-9 15,3 2-12-15,-2-2 5 0,0 1-3 16,-1-3-17-16,0 2-3 0,1-3-3 0,0-1-15 15,1 0 0-15,1 1 5 0,0-5 5 0,3 2-20 16,-3 0 2-16,5-3-10 0,-2-1-5 16,-3-1-3-16,15 0-4 0,-8-1-32 15,4 0 1-15,4-2 9 0,-2 0-17 0,5-1-38 16,0 2-3-16,3-3-34 0,-1 4-20 0,1-3-17 16,1 1-42-16,-1 1-92 0,-1-1-79 0,-2 3-136 15,1-1-340-15,-4 1 45 0,3 0 103 16,0 1 70-16,-3 0 53 0</inkml:trace>
  <inkml:trace contextRef="#ctx0" brushRef="#br0" timeOffset="44644.72">4360 8476 990 0,'0'0'346'0,"0"0"-21"15,0 0-10-15,0 0-24 0,0 0-12 16,0 0 62-16,0 0-47 0,0 0-17 0,23-2-50 16,-10-1-22-16,2 2-3 0,6-3-15 15,1 1-28-15,4-3-23 0,2 1-19 0,0 2-40 16,1-3-26-16,1 1-30 0,-4-1-42 0,0-1-25 15,-3 4-59-15,-5 0-79 0,0-2-72 16,-3 4-74-16,-4 0-284 0,1 0-218 0,-4 2 87 16,-3-1 59-16,-5 0 130 0</inkml:trace>
  <inkml:trace contextRef="#ctx0" brushRef="#br0" timeOffset="44853.25">4363 8599 1226 0,'-6'2'304'0,"2"1"-20"0,3-1-10 0,1-2-28 16,0 0 2-16,-3 4-30 0,3-4-19 0,0 0-19 16,13 3 70-16,-8-3-27 0,5 0-21 15,4 0-7-15,-1 0-26 0,5-2-16 16,2-2-22-16,3 2-21 0,5-2-10 0,-2 1-54 16,1-1-31-16,0 1-17 0,1-2-42 0,-5 1-27 15,-3 2-55-15,1-1-84 0,-1 1-94 0,-4-1-142 16,-1 0-416-16,-2 3 124 0,0 0 50 15,-3-1 89-15,0 1 38 0</inkml:trace>
  <inkml:trace contextRef="#ctx0" brushRef="#br0" timeOffset="46333.71">7083 7745 1049 0,'-8'-1'366'0,"3"0"-38"16,5 1-21-16,-8 0-38 0,8 0-21 0,-10 1-8 15,4 0-40-15,2 2-18 0,-2-1 7 16,1 5-48-16,0-3-5 0,0 2-6 0,2 1-17 16,-2-1-11-16,0 2-4 0,3-1-1 0,-1 0-28 15,1 3 3 1,2-3 2-16,-4 1-8 0,4-2-9 0,0 3-4 0,0-2-19 15,1-2-1-15,2 1 5 0,-1-3-9 0,0 4 12 0,1-4-13 16,0 0-16-16,2-3 4 0,0 3 9 0,-5-3 4 16,0 0-24-16,15-3 23 15,-7 0-5-15,-3 0-10 0,1-3-1 0,1 3 1 16,-4-3-5-16,4 0 20 0,-4 1-13 0,2-1 21 16,-2 0 13-16,-1-1-16 0,-2 3 8 0,2 2 33 15,1-4-15-15,-3 4-20 0,3-3 7 16,-3 5-64-16,2-4-15 0,-2 4 12 0,0 0 1 15,0 0 2-15,0 0 15 0,0 0-10 0,0 0 3 16,-2 17-5-16,4-12 12 0,-2 2 3 16,0 0-5-16,0-1 3 0,0 2-29 15,0 1-8-15,0 0 4 0,2-3-45 0,-2 3 6 16,4-2-16-16,-4 0-30 0,2-1-18 0,0-3-23 16,-2 3-67-16,1-1-74 15,-1-5-57-15,7 3-496 0,-6-1 90 0,-1-2 84 0,7 2 64 16,-7-2 31-16</inkml:trace>
  <inkml:trace contextRef="#ctx0" brushRef="#br0" timeOffset="46744.91">7187 7632 1072 0,'6'-6'353'0,"-3"4"-28"0,2-1-53 15,-1 1-9-15,-4 2-20 0,9 0-20 16,-9 0-18-16,7 2 0 0,-4 1-31 16,-1 0 66-16,0 2-37 0,-2 1-11 0,-2 4-29 15,2-2-1-15,-2 0-11 0,-1 2-18 0,0-2-15 16,1 0-29-16,-1 3 16 0,1-5-38 16,-1 1-1-16,1-1-4 0,1 0 7 0,-1-1-8 15,2 1-7-15,-2-3-8 0,2 1 13 16,0 0-21-16,0-4 1 0,2 6 7 0,-2-6-8 0,3 3-5 15,2-3 3-15,-5 0-15 16,7 1 15-16,-7-1-6 0,13-1-4 0,-5 1-13 16,-3 0 15-16,5-1-8 0,-2 0-9 0,0 0-11 15,2 1 5-15,-2-4 2 0,0 4 19 0,1 0 5 16,-1-1-21-16,0 0-2 0,-3-1-3 16,3 1-33-16,-3 0-11 0,-5 1 14 15,10 0-24-15,-10 0-10 0,8 0-2 0,-3-1-37 0,-5 1-25 16,5-1-33-16,-5 1-100 0,6-2-135 15,-6 2-521-15,4 2 27 0,-4-2 171 0,0 0-13 16,6 2 97-16,-6-2 46 0</inkml:trace>
  <inkml:trace contextRef="#ctx0" brushRef="#br0" timeOffset="47674.08">10505 7575 931 0,'-8'-1'346'0,"8"1"-44"0,0 0-18 0,-7 6 41 16,4-3-20-16,-1 3-34 0,3 0-13 0,-1 1-30 16,-1 2-33-16,0-1-1 0,1 0-20 0,-1 2-23 15,1-2-10-15,2 2-15 16,-3-1-1-16,3 1-28 0,-2-2-15 0,2 0 18 0,-3 1-28 16,3-3-3-16,0 0-18 0,0-1-13 15,0-1 11-15,0 2-5 0,-2-5-6 0,2-1 21 16,2 4-18-16,-2-4 7 0,0 0-22 15,0 0 7-15,10 0-7 0,-10 0-3 0,0 0 10 16,13-4-2-16,-13 4-5 0,8-1 25 0,-8 1-18 16,7 0-12-16,-4-1 7 0,-3 1-13 15,11 1 3-15,-11-1-3 0,7 0 36 0,-1 0-22 16,-6 0 4-16,7 4-15 0,-2-3-3 16,-3 0 13-16,-2-1 18 0,6 5-15 0,-4-4-3 0,1 3 39 15,-3-4-26-15,-3 6 15 16,3-6-89-16,-2 7 25 0,0-5 0 0,-2 4 11 15,0-1-21-15,-2-2 5 0,1 2 3 0,-3-1-8 0,1 0 5 16,-1 0-10-16,1 0-7 0,-1-1-39 16,-2 0-26-16,2-1-18 0,0-1-51 0,-2-1-66 15,5 1-118-15,-5-2-123 16,4 1-466-16,1 0 92 0,5 0 83 0,-10-5 91 0,8 1 90 16</inkml:trace>
  <inkml:trace contextRef="#ctx0" brushRef="#br0" timeOffset="47964.89">10564 7476 998 0,'5'-2'353'0,"1"2"-38"16,-6 0-28-16,8 2-11 0,-4-2-15 0,-1 4-8 15,2 0-22-15,-3 0-19 0,1 1-12 16,-3 0-13-16,3-2-26 0,-1 2-20 0,0 1-8 15,-1-1-2-15,2-2-24 0,1 2-10 16,-1-3 6-16,2 3-11 0,-2-5-10 0,5 1-21 16,0 2 8-16,-1-3-20 0,0 0-23 0,2-4-11 15,1 4-7-15,2-2-19 0,-1-3-25 0,2 4-17 16,-3-3-27-16,0 3-50 0,1 1-49 0,1 0-82 16,-2 0-103-1,0 0-199-15,-2 0-241 0,3 2 116 0,-4 1-9 0,4 0 101 16</inkml:trace>
  <inkml:trace contextRef="#ctx0" brushRef="#br0" timeOffset="50700.92">6557 9505 831 0,'-5'0'343'16,"5"0"-15"-16,0 0-28 0,0 0-32 15,0 0-30-15,0 0-5 0,18-4-33 0,-5 3-44 16,5-1-18-16,2-2-48 0,5-2-49 16,1 0-64-16,0 3-80 0,2-1-104 0,-2 1-556 15,-3 0 93-15,-1 1 22 0,2-3 57 0</inkml:trace>
  <inkml:trace contextRef="#ctx0" brushRef="#br0" timeOffset="50911.27">6711 9649 1146 0,'-6'1'351'0,"6"-1"-34"16,0 0-40-16,0 0-8 0,0 0-34 0,0 0-20 15,0 0-23-15,19-2-18 0,-7-2-18 16,1 1-51-16,3 0-23 0,4-4-18 16,1 5-36-16,5-4-48 0,1 2-67 0,1-1-100 0,-2 0-110 15,3 2-458-15,-6 3 30 0,2-2 70 16,1-1 61-16</inkml:trace>
  <inkml:trace contextRef="#ctx0" brushRef="#br0" timeOffset="51605.88">9624 9545 1003 0,'0'0'366'0,"0"0"-31"0,0 0-40 0,0 0-85 15,30 0-39-15,-4-1-5 0,20 0-12 0,8-3-13 16,18-3-13-16,4 1-5 16,7-1-16-16,4-1 52 0,8-3-8 15,2 4-44-15,0-2-25 0,1 3-18 0,2-3-46 0,-5 2-69 16,-6 0-59-16,-4 0-103 0,-11 0-104 0,-15 4-433 15,-4 0 33-15,-10 1 57 0,-9 1 76 0</inkml:trace>
  <inkml:trace contextRef="#ctx0" brushRef="#br0" timeOffset="51865.51">9723 9775 811 0,'-8'0'353'16,"4"4"-28"-16,6-2-43 0,-2-2 63 16,15 0-50-16,3 0-21 0,11-2-6 15,19-2-45-15,6-2-13 16,18-1 2-16,10-1-30 0,5-2-36 0,8-2 3 0,26-1-34 0,-1-1 13 16,-25 3-31-16,0-2-7 15,-3 2-39-15,-2 2-13 0,-5-3-25 0,-6 4-13 0,-5-1-38 16,-7 2-75-16,-15 7-161 0,-4-2-637 0,-10 1 74 15,-4 2 66-15,-9 1 131 0,3 1 52 16</inkml:trace>
  <inkml:trace contextRef="#ctx0" brushRef="#br0" timeOffset="52403.36">12923 9451 880 0,'-5'3'333'0,"2"-2"-6"0,3-1-7 16,0 0-105-16,0 0-7 0,26 1-21 15,-11-1-36-15,8 0 7 0,13-1-25 16,13-3-15-16,8 1-8 0,12-4-33 0,5 3 0 15,-2-3 0-15,2 0 35 0,3-2-12 16,3 1-23-16,1 2-54 0,-3 0-44 16,-1-1-99-16,-4 1-113 0,-21 4-174 0,4-3-399 0,-4 3 76 15,-6-1 119-15,-13 0 24 0</inkml:trace>
  <inkml:trace contextRef="#ctx0" brushRef="#br0" timeOffset="52656.12">13190 9550 852 0,'-5'3'379'16,"2"-2"-34"-16,3-1-35 0,0 0 10 0,0 0-59 16,26 2-25-16,-3-3-9 0,8 1-22 0,17-2-31 15,6-1-87-15,3 0-18 0,19 0 6 16,6 1-14-16,3-3-33 0,3 3-25 15,-2-2-21-15,-3 3-26 0,-4 0-30 0,-3-2-41 16,-14 2-82-16,-3 1-123 0,0 1-448 16,-5-1 36-16,0 3 105 0,-5-2 53 0</inkml:trace>
  <inkml:trace contextRef="#ctx0" brushRef="#br0" timeOffset="53721.28">15631 9510 1292 0,'10'-5'430'0,"5"-1"-36"0,11-1-12 0,17-4-62 0,8 2-26 0,16-2-35 0,7-1-9 0,6 0-101 0,5 0-44 16,2 1-8-16,2 2-35 0,-1-1-19 15,-6 1-43-15,0-1-64 0,-6 3-82 0,-4-5-202 16,-2 5-494-16,-16 4 64 0,-8-3 89 0,-10 3 60 15,-8 0 60-15</inkml:trace>
  <inkml:trace contextRef="#ctx0" brushRef="#br0" timeOffset="53928.55">15917 9733 1190 0,'14'-3'376'0,"6"-2"-46"0,6-1-30 16,12-2-14-16,5 0-45 0,6-2-26 0,12-2-31 16,4 0-28-16,5 0-38 0,1-1-38 0,1 1-52 15,-3-1-85-15,2 3-132 0,1-1-254 16,-5 0-315-16,0 0 42 0,-13 4 89 16,-1 1 97-16</inkml:trace>
  <inkml:trace contextRef="#ctx0" brushRef="#br0" timeOffset="55927.28">18571 8104 893 0,'32'-6'263'0,"0"3"-27"0,-1 0-8 16,15 0-41-16,4 3 2 0,-2 3-35 15,3 3-8-15,-5 2-24 0,1 3-4 16,-2 4 0-16,4 7-21 0,-8 4-5 0,0 7-5 15,-5 4-10-15,-6 6-5 0,-1 4-8 0,-3 6-3 0,-3 3 8 16,-1 6-15-16,-3 2 8 0,-4 9-22 16,3 4 7-16,-2 3-14 0,-2-4 28 15,0 4-30-15,-1 2-11 0,2-1-14 0,0-2 1 0,-2-4-12 16,3-3 20-16,-1-3-22 0,3-7 12 16,0 0 0-16,0-4-8 0,0-6 6 15,-1-5 5-15,-3-9-6 0,-4-1-2 0,-5-9 16 16,0-5-4-16,-5-2 35 0,-5-2-17 0,-3 1 6 15,-7-2 15-15,-16 3-12 0,-15 1 14 0,-18-3 6 16,-18 0-2-16,-39 6-1 0,-25 0-23 0,-33 6-2 16,-73 10-44-16,-33 2-38 0,-25 7-69 15,-20 7 2-15,-32 5-271 16,-15 11-451-16,-15 4 95 0,-8 2 67 16,-13 10 97-16,3-3 18 0</inkml:trace>
</inkml:ink>
</file>

<file path=ppt/ink/ink1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8-09T13:54:22.285"/>
    </inkml:context>
    <inkml:brush xml:id="br0">
      <inkml:brushProperty name="width" value="0.05292" units="cm"/>
      <inkml:brushProperty name="height" value="0.05292" units="cm"/>
      <inkml:brushProperty name="color" value="#0070C0"/>
    </inkml:brush>
  </inkml:definitions>
  <inkml:trace contextRef="#ctx0" brushRef="#br0">16179 7448 0,'27'0'219,"-1"0"-204,-13 0 1,1 13-1,-1-13-15,0 13 16,0-13 0,-13 14-16,0-1 15,0 0-15,-13 0 16,0 1-16,0-1 16,-1 0-1,1 0-15,0-13 0,0 14 16,-1-14-16,1 0 0,0 13 15,0-13-15,0 13 16,-1-13-16,1 0 16,0 13-16,-14-13 15,14 0 17</inkml:trace>
  <inkml:trace contextRef="#ctx0" brushRef="#br0" timeOffset="651.29">16391 7501 0,'0'-13'31,"-53"26"32,40-13-47,0 13-16,-1 0 15,1 1 1,0-1-16,0 0 15,13 0 1,0 1-16,0-1 16,13-13-16,0 13 15,0-13-15,1 0 16,-1 0-16,13 13 16,-13-13-1,14 0 1,-14 0 15</inkml:trace>
  <inkml:trace contextRef="#ctx0" brushRef="#br0" timeOffset="1094.28">16510 7607 0,'0'-13'32,"-13"39"15,13-13-47,0 0 15,-13 1 1,13-1 15,-14 0-31</inkml:trace>
  <inkml:trace contextRef="#ctx0" brushRef="#br0" timeOffset="1674.31">16550 7501 0,'-14'0'15,"-12"0"48</inkml:trace>
  <inkml:trace contextRef="#ctx0" brushRef="#br0" timeOffset="2615.25">16748 7554 0,'-53'0'0,"119"0"78,-52 0-63,12 0 1,1 0 0,-27-13-1</inkml:trace>
  <inkml:trace contextRef="#ctx0" brushRef="#br0" timeOffset="3410.28">16960 7474 0,'26'-13'47,"1"26"-32,-1-13 1,-13 0-16,1 14 0,-1-14 15,-13 13-15,13-13 0,-13 13 16,13-13-16,-13 13 0,0 1 16,0-1-16,-13 13 15,0-12 1,-14-1 0,14 0-16,-13-13 15,26 13-15,-27-13 0,14 0 16,0 0-1,-14 13-15</inkml:trace>
  <inkml:trace contextRef="#ctx0" brushRef="#br0" timeOffset="3882.31">17251 7501 0,'-40'13'16,"27"-13"-1,0 13-15,-1-13 16,14 14-16,-13-1 15,13 0-15,-13 0 16,13 1-16,13-1 16,0-13-1,1 13 1,-1-13-16,0 0 16,0 13-16,14-13 0,-1-13 15,1 13 1,-1 0-1</inkml:trace>
  <inkml:trace contextRef="#ctx0" brushRef="#br0" timeOffset="4630.37">16920 7369 0,'-13'0'15,"79"0"32,-40 0-47,-12 0 16,25 0-16,-25 0 0,12 0 15,-13 0-15,14 13 0,-1-13 0,-13 0 16,14 0-16,-1 0 0,-12 0 16,12 0-16,1 0 0,-14 0 15,13 0-15,-13 0 0,1 13 16</inkml:trace>
  <inkml:trace contextRef="#ctx0" brushRef="#br0" timeOffset="5385.32">16140 7355 0,'0'0'15,"-27"14"1,14-1-16,0-13 0,13 13 0,-14-13 16,14 13-16,-13 1 0,0-1 0,0 0 15,13 13-15,-13-12 0,-1-1 16,14 0-16,0 0 0,-13 1 16,13-1-16,0 0 0,13 0 0,-13 1 15,0-1-15,14 0 0,-1 0 16,0 0-16,0-13 15,14 0-15,-14 0 0</inkml:trace>
  <inkml:trace contextRef="#ctx0" brushRef="#br0" timeOffset="6191.33">17489 7329 0,'26'13'32,"-12"0"-32,-14 1 15,13-1-15,-13 0 0,13 0 0,-13 1 16,0 12-16,0-13 0,-13 0 0,13 14 15,-13-14-15,-1 14 16,-12-1-16,13-13 0,-14 14 0,1-14 16,13 0-16,-40 14 0,26-14 0,14 0 15,-13 0-15,12 1 0,1-14 0</inkml:trace>
  <inkml:trace contextRef="#ctx0" brushRef="#br0" timeOffset="9071.02">16060 8321 0,'0'-13'16,"-13"39"15,13-12-15,-13-1-16,13 0 16,0 0-16,-13 1 0,13 25 15,-14-26-15,14 1 0,0-1 0,0 0 0,0 0 16,0 1-16,-13-1 0,13 0 15,13 0-15,-13 0 16,14 1 0,-1-14-16,26 0 31</inkml:trace>
  <inkml:trace contextRef="#ctx0" brushRef="#br0" timeOffset="9918.28">16245 8374 0,'-26'27'47,"26"-14"-31,13 0-1,0 0 1,1 0-1,12-13 1,1-13 0,-14 13-16,0-13 15,0 13-15,-13-13 16,13 0-16,1 13 0,-14-14 16,13 14-1,-13-13-15,13 13 16,-26 27 31,13-14-47,0 0 15,-13 0-15,13 0 0,0 1 16,-14-1-16,14 0 16,-13 0-16,13 1 0,-13-1 0,13 0 15,-13 0-15,0 0 0,-1 1 0,1-1 16,0 0-16,0 0 15,-1-13-15,1 14 0,0-14 16,0 13-16,-14-13 16,1-13-1,26-1 1,0-12 0,13 26-16,-13-13 0,13 13 15,0-14-15,1 1 0,-1 13 16,-13-13-16,13 13 0,14-13 15,-14 0 1,0 13-16,0 0 0,1 0 16</inkml:trace>
  <inkml:trace contextRef="#ctx0" brushRef="#br0" timeOffset="10223.5">16536 8493 0,'14'13'31,"-28"1"-15,1-1-16,13 0 0,-13 0 31,13 0-31,-13 1 16</inkml:trace>
  <inkml:trace contextRef="#ctx0" brushRef="#br0" timeOffset="10661.74">16682 8453 0,'53'0'47,"-27"0"-47,-12 0 16,12 0-1,-13 0 32</inkml:trace>
  <inkml:trace contextRef="#ctx0" brushRef="#br0" timeOffset="11782.45">17066 8361 0,'0'-13'0,"-27"39"78,27-13-63,-13 1-15,13-1 0,0 0 16,0 0-16,0 0 16,13-13-16,-13 14 15,13-14-15,1 13 16,-1-13-16,13 0 16,1 0-1,-1 0-15,-13-13 0,1 13 16,-1 0-16,0 0 0,0-14 0,1 14 15,-1-13-15,0 13 0,0 0 16,-13-13-16,27 13 0,-27-13 16,26 13-16,-13-13 15,-26 39 17,13-13-17,0 0-15,0 1 0,-13-14 16,13 13-16,0 0 0,-13-13 0,13 13 15,-13 1-15,13-1 0,-14 13 16,1-26-16,0 27 16,0-14-16,-1 0 0,1 0 15,0-13-15,13 14 0,-13-14 16,-1 13-16,-12-13 16,13 0-1,0-13 1,26-1-1,-13 1-15,13 13 16,-13-13-16,13 13 0,-13-13 16,13 13-16,1-14 0,-1 14 0,0-13 15,0 13-15,1-13 16,-1 13-16,0-13 0,0 13 0,14-13 16,-14 13-16,0-14 15,0 14-15,1-13 16,-1 13-16,0 0 15,0-13-15</inkml:trace>
  <inkml:trace contextRef="#ctx0" brushRef="#br0" timeOffset="12266.67">17105 8281 0,'0'0'0,"40"0"32,-14 0-32,-12 0 15,12 0-15,1 0 16,-1 0-16,1 0 16,-14 0-1,13 0-15,-13 0 16,14 0-16,-14 14 15</inkml:trace>
  <inkml:trace contextRef="#ctx0" brushRef="#br0" timeOffset="12774.17">17555 8215 0,'13'27'63,"1"-14"-63,-1 0 15,-13 0-15,13-13 0,-13 27 0,13-14 16,-13 0-16,0 1 0,0 12 0,0-13 16,0 1-16,0-1 0,-13 13 15,13-13-15,-13 1 0,0-1 0,-1 0 16,1 0-16,-13 1 0,12-1 0,1 0 15,0 0-15,-14-13 0,14 13 0,0-13 16</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8-09T13:55:24.905"/>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1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5:37:34.51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488 9061 1267 0,'-7'1'465'0,"7"-1"-29"15,0 0-37-15,-6-4-38 0,6 4-44 16,0 0-7-16,0 0-36 0,11-7-13 16,-4 5-33-16,3-1-21 0,3 0-12 0,0-2-29 0,2 2-2 15,3-1-31-15,1-2 8 0,1 3 48 0,-2 0-17 16,0-1-14-16,2 1-20 0,-4-1-45 15,-1 2-37-15,3 2-46 0,-2-2-33 0,-3-1-18 16,2 2-41-16,-5 0-35 0,0 0-19 0,1 0-41 16,-1-1-45-16,-3 1-75 0,3 0-164 15,-6 1-82-15,3-2-378 0,-2 0 104 16,0 1 111-16,0-1 48 0,-2-2 77 0</inkml:trace>
  <inkml:trace contextRef="#ctx0" brushRef="#br0" timeOffset="220.43">1847 8899 1341 0,'0'0'430'0,"0"0"-21"15,0 0-86-15,0 0-24 0,13 2-2 0,-8 2-28 16,0 1-23-16,1-2-8 16,1 3-8-16,1 1-15 0,-1 3-30 0,-1-2-6 15,-1 0-23-15,2 3-15 0,-4 0 15 16,0 0-18-16,-1-1-41 0,-2 1-25 0,-2 2-39 0,-1-1-23 15,-2 1-20-15,-1 0-38 0,-4 0-47 16,3-1-23-16,-6 0-53 0,2-2-62 0,-4-1-138 16,-8-1-111-16,8-1-426 0,-3-2 104 0,-2 0 74 15,-1 1 119-15,-5 0 37 0</inkml:trace>
  <inkml:trace contextRef="#ctx0" brushRef="#br0" timeOffset="1289.38">183 9110 1028 0,'0'0'384'0,"0"0"-53"0,0 0-11 16,0 0-26-16,0 0-15 0,2 14-28 0,-1-8-23 15,1 2-21-15,-2-1 41 0,3 3-28 16,-3-3-7-16,0 4-44 0,2-3 5 0,-1 2-36 16,1-1-18-16,-2-1-17 0,2 2-19 15,-2-3-2-15,3-1-13 0,-3 0-10 0,0 0-20 16,1-1 9-16,0-3-9 0,0 4-11 15,-1-6 10-15,0 4-10 0,0-4 6 0,0 0 4 16,0 0-5-16,0 0-5 0,0 0-7 0,5-12 10 16,-3 7-3-16,-1-2-15 0,-1 1 20 15,2-2 3-15,0-1-8 0,-2 2 0 0,3-1 8 16,0-1-21-16,-1 1 0 0,0 2-4 0,4 0-1 16,-4 4-7-16,1-3 12 0,3 4 5 15,-2 0-15-15,4-1 19 0,-8 2-1 0,12 3 0 16,-6-2-23-16,-1 1 23 0,1 2-28 0,1-2 7 15,0 3 8-15,-3-3 3 0,3 2 2 16,-4-4 6-16,1 4-18 16,-1-1 9-16,2-2 16 0,-3 3 36 0,-2-4-33 0,6 1 33 15,-6-1-10-15,5 0-46 0,-5 0-1 0,0 0 11 16,0 0-2-16,7-2-11 0,-7 2 7 0,3-7-1 16,0 3 9-16,-3-2 3 0,2 3-25 0,1-2 20 15,-1 0 2-15,1-1-15 0,0 4 11 16,1-2-9-16,-1 1 14 0,0 0-21 0,2 1 33 15,0 1-2-15,-5 1-21 0,10 1 8 0,-10-1 0 16,11 1 7-16,-6 0-20 0,0 2 11 16,0-1-11-16,0 0 10 0,-2-2-10 0,2 4-30 15,-5-4-21-15,8 3-16 0,-5 1-25 0,-1-2-23 16,3 2-28-16,-5-3-33 0,3 3-29 16,-1-2-51-16,0 4-69 0,1-3-128 0,0 1-271 15,-1-3-141-15,0 4 43 16,1-1 106-16,0-2 71 0,-3-2 54 0</inkml:trace>
  <inkml:trace contextRef="#ctx0" brushRef="#br0" timeOffset="1579.05">573 9173 954 0,'0'-5'369'0,"2"-3"58"16,1 2-22-16,0-3-37 0,-3 2-14 0,2-1-17 0,-2-1 12 15,0 1-60-15,1 1-90 0,-1 1 22 0,0 0-9 16,-1 1-12-16,-1 1-13 0,2 0 69 0,-3-1-29 15,1 2-37-15,2 3 4 0,-3-4-38 16,3 4-7-16,0 0-24 0,0 0-9 16,0 0 1-16,-13 10-22 0,11-7-5 0,1 2-11 15,-1 2-13 1,0-1-14-16,1-1 4 0,1 1-15 0,-2 0 0 0,4 0-33 0,1-1-11 16,-1 0-30-16,1 0-31 0,0 1-39 0,2-1-22 15,0-3-8-15,3 3-16 0,-1-3-22 0,-1 0-42 16,2-2-7-16,2 0-54 0,0-3-156 15,2 1 52-15,-1-3-119 0,1-1-399 0,1 0 85 16,-2 3 40-16,1-4 121 16,1-2 79-16</inkml:trace>
  <inkml:trace contextRef="#ctx0" brushRef="#br0" timeOffset="2186.38">812 9023 749 0,'-1'-4'323'0,"-1"0"64"16,2 4-21-16,-3-5-3 0,0 2-76 0,3 3-1 15,-7-1-30-15,2 0-18 0,5 1 6 0,0 0-32 16,-14 1-25-16,10 0 5 0,-4 3-41 15,3-1 79-15,0 2-30 0,-3-1-21 16,3 2 18-16,-1-3-43 0,2 4-6 0,-1-2-15 0,2 2-12 16,-2-1-9-16,2 0-30 0,-1 0-5 15,3 1 0-15,-1-2-18 0,2 0 7 0,0-1-27 16,0 0-11-16,0 2 13 0,3-4-13 16,1 2-3-16,-1-3-25 0,0 2 21 0,-3-3-3 0,10 3-23 15,-10-3 25-15,10-3-22 16,-5 0 4-16,0 2 16 0,0-5-15 0,1 4 27 15,-2-2-19-15,2-3 17 0,-3 2 8 0,2 2-13 16,-3-3 23-16,0 1 5 0,1 0-36 0,0 2 47 16,-3-1-32-16,2-1 6 0,-1 3 15 15,-1 2 8-15,1-5-30 0,-1 5 1 0,3-5-2 16,-3 5 6-16,0 0-1 0,0 0-13 16,0 0-2-16,0 0 16 0,0 0-32 0,0 0 14 15,0 0-9-15,0 12-2 0,3-8 23 0,-3-4-15 16,0 8-5-16,0-7-11 0,1 4 1 0,-1-5-1 15,1 5 1-15,0-3 7 0,-1-2 13 16,2 5-16-16,-2-5-2 0,3 1 13 16,-3-1-5-16,0 4 10 0,0-4-21 0,0 0 34 15,0 0-44-15,0 0 34 0,0 0-9 0,15-5-1 16,-15 5-9-16,5 0 26 0,-5 0 18 16,8 0-35-16,-8 0 19 0,8 0-2 0,-8 0-53 15,8 2-42-15,-4 0 21 16,1 0 23-16,0-2 3 0,-5 0-1 0,8 5 11 0,-5-3-5 0,2-2-8 15,-3 3 5-15,-2-3-3 0,6 3 6 0,-6-3 7 16,7 0-7 0,-7 0 25-16,5 0-5 0,0 2 0 0,-5-2 6 0,8 0 4 15,-8 0 28-15,11 0 44 0,-4 0 18 0,-7 0-5 0,11 0-15 16,-4 0-11-16,-7 0-13 0,13 0-12 0,-8 0-8 16,-5 0-5-16,8 0-41 15,-8 0-26-15,10-2-43 0,-10 2-59 0,6 0-47 16,-6 0-65-16,0 0-78 0,8 4-263 15,-6-2-548-15,0-2 146 0,0 3 84 0,-2-3 73 0,0 0 73 16,1 5 90-16,1 0 71 0</inkml:trace>
  <inkml:trace contextRef="#ctx0" brushRef="#br0" timeOffset="6961.83">3004 9181 1085 0,'0'0'356'16,"0"0"-21"-16,0 0-135 0,18-2-37 0,-13 0-37 15,4 0-57-15,0 2-61 0,0 0-47 16,2-3-112-16,-8 0-179 0,10 3-348 0,-1-1 48 16</inkml:trace>
  <inkml:trace contextRef="#ctx0" brushRef="#br0" timeOffset="7144.39">2998 9307 837 0,'0'0'302'0,"0"0"-31"0,13-3-28 16,-8 0-33-16,5 3-54 0,1 0-36 0,2 0-61 16,-1 0-61-16,3 0-85 15,2-2-118-15,0 4-473 16,4 2 40-16,-1 1 103 0</inkml:trace>
  <inkml:trace contextRef="#ctx0" brushRef="#br0" timeOffset="10354.51">4136 4213 739 0,'-4'19'313'0,"1"-8"-121"0,0 2-6 16,1 4 45-16,-1 4-29 15,0 4-5-15,1 0-25 0,-3 13-24 0,0-1-20 16,2 3-36-16,-2 0-23 0,1-2-64 0,-2 1-99 16,3-2-132-16,-2 1-485 0,0-2 53 15,0-8 46-15</inkml:trace>
  <inkml:trace contextRef="#ctx0" brushRef="#br0" timeOffset="10622.03">4008 4540 970 0,'-2'7'220'0,"0"3"-23"15,1 3-13-15,-1 1-12 0,-1 4-34 0,3 2-5 16,0 2 3-16,0-2-13 0,3 0 35 15,-1 1 1-15,1-1-13 0,3-3-13 0,3 3-13 16,2-2-30-16,-1-4-34 0,5 0-48 0,1-3-39 16,-1-5-89-16,3 1-54 0,2-3-80 0,1-3-493 15,2-1 84-15,1-4 33 0</inkml:trace>
  <inkml:trace contextRef="#ctx0" brushRef="#br0" timeOffset="14711.89">4716 9244 1087 0,'5'1'348'0,"3"1"-53"0,-3 1-37 0,5-3-9 16,-2 0-29-16,2 0-23 0,1 0-20 0,1 0-32 15,-1 0-32-15,1 0-34 0,-1 0-48 16,2 0-59-16,-1 0-85 0,-1 0-79 16,-4-3-153-16,4 0-380 0,-1 3 70 0,-2-1 10 0</inkml:trace>
  <inkml:trace contextRef="#ctx0" brushRef="#br0" timeOffset="14949.78">4696 9291 1067 0,'0'0'315'0,"0"0"-23"16,0 0-98-16,8 3-7 0,-4 0-10 16,2-2-37-16,1-1-12 0,1 1 5 15,-1-2-25-15,3 1-18 0,1 0-16 0,-1-1-33 0,0-1-31 16,0 1-33-16,1 0-54 0,-1-1-61 0,0-1-36 15,-2 3-5-15,2-3-113 16,-2 0-353-16,0 2-3 0,-3-1 70 0</inkml:trace>
  <inkml:trace contextRef="#ctx0" brushRef="#br0" timeOffset="22634.44">6831 3898 414 0,'8'-2'23'0</inkml:trace>
  <inkml:trace contextRef="#ctx0" brushRef="#br0" timeOffset="25531.74">3491 3752 629 0,'0'0'320'0,"-8"0"-10"0,8 0-36 0,0 0-39 0,0 0-12 15,0 0-18-15,0 0-41 0,0 0 12 0,0 0-25 16,0 0-7-16,0 0-32 15,-5 1-22-15,5-1 10 0,0 0-26 0,0 0 0 16,0 0 0-16,0 0-15 0,0 0 23 0,0 0-3 16,0 0-10-16,0 0-7 0,23-3-8 15,-23 3-11-15,10-2 16 0,-5 1-31 0,-2-1 11 16,2 1 12-16,-5 1-44 0,10-4-1 0,-5 3-22 16,1 0-25-16,1-3-23 0,-2 4-51 15,-5 0-61-15,8-3-96 0,-8 3-127 0,5-2-377 16,0 1 121-16,-5 1-18 0,8-2 89 0</inkml:trace>
  <inkml:trace contextRef="#ctx0" brushRef="#br0" timeOffset="26136.3">3629 3673 831 0,'0'0'254'0,"0"0"61"0,0 0-29 16,0 0-32-16,0 0-29 0,3 12-10 15,-3-7-33-15,2 0-6 0,-2 0-19 16,0 2 11-16,0-2-24 0,0 2-113 0,0-1-14 0,2 2-22 16,-4 0-20-16,2 1-52 0,0-2-51 15,0 1-36-15,0-2-41 0,0-1-58 16,0 2-428-16,0 0 61 0,0-3 39 0</inkml:trace>
  <inkml:trace contextRef="#ctx0" brushRef="#br0" timeOffset="26638.81">3694 3685 944 0,'0'0'353'0,"0"0"-38"0,0 0-26 0,0 0-22 16,0 0-99-16,0 0 4 0,0 0-29 15,12 11-10-15,-10-8-15 0,1 0-8 0,0 2 5 16,-1-3-7-16,0 4-21 0,-1-2-15 0,4 1 66 15,-5-1-2-15,2 2-14 0,-2-1-1 16,1 0-14-16,-1-1-22 0,2 0-1 0,-2 0 1 0,0-4-14 16,-3 7-9-16,3-4-14 15,-2 1 1-15,2-4-8 0,-2 5-15 0,2-5-6 16,-4 2 3-16,4-2-13 0,0 0-5 0,0 0 1 16,0 0-6-16,0 0-8 0,0 0 18 15,-6-11 0-15,6 8-15 0,0 3 28 0,2-7-23 16,-2 2-13-16,2 0 24 0,-2 0-19 15,0 2 23 1,0-3-15-16,2 2 3 0,-2-2 7 0,-2 3 16 0,4-3-8 0,-2 2-8 16,0 4 3-16,-2-9-11 0,2 6 3 0,0 0 6 0,0 3-1 15,-2-6-10-15,2 2-3 16,0 4-35-16,-2-6-16 0,2 6-46 0,-1-3-107 16,1 3-44-16,0 0-105 0,0-3-514 0,0 3 77 15,0 0 89-15,0 0 43 0,0 0 78 0</inkml:trace>
  <inkml:trace contextRef="#ctx0" brushRef="#br0" timeOffset="26768.8">3778 3678 1062 0,'3'-2'294'0,"-3"2"-58"0,0 0-65 15,4-3-145-15,-4 3-172 0,2-2-520 0,-2 2 75 16</inkml:trace>
  <inkml:trace contextRef="#ctx0" brushRef="#br0" timeOffset="27018.79">3849 3622 1087 0,'0'0'313'0,"0"0"-14"0,11 3-53 0,-8 1-16 0,1-1 1 15,-1 0-16-15,2 2-21 0,1 1-4 0,-2 1-32 16,2-1-25-16,-3 0 3 16,1 1-13-16,1 2-23 0,-4-3-13 0,3 1-33 0,-1-1-34 15,-1 1-28 1,-1-2-30-16,1 2-36 0,-2-4-80 0,2 3-87 0,-2-2-53 0,0 2-504 16,0-6 55-16,0 6 103 0,0-6 75 15</inkml:trace>
  <inkml:trace contextRef="#ctx0" brushRef="#br0" timeOffset="27206.39">3865 3720 929 0,'5'-2'297'0,"0"-1"-29"0,1 0-19 15,0-1-37-15,2 1-20 0,1-1-20 16,0-1-39-16,0 3-39 0,1-4-27 0,2 1-39 15,-3 3-74-15,0-3-33 0,-1 1-85 16,0 1-95-16,0-1-427 0,0 3 57 0,-1 0 32 16</inkml:trace>
  <inkml:trace contextRef="#ctx0" brushRef="#br0" timeOffset="28064.32">3545 4157 714 0,'0'0'268'0,"0"0"-17"15,8-1-33-15,-4-1-16 0,-4 2-20 16,8-2-26-16,-8 2-51 0,10 0-23 0,-4-1-44 15,-6 1-66-15,7-1-56 0,-1-2-75 0,1 2-20 16,-4-1-431-16,-3 2-14 0,8-3 102 0</inkml:trace>
  <inkml:trace contextRef="#ctx0" brushRef="#br0" timeOffset="28285.44">3670 4085 1057 0,'0'0'332'0,"-3"15"-30"0,6-9-30 15,-3-3-11-15,0 3-33 0,0 0-36 16,0 0-16-16,0 2-20 0,0 1-40 16,0-2-24-16,0 1-38 0,0-2-49 0,3 4-100 15,-6-3-107-15,0 1-169 0,3-1-382 0,3-2 75 16,-3 1 45-1</inkml:trace>
  <inkml:trace contextRef="#ctx0" brushRef="#br0" timeOffset="28476.99">3747 4165 1039 0,'5'-6'322'0,"-5"6"-61"16,0 0-89-16,0 0-88 0,1-2-168 15,-1 2-587-15,0 0 49 0</inkml:trace>
  <inkml:trace contextRef="#ctx0" brushRef="#br0" timeOffset="28927.45">3744 4118 1126 0,'-2'3'343'0,"-1"1"-31"0,3 2-41 0,0-3-20 0,0 2-23 16,0 0-16-16,0 1-30 0,0 0-82 0,3-2-13 16,-3 1-8-16,0 1 1 0,0-1 9 15,0 0-20-15,0 1-7 0,0-3 10 0,0 2-21 16,-3 0-10-16,3-5 0 0,-3 6-11 16,3-4-1-16,-2 2-6 0,2-4-21 0,0 0-25 15,-2 3 8-15,2-3-8 0,0 0-5 16,0 0-21-16,0 0 3 0,0 0-18 0,-5-9-3 15,5 9 16-15,5-11 10 0,-3 5-15 0,0 0 7 16,1-2 19-16,2-2-9 0,-3 3 8 0,1-1 3 16,0-1 18-16,0 1 25 15,2 0 26-15,-5 2-10 0,2-1 7 0,-1 1 29 0,1 0-8 16,-2 1 7-16,2 0 4 0,-2 0-12 0,0 2-14 16,0 3-3-16,-2-7-18 0,2 7-23 15,-2-4-13-15,2 4-18 16,0 0-38-16,-3-2-51 0,3 2-90 0,0 0-130 0,-7 6-423 0,7-6 21 15,-4 4 127 1,1-1 32-16</inkml:trace>
  <inkml:trace contextRef="#ctx0" brushRef="#br0" timeOffset="29080.08">3829 4100 829 0,'3'-4'335'0,"-3"4"-56"0,0 0-51 0,2-3-62 16,-2 3-71-16,0 0-190 16,5-3-429-16,-5 3-91 0,0 0 57 0</inkml:trace>
  <inkml:trace contextRef="#ctx0" brushRef="#br0" timeOffset="29326.38">3916 4032 1169 0,'8'-1'377'0,"-8"1"-32"0,10 2-17 0,-5 2-16 16,1-2-100-16,1 4-12 16,-4 0-21-16,2 0-12 0,0 2-16 0,0 1-21 0,-5-1-2 0,5 0-15 15,-5 2-29-15,2-3-17 16,-2 2-36-16,0 0-47 0,0-2-17 0,0 1-69 0,0-1-96 0,-2 2-132 15,2-5-473-15,-2 1 35 16,2 1 100-16,-3-2 43 0</inkml:trace>
  <inkml:trace contextRef="#ctx0" brushRef="#br0" timeOffset="29487.55">3918 4150 1223 0,'6'-4'353'0,"-1"2"-20"0,2-2-64 0,1 1-52 16,0-2-45-16,0 1-103 0,2 1-146 0,-2-1-245 0,0 2-413 15,4-3 128-15,-4 3 3 0</inkml:trace>
  <inkml:trace contextRef="#ctx0" brushRef="#br0" timeOffset="30324.87">3524 4618 829 0,'0'0'233'0,"0"0"-34"0,0 0-42 16,0 0-60-16,18-6-79 0,-13 5-98 0,1-2-22 16,1 2-256-16,-2 1-229 0</inkml:trace>
  <inkml:trace contextRef="#ctx0" brushRef="#br0" timeOffset="30584.26">3667 4529 967 0,'0'0'328'0,"0"0"-39"15,0 0-13-15,0 17-30 0,3-12-28 0,-3 2-8 16,0-1-26-16,3 4-48 0,-3-3-8 0,0 3-57 15,0-1-55-15,0 0-73 0,-3 1-71 16,3-2-123-16,0 3-501 0,0-5 76 16,0 2 52-16,3-2 94 0</inkml:trace>
  <inkml:trace contextRef="#ctx0" brushRef="#br0" timeOffset="31291.76">3729 4519 944 0,'0'0'402'15,"0"0"-62"-15,-2 6-96 0,2-6-22 0,2 7-22 0,-2-2-18 16,5 1-8-16,-3 1-26 0,-1 0-7 15,4 0-11-15,-3 3-9 0,-1-3-11 0,1 3-13 16,0-1-15-16,-2-1-5 0,3 2-11 0,-3-3 11 16,-3 2-15-16,3-2-4 0,-2 2 1 0,0-3-25 15,1 0 22-15,-1-2-20 0,2 1-13 16,-3-1-13-16,3-4-2 0,-2 6-19 16,2-6 11-16,-3 1-7 0,3-1-9 0,0 0-7 15,0 0 5-15,-2-10-15 0,2 10 0 0,2-9 7 16,-2 4 6-16,2-2 10 0,1 0 10 15,0 1-23-15,-1-2 5 0,0-1 13 0,1 0 35 16,0 1-12-16,-3 0 18 0,1 0-3 0,-1 1-2 16,0 1 10-16,-1-4 2 0,1 4 16 15,-3 0-18-15,3 0 8 0,-2 2-11 0,1-2-4 16,-1 2 1-16,0-2-19 0,-1 4-21 16,3-4-31-16,-3 4-26 0,3 2-17 0,-4-4-62 15,4 4-94-15,0 0-147 0,-6 1-462 16,6-1 58-16,0 0 118 0,0 0 38 0</inkml:trace>
  <inkml:trace contextRef="#ctx0" brushRef="#br0" timeOffset="31443.63">3818 4550 1013 0,'0'0'318'0,"0"0"-45"16,0 0-50-16,0 0-80 0,0 0-66 0,0 0-143 0,0 0-142 15,8-3-475-15,-8 3 76 0</inkml:trace>
  <inkml:trace contextRef="#ctx0" brushRef="#br0" timeOffset="31675.74">3906 4465 885 0,'0'0'387'0,"0"0"-24"0,15 6-35 0,-10-2-77 0,-2 2-39 15,2 0-5-15,-2 0-17 0,2 1 2 0,-3 1-41 16,0 1-51-16,1 0-36 0,-3 1-29 16,3-2-37-16,-2 0-70 0,-1 2-89 0,0-3-74 15,-1 0-57-15,1 0-466 0,0-2 77 16,0 1 49-16</inkml:trace>
  <inkml:trace contextRef="#ctx0" brushRef="#br0" timeOffset="31826.88">3903 4557 985 0,'5'-6'348'0,"0"5"-48"0,0-4-34 0,3 3-36 0,0-3-61 0,0 0-74 0,2 4-113 16,1-5-110-16,1 2-571 0,-1 1 57 16,1 1 45-16</inkml:trace>
  <inkml:trace contextRef="#ctx0" brushRef="#br0" timeOffset="32602.19">3512 5065 860 0,'-8'-2'343'16,"8"2"-36"-16,0 0-18 0,0 0-28 15,0 0-13-15,0 0-43 0,0 0-18 0,20-2-31 16,-15-1-38-16,2 2-49 0,-1 1-54 16,2-5-94-16,-1 4-75 0,-2 0-176 0,3-2-407 15,-1 0 79-15,-1 1 80 0</inkml:trace>
  <inkml:trace contextRef="#ctx0" brushRef="#br0" timeOffset="32891.28">3636 4976 1082 0,'3'12'313'16,"-3"-6"-27"-16,3-3-17 0,-3 3-28 0,2 0-37 15,-1 2-37-15,1 0-24 0,1-2-97 0,-3 2-69 16,2 0-82-16,-2 2-138 0,2-4-435 16,-1 1 17-16,1 0 52 0</inkml:trace>
  <inkml:trace contextRef="#ctx0" brushRef="#br0" timeOffset="33302.47">3721 4996 801 0,'0'0'291'0,"0"0"-4"0,8 7-26 16,-3-3-30-16,-3 2-16 0,-1-2-16 0,1 1-30 16,1 0-10-16,-1 1-5 0,-1 0-1 15,-1-1-30-15,0 2-28 0,0 0-8 0,0-3-23 16,-1 3-5-16,1-1 2 0,0-3-15 16,0 1-8-16,0-4-14 0,-2 6-32 0,2-6 18 0,0 0 3 15,-3 2-21-15,3-2 8 16,0 0 3-16,0 0-8 0,-3-13 5 0,3 7 2 15,0 0 6-15,0-2 12 0,0 0 9 0,0-2-4 16,0 2 11-16,0-1 15 0,0 1-15 16,0 0 2-16,0 2 3 0,-2-3 5 0,2 1 62 15,0 2-6-15,-2 1 3 0,2 0-8 16,0 1-15-16,-3-1-20 0,3 3-14 0,-2-3-9 16,2 5-37-16,-3-4-17 0,3 4-28 15,0 0-52-15,0 0-48 0,0 0-111 0,0 0-306 16,-10 5-280-16,10-5 82 0,0 4 77 0,0-4 57 15</inkml:trace>
  <inkml:trace contextRef="#ctx0" brushRef="#br0" timeOffset="33454.75">3811 4988 939 0,'0'0'409'0,"0"0"-63"0,0 0-47 0,0 0-60 0,0 0-81 0,0 0-99 16,0 0-169-16,3 2-614 16,-3-2 56-16,0 0 63 0</inkml:trace>
  <inkml:trace contextRef="#ctx0" brushRef="#br0" timeOffset="33719.41">3870 4902 737 0,'5'4'281'0,"0"-3"-4"16,0 3-24-16,-2 0-17 0,2 1-16 15,0 1-28-15,-2 1-26 0,2-1-15 0,-3 4-41 16,1-1-15-16,-2-1-52 0,0 2-71 0,-1 0-87 15,1-2-115-15,-2 3-461 0,1-2 51 0,-1-1 48 16</inkml:trace>
  <inkml:trace contextRef="#ctx0" brushRef="#br0" timeOffset="33853.72">3857 5025 1013 0,'3'-3'261'0,"2"0"-23"0,0-1-59 0,2 2-63 0,1-4-132 0,0 0-125 0,0 5-468 0,2-3 13 16</inkml:trace>
  <inkml:trace contextRef="#ctx0" brushRef="#br0" timeOffset="34428.42">3511 5507 988 0,'0'0'332'0,"0"0"-32"0,0 0-29 15,0 0-15-15,0 0-46 0,0 0-33 0,16-5-42 16,-9 4-78-16,-2 0-91 0,3 1-130 0,-2-3-388 15,1 2-163-15,0-1 111 0,1 2 44 16</inkml:trace>
  <inkml:trace contextRef="#ctx0" brushRef="#br0" timeOffset="34759.9">3670 5427 1159 0,'0'0'335'0,"0"0"-43"0,0 0-87 0,-3 10-21 16,3-10-20-16,3 9-21 0,-3-4 1 0,0 3-27 16,3 0-19-16,-3 0-1 0,0 0-48 15,2-2-19-15,-2 4-32 0,0-2-29 16,2-3-41-16,-2 2-43 0,0-1-61 0,1-3-101 16,-1 1-17-16,3 1-372 0,-1-3 3 0,-2-2 128 15</inkml:trace>
  <inkml:trace contextRef="#ctx0" brushRef="#br0" timeOffset="35171.87">3746 5427 811 0,'3'6'389'0,"-3"1"-36"0,4-2-30 16,-2 1-34-16,0 1-13 0,1 0-30 16,0 2-10-16,-1-2-34 0,0 1-23 0,1 0-10 15,-3 1-31-15,0-2-7 0,-3 1-16 0,3-1-25 16,-2-1 9-16,2-1-35 0,0 1-15 16,-3-1-11-16,3-3-12 0,0-2 0 0,-2 4-3 15,2-4-5-15,0 0-18 0,0 0 7 0,0 0 3 16,0 0-4-16,0-17 4 0,3 10-5 0,-1 0-5 15,-2 0 18-15,2-3-13 0,1 2 0 16,0-1-5-16,-3-1 26 0,2-1 2 16,-2 4 5-16,2-1-12 0,-2-1 9 15,0 3 14-15,1-1-8 0,-2 1-6 0,1 1 9 0,0 2 7 16,-2-2-23-16,2 2-26 16,-2-2 11-16,-1 2-31 0,3 3-33 0,-3-3-11 0,3 3-76 15,0 0-100-15,-10 0-129 0,10 0-513 0,0 0 71 16,-5 6 151-16,2-3 33 15,3-3 49-15</inkml:trace>
  <inkml:trace contextRef="#ctx0" brushRef="#br0" timeOffset="35323.57">3821 5432 998 0,'5'-5'248'0,"-5"5"-64"0,3-1-127 15,-3 1-149-15,3-1-518 0,-3 1 22 16</inkml:trace>
  <inkml:trace contextRef="#ctx0" brushRef="#br0" timeOffset="35526.96">3929 5377 1174 0,'5'4'323'0,"0"-1"-24"0,-2 1-4 16,0 2 40-16,1 1-18 0,-1 0-35 0,-1 3-21 15,1-2-30-15,-3 3-29 0,3-2-36 0,-3 2-40 16,0 1-45-16,-3-3-55 0,3 4-67 0,-2-4-143 16,-1 2-157-16,3-2-493 0,-3-2 58 15,1-1 95-15,0 0 54 16,1-1 92-16</inkml:trace>
  <inkml:trace contextRef="#ctx0" brushRef="#br0" timeOffset="35673.32">3911 5477 952 0,'3'-2'302'15,"2"-1"-31"-15,2 0-30 0,-1-2-60 16,1 3-63-16,1-3-64 0,0 1-126 0,0 1-104 15,-1 3-498-15,3-4 52 0,-2 2 64 0</inkml:trace>
  <inkml:trace contextRef="#ctx0" brushRef="#br0" timeOffset="36225.93">3493 5977 1113 0,'5'-6'358'0,"-5"6"-43"0,6-1-31 16,-2 0-33-16,2-1-36 0,-2 0-38 16,4 0-52-16,-2 1-43 0,1-3-79 0,1 3-121 15,-1-4-135-15,1 4-495 0,0-1 75 0,-1-1 92 16</inkml:trace>
  <inkml:trace contextRef="#ctx0" brushRef="#br0" timeOffset="36671.64">3632 5850 1197 0,'4'-1'359'0,"-4"1"-37"0,0 0-25 0,0 0-2 15,9 1-55-15,-9-1 11 0,7 4-44 16,-4 0-7-16,2 1-11 0,-3 0 60 0,1 0-44 16,2 2-3-16,-2 0-41 0,-1 0-18 0,0 1-15 15,2 3-48-15,-2-4-37 16,-2 0-25-16,2 3-31 0,-2-1-35 0,1-3-14 16,0 4-66-16,-1-3-77 0,4 0-84 15,-8-1-125-15,8 1-429 0,-4-1 70 0,2-6 75 0,-1 5 63 16,-1-5 100-16</inkml:trace>
  <inkml:trace contextRef="#ctx0" brushRef="#br0" timeOffset="37024.87">3749 5913 1075 0,'0'0'360'0,"0"0"-55"0,0 0 53 16,14 7-27-16,-10-7-32 0,-1 4-33 0,0-2-15 16,-1 2-23-16,0-1-21 0,-1 2-30 0,-1 1-18 15,2-2-88-15,-2 0-14 0,0 1-4 16,0-5-19-16,0 5-11 0,0-2-8 0,0-3-28 16,-2 5-10-16,2-5 23 0,0 0-13 15,0 0-7-15,0 0 12 0,0 0-2 0,0 0 5 0,-8-12 15 16,8 5-20-16,-3 2 12 0,3-2 9 15,0-1-14-15,0 2 11 0,-2-2 5 16,2 0 10-16,-2 0 15 0,-1 1-20 16,3 1 15-16,0 1-10 0,0-1 3 0,-3 0 7 15,1 4-10-15,0-3-13 0,1 2-10 0,1 3-35 16,-3-6-9-16,3 6-12 0,-4-3-31 0,4 3-67 16,0 0-79-16,0 0-115 0,0 0-502 0,0 0 100 15,-8 7 39-15,8-7 99 16,-1 5 67-16</inkml:trace>
  <inkml:trace contextRef="#ctx0" brushRef="#br0" timeOffset="37203.51">3857 5882 959 0,'6'-2'290'0,"-6"2"-83"16,0 0-123-16,0 0-191 0,0 0-541 0,0 0 129 0</inkml:trace>
  <inkml:trace contextRef="#ctx0" brushRef="#br0" timeOffset="37744.33">3932 5780 1238 0,'0'0'392'0,"0"0"-31"0,0 0-31 16,0 0-25-16,0 0-116 0,10 8-15 0,-7-5 0 16,-1 0-36-16,0 1-10 0,2-1 21 15,-2 3-42-15,0-1-9 0,1 0 2 0,-3-1-16 16,0 1-5-16,2 2-10 0,-2-1-7 0,-2 0-11 15,2 3 0-15,0-1 6 0,-3-1-22 0,1-1 1 16,0 2-20-16,1-1-16 0,-2-1-31 16,0 0-7-16,1 0-29 0,0-1-12 15,-3 2-49-15,2-5-75 0,1 2-65 0,-1 0-47 0,0-3-77 16,1 2-368-16,-1 1 46 0,3-4 133 16,0 0 7-16</inkml:trace>
  <inkml:trace contextRef="#ctx0" brushRef="#br0" timeOffset="37836.03">3916 5941 680 0,'0'0'228'0,"13"-8"-13"0,-13 8-107 0,7-4-21 16,-4 1-34-16,2 1-32 0,3-2-59 0,-3-2-106 16,3 2-432-16,0 0 44 0</inkml:trace>
  <inkml:trace contextRef="#ctx0" brushRef="#br0" timeOffset="38270.8">3714 6550 499 0,'-2'7'-31'0</inkml:trace>
  <inkml:trace contextRef="#ctx0" brushRef="#br0" timeOffset="38421.67">3734 6889 931 0,'-2'13'295'15,"-3"2"-65"-15,4-1-48 0,-3-2-77 16,1 1-141-16,-5 1-133 0,5 4-481 0,-1 0 48 15</inkml:trace>
  <inkml:trace contextRef="#ctx0" brushRef="#br0" timeOffset="45270.82">3093 8732 1290 0,'-12'-7'386'16,"-2"1"-30"-16,2 1-21 0,-1 3-7 0,-2-2-21 15,0 4-18-15,-3 0-40 0,1 3 4 0,-3-1-28 16,-3 3-84-16,-3 2-18 0,3 2-16 16,-9 5-2-16,1 1-7 0,7-2-6 15,-6 6-21-15,4 0 22 0,0-1-22 0,4 1-14 0,5-3-6 16,0-1 0-16,4 3-10 0,1-1-8 15,1 2 3-15,3 1 0 0,0-3-8 16,3-1-2-16,3 5-3 0,-1-2-3 0,3 1 8 16,3 1-12-16,2 3 9 0,8 8-12 0,-3 2-18 15,8-2 13-15,2-2-34 0,4-2-10 16,1 0-7-16,6 0 7 0,3-3-13 0,4-3-2 16,0-5 25-16,3 0-20 0,3-4-7 0,0-4 4 15,2-2 0-15,-3-1 11 0,1-3 10 16,-3-3 0-16,7-1 10 0,1 0 10 0,-2-3 5 15,-1 1 9-15,-3-3 1 16,0 1 14-16,-2-2 2 0,-7 3 2 0,-6-3 9 16,-2 1-1-16,0-2 62 0,-1-2-1 0,-2 0-22 0,-2-2 5 15,6-6-3-15,-3 1-5 0,-9 2 5 16,1-3-12-16,-1-10 4 0,-2 6-17 0,0-8 7 16,-5 2-15-16,-3 4 8 0,0 0 22 0,-3-1-19 15,-2 1 4-15,0-2-5 16,-7-1-48-16,-4-7 4 0,-4-2 6 0,-1 4 3 0,-4-1-4 15,-2 1 6-15,-12-5 3 0,-2 2 2 0,-5 5 10 16,-5 3-2-16,-3 1-6 0,-2 6 9 0,7 4-22 16,-4 7-9-16,-3 3-23 0,-4 3-29 0,-1 7-23 15,-11 3-38-15,-2 6-36 16,2 6-35-16,3 5-55 0,0 2-122 0,8 4-170 16,5 1-419-16,7 0 59 0,3 2 138 0,7 3 62 15,9-4 68-15,4 2 62 0</inkml:trace>
  <inkml:trace contextRef="#ctx0" brushRef="#br0" timeOffset="49219.86">5177 3709 1052 0,'18'-2'314'0,"-18"2"-24"0,11-2-19 16,-6 1-33-16,2-1-46 0,4 1-49 0,-4 0-63 16,2 0-91-16,1-1-73 0,0 0-159 0,-2 1-479 15,2-2 77-15,-2 3 33 0</inkml:trace>
  <inkml:trace contextRef="#ctx0" brushRef="#br0" timeOffset="49568.47">5495 3614 1118 0,'0'7'384'0,"0"-7"-41"0,-7 6-36 0,4-1-10 16,-2 0-41-16,0 2-41 15,0-2 15-15,-3 2-43 0,1 1-23 0,1-2-10 0,-1 2-19 16,1-1-7-16,-1-2-15 0,2 1-18 0,-1-1 17 16,2-1-32-16,1 0-11 15,0 0-3-15,1-2-14 0,0 2 1 0,1-1-7 16,1-3 0-16,0 6-15 0,0-6 5 16,0 0-13-16,5 5 0 0,-2-4-49 0,2 2-22 15,-5-3-3-15,13 0-44 0,-13 0-48 16,10-3-88-16,-3 2-86 0,-1 0-292 0,2 0-210 0,-3-1 86 15,0 1 42-15,2-2 115 16</inkml:trace>
  <inkml:trace contextRef="#ctx0" brushRef="#br0" timeOffset="49746.91">5511 3634 816 0,'0'0'407'0,"0"0"-43"0,0 0-21 0,0 0-36 15,0 0-16-15,-13 10-14 0,13-5-42 0,-3 2-27 16,3 1-19-16,-2 0-25 16,2 1 0-16,0 1-98 0,-2 1-27 0,2 2-34 15,-3-3-38-15,3 2-49 0,0-2-92 0,0-1-136 0,3 0-471 16,-3 0 8-16,2-1 100 16,0-3 56-16</inkml:trace>
  <inkml:trace contextRef="#ctx0" brushRef="#br0" timeOffset="50241.6">5567 3738 739 0,'-5'12'246'16,"5"-12"-44"-16,0 6-23 0,0-6-17 0,3 4-24 15,-3-4-28-15,5 3 18 0,-5-3-72 0,0 0-7 16,7 0 28-16,-7 0 5 15,8-5 33-15,-2 3-13 0,-2-1 75 0,-1 0 7 16,2-1 0-16,-4-2 1 0,3 3 14 0,-1-2-35 16,-1 1 0-16,-1 0-18 0,1 0-64 0,0-1-16 15,-2-1-4-15,0 1-9 0,0 1-6 16,0-2-14-16,0 1-13 0,-2 0-17 0,2-1 10 16,-3 3-24-16,1-3-12 15,2 1-12-15,-3 0-12 0,3 2-11 0,-2-2-6 0,1 1-13 16,1 1 5-16,0 3-15 0,0-7 15 0,0 7 8 15,3-5 13-15,0 2 5 0,-1 1 31 16,-2 2-41-16,8-2 27 16,-8 2 14-16,8-3 10 0,-3 3 0 0,-5 0 12 0,8 2-7 0,-4-1 18 15,-1 1 23-15,2 4 3 0,-2-2 10 16,0 3-16-16,-1-1 18 16,-1 3-12-16,1 0-1 0,0-1 16 0,-2-1 0 0,3 1-8 15,-3 0-5-15,0 0 11 0,2-3-9 0,1 2 6 16,-3-4-13-16,2 3 13 0,-1-3-6 15,1 0-25-15,3 1-5 0,-5-4-23 0,10 1-10 16,-4-2-16-16,1 0-41 0,-1-4-27 0,4 2-73 16,-2 0-53-16,-1 1-67 0,1-1-279 15,0 1-166-15,-1-2 28 0,-2 4 82 16,0 0 74-16</inkml:trace>
  <inkml:trace contextRef="#ctx0" brushRef="#br0" timeOffset="51355.52">5208 4232 1113 0,'0'0'358'16,"0"0"-22"-16,0 0-45 0,0 0-22 0,0 0-8 15,0 0-30-15,0 0-39 0,0 0-13 16,0 0-26-16,0 0-30 0,0 0-20 0,0 0-32 16,24 1-50-16,-24-1-60 0,13-1-94 0,-4 0-128 15,0-3-312 1,1 2-213-16,2-1 123 0,-2 0 13 0,0 0 92 0</inkml:trace>
  <inkml:trace contextRef="#ctx0" brushRef="#br0" timeOffset="51628.08">5470 4175 875 0,'-3'1'317'0,"-2"4"-33"0,-2 1 57 15,1-2-39-15,1 2-23 16,-3 0-15-16,1 3-19 0,-1-5-35 0,-2 4-23 16,3 0 13-16,1-3-54 0,1 2 2 0,-1-1-94 15,2-2-3-15,-2 1-2 16,2 1-11-16,1-1-12 0,0 0-1 0,3-2-4 0,-2 2 7 15,2-5-3-15,2 6 1 0,1-3 0 0,0-1-6 16,1 0-7-16,2 1-10 0,-2-2 4 16,4-1-20-16,0 0-10 0,0 0-7 15,-1 0-32-15,4-3-38 0,-1 2-51 0,0-1-71 0,1-1-80 16,-1 0-3-16,-3-2-384 0,3 3-37 16,-2-2 55-16,-2 2 85 15</inkml:trace>
  <inkml:trace contextRef="#ctx0" brushRef="#br0" timeOffset="52241.48">5516 4216 949 0,'0'0'297'0,"-8"3"-13"0,4-1-25 15,1 1 45-15,-2 0-27 0,2 2-31 0,1-3-8 16,-2 4-21-16,2-1-12 0,0 0-34 16,-1 1 1-16,1 0-36 0,1-2-16 0,1 2-2 15,0-1-47-15,0 1-27 0,0-2-34 16,0 0-59-16,1-1-35 0,1 0 12 0,1 0 1 0,1-1-22 15,-4-2-19-15,8 0 9 0,-8 0-14 16,0 0 1-16,11-2 17 0,-6-2 7 16,-2 2 22-16,1-2 19 0,0 2 36 0,0-1 30 15,-1 1 44-15,-3 2 26 0,5-5 7 0,-5 5-8 16,0 0-4-16,3-1 9 16,-3 1 3-16,0 0-15 0,5 6-3 0,-3-2 1 0,-2-4-14 15,2 5-15-15,1-1-5 0,0 0-10 0,-1-2-8 16,1 2-3-16,2-2 11 0,-2-1 0 15,2 1 4-15,-5-2 14 0,7 1 23 0,-7-1-1 16,8-3 6-16,-2 2 26 0,-6 1-108 16,5-2 28-16,-3-3 12 15,1 3-6-15,-1-3-1 0,-1 2 10 0,-1-1-10 0,0-2-7 16,0 2 30-16,-1-1-2 0,1-1-37 16,-2 2-17-16,-1-2-18 0,0 0-23 0,1 0-3 15,0 0-12-15,-1 2-11 0,2-3-22 0,-1 5 12 16,0-4-31-1,-1 3-20-15,3-1-3 0,0 4 14 0,0-9 17 0,0 6 0 0,0-2 25 16,3 1 1-16,-1 2 15 0,0-3 2 16,-1 2-2-16,4 0 21 0,-2 1-1 0,2 1 21 0,-5 1 23 15,10 0 23-15,-10 0 3 0,0 0 25 0,10 1 11 16,-7 2 14 0,-1 2 19-16,1 0-18 0,0 0-3 0,-1 2-2 0,-2-1 0 15,2 1 20-15,-1 0-18 0,1-1-2 0,-2 1-16 16,3-1 10-16,-1 0-19 0,-1-2 1 15,1 2 1-15,0-4-6 0,3 2 16 16,-2-3-33-16,3 0-21 0,-6-1-23 0,12-1-2 0,-4-3-29 16,0 3-15-1,2-3-18-15,-3 1-26 0,3 2-112 0,1-4-61 0,2 0-57 0,-3 3-466 16,0 1 70-16,-2-1 32 0,0 1 85 16</inkml:trace>
  <inkml:trace contextRef="#ctx0" brushRef="#br0" timeOffset="53172.82">5173 4631 860 0,'0'0'348'0,"0"0"-23"0,0 0-28 16,0 0-46-16,0 0-26 0,15 3-26 0,-8-3-40 15,-7 0-33-15,13 0-70 0,-3 0-87 0,-2-2-115 16,0 1-166-16,2-2-397 0,1 0 79 15,1-1 13-15</inkml:trace>
  <inkml:trace contextRef="#ctx0" brushRef="#br0" timeOffset="53467.38">5437 4565 798 0,'-5'5'328'0,"-1"1"-34"0,-2 1 54 0,1 1-33 15,-3 1-13-15,0-2-18 0,-1 1-25 0,3 2-34 16,-2-3-2-16,2 0-31 0,-2 3-18 0,3-3-23 16,-1 0-16-16,3-1-12 0,-1 0-2 0,1 1-16 15,0-2 0-15,2-2-36 16,1 2 2-16,0 0 11 0,2-3-23 0,0-2 5 0,0 6 0 16,2-2-5-16,3-3-10 0,-2 0-8 0,4 1-11 15,-7-2-7-15,14 0-15 0,-7 0-21 16,0 0 5-16,4-1-38 0,-1 0-10 0,0 0-28 15,0 0-67-15,-1-3-31 16,3 1-79-16,-4-1-85 0,2-1-276 0,-2 3-179 16,0-4 36-16,-1 1 140 0,-1-1 31 0,1 3 52 15</inkml:trace>
  <inkml:trace contextRef="#ctx0" brushRef="#br0" timeOffset="54038.5">5475 4601 870 0,'-8'-1'294'0,"8"1"-17"0,0 0-19 0,-12 4-7 0,9-1-23 15,-3 1 64-15,2 0-24 0,1 0-9 0,0 2-36 16,1 0-6-16,0 1-22 0,-1-1-19 0,0 1-4 16,3-2-16-16,-2 3-43 0,2-1-6 15,0-2-20-15,0 2-15 0,0 0-47 16,2-1-37-16,1 1 19 0,0-2-14 0,-1 0-6 16,3-4 5-16,0 1-23 0,-2 0-20 15,4-1-23-15,-7-1-18 0,11-3 7 0,-6 1 14 16,2 1-1-16,-1-4 13 0,-1 3 8 0,2-4 0 15,-1 2 15-15,-2 2 15 0,-1-2 16 16,0 1 36-16,2 2-3 0,-5 1-2 16,6-3 12-16,-6 3-5 0,4-1 8 0,-4 1 0 15,0 0 3-15,8 4 2 16,-8-4-10-16,8 1-13 0,-6 2 15 0,-2-3-20 16,8 0 0-16,-8 0 3 0,0 0-6 0,11 0 26 0,-11 0-18 15,7-3 13-15,-7 3 30 0,7-4-15 16,-6 3 11-16,4-4-3 0,-3 3 0 0,0-2-8 15,-1-1 15-15,2 1 1 0,-3-2-16 0,2 0-5 16,-2 0 3-16,0 0-13 0,0 0 0 16,2 0-3-16,-2 1-2 0,1 2-8 0,1-3-29 15,-2 2 37-15,3 0-36 0,-1 1 8 0,0 1-1 16,1-1-15-16,-3 3 18 0,6-2-15 16,-6 2 3-16,0 0 7 0,0 0-13 0,12 6 5 15,-9-4 0-15,0 4-7 0,-3-2 7 0,2 4-2 16,0-2 10-16,-1 2-8 15,1-1 1-15,1 2 4 0,-1-3 6 0,-2 1 2 0,2-1 3 16,1 0 17-16,2 1-15 0,-2-3-10 16,2-2 21-16,-2 0-11 0,2 2-7 15,2-4 2-15,-7 0-79 0,14-4-6 0,-7 4-9 16,1-3-24-16,0-1 0 0,2 0-38 0,-2 1 0 16,2-2-53-16,-3 3-60 0,4-3-71 0,-8 4-65 15,6 0-411-15,-1-2 51 0,0 2 94 16,0 1 42-16</inkml:trace>
  <inkml:trace contextRef="#ctx0" brushRef="#br0" timeOffset="54755.48">5160 5050 913 0,'-5'-1'371'0,"5"1"-25"16,0 0-31-16,0 0-31 0,0 0-33 0,0 0-28 16,0 0-16-16,0 0-20 15,15-3-29-15,-15 3-19 0,13 0-24 0,-8 0-33 0,3 0-49 16,2-2-61-16,-2 2-90 0,2-2-117 16,-2-1-382-16,4 2-120 0,-2-1 58 0,-1-1 70 0,1 1 69 15</inkml:trace>
  <inkml:trace contextRef="#ctx0" brushRef="#br0" timeOffset="55026.14">5408 4990 1021 0,'-4'5'363'0,"-2"0"-25"0,1 2-38 16,-5 0-29-16,2 3-5 0,0-3-30 0,-2 3-29 15,2-1-5-15,-2-1-33 16,3 2-18-16,1-3-13 0,-2 1 6 0,3-2-21 0,0 0-18 15,0 1-6-15,3-1-6 0,-3 0-14 0,2-1-13 16,1 1 29-16,2-4-46 0,0 3 10 16,0-5-8-16,4 4-10 0,-4-4-13 0,8 1-20 15,-3-1-34-15,-5 0 3 16,13-4-59-16,-5 1-20 0,2-1-57 0,-2-1-53 16,2 1-60-16,0-2-94 0,-2 1-294 0,0-2-103 0,2 0 113 15,-2 0 64-15,-1-1 38 0</inkml:trace>
  <inkml:trace contextRef="#ctx0" brushRef="#br0" timeOffset="55601.4">5455 5014 706 0,'0'0'271'0,"-8"-1"-10"0,8 1 26 0,0 0 41 0,-8 6-36 0,5 0-19 15,-1-3-17-15,1 5-15 0,0-2-29 0,-1 1 3 16,0 0-53-16,2-1 7 0,-1 2-21 16,1 0-7-16,2 2-5 0,-3-4-37 0,3 2-32 15,0-2-49-15,3 2-3 0,-3-2-17 0,0-1-9 16,3 0-63-16,1-1-69 0,0-2 15 15,0 0-10-15,-4-2-62 0,10 0-10 0,-2-3-20 16,-3-1 22-16,1 2 32 0,1-3-21 0,-2 0 51 16,1 3 38-16,-2-3 34 0,2 3 54 15,-2-2 43-15,0 2 12 0,-2-1 17 16,-2 3 14-16,5-1 14 0,-5 1-9 0,0 0 3 0,0 0 3 16,0 0-5-16,13 4-13 15,-11-2 7-15,1 1-9 0,2-1-4 0,-2-1-17 16,-3-1 8-16,8 3 2 0,-3-1 0 0,0-2 5 15,-5 0 44-15,10 0 7 0,-10 0 21 16,8-3 13-16,-6 1-13 0,1 0 5 0,-1-2 5 16,1 2 2-16,-1-3-14 0,-2 1 1 0,1 0-81 15,-1-1-10-15,-1 0 5 0,1-1 15 16,-2 0-18-16,2 1 6 0,0-2-26 0,0 3-6 16,-3-1 14-16,3-1-44 0,0 1 5 0,0 2-36 15,3-2 13-15,-3 1 3 16,2 2-11-16,1-3 13 0,-3 5-7 0,5-2-8 15,0-1 10-15,-5 3 2 0,8-1 1 0,-8 1 15 16,0 0-23-16,10 4 15 0,-7-2-2 16,2 2 7-16,-3-1 1 0,1 3 12 0,-3-1-8 15,2 1 8-15,1 1 24 0,-3 0-4 0,0 1 29 16,1 0-13-16,1-2-13 0,-2-1 8 0,2 0 5 16,1 2-2-16,-3-2 22 0,3-1-14 15,1-2-12-15,-1 1 14 0,3-1-18 16,1-2-8-16,-7 0-15 0,13-2-31 0,-5-1-5 0,2 1 0 15,0-2-28-15,1 1-42 0,1-1-104 16,-2 1-89-16,-2 0-22 0,2 2-439 16,0-2 20-16,-2 2 92 0,0 0 77 0</inkml:trace>
  <inkml:trace contextRef="#ctx0" brushRef="#br0" timeOffset="56103.28">5398 5550 558 0,'0'0'199'0,"-3"12"-61"15,1-6-66-15,2 1-39 16,-2 2-102-16,-1 3 10 0,0 2-343 0</inkml:trace>
  <inkml:trace contextRef="#ctx0" brushRef="#br0" timeOffset="56252.56">5352 5984 913 0,'-3'5'287'0,"0"1"-8"15,1-1-67-15,2 0-17 0,-2 2-64 16,-3 0-65-16,4-1-81 0,1 3-136 16,-2 1-438-16,2 1-30 0,2 2 45 15</inkml:trace>
  <inkml:trace contextRef="#ctx0" brushRef="#br0" timeOffset="57226.25">8305 3793 678 0,'0'0'274'0,"0"0"-67"15,0 0-99-15,0 0-83 0,0 0-125 0,8 10-517 16,-8-7 75-16</inkml:trace>
  <inkml:trace contextRef="#ctx0" brushRef="#br0" timeOffset="61018.21">10415 3516 1013 0,'8'3'341'15,"3"0"-34"-15,1 0-5 0,6-1-41 0,3-1-15 16,5 0-31-16,7-2 5 0,13-2-39 0,-2-3-22 16,4-4 5-16,1 1-49 15,-3-3 11-15,11-5-29 0,-1 0 0 0,-4-1-20 16,-9 3 5-16,-2-2-23 0,-1 1-21 0,-3-3 6 0,-2 1-19 15,-4 1 14-15,-3-2-16 16,-4 1 2-16,-9 3 1 0,1-4-11 0,-1-6 6 16,-2 1 20-16,-8 0-6 0,-3-2-11 0,-6 0 9 15,-7-12 0-15,-5 2 8 0,-7 4 23 16,-10-6-26-16,-5 3 3 0,-3 7 67 16,2 8 10-16,-1 6-19 0,-7 4 9 0,-4 5-1 0,-8 3-14 15,-11 6-11-15,-3 6-13 0,-2 4 0 0,3 6-8 16,3 3-2-16,0 4-18 15,5 1 31-15,7 3-49 16,6-2-3-16,8 1 3 0,14-6-23 0,3 1-15 0,6-1 0 0,9-3-6 0,4-3-43 16,4-1-3-16,3-3-12 15,3 4-28-15,4-3-24 0,6 2-53 0,0 0-90 16,3-3-146-16,4 0-509 0,8 5 64 0,-2-8 97 16,-3-2 61-16,0-1 80 0</inkml:trace>
  <inkml:trace contextRef="#ctx0" brushRef="#br0" timeOffset="62552.26">6675 3750 473 0,'8'0'149'16,"-8"0"-55"-16,0 0-22 0,0 0-34 15,0 0-48-15,7 1-87 0,-7-1-70 0,0 0-370 16</inkml:trace>
  <inkml:trace contextRef="#ctx0" brushRef="#br0" timeOffset="66762.78">6662 3340 852 0,'0'0'297'16,"0"0"-49"-16,0 0-12 0,-5 6-19 0,5-6-12 16,8 7-11-16,-3-4-25 15,5 2-20-15,-2-2-19 0,5 2-14 0,0-1-11 0,1-2-6 16,2 0-6-16,-1-2-12 0,3 0-24 0,0-1 4 16,3 0 1-16,-1-4-34 0,1 1 64 15,2-3-13-15,2 2-20 0,-2-4-10 0,1 1-21 16,-4-3-2-16,1-2-6 0,7-6-15 15,-3-3 3-15,-1 0 7 0,-1-6-12 16,-5 2 7-16,-1-5-5 0,-6-1-10 0,-4 3 15 0,-4 2 13 16,-6-1-13-16,-9-11 16 0,-1 1-16 15,-7 4 26-15,-4 2 0 0,-1 2 2 16,-6 6-7-16,-2 3 20 16,-1 5-15-16,-6 9 8 0,6 4-3 0,-2 5 0 0,-13 5-1 0,-7 8-4 0,0 8 3 15,-3 2 17-15,5 5-20 16,2 4-16-16,4 3 21 0,6 1-10 0,7 0-8 15,7-1 3-15,7-4-1 0,5-3-9 0,9-4-4 16,2-3 1-16,3-5 5 16,6 2-26-16,2 1-12 0,4-1-18 15,2-1-21-15,9 5-28 0,5-5-54 0,-5-2-66 0,1-3-57 16,-1-6-59-16,2 3-491 0,-2-5 34 0,2-1 160 16,-3-2 1-16,-1-2 56 0</inkml:trace>
  <inkml:trace contextRef="#ctx0" brushRef="#br0" timeOffset="72563.25">14746 3871 552 0,'2'-2'195'0,"-2"2"-1"0,0 0-60 0,0 0-55 15,0 0-66-15,0 0-93 0,0 0 6 16,0 0-77-16,3 14-432 0</inkml:trace>
  <inkml:trace contextRef="#ctx0" brushRef="#br0" timeOffset="74790.41">10311 9424 1325 0,'-4'-5'384'0,"2"3"5"0,-3-2-46 15,5 4-99-15,-3-2-27 0,3 2-25 0,-4-4-25 16,4 4-19-16,0 0 3 0,0 0-15 0,-3 10 2 16,3-4-8-16,0 1-30 0,-3 4 0 15,3-1 5-15,0 3-20 0,0 3-16 16,0-2 0-16,-2 5-26 0,2 2-15 0,-3-1-51 0,1 0-25 16,-1-2-26-16,1 1-47 0,1-1-48 15,-1-3-102-15,2-1-62 0,-3-3-25 16,3 1-436-16,0-1 85 0,3-3 36 15,-3-3 102-15</inkml:trace>
  <inkml:trace contextRef="#ctx0" brushRef="#br0" timeOffset="74964.92">10316 9526 826 0,'-1'-6'297'0,"-1"3"-25"0,0-2-11 0,-2 4-21 0,4 1-38 0,-7-3-4 0,7 3-24 16,-10 3-23-16,2-2 0 0,1 5-31 0,-4 0-36 15,1 1-32-15,-2-1-24 0,-2 4-54 0,2-1-84 16,1-1-79-16,-1 0-26 0,1-2-31 16,1-1-13-16,0-1-386 0,2 0 59 0,3-3 41 15</inkml:trace>
  <inkml:trace contextRef="#ctx0" brushRef="#br0" timeOffset="75132">10152 9462 888 0,'5'-3'338'0,"2"0"-98"0,1-2-15 0,0 5-10 0,-1 0-30 15,3 0-1-15,1 0-20 16,4 5 48-16,0-4-4 0,1 3-42 0,4-1-2 0,-1 2-23 0,1 1-21 16,1-1-25-16,1 1-29 0,2 2-35 15,-4-2-44-15,3 1-46 0,-2 2-79 16,-3-3-85 0,5 2-378-16,-5-2-144 0,2 1 46 15,-2 0 95-15,-3-1 54 0</inkml:trace>
  <inkml:trace contextRef="#ctx0" brushRef="#br0" timeOffset="76820.39">12377 9380 947 0,'0'-4'348'0,"0"-2"-44"15,0 6-35-15,0-4-8 0,0 4-28 0,0 0-3 0,0 0-12 0,0 0-29 16,0 0-7-16,6 14-21 0,-6-7-17 0,2 3-3 16,-2 2-8-16,2 2-16 0,-2 1 9 0,0-2-21 15,-2 5-39-15,-1 1-17 16,0 0-23-16,1-2-24 0,-1 1-30 15,-2-3-28-15,0 2-57 0,3-4-53 0,-1 1-103 0,-2-3-49 16,3 2-488-16,-2-7 43 0,2 2 131 16,0-3 13-16</inkml:trace>
  <inkml:trace contextRef="#ctx0" brushRef="#br0" timeOffset="77066.53">12413 9413 954 0,'-5'4'384'16,"-3"2"-43"-16,1 0-21 0,-1 3-26 0,-2-2-38 0,1 4-18 16,-1 2-31-16,-2-1-17 0,1 0-21 15,-1 1-18-15,-2 1-54 0,2 0-28 0,2-1-54 16,0 0-68-16,1-4-88 0,2 2-95 15,-6-3-117-15,8 1-438 0,0-5 95 0,3 1 38 0,1-2 123 16</inkml:trace>
  <inkml:trace contextRef="#ctx0" brushRef="#br0" timeOffset="77431.47">12318 9390 1136 0,'5'-3'287'0,"0"3"4"16,-5 0-29-16,10 0-29 0,-2 0-3 16,0 3-20-16,0 1-18 0,-1-4-8 15,1 4-23-15,2-2-20 0,0 4 13 0,1-1-31 0,-1 1-11 16,0-1-9-16,0-1 2 0,1 2-13 16,-1 0 15-16,0 0-25 0,3 0-10 15,-3-1-1-15,-2 0-9 0,2 0-14 0,-2-1 24 16,-1 0-13-16,-1-2-10 0,1 4-3 0,-1-2-5 0,-2-1 20 15,2-2-15-15,-4 3-2 16,1-3-6-16,2 2-2 0,0-1 5 0,-5-2-16 16,5 1 14-16,-5-1-3 0,5 4-11 0,-5-4 27 15,3 3-19-15,-3-3-10 0,0 0 2 16,5 1 1-16,-5-1 7 0,5 3-22 0,-5-3 12 16,0 0-34-16,3 1-4 0,-3-1-11 0,0 0-15 15,0 0-5-15,0 0-46 0,0 0-15 16,0 0-39-16,0 0-56 0,0 0-108 0,0 0-72 15,-5 5-296-15,5-5-149 0,0 0 88 16,-5 6 65-16,2-3 127 0</inkml:trace>
  <inkml:trace contextRef="#ctx0" brushRef="#br0" timeOffset="78260.17">14166 9498 1315 0,'1'-6'394'0,"-1"6"-33"0,2-3-20 16,-2 3-34-16,0 0-28 0,0 0-5 15,0 0-105-15,5 10 0 0,-5-4-23 0,0 1-8 16,0 4-10-16,0-2-13 0,0 4-15 0,-2 2-11 16,-1-1-7-16,0 3-43 15,-1-2-27-15,-2 4-19 0,2-5-32 0,0 4-25 0,-1-2-35 16,0-2-17-16,0-1-60 0,0-2-93 16,3 0-28-16,1-3-494 0,-3-1 26 15,4-2 69-15,-3-2 71 0</inkml:trace>
  <inkml:trace contextRef="#ctx0" brushRef="#br0" timeOffset="78508.6">14205 9468 1005 0,'-5'4'436'0,"-2"-1"-42"16,-1 7-13-16,-1-1-51 0,-3 2-33 0,0 1-18 15,-4 2-38-15,1 0-6 0,-3 1-35 16,2 0-41-16,-2 1-47 0,1-2-22 16,1-1-49-16,3-1-62 0,0-3-96 0,3 2-139 15,-1-3-251-15,4 0-299 0,1-4 40 0,-1 1 114 16,4-4 65-16</inkml:trace>
  <inkml:trace contextRef="#ctx0" brushRef="#br0" timeOffset="78721.09">14082 9449 1046 0,'7'2'436'0,"7"2"-35"16,-2 0-114-16,-1-1-13 0,4 4-36 16,-2-1-20-16,-1-1-6 0,1 0-25 15,1 1-36-15,0 2-8 0,-1-2-17 0,-2 1-24 16,2 0-12-16,-1 0-24 0,-2-2-9 0,0 1-50 15,-1 2-22-15,-1 1-41 0,-1-2-60 0,0-1-83 16,-1 1-124-16,-2 0-227 0,-1-1-226 16,-3 0 75-16,3-1 43 0,-3 1 80 15</inkml:trace>
  <inkml:trace contextRef="#ctx0" brushRef="#br0" timeOffset="85222.62">22530 1889 924 0,'0'0'322'15,"0"0"-15"-15,0 0-25 0,-15 11-24 16,9-2-9-16,-4 4-24 0,-5 6-33 0,-5 6-8 0,-4 6-23 16,1-1 36-1,-2 2 8-15,-4 6-23 0,-1 0-31 0,-1 2-18 0,5-10-23 16,3 2-30-16,-3-3-22 0,3 2-27 0,0-1-10 15,0-2-47-15,5-2-25 0,3-5-67 16,4-4-48-16,3-2-39 16,0-3-84-16,-1-2-131 0,6-3-363 0,1-3 51 0,2-1 107 0,0-3 59 15</inkml:trace>
  <inkml:trace contextRef="#ctx0" brushRef="#br0" timeOffset="85472.37">22674 1928 1215 0,'2'0'379'0,"-2"0"-28"15,0 0-8-15,-8 14-49 0,1-4-22 0,-4 4 1 16,1 4-42-16,-13 7-98 0,2 4-10 16,-4 2 46-16,1 0-26 0,-1-1 3 0,-1 4-13 15,-2 4-31-15,5-6-20 0,1 0-15 0,1-1-18 16,0 0-19-16,1-1-27 0,-1-2-16 15,4-1-46-15,1-6-23 0,3-2-59 16,0-2-53-16,0 1-67 16,3-8-57-16,0 2-521 0,2-2 76 0,1-4 59 0,-1 2 95 15,2-4 110-15</inkml:trace>
  <inkml:trace contextRef="#ctx0" brushRef="#br0" timeOffset="85780.28">22033 2080 895 0,'0'0'384'15,"-16"9"-28"-15,8 3 64 0,-2 2-59 0,-3 4-28 0,3 2-16 0,-2 2-35 16,4 1-26-16,2 1-6 0,1 0-17 0,3 0-25 15,2-2-19-15,4 2-23 0,-1 1-12 0,11 6 5 16,-4-7-11-16,8 1-79 0,5 1-12 16,2-4-9-16,8-5 14 0,3-1-37 0,5-4-32 15,11-4-14-15,4-2-33 0,16-3-33 16,2-3-20-16,2-5-54 0,2-6-111 16,-5-1-222-16,36-10-440 0,1-2 143 0,-3-5 49 15,-6-2 71-15,-2-3 77 0</inkml:trace>
  <inkml:trace contextRef="#ctx0" brushRef="#br0" timeOffset="91092.3">19596 3839 371 0,'0'0'125'0,"0"0"-17"16,0 0-21-16,0 0-49 0,0 0-48 15,0 0 5-15,-7-4-134 0,7 4-408 0</inkml:trace>
  <inkml:trace contextRef="#ctx0" brushRef="#br0" timeOffset="99411.8">6844 2888 670 0,'0'0'300'15,"0"0"-9"-15,0 0-17 0,0 0-20 0,0 0-3 0,0 0-88 16,0 0-9-16,0 0 12 0,0 0-7 15,-10 2 0-15,10-2-8 0,0 0 64 16,0 0-21-16,2-6-27 0,-2 6-3 0,6-8-29 16,-2 2 1-16,-1-1 0 0,5-2-24 0,-1 0 6 15,2-2-103-15,1-1 13 0,0-1-12 16,0-1-21-16,0 1-13 0,-2 0-3 0,2 1-30 16,-2 0-26-16,-1 1-5 0,2 2-23 0,-2-2-28 15,-2 3-41 1,0-1-82-16,0 1-79 15,-2 2-436-15,0 1 6 0,-1-1 102 0,0 1 51 0</inkml:trace>
  <inkml:trace contextRef="#ctx0" brushRef="#br0" timeOffset="99688.13">6898 2619 1113 0,'5'-3'417'0,"0"1"-48"0,0 1-44 16,3-1-10-16,-3 0-105 15,5 2-13-15,-2 0-16 0,2 4-19 0,-1-3-27 0,3 1-7 16,-2 1 0-16,-2 0-10 0,2 3-26 16,-2-2 52-16,-3 3 1 0,0-1-37 15,0 4-18-15,-3-2-34 0,-2 1-33 0,0 3-26 16,-4-1-9-16,1 1-65 0,-4 0-79 0,-1 1-128 15,-1 0-482-15,0-1-61 16,4-3 154-16,-3 1 13 0,0-3 38 0</inkml:trace>
  <inkml:trace contextRef="#ctx0" brushRef="#br0" timeOffset="100144.21">6852 2432 811 0,'2'-3'363'15,"1"-1"-38"-15,2 2-33 0,-2 0-18 0,4 1 46 16,-7 1-38-16,8 0-31 0,-1 1-16 15,-1 3-20-15,-3-1-23 0,4 1-15 16,-5 1-1-16,1 2-27 0,0 0-16 0,-3 1-15 0,2 2-24 16,-2-2-25-16,-2 1-10 0,2 0 10 15,-3 0-51-15,3-1-18 0,-2 1-15 16,1-1-16-16,-1 1-35 0,2-2-65 0,-2 0-51 16,2-1-48-16,0-1-64 0,0-2-47 15,0 0-483-15,0-3 92 0,0 0 38 16,0 0 106-16</inkml:trace>
  <inkml:trace contextRef="#ctx0" brushRef="#br0" timeOffset="100381.32">6963 2416 1039 0,'-11'0'309'0,"11"0"-55"0,-10 4 2 15,4-3-21-15,2 3-27 16,0 0-21-16,0 1-19 0,1 1-1 0,-2 1-3 0,3-1-29 0,1 0-9 15,-1 1-9-15,2-2-1 16,2 2-16-16,-2-2-29 0,3 0 85 0,-1 2-28 16,1-2-5-16,2-1-38 0,1 0-3 0,1-2-47 15,0 1-32-15,1-1-44 0,0 0-59 16,2-2-82-16,-2 0-79 0,-1-2-112 16,2 2-464-16,3-2 87 0,-4-1 48 0,2 1 108 0</inkml:trace>
  <inkml:trace contextRef="#ctx0" brushRef="#br0" timeOffset="100551.28">7080 2432 703 0,'3'-5'157'0,"1"3"-76"0,-1-3-96 15,0 4-195-15,1-3-345 0</inkml:trace>
  <inkml:trace contextRef="#ctx0" brushRef="#br0" timeOffset="100789.47">7173 2331 714 0,'4'-3'286'0,"2"3"-14"0,-2-2-27 16,-4 2-19-16,0 0-16 0,14 3-21 0,-12 1-12 16,1 0-16-16,-1 3-20 15,1-3-11-15,-3 3-20 0,0 0-15 0,0 1-34 0,0 1-25 16,-3 0-23-16,3-2-33 0,0 0-65 0,0-1-51 16,3 0-71-16,-3-1 10 0,2-2-31 15,1 1-412-15,2-2-41 0,-5-2 149 0</inkml:trace>
  <inkml:trace contextRef="#ctx0" brushRef="#br0" timeOffset="100959.42">7308 2320 811 0,'-13'6'328'0,"11"-3"-26"15,-1 0-103-15,1 1-14 0,1 0-14 0,1 1-7 0,0-5-28 16,-2 7 4-16,4-4-14 0,-1 1-6 0,1-1-25 15,3-1-21-15,1-1-41 0,-2 1-30 0,4 0-52 16,0-2-25-16,-8 0-72 16,15-2-48-16,-7-1-29 0,0 1-450 0,-1 0-6 15,1 0 106-15</inkml:trace>
  <inkml:trace contextRef="#ctx0" brushRef="#br0" timeOffset="101215.92">7101 2257 1057 0,'2'-4'327'0,"3"-2"-25"0,0 2-30 0,0-2-24 15,5 1-33-15,1-1-13 0,-3 1-20 0,4-1-21 16,1 1-15-16,-2 2-13 0,1-2-25 15,-2 1-24-15,1 1-30 16,1-2-52-16,-1 3-40 0,-4-1-62 16,1 1-64-16,0 1-56 0,-5-2-46 0,4 3-497 0,-7 0 95 0,0 0 5 15,8 2 90-15</inkml:trace>
  <inkml:trace contextRef="#ctx0" brushRef="#br0" timeOffset="101569.43">6652 2391 875 0,'-6'10'376'0,"2"2"-110"0,-1-2-22 15,2 1-29-15,3 1 0 0,0-2-23 16,2 3-16-16,-1-1-15 0,4 2 1 0,-1 0-27 16,4 0-22-16,1 1 64 0,3-2-11 0,0-1-43 15,5 0-34-15,0-4-35 0,1-1-38 16,2-1-68-16,1-1-78 0,2-3-126 0,2-2-556 15,1 0 70-15,3-2 66 0,2-5 77 0</inkml:trace>
  <inkml:trace contextRef="#ctx0" brushRef="#br0" timeOffset="101846.41">7298 2069 1064 0,'10'0'354'0,"0"0"-109"16,1 1-4-16,4 2-16 0,0 4-30 16,1 0-8-16,2 2 61 0,-3 1-18 15,1 4-35-15,-1 0-16 0,0 1-13 0,-2 2-17 0,-3-2-24 16,-2-1-17-16,0 3-29 0,-3-1-18 15,0 1-30-15,-3 1-36 0,-1-2-79 16,-1 2-103-16,0-1-136 0,-1-2-516 0,1 1 61 16,-2-1 132-16,0-1 53 0,-3 0 47 15</inkml:trace>
  <inkml:trace contextRef="#ctx0" brushRef="#br0" timeOffset="102606.99">8683 3102 801 0,'0'0'297'0,"0"0"-8"0,0-7-43 0,4 2-16 0,2 2-30 15,-2-3 2-15,4 1-26 0,0-2-19 16,0 1-27-16,-1-1-20 0,3-2-30 15,-2 2-27-15,2-1-60 0,-1 1-39 0,1-2-72 16,-5 3-107-16,2 0-39 0,-1 2-448 0,-2-2 34 16,0 1 94-16</inkml:trace>
  <inkml:trace contextRef="#ctx0" brushRef="#br0" timeOffset="102857.49">8749 2899 972 0,'7'-2'348'0,"-7"2"54"16,0 0-38-16,11 2-44 0,-6 0-6 16,-2 1-40-16,2 0-28 15,0 1-13-15,0 1-28 0,0-2-13 0,1 3-26 0,-4-2 3 16,3 4-41-16,-2-1-38 0,-3-1 7 0,2 1-51 15,-2-2-26-15,0 3-25 0,-2-2-64 16,-1 2-64-16,3-1-107 0,-5-1-124 0,3 0-524 16,-2-2 97-16,0 1 66 0,1-2 132 15,-2 1 30-15</inkml:trace>
  <inkml:trace contextRef="#ctx0" brushRef="#br0" timeOffset="103422.66">8454 2716 826 0,'0'0'338'0,"0"0"-28"16,-7 11-44-16,7-11 0 0,-1 7-33 0,2-3-28 16,-1 2-21-16,2-3-10 0,1 0-25 0,-1 0-1 15,0 0-7-15,4 0-26 16,-3-1-2-16,-3-2-13 0,10 2-21 0,-10-2 13 0,15-4-10 16,-10 3-10-16,3-1 2 0,-3-4-2 15,3 3-11-15,-1-2 13 0,-2 1-10 0,1 1 5 16,-2 1-2-16,2-1-8 0,-3 0-13 0,2 1 13 15,-5 2-3-15,0 0-5 0,12 3-12 16,-9-1 12-16,2 2-10 0,0 1-3 16,-2 1-7-16,2 2 0 0,0-2-6 0,-5 2 6 15,3 1-5-15,-3 0-6 0,0 0-12 0,0 1-6 16,0-1-20-16,-3 0 0 0,3 1-15 16,-3-1-21-16,1 0-35 0,-3-3-3 0,2 3-31 15,1-3-72-15,-1 1-58 16,1-5-131-16,-1 2-468 0,0-1 135 0,1 0 26 0,2-3 46 15,-6 4 87-15</inkml:trace>
  <inkml:trace contextRef="#ctx0" brushRef="#br0" timeOffset="103664.25">8652 2720 1231 0,'7'-4'373'15,"-2"-1"-24"-15,1 2-24 16,-1 1-39-16,0-1-48 0,0 1-23 0,0 1-71 16,0-2-37-16,1 0-56 0,-2 3-107 0,-4 0-123 15,8-6-103-15,-5 6-506 0,-3 0 92 16,8-4 28-16,-8 4 76 0</inkml:trace>
  <inkml:trace contextRef="#ctx0" brushRef="#br0" timeOffset="104002.66">8744 2676 801 0,'0'5'256'16,"0"-2"-23"-16,2 2 0 0,1-2-24 15,2 0-17-15,-2-1-10 0,4 1-15 0,-1-2-32 16,-1 0-15-16,3-1 3 0,-1-2 74 0,0-1-28 16,-1 1-15-16,2-2 12 15,-1-1-12-15,1 0-16 0,0-1-10 0,-3 2-2 16,2 0-6-16,1-1-5 0,-3 1 3 0,-2 1 0 0,2 0-24 16,0 1-50-16,-5 2-19 0,8 0 6 15,-8 0-13-15,5 4 10 0,0 1 13 0,-5-2 8 16,3 4-13-16,-1-1-3 0,0 1-13 0,-2 0 11 15,1 1-13-15,2 1-10 16,-3 0-6-16,0 1-48 0,0-2-13 0,0-1-20 0,0 3-39 16,0-4-92-16,-3 1-102 0,3-1-98 15,0 0-488-15,0-3 130 0,-1 2 44 0,1-5 63 16</inkml:trace>
  <inkml:trace contextRef="#ctx0" brushRef="#br0" timeOffset="104208.27">8756 2575 1105 0,'0'0'328'0,"1"-9"-36"0,4 6-16 0,-2-3-30 0,4 2-23 0,-2-2-31 16,1 3-41-16,1-2-39 0,4-1-30 15,-4 1-38-15,1 3-73 0,2-3-73 0,-2 3-100 16,0-3-64-16,-4 3-82 0,2 0-351 0,-1 1 43 16,-5 1 91-16</inkml:trace>
  <inkml:trace contextRef="#ctx0" brushRef="#br0" timeOffset="104616.14">8254 2646 898 0,'-10'12'266'0,"2"1"-28"0,3 0-7 0,0 0-19 0,0 3-30 15,0-4-11-15,2 2-12 16,3 0-28-16,0-1-3 0,1 2-3 0,3-2-18 0,1 0-22 15,3-1-11-15,3 0-25 0,1-4-39 0,4 3-56 16,1-5-100-16,2-2-100 0,1 0-79 16,3-2-391-16,3-2 40 0,0-2 123 15</inkml:trace>
  <inkml:trace contextRef="#ctx0" brushRef="#br0" timeOffset="104859.69">8839 2270 1087 0,'0'0'446'0,"17"5"-90"0,-8-1-36 0,3 2-16 0,1 3-27 0,0 3-39 15,5 2 59-15,-5 3-13 0,7 8-39 16,-5-3-32-16,1 7-21 0,-6-5-31 0,-2 2-53 16,-5 0-32-16,-1 4-65 0,-7 12-45 0,-3 0-68 15,-2-4-231-15,-11 16-558 0,-4-2 70 16,-3 1 94-16,-6-2 69 0,-1-2 131 0</inkml:trace>
  <inkml:trace contextRef="#ctx0" brushRef="#br0" timeOffset="107633.59">18907 3658 1028 0,'0'0'297'0,"0"0"-23"0,0 0-31 0,0 0 3 0,0 0-38 16,0 0-22-1,0 0-17-15,0 0-10 0,0 0-5 0,0 0-24 0,0 0-25 0,0 0-3 16,0 0-20-16,0 0-10 0,0 0-41 0,0 0-24 16,0 0-27-16,0 0-72 15,0 0-110-15,0-4-195 0,0 4-353 0,0 0 49 0,0 0 94 16,0 0 77-16</inkml:trace>
  <inkml:trace contextRef="#ctx0" brushRef="#br0" timeOffset="109502.63">10341 9442 944 0,'0'0'407'0,"-13"5"-36"0,8-1-28 0,-2 1-33 16,2 1-6-16,-3 1-50 0,0 3-6 15,-2-1-15-15,0 2-43 0,0 2-19 0,-1-1 18 16,1 1-58-16,0 0-18 0,-1 0-21 0,-1-1-23 16,1 0-36-16,1 1-20 0,0-1-39 15,2-4-22-15,0 2-50 0,0-4-19 0,4 1-60 16,-4-2-99-16,6-3-42 0,-2 1-511 16,2-2 107-16,2-1 39 0,0 0 122 15,0 0 21-15</inkml:trace>
  <inkml:trace contextRef="#ctx0" brushRef="#br0" timeOffset="109708.27">10195 9537 780 0,'5'0'328'15,"-5"0"-16"-15,8-1 52 0,-8 1-19 0,15 1-27 0,-7-1-9 16,2 4-83-16,1-2-37 0,1-1-15 0,1 2-8 16,5 0-17-16,-2 0-13 0,-1 0-19 15,5 1-17-15,-2-1 0 0,1 0-34 0,1 0-14 16,0 1-9-1,-1-2-30-15,1 1-26 0,-5-1-5 0,5 1-46 0,-4 1-23 0,-1-3-64 16,1 3-84-16,-1-2-31 0,0-1-65 0,-4 4-291 16,-1-4-87-16,2 2 34 0,-4-1 109 15</inkml:trace>
  <inkml:trace contextRef="#ctx0" brushRef="#br0" timeOffset="111594.84">20520 2913 760 0,'-3'-5'348'15,"3"5"64"-15,-2-5-46 0,0 2-10 0,-2 0-39 16,0 1-28-16,1-1-2 0,-2 1-33 15,0-1-109-15,-1 0 1 0,0 1-10 0,-3 0-16 16,4 0-12-16,-3 1-6 0,-2 0-7 0,5 1-13 16,-5 1-5-16,2-1-13 0,-2 3 5 15,2 0 5-15,-3 1-25 0,3 1-3 0,-4 0-3 16,4 2-4-16,1 0-11 0,-1 1 0 16,0-2-5-16,1 0 5 0,2 1-13 0,2-1 11 0,-2 0-11 15,3 2 11-15,1-1 0 16,1-2-14-16,0 0-4 0,1 1-3 0,1-3 5 0,3 2 1 15,-2-3-11-15,4 2 15 16,1-2-10-16,0 1 0 0,2-2 11 16,0 0-1-16,3-1-5 0,-5-1 3 0,2 0-13 0,5-3 10 15,-4 2 8-15,1-3-5 0,-1-1-10 16,-1-1-1-16,4 1 1 0,-5-2-6 0,4-1 18 16,-1 0-9-16,-1 0-4 0,-1 0 3 0,2 1 0 15,-4-1 8-15,1 1 20 0,-2 1 8 16,-2 1-23-16,1 1 21 15,0 0-19-15,-2 2 83 0,0-1-4 0,-1 2-30 0,0-2-2 16,-3 4 20-16,3-2-36 0,-3 2 8 0,0 0-15 0,0 0-11 16,0 0-2-16,0 10 7 15,-3-4-10-15,0 0-10 16,1 3 0-16,-1 0 15 0,1 1-17 0,-2-1 4 0,0 2-12 0,1 1 10 16,0 0-28-16,1-2-19 0,0 1-6 15,2-1-27-15,-3-1-4 0,6 0-37 0,-3 1-9 0,2-1-11 16,2-2-59-1,0-1-31-15,1 1-178 0,2-2-126 0,-1-1-392 0,4 0 90 16,1-3 43-16,-4 3 72 0,6-4 90 16,-1 1 87-16</inkml:trace>
  <inkml:trace contextRef="#ctx0" brushRef="#br0" timeOffset="112142.81">21484 2836 1108 0,'0'0'363'0,"0"0"-35"0,0 0-11 15,0 0-25-15,-3 11-38 0,2-5-16 0,-1 1-13 16,0-1-33-16,0 3-10 0,0-2-21 16,-2 1-15-16,0 3-18 0,1 1-11 0,0-4-4 15,0 2-21-15,-1-1 6 0,4-1-27 0,-3 1 9 16,2-3-6-16,-1 0-8 0,0 0-12 0,2-2 28 15,0 1-21-15,0 0 1 0,0-5 4 16,2 5 50-16,1-5-1 0,-3 0 3 16,8 1-21-16,-8-1 8 0,8 0-3 0,-8 0-12 15,12-1-19-15,-6 1 9 0,-6 0-19 0,12 1 11 16,-4 1-13-16,-3-2 0 0,3 3-3 16,-2-2 3-16,-2 1-5 0,1 1-1 0,0-1-7 15,0 3 11 1,-2-2 2-16,1 2-18 0,-4 0-57 0,1 1 11 15,-2-1-10-15,-1-2 12 0,-3 4 3 0,0-1 85 0,-3 0-21 0,-2 1-13 16,0-1 0-16,-1 0-8 0,1 0-22 0,-2-1-54 16,-1 1 12-16,0-1-45 0,2-3-27 0,-1 3-27 15,0-4-39-15,1 0-32 0,1-1-32 16,0 0-84-16,1-2-216 16,0 0-493-16,1-3 108 0,-1-1 65 0,2-1 109 0,4-4 58 15,-1-1 64-15</inkml:trace>
  <inkml:trace contextRef="#ctx0" brushRef="#br0" timeOffset="112347.54">21374 2747 1075 0,'-8'3'353'16,"0"0"-18"-16,-2 2-15 0,1 1-23 0,0 1-8 16,0 0-38-16,-3 3-10 0,5-2-21 15,-1 3-15-15,2-3-19 0,-2 3-19 0,1 1-14 16,0 0-19-16,4 1-14 0,-2-1-15 15,2 1-36-15,2 0-31 0,0-1-30 16,3 0-36-16,-1 0-57 0,6-3-55 0,-2 2-119 16,3-6-102-16,0 4-509 0,4-2 128 0,-1-2 22 15,2 0 65-15,-3-4 71 0</inkml:trace>
  <inkml:trace contextRef="#ctx0" brushRef="#br0" timeOffset="112635.34">21712 2794 1192 0,'5'0'423'16,"3"1"-32"-16,-3 0-27 0,5 3-24 15,-2 3 52-15,2-1-52 0,-2 3 3 0,2 0-33 16,-2 5-31-16,0 1-10 0,-3 0-31 15,0 0-36-15,-5 1 3 0,0-1-31 0,-3 3-56 16,-2 0-19-16,-3 3-24 16,-2-2-55-16,0 0-43 0,-3 0-20 0,0-1-32 0,-2-1-27 0,-1-2-29 15,1 0-66-15,-3-2-110 0,3-5-154 16,1 0-475-16,-3 1 109 0,-4-3 56 16,4-3 90-16,-4 1 72 0,-3-3 64 0</inkml:trace>
  <inkml:trace contextRef="#ctx0" brushRef="#br0" timeOffset="113112">20213 2672 826 0,'-16'10'323'0,"3"-1"-16"0,0 3-23 16,4-1-18-16,-2 2-28 0,0 2-10 16,1 1-28-16,-3 3-11 0,5 0-12 15,1 2-26-15,1 0-13 0,-1-5-7 0,6 3-16 0,-1 0-10 16,2-2-16-16,3 0-30 0,-3 1-31 15,8-3-22-15,-1 1-35 0,2-2-40 16,3-1-87-16,3-1-154 0,3-3-501 0,3 1 64 0,-1-5 78 16,1-1 47-16</inkml:trace>
  <inkml:trace contextRef="#ctx0" brushRef="#br0" timeOffset="113345.76">20730 2645 1113 0,'8'14'499'0,"2"2"-100"0,-2-2-30 0,-1 3-13 0,1 3-41 16,-3 1-24-16,1 4-22 0,0 0-31 0,-5 3-25 15,-1 0-14-15,0 1-58 0,-5 8-67 16,-1 3-53-16,-4-3-65 0,-2 1-68 16,-4-1-131-16,-15 7-195 15,11-9-448-15,-8 7 98 0,-3-5 84 16,-3 1 120-16,-1-1 34 0</inkml:trace>
  <inkml:trace contextRef="#ctx0" brushRef="#br0" timeOffset="114530.03">10134 9225 793 0,'0'0'269'16,"2"-6"-31"-16,-2 6-23 0,0 0-26 0,0 0-15 0,10 0-30 16,-10 0-24-16,8 0-28 0,-8 0-46 15,10 3-66-15,-7-2-78 0,4 0-119 0,-7-1-438 16,8 2 25-16,-3 2 108 0</inkml:trace>
  <inkml:trace contextRef="#ctx0" brushRef="#br0" timeOffset="115044.21">10634 9148 985 0,'0'0'315'0,"4"-4"-34"16,-4 4 62-16,0 0-35 0,0 0-35 0,0 0-29 15,4-1-22-15,-4 1-22 0,0 0-16 0,0 0-43 16,0 0-26-16,7-1-18 0,-7 1-30 16,0 0-34-16,7 0-38 0,-7 0-56 0,8 1-77 15,-8-1-75-15,5 2-189 0,1 1-402 0,-1-1 106 16,-2-1 40-16,4 3 102 0</inkml:trace>
  <inkml:trace contextRef="#ctx0" brushRef="#br0" timeOffset="115457.51">11016 9125 522 0,'0'0'138'0,"0"0"-146"0,0 0-107 0</inkml:trace>
  <inkml:trace contextRef="#ctx0" brushRef="#br0" timeOffset="122636.06">12669 3101 936 0,'-2'1'269'0,"2"-1"-10"0,0 0-26 16,0 0-21-16,0 0-5 0,0 0-33 0,0 0-17 16,0 0-6-16,0 0-29 0,0 0-1 0,0 0-52 15,0 0-49-15,0 0-55 0,-8-6-193 0,8 6-499 16,0 0 10-16,0 0 121 0,0 0 143 16</inkml:trace>
  <inkml:trace contextRef="#ctx0" brushRef="#br0" timeOffset="124038.06">19746 5313 985 0,'-6'0'389'0,"6"0"-56"0,-10 1-31 0,3 0-13 15,-1 3-30-15,-2-1-21 16,4 2-36-16,-4 1-87 0,3 0-18 0,-1 4 13 0,-2-2-30 16,2 0-6-16,0 2-13 0,3-1-4 0,-3 1-1 15,3-2 3-15,0 3-23 0,3-2 5 16,-1 0-3-16,0-2-7 0,1 1-11 0,2 1 19 16,0-1-14-16,2-2 1 0,-2 0-1 15,4 0-4-15,0-1-3 0,1-2 7 16,-2 2-1-16,2-3-12 0,2-2 6 0,-1 0 3 15,1 0-3-15,3-2 0 0,-2 1-18 0,2-4 0 16,0 0 7-16,-2-1 3 0,1 1-2 16,-1-2 5-16,-2-1 18 0,0 1-21 0,-1-3 21 15,0 1 4-15,-2-1 1 0,2 2 13 16,-2-2-6-16,-1 2-4 0,0 2-1 0,1-2 19 0,-1 2 1 16,-1 1-17-16,1 0 18 0,-2 1-10 15,0 0-6-15,0 4-12 0,0-5 2 16,0 5 8-16,0 0-10 0,0 0-5 0,0 0-6 0,0 0 16 15,0 0-10-15,-11 10-16 16,9-4 13-16,0-3 72 0,-1 4-31 0,1-1 10 16,1 0-5-16,-1-1-18 0,2 2 21 0,0-1-49 15,-3 0-16-15,3 1-17 0,0-1 0 0,3 0-31 16,-3-1-26-16,2 1-17 0,-1-1-36 16,4-1-31-16,-2 0-54 0,-1 1-125 15,-2-5-100-15,7 3-487 0,-2 1 70 0,1-4 112 16,-1 1 126-16,2-1 8 0</inkml:trace>
  <inkml:trace contextRef="#ctx0" brushRef="#br0" timeOffset="124633">19876 5213 1023 0,'3'-2'300'0,"2"-1"-34"0,0 1-28 0,2-2-13 0,-4 4-30 0,-3 0-13 16,10 0-16-16,-10 0-10 0,12 5-30 15,-10-4-4-15,2 3-1 0,-1-1-11 0,-3 2-21 16,0 0-17-16,0 1 5 0,0 0 5 0,0-1-31 15,-1 0 21-15,-1 0-6 0,0 1-27 16,0-1 4-16,1 0-10 0,-1-2-4 0,-1 1 6 16,3 1 4-16,-2-2-3 0,2-3-1 15,-2 5 78-15,2 0-18 0,0-5 17 0,2 3-25 16,-2-3-2-16,7 4 25 0,-4-4-41 0,-3 0-5 16,10 0 8-16,-5 1 7 15,-5-1-15-15,11 1-2 0,-6-1-11 0,-5 0 0 0,10 0 10 16,-5-1-2-16,-5 1 0 0,11-1-21 0,-4 1 26 15,-7 0-81 1,7 0 1-16,-7 0 11 0,8 0-15 0,-8 0 22 0,0 0 14 16,9 0-14-16,-9 0 13 0,4 0 6 0,-4 0-6 15,0 0 1-15,0 0 17 0,8-1-15 0,-8 1 20 16,0 0 80-16,0 0-13 0,0 0 5 16,8-3-10-16,-8 3-11 15,0 0-14-15,0 0 1 0,0 0 17 0,0 0-27 0,0 0 11 0,0 0-95 16,0 0 8-16,0 0 7 15,0 0-7-15,0 0 7 0,0 0 6 0,0 0 0 0,0 0-11 16,0 0 8-16,0 0-23 0,0 0-16 0,0 0-19 16,0 0-14-16,0 0-31 15,0 0-14-15,0 0-32 0,0 0-40 0,0 0-34 16,0 0-71-16,0 0-146 0,-3 6-536 0,3-3 101 16,0-3 92-16,0 0 84 0,3 5 61 0,-3-5 86 15</inkml:trace>
  <inkml:trace contextRef="#ctx0" brushRef="#br0" timeOffset="125224.4">22165 5284 1098 0,'0'0'417'0,"0"0"-20"15,0 0-126-15,8 6-13 0,-8-6-32 0,0 10-19 16,1-5-15-16,-1 3-28 0,2-1-18 0,-2 1 0 15,0 2-36-15,0 1-26 0,0-2-38 16,0 2-66-16,-2 1-54 0,2 1-139 0,-2-1-117 16,-2 0-492-16,2 0 80 0,2-4 99 0,0 4 19 15</inkml:trace>
  <inkml:trace contextRef="#ctx0" brushRef="#br0" timeOffset="125517.47">22156 5431 1210 0,'2'-5'341'0,"3"3"-42"0,-2-1-15 0,-3 3-18 0,12-2-48 0,-9 2-5 15,5 0-16-15,-8 0-23 0,13 0 7 16,-6 0-9-16,1 2-21 0,-2-1-23 0,1 2 18 0,-4-1-36 15,1 2-10-15,-1-2 5 0,0 1 51 16,-3 1-18-16,0 1-7 0,-3 0-3 0,2 1-18 16,-5 0-16-16,0-3-9 0,2 2-39 0,-4 2-31 15,0-3-20-15,0 2-33 0,1-4-47 16,1 3-22-16,-2-3-93 0,2-5-153 0,-1 4-587 16,0-1 93-16,7 0 82 0,-8 2 117 15,8-2 16-15</inkml:trace>
  <inkml:trace contextRef="#ctx0" brushRef="#br0" timeOffset="125815.23">22322 5207 1180 0,'9'-2'355'0,"0"2"-27"0,-2 0-13 0,-1 1-44 16,-3 0-10-16,2 1-2 0,-1 1 27 15,-3 3-7-15,1-3-17 0,-2 3-27 0,-2 0-40 16,2 0-1-16,-2 0-102 0,1 1-5 0,-1-1 11 16,2-1-32-16,-3 0-15 0,3-1 0 15,0 0 16-15,0 1-29 0,5-3 6 0,-2 1-13 16,4-2-11-16,1 0 1 0,0 1-32 16,5-2-24-16,0 0-6 0,3 0-18 0,0 0 2 0,0 0-32 15,1 0-19-15,-1 0-32 16,1 0-35-16,0 0-55 0,0 0-62 0,-3 0-71 15,3 3-459-15,-3-2 72 16,0-1 105-16,-3 2 31 0,3-2 69 0</inkml:trace>
  <inkml:trace contextRef="#ctx0" brushRef="#br0" timeOffset="129438.14">9185 14133 1318 0,'5'9'471'0,"-5"0"-41"0,3 1-41 0,-1 4-31 0,0 4-35 16,1 2-21-16,-3 1-49 0,3-1-20 0,-1 5-28 16</inkml:trace>
  <inkml:trace contextRef="#ctx0" brushRef="#br0" timeOffset="129742.22">9344 13698 1126 0,'0'0'484'0,"0"0"-44"0,2 13-31 0,-2-5-125 15,3 2-20-15,-3 3-21 0,3-1-20 0,-1 6-18 16,0-4-36-16,-1 4-16 15,4 1-9-15,-3 0-11 0,-1 0-39 0,3-1-27 0,-1 1-13 16,0 0-18-16,-1-1-24 0,1 0-35 16,-1-2-25-16,1-1-47 0,-1-2-43 0,1-1-103 0,-3-2-102 15,0 0-507-15,3-2 108 16,-1-2 48-16,-2-1 72 0,0-1 69 0</inkml:trace>
  <inkml:trace contextRef="#ctx0" brushRef="#br0" timeOffset="130098.41">9121 14001 1369 0,'-3'-28'386'16,"6"2"-30"-16,0-1-46 0,1-13-23 0,2 0-24 0,-1-2-12 16,8 0-13-1,7-8 8-15,-2 4-18 0,3 13 7 0,-1 6-25 0,-5 6 10 16,1 7-33-16,-3 5 3 0,-1 4-16 0,1 3-108 16,0 5 11-16,0 3-8 0,-1 3 5 15,2 3-15-15,-1 2-15 0,2 4-11 0,-2 1-18 16,-3 1-20-16,3-1-38 0,-3 2-39 0,2 0-16 15,2-3-50 1,-2 1-36-16,-1-2-100 0,4 0-167 0,-2-1-481 16,0-6 129-16,-1-1 37 0,2-3 78 0,-2-2 84 0</inkml:trace>
  <inkml:trace contextRef="#ctx0" brushRef="#br0" timeOffset="130928.2">12369 13004 1343 0,'16'15'423'16,"-1"-1"-44"-16,3-1-49 0,12 4-18 0,4 0-33 15,2-2-33-15,5-3-21 0,3-2-20 16,5-3-113-16,2-2 3 0,0-3-29 0,5-3-7 0,0-4 0 16,11-5-33-16,0-2 4 15,0-5 1-15,-1-5-16 0,-4-2 3 0,2-5 10 16,-10-4-10-16,0-4-10 0,0-5 0 0,-6-1 2 15,1-2-8-15,-5-3 14 0,-1-2 12 16,-5-5-23-16,-4-5-2 0,-1-3 4 16,-7-5 24-16,-6-3-10 0,-7-1 7 0,-8-4-8 0,-10-5 6 15,-5-3 20-15,-13-21-8 0,-8 5-7 0,-10 1 66 16,-13 6-2-16,-15 6-5 0,-6 7 7 0,-9 11 23 16,-8 13-18-16,-5 13 19 15,-6 13 12-15,8 16-8 16,-5 12 6-16,-23 16-1 0,-1 13-73 0,-1 14 2 0,2 14-26 0,5 12-2 15,3 10 25-15,7 7-10 0,5 3-15 0,11 7-8 16,7 1-3-16,13 8 6 0,9-3 15 16,9 2-13-16,12 2-5 15,10-4 0-15,11 0 13 0,16-21-16 0,8-2-9 16,11-4-24-16,12-7-18 0,24 12-20 0,13-10-36 0,14-10-34 0,10-11-24 16,10-10-60-16,-17-12-41 15,10-6-71-15,5-7-121 0,2-7-432 0,6-7-1 16,-3-5 60-16,20-9 92 0,-33-1 115 0,21-8 17 15</inkml:trace>
  <inkml:trace contextRef="#ctx0" brushRef="#br0" timeOffset="160552.97">18833 10382 1110 0,'-6'3'500'0,"-1"-3"-45"0,2 1-17 0,-3 0-34 16,3 0-50-16,5-1-6 0,-10 3-92 0,5-3-8 15,0 1-28-15,5-1-7 0,-8 1-29 16,8-1-10-16,-8 1-10 0,8-1-16 0,-5 0-20 16,5 0-25-16,0 0 12 0,-7 0-8 15,7 0-10-15,0 0-22 0,0 0-4 0,0 0 4 0,0 0-24 16,0 0 3-16,0 0 12 15,0 0 62-15,24-1-8 0,-18 1-22 0,-1-1-11 0,-5 1-18 16,15-1 0-16,-9 0-28 0,1 1-5 16,-1-2-31-16,-6 2-13 0,12 0-5 0,-12 0-22 15,10-1-19-15,-4 0-13 0,-6 1-22 0,10-1-9 16,-10 1-12-16,7 0-18 16,-1-3-5-16,-1 2-36 0,0 1-10 0,0-2-10 0,2-2-44 15,-1 4-51-15,-1-3-62 0,1 0-130 0,-2 1-77 16,2-3-310-16,1 3 62 0,-2-1 123 15,3 2 20-15,-3-3 85 0</inkml:trace>
  <inkml:trace contextRef="#ctx0" brushRef="#br0" timeOffset="160868.42">19176 10204 1203 0,'0'0'435'0,"0"0"-16"0,0 0-109 0,0 0-13 15,-5 15-33-15,5-9 2 0,0 5-23 0,-3 1-20 16,3 1-6-16,0 2 47 0,-2 0-26 16,0 0-20-16,1 3-26 0,-1 1-16 0,-3 0-14 15,3-1-14-15,-1 0-10 0,-2-3-35 16,2 3 9-16,1-5-30 0,-2 4-41 0,0-4-49 0,1 0-35 15,3-1-31-15,-3 1-41 16,1-3-54-16,2-1-133 0,-2 0-333 0,2-1-294 16,2-3 61-16,-2-1 115 0,2 1 54 0,1-4 88 15,-3-1 68-15</inkml:trace>
  <inkml:trace contextRef="#ctx0" brushRef="#br0" timeOffset="161293.64">20322 10124 1146 0,'0'0'405'0,"0"0"-32"0,0 0-22 15,0 0-18-15,0 0-41 0,-7 12-8 16,7-6-39-16,-2 2-22 0,2 2-13 0,0-1-26 15,0 3-17-15,0 0-6 0,-1 1 41 0,1 0-23 16,1-1-28-16,-1 1-25 16,0 2-29-16,0-1-35 0,0-1-27 0,2 1-37 0,-2-2-26 15,0-1-36-15,2 1-26 0,1 0-35 0,-3-3-70 16,2 2-89-16,-2-5-79 0,1 3-495 0,-1 1 47 16,-1-2 73-16,1-3 35 0,-1 2 116 15</inkml:trace>
  <inkml:trace contextRef="#ctx0" brushRef="#br0" timeOffset="161705.62">20221 10349 793 0,'-6'-4'335'0,"6"4"-30"0,-2-1-18 0,2 1-31 16,0 0-34-16,0 0-12 0,0 0-33 0,12-6-11 0,-4 5-12 15,2-2-8-15,2-1-8 0,1 0-2 0,3 1-29 16,2-2-7-16,-5 2-16 16,7-2-9-16,-4 1-1 0,-1 3-20 15,0-1-1-15,-4 2 1 0,2 1-8 0,-1 0 3 0,-2 0-16 16,0 3 0-16,0-1-10 0,-2 3 3 0,1 0 5 16,-2 1-13-16,2-1 10 0,-1 1-5 15,-2-1-5-15,4 2 0 0,-1-1-8 0,1-2 21 16,0-1-19-1,2 2 11-15,1-6-7 0,-3 4 2 0,4-4-11 0,0 0 29 16,-1-4 3-16,1 1 22 0,-2 0 0 0,1-4 19 0,-3 1-3 16,0 0 25-16,0-3 82 0,-4-1-7 15,-1 1-11-15,-2-1-12 0,-1-1 2 0,0 2-33 0,-6-2 43 16,1 0-33 0,-4 1-15-16,-1 1-18 0,-2 1-16 0,-1-3-9 0,-2 4-9 15,0 1-17-15,3 2-31 0,-2 1-67 0,3-1-43 16,-1 2 5-16,2 2-74 0,1 0-44 15,0 5-148-15,1-3-397 0,2 4-218 0,1-3 80 16,0 0 94-16,3-3 129 0,3 7 10 16,1-4 43-16</inkml:trace>
  <inkml:trace contextRef="#ctx0" brushRef="#br0" timeOffset="161979.17">21548 9874 1336 0,'3'5'471'0,"0"1"-49"0,-1 0-2 16,0 3-52-16,3 2-27 0,-2 1-21 16,3 1-28-16,-4 4-39 0,4-1-23 0,-4 2-7 15,4 1-44-15,-2 0-23 0,1 0-28 16,-3-1-28-16,5 1-38 0,-4-2-34 0,3 1-38 0,-2-3-39 15,0-2-13-15,0 0-9 0,-1-1-42 0,0 0-22 16,-1-2-19-16,2-3-33 0,-3 1-64 16,-1-4-146-16,3 2-452 0,-1-3 55 15,0 1 49-15,-2-2 82 0,0-2 72 0</inkml:trace>
  <inkml:trace contextRef="#ctx0" brushRef="#br0" timeOffset="162157.25">21458 10100 1356 0,'0'0'412'16,"-3"4"-2"-16,3-4-121 0,0 5-30 15,0-5-14-15,6 3-30 0,-1-3-23 16,3 1 5-16,2-1-43 0,2-1-36 0,1 1-13 16,3-3-57-16,2 0-25 0,2-3-46 0,1 0-59 15,-3 0-84-15,13-13-169 0,-6 11-495 16,-1-1 50-16,0 0 117 0,-3-2 38 0</inkml:trace>
  <inkml:trace contextRef="#ctx0" brushRef="#br0" timeOffset="162374.25">22074 9878 1512 0,'-1'19'576'0,"0"0"-74"0,-3 0-16 0,2 0-45 0,-1 2-40 0,-2-2-29 16,3 6-35-16,-1-1-45 0,-2-5-43 15,5 1-42-15,-1-1-18 16,-1-1-81-16,0-3-29 0,2 1-64 0,0-1-38 0,0-2-38 16,0-3-54-16,0 1-80 0,0-3-186 0,0 2-620 15,-3-4 87-15,3 1 72 0,0-2 120 0,-1-2 113 16,-3 0 15-16</inkml:trace>
  <inkml:trace contextRef="#ctx0" brushRef="#br0" timeOffset="163289.65">13518 13637 867 0,'-8'-14'310'0,"1"2"-26"0,-1-1-20 0,0-2-19 0,0 1-27 16,-4-6-16-16,-3-6-25 0,-4 1-16 0,1-2-20 16,0 0-16-16,3 6-20 0,2 3-5 15,3 0-15-15,-5 2-6 0,7 4-20 16,0 2-64-16,3 1-36 0,0 4-8 0,2 2 13 16,3 3-66-16,0 0-85 0,0 0-77 0,0 0-486 15,11 17 29-15,-4-7 111 0,1 4 60 16</inkml:trace>
  <inkml:trace contextRef="#ctx0" brushRef="#br0" timeOffset="163485.97">13569 13505 1016 0,'-2'-8'312'16,"-1"-3"-15"-16,-2 1-31 0,0-5-18 0,-1-2-27 15,-4-3-22-15,3-1-17 0,-7-9-8 16,2 6 41-16,2 2-13 0,0 2-17 0,-1-2-22 0,3 7-22 15,1 0-5-15,0 4-13 16,1 1-49-16,1 0-38 0,2 3-18 0,1 3-26 0,-1 1-25 16,3 3-72-16,0 0-77 0,0 0-115 15,-2 8-550-15,4 2 58 0,-1 0 78 0,1 3 102 16,-2 2 61-16</inkml:trace>
  <inkml:trace contextRef="#ctx0" brushRef="#br0" timeOffset="163777.07">13282 13354 857 0,'-13'-28'330'0,"3"-5"-18"0,3 7-30 16,3 3-6-16,4 3-30 0,3 0-13 0,2 1-8 15,3-1-15-15,3 3-18 0,6 0-13 16,-2 4-2-16,6 3-23 0,2 3-14 0,1 1 58 16,-2 3-19-16,4 3-39 0,-1 0-37 0,4 4-39 15,1-1-26-15,-1 3-38 0,1 0-38 16,7 2-36-16,-6 0-88 0,-1-2-117 16,-4 1-181-16,10 3-372 0,-4-4 69 0,-3 0 87 0,-1 2 70 15,-2-2 83-15</inkml:trace>
  <inkml:trace contextRef="#ctx0" brushRef="#br0" timeOffset="167654.79">14541 12260 1149 0,'-3'-4'448'0,"3"4"-49"15,0 0-33-15,0 0-33 0,-2 16-29 0,2-8-22 16,0 3-23-16,2 2-34 0,-2 1-10 16,0-1-28-16,3 4-29 0,-3-1-32 0,0-1-24 0,0 2-38 15,0-2-43-15,2-1-26 16,-1 1-44-16,-1-1-25 0,0 1-39 0,0-3-51 16,0 4-66-16,2-4-105 0,-2-2-303 0,0 0-130 15,0-2 59-15,-2-1 67 0,2 0 143 16</inkml:trace>
  <inkml:trace contextRef="#ctx0" brushRef="#br0" timeOffset="167866.62">14415 12450 1103 0,'-2'-3'458'0,"-1"-1"-23"16,3 4-54-16,-3-3-32 0,3 3-32 0,0 0-23 15,6-6-15-15,-6 6-5 0,10-4-38 0,-2 4-32 0,2 0-27 16,0 0-11-16,5 0-30 15,1-2-16-15,-1 2-43 0,1 0-26 0,2 0-56 16,-1-1-43-16,1-1-52 0,-2 2-69 0,2-1-225 16,-1 1-525-16,1-1 61 0,-2-1 116 0,-3-2 158 15,2 1-40-15,-2 0 66 0</inkml:trace>
  <inkml:trace contextRef="#ctx0" brushRef="#br0" timeOffset="168306.49">14844 12289 995 0,'0'0'338'0,"0"0"-23"0,4 10 2 0,-1-4-33 15,0 1-28-15,1 2-23 0,0 0 39 0,3 1-21 16,-2 0-13-16,0 1-34 0,1 1-19 0,1-2-16 16,1 0-16-16,-1 1-27 0,1-2-9 0,-3 0-17 15,6-1-10-15,-6-1-36 16,3-1 12-16,-4 0 3 0,2-1-2 0,-2-4-6 0,0 0-2 15,-4-1 0-15,0 0-23 0,0 0 18 0,7-8-3 16,-7 3 2-16,3-1 9 0,-3 1-24 16,2-2 11-16,-2 1 17 0,2 0-7 0,-1-1-13 15,1 3-5-15,1-1 0 0,-1 1 0 16,1 1 0-16,-1 0-13 0,4 2 8 0,-1-1-5 16,0 0-11-16,0 1 3 0,3 1 6 15,0-1-19-15,2 0-5 0,0-1 3 0,-2-1-16 16,0 1 11-16,2-1-11 0,-3-1 3 0,1 0 5 15,-2-2-5-15,1 3 15 16,-2 0-2-16,0 1 20 0,-2-1 2 0,1 1-7 0,-4 2 13 16,0 0-5-16,11 7-8 0,-6-3 13 0,-2 3-5 15,2 1 15-15,0-2-13 0,0 3-7 16,0 0-11-16,3 0-2 0,-3 0-26 0,2-2-8 16,1 1-25-16,-3 0-30 15,3-2-24-15,0-2-26 0,-3 1-22 0,2-3-36 0,-1 2-75 16,-1-4-199-16,0 1-474 0,-5-1 11 15,11 0 135-15,-11 0 79 0,0 0 55 0,0 0 76 16</inkml:trace>
  <inkml:trace contextRef="#ctx0" brushRef="#br0" timeOffset="168715.65">14582 12880 1343 0,'-10'15'412'0,"0"-2"52"0,6-2-34 0,2-1-51 0,2-1-8 0,6-2-33 15,1 1-49-15,3-1-2 0,8-2-16 16,2 0-38-16,4-3 5 0,9-3-113 16,13-5-40-16,16-4-3 0,0-8 0 0,4-2-24 15,3-4-11-15,0-7-32 0,1-2-5 0,14-10-12 16,-20 4-14-16,1-2 1 0,9-10-13 16,-5-5-6-16,-7-3-22 0,-16 7-3 0,-5-3 0 15,-8-4-7-15,-10 0 2 16,-8-6 15-16,-12-1-7 0,-13-5 23 0,-8-2 10 0,-13-14-11 15,-10 3 11-15,-8 9 10 0,-5 10 16 16,-4 21 28-16,-6 8 35 0,-8 11-15 0,-11 13 8 0,-9 12-10 16,-28 19 20-16,-1 11 10 0,-1 14-15 0,4 12 6 15,2 7 6-15,3 7 14 16,3 11 17-16,8 10-32 16,9 5-6-16,11 3 5 0,12 4 74 0,9 2-119 0,12 0-1 0,11-7-5 15,13-3 0-15,17-20-36 0,7-4-30 16,12-5-34-16,12-8-28 0,15-3-13 0,9-9-10 15,9-8-33-15,8-7 2 0,6-6-43 0,7-9-59 16,4-7-62-16,2-6-411 16,4-4-170-16,-3-7 144 0,-2-4 10 0,-5-4 59 0,-2-2 128 15</inkml:trace>
  <inkml:trace contextRef="#ctx0" brushRef="#br0" timeOffset="169437.47">15118 12337 977 0,'2'-6'297'16,"1"3"-43"-16,-1-1-1 0,1-2-38 0,2-1-28 0,0-1-5 16,1-2-31-16,-2 1-3 0,2-2 1 15,-2-1-11-15,2-2-10 0,-4 2 77 16,1 0-13-16,-6-1 0 0,3 2-11 0,-2 1 1 0,0 0 13 15,-2 2-103 1,0 0 8-16,1 4 17 0,-2 2-27 0,-3 3-1 0,8-1-4 16,-15 9 5-16,9-1-14 0,-1 5 11 0,-1 2 3 15,-2 6-13-15,3 1-18 0,1-1 2 16,4 3 3-16,1-2 0 0,1-4-13 16,0 3-23-16,3-1-28 0,3-2-2 0,1-2-29 15,4 2-7-15,3-2-21 0,0-3-38 0,1-3-37 16,3-1-24-16,2-1-65 0,-1-2-115 15,-4-6-143-15,8 2-423 0,-3-2 90 0,1-2 90 16,0-3 87-16,-4 3 45 0</inkml:trace>
  <inkml:trace contextRef="#ctx0" brushRef="#br0" timeOffset="-183599.61">20799 10736 1464 0,'0'0'419'0,"-2"-4"-47"0,2 4-24 0,0 0-28 0,0 0-98 0,0 0-25 0,-8 9 1 0,8-9-35 16,0 9-19-16,3-3-1 15,-3 3-18-15,2 0 1 0,1 1-11 0,-1 0-38 0,4 2 12 16,-2 1 11-16,4 2 36 0,0-2-11 0,0 1-9 16,2-1-4-1,1 0-22-15,-1 0 2 0,2-2-5 0,1 2-18 0,0-3-15 16,2-1-13-16,1 2 7 0,-1-3-17 0,3-1 0 15,0 0-31-15,0-2 8 0,3 0-11 0,-1-1 3 16,0-2-5-16,1-1 2 0,-3-1 19 16,3-2-14-16,1-2-17 15,-1 1 17-15,-1-3-12 0,3-1 8 0,1-2 2 0,-2 1-3 16,-1-2 8-16,2-2-20 0,1 2 15 16,-2-3 5-16,-1 1-3 0,-1-3 9 0,1 2-4 15,-1-1-12-15,6-6 8 0,-5 4-21 0,-6 3 15 0,3 0 1 16,0 0-3-16,-4 2 2 0,-2 2 13 15,0-1-2 1,-3 3 13-16,0 0-14 0,-2 2 19 0,-1-2-16 0,-1 2 8 0,2 2-5 16,-4-1-16-16,2-1 16 0,-2 3-23 15,2-2-6-15,-5 4-30 0,3-2-28 0,-1 0-8 0,-2 2-28 16,3-4-20-16,-3 4-37 0,0 0-89 16,5-5-77-16,-5 5-127 0,2 0-426 15,-2 0 75-15,0 0 48 0,0 0 102 0,0 0 83 0</inkml:trace>
  <inkml:trace contextRef="#ctx0" brushRef="#br0" timeOffset="-183272.66">21566 10687 952 0,'5'-5'284'0,"-2"2"-18"16,3-3-15-16,0 1-36 0,2-1-23 15,4 0 0-15,-3 1-16 0,3-2-22 0,1 1-3 16,2 3-10-16,2-3-13 0,0 1-3 16,0 3-15-16,-1-1 6 0,2 2-27 0,-3 2 3 15,-2 2 6-15,3 0-9 0,-3 2-10 0,4 2 8 16,-4 4-25-16,0 0 2 0,0 1 2 15,-3 2-19-15,-2 0 9 0,-1-1-18 0,-1 2-15 16,-4 0-15-16,1-1-31 0,0-1-39 0,-1 2-55 16,-2-2-68-16,3 1-104 0,-6 0-110 15,3-1-425-15,3 2 58 16,-1-2 126-16,-2 0 49 0</inkml:trace>
  <inkml:trace contextRef="#ctx0" brushRef="#br0" timeOffset="-177606.26">20168 10679 970 0,'0'0'373'0,"0"0"-45"15,0 0-31-15,-2-4-8 0,2 4-35 0,0 0-19 16,0 0-7-16,0 0-26 0,0 0-13 0,0 0 3 16,0 0-15-16,-8 7-39 0,6-1 8 15,0 0-18-15,-4 0-8 0,4-1-2 16,-1 2-18-16,-2 3-23 0,0-1 5 0,-1 1-18 15,0-1 2-15,0 2 1 0,0 1-21 0,-1 1-8 16,1-3 16-16,-1 0-10 0,-3 3-1 16,2 2-15-16,1-5 0 0,-1 3 24 0,-2-1-22 31,2 0-83-31,0 0-9 0,-1 1 24 0,0-2-26 0,-4 0 18 0,3-2 2 0,0 3 1 16,-3 1 20-16,3-2-11 15,-1-3-7-15,-1 3 11 0,0-3 7 0,-2 3 2 0,3-3 3 16,-1-1 0-16,-1 2-18 0,-2-2 19 0,-1 1 6 15,3-2-1-15,-1 1-6 16,3-2 10-16,-2 1-10 0,0-2 10 0,-5 2 8 0,5-3-2 16,-2 3-6-16,0-2 13 0,2 0-10 0,0-1-8 15,-2-1 34-15,-1 1-26 0,3 0-3 16,-2 1 5-16,0-2-2 0,-1-1 5 0,3 1-12 16,-2 2 12-16,0-4 7 15,2 3-7-15,0-2-2 0,-4 1 9 0,3-2-2 0,-1 3 21 16,-1-2-16-16,1 2 18 0,0-3 3 0,0 2-31 15,-1-1 10-15,3 0-7 0,-2 0 10 0,2-1 7 16,1 0 6-16,-2 0-6 16,3 0 1-16,-3 0 35 0,1-1-43 15,3 0 12-15,-3 0 6 0,-2-1-5 0,2 0-1 0,0 0 16 0,2-1-2 16,-1 2-11-16,2-3 3 0,1 3-21 16,-1-1 5-16,0-2 18 0,2 3-17 15,1-1-6-15,0-2 18 16,-1 3-15-16,3-3 5 0,-3 1-10 0,2 0-6 0,-1 1 1 15,2-1 10-15,2 1-8 0,-2 1 5 0,0-4 3 16,0 4 10-16,5 1-18 0,-8-5 5 0,5 3-7 16,-1 1 4-16,1-3-4 15,3 4-8-15,-5-2 7 0,5 2 9 0,-8-4-4 0,6 2-9 0,2 2-9 16,-3-4 17-16,3 4-14 16,-5-2 16-16,5 2-14 0,-3-2-6 0,3 2-11 0,-5-3 2 15,5 3 11-15,0 0-21 0,-3-5-5 0,3 5-5 16,0 0 3-16,-4-1-6 15,4 1-7-15,0 0-5 0,0 0 0 0,0 0-3 16,-4-3 10-16,4 3-17 0,0 0 4 0,0 0 6 16,0 0 2-16,0 0 8 0,0 0-5 0,0 0-5 15,0 0-19-15,-7-1-25 0,7 1-4 16,0 0-22-16,0 0-38 0,0 0-74 0,0 0-23 16,0 0-15-16,0 0-14 0,0 0-155 15,0 0-249-15,0 0 44 0,0 0 49 0</inkml:trace>
  <inkml:trace contextRef="#ctx0" brushRef="#br0" timeOffset="-177085.31">18956 11122 724 0,'-2'-5'238'0,"-4"-1"-20"15,3-1 66-15,-1 1-13 0,0-1-20 16,0-4-31-16,-2 4-87 0,-1-3 5 0,4 3-33 15,1 1-10-15,0-3 2 0,1 0 3 0,-1 1-31 16,-1 0 13-16,3 2-21 0,0 0 9 16,3-1-17-16,-1 1 9 0,-1 1-11 0,1-1-13 15,3 1 1-15,-2-1-11 0,4 3-13 0,-2-2 3 16,3 0 5-16,0 3-38 0,2-1-13 0,1-1-29 16,1 1-25-16,1 0-38 0,3-1-51 15,1 4-21-15,-1-1-31 16,2-5-43-16,4 5-471 15,-6-1 102-15,2 0 23 0</inkml:trace>
  <inkml:trace contextRef="#ctx0" brushRef="#br0" timeOffset="-172222.64">20386 11855 975 0,'-4'-1'333'0,"4"1"-26"0,-11-3 56 0,6 3-25 0,5 0-28 16,-5-2-31-16,5 2-16 0,0 0-27 0,-13 5-29 15,12-3 1-15,-6 3-14 0,5 1-38 16,-1 1 8-16,1 0-33 0,-1 3 4 16,3-1-17-16,-3 5-18 0,3-4 2 0,0 3-79 15,0 0-7-15,0-1-4 0,3 1 29 16,-3 1-38-16,5-2 5 0,-3 0-1 0,1 2-4 16,2-3 2-16,1 1 10 0,-2-1-15 0,-1 0 26 15,3-2-24-15,1 1-4 0,-2-2 4 16,3-1 11-16,0-1-13 0,-1-1 0 15,1 0-10-15,0-2-3 0,0-1 0 0,2-2 11 16,-3 0-11-16,1-2-5 0,2 1-7 0,0-3-4 0,2-3 1 16,-3 0 5-16,1 1 10 15,0-1-7-15,1-2 15 0,-1-2-16 0,-2 0 9 16,-1 2 14-16,-1-2-7 16,1-1-3-16,-1 0 8 0,-2-1 3 0,-1 2 7 0,0-1-5 0,-1 0 11 15,-2-2-11-15,0 4 15 16,0-3 1-16,-5 1-6 0,5 0-2 0,-7 0 10 0,4 1 0 15,-3 0-13-15,-1 1 8 0,-1 0-3 16,1 2 1-16,-1 0 14 0,0 1-12 0,0 0 0 16,1 4-2-16,-1-2 7 0,-2 1-26 0,2 3-12 15,0 1-6-15,1 1-17 0,0-1-6 16,0 4-25-16,-2 1-25 0,4 0-27 0,-1 0-43 16,4 3-92-16,-1 1-115 15,2 1-530-15,1 0 116 0,2 5 58 0,0-2 112 0,3-1 39 16</inkml:trace>
  <inkml:trace contextRef="#ctx0" brushRef="#br0" timeOffset="-170821.7">20548 12275 1238 0,'0'0'346'15,"0"0"-34"-15,0 0-15 0,0 0-10 0,0 0-26 16,0 0-26-16,-8 10-20 0,6-6-25 15,1 0-6-15,-1 0 3 0,0 1-28 0,-1-1-16 16,3 1-74-16,-3-1-30 0,1 0 9 16,2 1-9-16,-2-1 2 0,2-4 7 0,-1 6-15 15,0-3 11-15,1-3-1 16,-1 5 4-16,1-5 1 0,2 6-4 0,-2-6-16 0,3 2 20 16,2-2 4-16,0 3-16 0,3-1 15 0,-3-2-8 15,3 2-2-15,0 1 3 0,2-2 4 16,0 0 70-16,0 2-21 0,3-2 8 0,2 2-13 15,0 0 16 1,1-1-26-16,2-1-21 16,0 3 16-16,5-2-77 0,0 1-15 0,3-1-1 0,2 0 4 0,-2 1 6 0,6-2-9 0,-1 0 10 15,0 0-3-15,3 1 13 0,1-2-7 16,1 0-3-16,-2 0 2 0,14-3 3 0,-9 2-2 16,8 0-1-16,-2-2 13 15,0 0-7-15,0 0-6 0,1-1 24 0,-3 0-19 0,-4 1 14 16,4 0-1-16,2-4-2 0,4 3-5 0,-1-1 9 15,2 1-19-15,-3 0 2 0,0-1 2 16,2 3 9-16,-11 1-6 16,8-4 10-16,-8 4-10 0,-2 0-5 15,10-1 11-15,-7 2 4 0,-3 0 0 0,12-1-2 0,1 1 10 0,0 1-10 16,1 2-8-16,-3-2 31 16,2 2-8-16,-3-1-8 0,-5 1 27 0,5 0-12 0,-7 0-1 15,-6 0 14-15,13-1-30 0,-10 0-13 0,0-1 3 16,13-1 7-16,-9 2 1 15,7-2-19-15,-6 0 19 0,-4 0-11 0,-2 0 18 0,1 0-21 16,-1 0 6-16,-1 0 7 0,-3 0 1 0,0 0 4 16,-6 0-12-16,-2 0-1 0,-2 0 19 15,-4 0-21-15,1 0 16 16,-2 0-16-16,-4 0 0 0,-1 0 28 0,-1 0-15 0,0 0 13 16,0 0-11-16,-4 0 16 0,1 0-15 0,1 0 2 0,-8 0 10 15,12-2-8-15,-12 2-14 0,8-1 25 16,-5-1 10-16,-3 2-18 0,7-1 13 0,-7 1-23 15,4-2-11-15,-4 2 9 0,4-3 4 16,-4 3 6-16,1-5 12 0,-1 5-22 0,2-4-1 0,-2 0-10 16,0 4 15-1,0-7-2-15,3 2 5 0,-6 1-7 0,3-1-9 0,0-1 4 16,0 0-1-16,0-3 5 0,-2 0-15 16,2-1-12-16,0 0 27 0,-2-1-20 0,1 0 89 15,-1 2-7-15,-1-4-8 0,2 2 0 16,1 1-79-16,-4 1 13 0,4-1-3 0,-3 1-8 15,1 1 13-15,1 0-2 0,-1 0-26 0,0 1 30 0,2 1-20 16,-3 1 1-16,2 0 6 0,-3 0-27 16,2 1-3-16,1-1-28 0,-1 2-25 15,-3-1-21-15,4 1-16 0,-4 0-27 0,3 1-29 0,2 2-23 16,-5-5-25-16,0 3-39 16,5 2-135-16,-5-3-98 0,2 1-453 0,3 2 39 15,-3-3 117-15,3 3 80 0,0 0 79 0,0-7 87 16</inkml:trace>
  <inkml:trace contextRef="#ctx0" brushRef="#br0" timeOffset="-170588.7">23440 11787 1113 0,'0'-3'494'0,"0"3"-46"15,3-4-33-15,-3 4-49 0,0 0 15 0,0 0-20 16,0 0-110-16,0 0-23 0,7 7-3 16,-7-1-28-16,3 0-31 15,-3 1 6-15,2 0-29 0,-2 2-35 0,0-1-21 0,0 2-23 0,0-1-28 16,-2 2-26-16,2-2-31 0,-3 2-22 0,3-1-44 16,-2-1-34-16,-1 1-35 0,1-1-51 15,-1-1-108-15,0 0-94 0,1 0-469 16,-1-1 84-16,-2 0 47 0,3-1 89 0,-4-1 46 0</inkml:trace>
  <inkml:trace contextRef="#ctx0" brushRef="#br0" timeOffset="-170378.35">23371 11931 1100 0,'2'-5'394'0,"-2"5"-38"0,1-2-18 0,-1 2-26 0,7-2-43 15,-4-1-36-15,-3 3 13 0,8 0-54 0,-8 0-13 16,10-1 41-16,-5 1-36 16,2-2-43-16,-2 0-41 0,1 2-46 0,1-3-44 15,0 3-43-15,-1-4-62 0,2 2-112 0,-3-3-159 0,5 4-459 16,-2-4 16-16,2-1 162 16,0-1-6-16,0 1 100 0</inkml:trace>
  <inkml:trace contextRef="#ctx0" brushRef="#br0" timeOffset="-170180.58">23684 11721 1272 0,'2'-2'437'0,"-2"2"-89"0,0 0-10 16,0 0-25-16,6 9-11 0,-6-2-16 0,2 0-32 15,-2 3 48-15,0 0-28 16,0 4 0-16,0 1-36 0,0-1-18 0,0 0-10 16,0 2-52-16,2-2-35 0,0 2-38 0,-2-2-24 0,1 1-56 15,-1-2-38 1,0-1-46-16,0 0-52 0,0 1-58 0,0-3-221 0,0 2-532 0,-1-3 44 0,-3 1 181 15,2-2-5-15,-2 0 67 0,0-2 89 16</inkml:trace>
  <inkml:trace contextRef="#ctx0" brushRef="#br0" timeOffset="-168570.55">20354 12214 829 0,'0'0'450'0,"0"0"-40"16,0 0-26-16,0 0-28 0,0 0-31 16,0 0-39-16,4 14-7 0,-1-9-28 0,0 2-18 15,1 0-20-15,-1 2-11 0,0 0-33 0,1 0-23 16,0 0-8-16,-2 1-15 0,3 1-11 15,-5-2 14-15,3 0-24 0,-1 0-7 0,1 0-8 16,-3 0 0-16,0-1-18 0,0-1 5 16,0-2-7-16,0 3-1 0,0-3-22 0,0 0 10 15,0 0-11-15,-3-1 11 0,1 1-8 0,-1-1-2 16,3-4-19-16,-5 5 14 0,2-3-11 0,-4 0 2 16,4-1 4-16,-4 1-4 0,-1-2-68 15,3 0-8-15,-3 2 10 0,-2-1 21 16,0 0 5-16,-1-1-1 0,-2 1 4 0,3-1 1 15,-3 0 4-15,1 1 22 0,-1-1-7 0,0 0-13 16,-2 0 18-16,-1 0 5 0,1 1-2 16,-1-1 2-16,2 0-3 0,-3 0-7 0,2 0 10 15,-2 0-3 1,1 0-14-16,-2-1 12 0,3 0 2 0,-3 1 8 16,2 0 5-16,-1-1-35 0,0 1 43 0,0-1-36 0,0 0-15 0,-2 1 20 15,1-2 18-15,0 2 5 0,-5 0-4 16,1 0 4-16,-2 0 0 0,1 0-2 0,0 0 69 0,-1 0-13 15,-1-1 10-15,3 0-20 16,-3 2-8-16,0-2-5 16,0 0-3-16,0 0-20 0,0 1 16 0,-3 0-1 0,-3-1-18 0,-1 1-5 15,-1-1 11-15,-1 1-21 0,1-1-10 16,-1 0 33-16,-4-2 0 0,-9 3-31 0,-1 0 19 16,2-2-1-16,10 1 0 0,3-1-92 0,-1 0-10 15,1 0 21-15,0 1 17 16,-1-3 5-16,1 3 19 0,2-2 1 0,-2 1-14 15,-1-1 10-15,1 0-6 0,0 2 1 16,-1-3 2-16,1 3 11 0,-3-1-1 0,-8-1-7 16,4 2 7-16,7-2 1 0,-1 3 7 0,-10-4 0 0,6 3-8 0,5-1 9 15,-1 1 6-15,1-1-1 16,0 2 6-16,-1 0-6 16,1 0 4-16,0-2-12 0,-1 1 4 0,1 1 27 0,2 0-14 0,-2-2-12 15,2 2 17-15,0 0-9 0,0 2-6 0,4-4-2 16,-4 2-16-16,5 0 13 0,-2 2 0 15,2-4 13-15,2 2-3 0,-3 2-4 0,1-4 2 32,3 2-3-32,0 0 3 0,0 0-6 0,5-1 1 0,3 1 0 0,-1 0 20 0,3-1-18 0,1 0-2 15,1-1 4-15,1 1 9 0,0-1-3 16,3 2-26-16,-1 0 3 0,2-1 13 16,6 1-8-16,-10-1 18 15,5-1-6-15,5 2 1 0,-8-2-15 0,8 2 20 0,-5-5 2 0,5 5-15 0,-3-4 3 16,3 0 2-16,0 4 13 15,0-7-7-15,0 3 78 0,0-1-9 0,0 5-11 16,3-8-36-16,-3 2 31 0,0 2-40 0,0-2-11 16,0-2-18-16,3 3 0 0,-3-1-31 15,0-2-41-15,0 0-2 0,2 2-44 0,-2 0 6 16,0-1-22-16,0 2-35 0,2 0-23 0,-2 0-15 16,0 1-10-16,0-1-32 0,0 5-35 0,1-6-84 15,-1 2-149-15,0-2 33 0,0 5-512 16,0 1 85-16,0 0 135 0,-1-3 39 0,1 3 48 15,0 0 85-15</inkml:trace>
  <inkml:trace contextRef="#ctx0" brushRef="#br0" timeOffset="-168082.66">17328 11951 1159 0,'0'0'494'0,"-3"-4"-118"0,3 4-33 0,-2-4-12 0,2 4-47 0,0 0 0 0,0-5-13 15,0 5-41-15,5-4-27 0,-3 2-4 0,4-1-17 16,-6 3-18-16,7-3-21 0,-2 1-7 15,1 1-8-15,-2-1-26 0,4-1-12 16,-2 1-13-16,1 0-36 0,-2 0-23 0,0 1-29 16,3 0-50-16,-2 0-39 0,1-1-28 0,-2 2-54 15,-5 0-153-15,10-2-98 0,-5 2-493 16,1-2 112-16,-6 2 51 0,10-1 95 0,-5-1 95 16</inkml:trace>
  <inkml:trace contextRef="#ctx0" brushRef="#br0" timeOffset="-167911.33">17643 11793 1036 0,'0'0'420'0,"0"0"-41"0,5 7-3 16,-2-3-41-16,-3 1-35 0,2-1-13 16,-2 5-24-16,1-1-15 0,-1-2-22 0,0 1-37 15,0 1 1-15,0 2-45 0,0-2-37 0,-1 1-34 16,1 0-41-16,0-1-35 0,-2 2-59 0,2-1-44 15,0 1-90-15,0-3-168 16,0 3-503-16,0-1 58 0,3 1 91 0,-3-3 64 0,0 3 103 16</inkml:trace>
  <inkml:trace contextRef="#ctx0" brushRef="#br0" timeOffset="-166085.02">20521 11828 547 0,'0'0'243'0,"0"0"-7"15,0 0 48-15,0 0-2 0,0 0-34 16,-9-8-15-16,9 8 7 0,0 0-30 0,-3-3 8 16,3 3-21-16,-4-4-33 0,4 4-8 15,0 0-8-15,-3-2-17 0,3 2-95 0,-5-2 15 16,5 2-7-16,-3-3 7 0,3 3-5 15,-5-2-15-15,5 2 20 0,-5-4-10 0,5 4-5 16,-6-2 2-16,6 2 3 0,-7-1 0 0,7 1 2 16,-7-3-7-1,7 3-10-15,-8-1 20 0,3 1-15 0,5 0 17 0,-11 0-4 0,6 0-19 16,5 0 11-16,-10 0-3 0,10 0 6 0,-8-1-14 16,8 1 11-16,-10 1-10 0,5 0-3 15,0-1 89-15,0 2-14 0,5-2 4 16,-10 3-7-16,6-2-13 0,0 2-8 0,-2-1-13 15,2-1 14-15,1 3-11 0,-2-2-26 0,4 2 47 16,-3-1-16-16,0 2-21 0,0-1 1 16,1 0-3-16,1 0-5 0,-1 3 13 15,1-1-13-15,-1 1-90 0,3-1 21 0,-3 0 10 0,1 1-10 16,2-1 15-16,-2 4 5 0,2-2 8 16,-1-2 16-16,1 1-19 0,-1 0-2 0,0 0 8 31,1 0-1-31,0 1 1 0,1-2-8 0,-1 1 10 0,-1 0-3 0,2 2-9 0,-1-4 17 15,1 2 0-15,0 0-5 0,-1 0 3 0,2-2-11 16,-2 0 13-16,2 2-7 0,-2-2-6 0,3 2 21 16,-3-1 0-16,3-1-13 0,-3 0-2 0,2-1 15 15,-2 1-10-15,3 0 10 0,-1-1-13 16,1-1-8 0,1 1 41-16,-3-1-38 0,2 1 18 0,2-1-2 0,-3 0-14 0,4-1 9 15,-2 1-9-15,2-1 16 0,0 0-8 16,-2-2 3-16,1 2-18 0,2-1 5 0,-1 1 0 15,-6-2 15-15,12 0-7 0,-9 0 5 16,3 1 2-16,-6-1 8 0,12 0-10 0,-12 0-10 0,12-1 14 16,-8 1 14-16,1-2-28 0,2-1 22 15,-2 2-30-15,1-2 21 0,0 0-16 0,-2 0 5 16,1-1-3-16,0-1-2 0,0 1 8 0,0-1 0 16,0 0-34-16,0-1 29 15,-2-1 2-15,3 0-10 0,-4-2 28 0,0 1 0 16,1-1-18-16,-3-1 10 0,3 0 0 0,-3 1-9 0,0-2 6 15,0 2 4-15,0-2-24 16,0 2 29-16,-3-2-19 0,0 1 3 0,-1 0 5 16,1 0 1-16,-2-1-19 0,-3 4-7 15,3-1-13-15,-3 1-6 0,0-1 1 16,0 1-46-16,-2 2-24 0,3 0-25 0,0 1-13 0,0 1-56 16,-2 1-71-16,1 2-127 0,3 2-158 0,2-1-412 15,-4 1 123-15,5 2 103 0,-4-1 68 0,4 4 113 16</inkml:trace>
  <inkml:trace contextRef="#ctx0" brushRef="#br0" timeOffset="-164572.95">20188 12799 934 0,'0'0'363'0,"0"0"-33"0,0 0-27 0,0 0-122 15,0 0 16-15,-4 13-33 0,6-7-5 16,-4 0-23-16,4 0-6 0,0 2 6 0,-2 2-29 15,1-2-2-15,-1 1-18 0,0 0-2 0,0 1-14 16,3-1-14-16,-3 2 4 16,2-2-7-16,-2 1-8 0,0-1 23 0,0-1-28 15,0 1-10-15,0-1 5 0,0-1-13 0,0-1 7 16,2-1-2-16,-1 0-10 0,-1 0-2 16,0 0 4-16,0-2-7 0,0 2 2 0,0-5 3 15,0 6 3-15,0-3 4 0,0-3-7 0,0 4 0 16,0-4-2-16,0 0 4 0,0 0-7 15,0 4-8-15,0-4-2 0,0 0 2 0,0 0-8 16,0 0 3-16,0 0 3 0,0 0 9 0,5-13-4 16,-3 9 0-16,-1 0-6 0,-1 0 14 15,0-1-1-15,2-1-5 0,0-1-2 0,2-1 2 16,-2-1 8-16,0 3 8 0,1-2 10 16,0-1-6-16,1 1 1 0,-1 1-5 0,4-2 9 15,-4 3-1-15,3 0 12 0,-1 0 0 0,-1 2-3 16,-1 0-4-16,3 2 4 0,-2-2-22 15,-1 2 33-15,-3 2-8 0,8 0 12 0,-8 0-9 16,10 3-3-16,-5 0-13 0,0 1 21 16,-2 1-26-16,2 0-5 0,-3 0 6 0,4 1-9 15,-4 1-2-15,3-2-18 0,-2 2-13 0,-1 0 0 16,1-2-12-16,0 1-21 0,-1 1-26 16,1-1-7-16,-3-1-26 0,2 0-39 15,1-2-45-15,-1 2-98 16,0-1-53-16,-1-1-59 0,2-1-451 0,-1 1 84 0,-2-3 62 15,0 0 134-15,8 1 22 0</inkml:trace>
  <inkml:trace contextRef="#ctx0" brushRef="#br0" timeOffset="-164222.75">20420 12886 829 0,'0'0'381'0,"0"0"-35"0,0 0-39 0,0 0-5 15,2 17-33-15,-1-12-18 0,-1 0-6 16,2 0-30-16,0 1-30 0,1 0-14 0,2 0-4 0,0-1-29 16,2 2 3-16,-3-3-19 0,0 2 6 15,-1-2-23-15,3 2-2 0,-2-3 7 0,2 0-23 16,-2 0-3-16,0-2 14 0,3 0-78 16,-7-1 6-16,10 0 2 0,-4-2 3 0,-2-1-21 15,2 1 36-15,-1-2-8 0,-2 1 16 16,1-2-11-16,-1 0 14 0,0-1 12 0,-1-1-3 15,-2 2 11-15,0 0 72 0,0-2-24 0,-5 0-10 16,2 1 13-16,-1 0-36 16,2 0-33-16,-5 3 10 0,0-1-33 0,-1 1 5 0,1 0-15 15,-1 2-54-15,0 1-6 0,-2 1-12 0,2 2-41 16,1 2-56-16,-1 0-23 0,0 3-144 16,-5 1-197-16,6 2-448 0,4-1 47 15,-2 1 124-15,3-1 114 0,-1 1 40 0,3 1 39 16</inkml:trace>
  <inkml:trace contextRef="#ctx0" brushRef="#br0" timeOffset="-163018.89">20355 13234 1126 0,'-7'5'333'0,"4"2"-37"0,-4 2-9 16,2-3-33-16,2 4-16 0,-4 1-26 0,4-1-2 15,-2 2-21-15,3 1-17 0,-2 1-19 16,0-1-25-16,1-1-15 0,0 1 7 16,1 0-20-16,1-1-3 0,1-3-25 0,-2-1-8 0,2 0-10 15,0 0 2-15,2-3 6 16,-1-2-1-16,1 2-7 0,1-3-16 0,-3-2 6 0,0 0-14 15,13-5-7-15,-6-1 11 0,-2 0-14 16,1-2 3-16,1 0 3 16,1 0-8-16,-2-1 10 0,1 1 5 0,-2 2-12 0,0 1 22 15,-2-1-12-15,1 1 15 0,-1 2 18 0,0 0-10 16,1 1-18-16,-4 2 17 0,0 0-1 16,0 0-6-16,0 0-3 0,8 8-5 0,-7-3-22 15,-1 1 12-15,2-1-8 0,-2 1 16 0,3-1 0 16,0 1-26-16,-1 0 3 0,0 0 13 15,3-1-16-15,-4 0 5 0,1-1-12 0,1 0 17 16,-1 0-14-16,1-2-4 0,-1 0 13 16,-2-2-22-16,3 2 30 0,-3-2-28 0,0 0 20 15,0 0-7-15,0 0-1 0,0 0-1 16,0 0-9-16,3-10 6 0,-3 7 7 0,0-2-13 16,-3 0 1-16,3 1 20 0,0-1-31 15,0 0 10-15,3-1-12 0,-3 2-8 0,2 0 23 16,0-1-8-16,-1 2 0 0,4 0 3 15,-5 3-2-15,5-4 2 0,-5 4 12 0,8 0-14 16,-1 0-1-16,-7 0 21 0,11 5-18 16,-3-2 10-16,-2 2-3 0,0 0 1 0,-1 2 2 15,5-2 3-15,-4 3-19 0,2 0 16 0,-1 0 13 16,-2-2-5-16,-2 0 10 0,4 1-20 16,-4-1 12-16,3 0 18 0,-4-1-15 0,3 1 3 15,-2-2 2-15,-1 0 18 0,0 0 7 16,1-1-1-16,-3 0 78 0,0-3-35 0,5 2 20 15,-5-2-36-15,0 0 3 0,0 0 2 16,0 0-18-16,4-9-25 0,-3 4 15 0,0 0-22 0,1 0-12 16,0-2 22-16,1 3-14 0,-3-3 1 15,5 2 12-15,-2-1-17 0,2 2-11 16,-2-1 13-16,1 2-20 0,0-1-1 0,0 3 14 0,1-2-9 16,-2 2-14-16,-3 1 7 0,10-1 10 15,-10 1-20-15,12 4 15 0,-6-1 13 16,-1 2-31-16,1 0 31 0,-2 0-5 0,-1 1-8 15,2 0 15-15,0 0-7 0,-2 1-5 16,2-2 12-16,-5 2 16 0,5-3-31 0,-5 0 34 16,3 0-24-16,-1 0 13 15,1 0 8-15,-3-4-18 0,2 3 20 0,-2-3-84 16,0 0 8-16,0 0 4 0,0 0 6 0,5-8 5 0,-5 8-7 16,0-11 9-16,3 4 3 0,-1-2 0 0,-1 0-12 15,1 0 4-15,4-1 3 0,-4 1 0 0,0 0 2 16,1 0-20-16,2 1-28 15,-2 0 21-15,-1 1-39 0,5 1-23 0,-6 0-16 16,4 4-33-16,-2-3-7 0,2 2-31 0,-2 1-44 16,1 1-30-16,-4 1-100 15,8 0-87-15,-8 0-471 0,8 0 86 0,-4 2 58 16,-4-2 88-16,6 3 47 0</inkml:trace>
  <inkml:trace contextRef="#ctx0" brushRef="#br0" timeOffset="-162029.98">20847 13427 1059 0,'0'0'394'0,"0"0"-127"0,0-15-9 0,0 12-4 15,1-1-27-15,-1 4 4 0,0-7-26 0,-1 4 2 16,1 3 87-16,0-5-48 0,0 5-21 0,-2-4 3 15,2 4-44-15,0 0 3 0,0 0-8 16,0 0-25-16,0 0-18 0,-12 8 25 0,9-4-31 16,3 0 1-16,-3 3-1 0,1-1-9 0,0 2-1 15,0-2-15-15,1 3-21 16,-2-1 24-16,1-1-8 0,2-1-39 0,2 2 11 0,-2 1-13 16,3-2-18-16,-1 0 7 0,-1-2-17 15,1 0-3-15,3-1-17 0,-2 0-19 0,1-2 18 16,-1 0-41-16,-3-2-17 0,13-2 9 15,-8 0-22-15,1-2-6 0,1-1-9 0,0-2-9 16,-1-1-10-16,-1-2 21 0,3-3-23 0,0 0 5 16,-1-3 28-16,-2-1-34 0,3-1 4 15,-3-5 22-15,0-1 3 0,0 0 5 0,-2-2 8 16,2 1-8-16,-2 5 23 0,0 2 51 16,-1 2 0-16,0 1 0 0,1 4 37 15,-3 1-22-15,0 1 8 0,2 4-4 0,-2-1 17 16,-2 2-8-16,2 4 0 0,0 0 14 0,0 0-11 0,0 0 15 15,0 0 16-15,-5 15-1 0,4-6-12 16,1 2 26-16,-2 2-29 0,2 2 13 16,-2 3 3-16,2 1-8 0,-3 0-31 0,3 2 26 15,0-1-16-15,0-1 3 0,-1 0 8 0,2 0-39 16,-1-2-12-16,0-2 12 0,0 0-22 16,0-1-14-16,3-3-17 15,-1 0-16-15,-1-2-15 0,0-1 8 0,0-2-42 0,1-1-12 0,1-3 5 16,0-1-21-16,-3-1-2 0,7 0 13 15,-7 0-3-15,9-5 3 0,-5 2 20 0,1-3 3 16,-2 0 28-16,2-2-3 0,0 1 5 0,0 0 29 16,1-1 33-1,-4 1 43-15,3 3-2 0,-2-2 38 0,-1 2-5 0,0-1-2 0,1 3 25 16,-3-1-7-16,0 3 9 0,0 0 1 0,0 0-13 16,0 0-5-16,0 0 7 0,0 0 13 15,0 0-25-15,0 0 20 0,-5 16-12 16,5-11-22-16,-2 2 6 0,2-2-12 0,-1 2 12 15,0-1-8-15,1 0-23 16,0 0 11-16,0-2-26 0,1 1 5 0,0-1 2 0,-1-4-20 0,4 4-2 16,-1-1 0-16,-3-3 9 0,0 0-9 15,10-6-13-15,-2 1-13 16,-2-1 5-16,-2-2 7 0,4-2-6 0,0 0 6 0,0-3 1 16,-1 0 0-16,3 0 18 0,-4-1-26 15,2 0-3-15,0-1 29 0,-2 0-18 0,-3 3-3 16,4 0 26-16,-4 0 12 0,2 1-7 0,-2 1 3 15,0 1 12-15,0 2-5 0,-1-1 16 16,0 3-21-16,-2-1 25 0,3 4 9 0,-3 2-37 16,0 0 11-16,0 0 10 0,0 0 0 0,0 0-6 15,0 16 12-15,-3-7-9 0,3 0-12 0,-2 2-6 16,2 2 13 0,0 2 3-16,0-1-21 0,0 1-12 0,-1 1 5 15,0 2-26-15,1-2-33 0,0-1-13 0,-1 0-18 0,2-2 10 16,-1 0-48-16,0-2-1 0,0-2-30 15,0 0-5-15,0 0-26 0,0-3-89 0,1-1-141 0,-5 0-123 16,6-3-443-16,-2-2 149 0,0 0 15 16,0 0 125-16,0 0 62 0,0 0 113 0</inkml:trace>
  <inkml:trace contextRef="#ctx0" brushRef="#br0" timeOffset="-161769.21">21148 13419 765 0,'0'0'304'0,"0"-5"-25"16,0 5-33-16,3-6-13 0,-1 3 51 0,1-1-20 0,-1 1-29 16,1 0-20-16,0 0-15 0,-3 3-11 15,7-5-17-15,-4 4-3 0,1-1-3 0,-4 2-12 16,6 0 7-16,-6 0-12 0,0 0-11 16,13 2 5-16,-11-1-69 0,3 3-22 0,-2-1-1 15,-1 0-3-15,3 1-4 0,-2 0-3 16,1 2 0-16,-2-2 2 0,0 0-22 0,0 1-37 15,1 0 11-15,-3-1-5 0,0 0-36 16,0 0-21-16,3-1-27 0,-3-3-60 0,2 4-92 16,-2-4-104-16,0 0-44 0,0 0-449 15,0 0 91-15,8-10 45 0,-4 4 124 0,-3 1 32 0</inkml:trace>
  <inkml:trace contextRef="#ctx0" brushRef="#br0" timeOffset="-161637.29">21284 13364 816 0,'2'-4'374'0,"0"1"-11"0,-2 3-7 0,0-5-87 0,0 2 5 0,0 3-47 0,1-4-11 0,-1 4-14 15,0 0-15-15,0-5-36 0,0 5-8 0,0-4-46 16,0 4-48-16,0 0-31 0,0 0-85 0,0-5-148 16,0 5-261-16,0 0-353 0,0 0 130 0,5-4 90 15,-5 4 48-15</inkml:trace>
  <inkml:trace contextRef="#ctx0" brushRef="#br0" timeOffset="-160693.64">23481 11796 1192 0,'0'0'371'0,"0"0"-33"0,-5 13-46 15,3-5 3-15,4 0-34 0,-4 3-28 16,2 1-31-16,0-2-15 0,2 3-21 0,-4 0-35 16,2 0-27-16,2-3-45 0,-2 4-30 15,0-3-73-15,0 0-107 0,0-1-108 0,-2-1-232 0,2 1-303 16,0-2 147-16,0-2-29 0,0-1 72 15</inkml:trace>
  <inkml:trace contextRef="#ctx0" brushRef="#br0" timeOffset="-160535.24">23473 11899 583 0,'3'-1'97'15,"-1"-3"-25"-15,-2 4-105 0,6-3-146 0,-6 3-349 16</inkml:trace>
  <inkml:trace contextRef="#ctx0" brushRef="#br0" timeOffset="-159701.77">21606 12761 819 0,'-17'2'363'0,"4"-2"-22"0,1 0-11 16,2 0-23-16,-1 2-18 0,3-1-28 15,3-1-10-15,-2 0-87 0,7 0-26 0,-9 1 11 0,9-1-29 16,-8-1-13-16,8 1-14 0,-9 0-6 15,9 0 2-15,0 0-4 0,0 0-14 16,0 0 16-16,0 0-15 0,23-4 5 0,-10 1-3 16,5 0-10-16,4 1-18 0,7-2 31 0,14 0-21 15,1-1 8-15,7 0-10 0,-2-1-11 16,1 1-4-16,0 0 81 16,1 0-46-16,3 1 13 0,0-3-5 0,0 0 5 0,0 2-25 0,2-3 27 15,-4 3-27-15,-3 0-21 0,-1-1 10 16,-5-1-18-16,-7 4-10 0,-8-2 23 0,0 1-12 15,-7 1-9-15,2-1 3 0,-7 3-2 0,2-1-6 16,-3-1 11-16,0 1-28 16,-4-1 12-16,-1 3 21 0,0-1-18 0,-2-1-23 15,2 0 33-15,-5 0-5 0,3 1 2 0,-2 0 19 16,-2 0-16-16,1-1-10 0,-5 2 38 0,0 0-20 0,5-2-10 16,-5 2 15-16,0 0 5 15,3-4-21-15,-3 4 9 0,0 0-9 16,3-2-17-16,-3 2 15 0,0 0 3 0,0 0-26 0,0 0 23 15,0 0-23-15,0 0-23 0,0 0 33 16,0 0-23-16,0 0 5 0,0 0 11 0,0 0-24 16,0 0 1-16,0 0 23 0,0 0-19 0,0 0-15 15,0 0-2-15,0 0-23 0,0 0 2 16,0 0 13-16,0 0-41 0,0 0-10 16,0 0-5-16,0 0-18 0,0 0-8 0,0 0-18 0,0 0-54 15,0 0-84-15,0 0-51 0,0 0-125 0,0 0-206 16,0 0-178-16,0 0 127 15,0 0 1-15,0-6 112 0,0 6 48 0</inkml:trace>
  <inkml:trace contextRef="#ctx0" brushRef="#br0" timeOffset="-158908.56">22556 12472 860 0,'-11'0'317'0,"6"1"-23"0,5-1-10 0,-9-1-17 15,9 1-37-15,0 0-5 0,-8 1 49 0,8-1-3 16,0 0-38-16,-4 4-25 0,4-4-16 16,0 0-13-16,12 4-13 0,-8 1-20 0,1-3-15 15,3 1 7-15,0 1-31 0,2-1-4 0,0 1 12 16,3 1-36-16,-3-1 16 0,4 0-18 0,-4-1-3 15,2 1 11-15,1-2-37 0,0 3-91 16,0-2 25-16,-1-1-15 0,1 0 20 16,-3 0-10-16,0 0 2 0,2 0-10 0,-3-2 8 0,-1 2 8 15,2 0 0-15,-2-1 7 16,0 0-12-16,-2 1 14 0,0-1-4 0,0 0-13 0,-6-1 21 16,7 2-16-16,-2-1 2 0,-5-1 11 15,5 4 8-15,-5-4 10 0,6 2-13 16,-6-2 0-16,2 3 0 0,-2-3 25 15,2 3-20-15,1 1-15 0,-3-4 15 0,0 4-10 0,0 1 10 16,-3 0 5-16,1 0 19 16,0-2-29-16,2 3 2 0,-3-1 11 0,-2 2-8 15,4-1 23-15,-3 1-2 0,1 0-16 0,-2 1 3 0,0 0 15 16,2 0-23-16,-2-1 0 0,0 4 34 16,1-2-16-16,-2 1 5 15,1-1-5-15,-1 1-5 0,-1-1 10 0,4-2-8 16,-2 1-7-16,0 0 5 0,1-2 23 0,-2 1-38 0,3 0 17 15,-2-2 21-15,2 1-31 0,1-1 11 16,-3 0 12-16,4-2-7 0,-3 1-6 0,1-1-2 16,3 1 10-16,-3-2-2 0,3-2-8 0,-4 5 18 15,4-5-8-15,-3 4 2 16,3-4 1-16,-3 3 8 0,3-3 9 0,-2 3-25 16,2-3 16-16,0 0-11 0,-3 3-10 0,3-3 5 0,0 0 2 15,-1 3-2-15,1-3 0 0,0 0 6 16,-4 3 9-16,4-3 3 0,0 0-15 15,-2 3 7-15,2-3 61 0,0 0 4 16,0 0-6-16,0 0-20 0,-3 2-3 0,3-2 7 0,0 0-29 16,0 0 17-16,0 0 0 0,0 0-11 15,0 0-9-15,-3 4 7 0,3-4-2 0,0 0-14 16,0 0 9-16,0 0-6 0,0 0-15 0,0 0-2 16,0 0 2-16,0 0 5 0,0 0-7 0,0 0-21 15,0 0-36-15,0 0-18 0,0 0-30 16,0 0-11-16,0 0-36 0,0 0-17 0,0 0-39 15,0 0-56-15,0 0-116 0,0 0-173 0,13-10-492 16,-5 6 74-16,2 0 139 0,3-1 41 16,2 0 48-16,5 0 90 0</inkml:trace>
  <inkml:trace contextRef="#ctx0" brushRef="#br0" timeOffset="-157784.23">22602 13063 934 0,'-3'5'322'0,"2"0"-27"0,-3 1-9 15,2 1-30-15,-1 1-76 0,2-1-32 16,-1 3-5-16,0-1-10 0,-1 2-28 0,0 0 21 15,1 1-11-15,0 0-25 0,2-2 7 16,0 0-28-16,-1 1-3 0,0-3 6 0,1 2-16 16,1-2-9-16,-1-2 27 0,-1 1-13 15,2-1-4-15,-1-1-1 0,0-1 13 0,1 0-31 16,-1 0 6-16,0-4 12 0,0 0-2 16,0 0 2-16,0 0-20 0,0 0 20 0,12-7-33 15,-9 2 3-15,2-2 74 0,0 1 0 16,3-3-18-16,0 1 2 0,-1-1-12 0,1 1 12 15,-3 3 11-15,0 0-26 0,2-1 5 0,-4 2 8 16,3 1 3-16,-1 2-3 0,0 1-6 16,-5 0-76-16,8 4 8 0,-2-2-5 15,-2 2 9-15,-2 2-12 0,1 0 3 0,2 1 2 16,0 0 5-16,-2 0-5 0,1 2 6 0,-1-3-6 16,2 2-3-16,-4-1 3 0,3-1-7 0,0 1-29 15,-2 0-33-15,0-2-15 0,-2 0-1 16,3-1-1-16,-1 1-40 0,-2-2-48 0,0-3-102 15,1 5-116-15,1-3-544 0,-2-2 124 16,0 0 75-16,0 0 90 0,0 0 69 0</inkml:trace>
  <inkml:trace contextRef="#ctx0" brushRef="#br0" timeOffset="-157588.39">22794 13191 1146 0,'0'5'366'0,"0"1"-28"16,4 0-28-16,-3 2-36 0,2 0-31 0,-1 0 0 16,1 1-28-16,-1 1-33 0,1-2 15 15,-1-1-26-15,1 1-55 0,-3 0-17 0,2-1-29 16,1 0-70-16,-2-2-46 0,1 1-100 0,-2-4-172 16,2 1-519-16,-2 1 90 0,0-4 56 15,3 4 102-15,-3-4 49 0</inkml:trace>
  <inkml:trace contextRef="#ctx0" brushRef="#br0" timeOffset="-157432.55">22827 13157 711 0,'0'0'315'0,"-4"-4"-46"0,4 1-13 0,0 3-29 0,0 0-47 0,0 0-9 15,0 0-43-15,0 0-46 0,0 0-36 16,0 0-69-16,0 0-95 0,0 0-38 0,4 11-49 15,0-9-158-15,0 0-259 0,1 0 28 16</inkml:trace>
  <inkml:trace contextRef="#ctx0" brushRef="#br0" timeOffset="-157160.25">22894 13169 895 0,'0'0'282'0,"0"0"-16"0,0 0-7 15,0 0 43-15,0 0-8 0,0 0-30 0,0 0-11 16,0 0-25-16,-6 13-8 0,8-8-15 15,0 2-13-15,0 1-13 0,2 0-10 0,-3 3 8 16,6 2-19-16,-4-1 9 0,3 3-19 0,-2 1-7 16,1-2 7-16,-2 1 1 0,1 2-11 0,-2-3-92 15,-2 2 5-15,0-2-5 16,-1 3 6-16,0-2-1 0,0 0-8 0,-2 0 1 0,0-2-13 16,-4 2-3-16,3-2 0 15,-2-2-23-15,1 0-31 0,1 0 16 0,-2-4-69 0,0 0-31 16,4-1-26-16,-1-3-46 0,-2 0-15 15,2-3-95-15,3 0-84 0,0 0-49 16,-8 0-478-16,8 0 153 0,0 0 12 0,-2-8 173 16,2 4-1-16</inkml:trace>
  <inkml:trace contextRef="#ctx0" brushRef="#br0" timeOffset="-156663.75">23058 13047 1656 0,'0'0'471'0,"-1"16"-34"0,1-11-14 16,0 4-137-16,0 0-37 0,0-1-16 0,0 1-16 15,0 0-20-15,0 1-20 0,0-1-16 0,0 0-18 16,0 0-7-16,0-1-10 0,1-1-16 16,-1-1 0-16,3-2 5 0,-1 2-31 15,-1-3 3-15,1-1 8 0,-2-2 66 0,7 1-17 0,-7-1 2 16,8-1-24-16,-1-1-29 0,-1 1 24 16,-1-1-27-16,1 2-16 0,-2-3 6 0,2 2-22 15,1 1-6-15,-7 0-1 0,11 0-36 16,-5 1-40-16,-2 2-34 0,1-3-26 0,4 3-38 15,-2 0-48-15,2 0-75 0,-1-2-286 16,2 1-502-16,1 0 107 16,1-1 92-16,-1 0 78 15,4-3 76-15,2 1 28 0</inkml:trace>
  <inkml:trace contextRef="#ctx0" brushRef="#br0" timeOffset="-156341.14">23753 12917 1113 0,'0'0'422'0,"0"0"75"0,-3 15-75 16,3-9-30-16,3 2-44 0,-1-1-23 0,0 2-31 0,-1 2-4 15,2 0-52-15,1 3-23 16,-1-1-5-16,2-1-31 0,-4 1-36 0,3 0-30 0,0 2-54 16,-2-2-52-16,0 1-14 0,-2 0-39 15,4-3-54-15,-4 0-77 0,1-1-140 0,-1-1-507 16,0-1-39-16,-1 1 59 0,-1-3 149 0,0-1 56 16,0-2 46-16</inkml:trace>
  <inkml:trace contextRef="#ctx0" brushRef="#br0" timeOffset="-156173.71">23692 13115 1136 0,'-6'-4'476'0,"6"4"-74"16,0 0-10-16,-2-2-14 0,2 2-19 0,0 0-26 16,0 0-44-16,0 0-13 0,0 0-38 0,15 0-28 15,-15 0-5-15,10 0-46 0,-3 0-24 16,0-1-35-16,1 0-56 0,-2-1-57 15,2 2-15-15,0-2-72 0,0 0-113 0,-1 0-168 16,1-1-551-16,2-1 108 0,-2 0 87 0,0 0 23 16,-1 0 28-16</inkml:trace>
  <inkml:trace contextRef="#ctx0" brushRef="#br0" timeOffset="-155737.39">23925 12968 1028 0,'0'0'379'0,"0"0"-10"0,0 0-21 0,0 0-25 15,0 0-32-15,0 0-14 0,0 0-11 16,-1 14 44-16,2-9-16 0,-1 0-25 0,2 1-29 0,2-2-30 16,-2 3-7-16,0-1-11 0,3 0-3 15,-2-1-41-15,1 1-7 16,-1-2 5-16,4 1-41 0,-6-1 0 0,4 0 20 0,-3 0-35 16,1-3-11-16,-3-1-2 15,8 2-23-15,-8-2 10 0,8-1-3 0,-8 1-7 0,8-5-23 16,-2 2 23-16,-2 0-31 0,3-1-16 0,0 0 14 15,-4 0 2-15,3-1-8 0,-1 2-12 0,-2 1 20 16,3 0-23-16,-2-1 23 0,0 1-3 16,-1 0-22-16,4 0 9 0,-7 2-4 15,7-4-82-15,-3 2 7 0,2-1 39 0,-2 1-16 0,0 0 6 16,0 0-4-16,-4 2-1 0,6-5 20 16,-2 4 7-16,-4 1 3 0,3-3 0 15,-3 3 3-15,0 0 12 0,0 0 24 0,8 4-19 16,-8-4 14-16,5 7-9 0,-3-4 6 15,0 1-2-15,-1 0 14 0,5 1-2 0,-2-2-38 16,0 3 7-16,0-3-12 0,1-1-16 16,2 0-18-16,1-2-51 0,0 0-10 0,0 0-21 15,-1-3-33-15,3 2-43 0,0-3-57 0,-2 1-123 16,-5 0-68 0,5 1-441-16,0 1 46 0,-1-1 128 0,-7 2 25 0,8 1 40 0</inkml:trace>
  <inkml:trace contextRef="#ctx0" brushRef="#br0" timeOffset="-154544.49">23537 13518 622 0,'-4'-3'255'0,"4"3"-1"0,-6-1-19 0,6 1 57 0,0 0-18 16,0 0-13-16,-10 3-25 0,7 1-11 0,1 0-15 15,-3 0-23 1,2 3-11-16,1 2-12 0,-1 1-3 0,-2 0-30 0,3 2-3 16,1 0-3-16,0-2-84 0,-1 0-7 0,4 3-1 15,-2-3 3-15,2-1 7 0,0 0-25 16,3 1-5-16,0-2 2 0,-2-1 6 0,4 0-8 16,-4-3 17-16,5 1-14 0,-1-1-19 15,0-3-2-15,-1 0-23 0,-1-1 2 0,3-1-33 16,0 0-10-16,2-2-15 0,-2 1-31 0,0-1-106 15,-1 2-14-15,-1-3-52 16,1 3-504-16,-2-1 126 0,0 0-29 0,-2 0 118 0</inkml:trace>
  <inkml:trace contextRef="#ctx0" brushRef="#br0" timeOffset="-154103.49">23698 13577 1036 0,'0'0'300'16,"0"0"-42"-16,0 0-25 0,8 7-28 15,-5-4-16-15,0 0-12 0,1-1-16 0,-1 2-17 16,2-2-29-16,-2 2 8 0,2-2-16 16,-2 0-17-16,2 1-19 0,-5-3 32 0,5 2-26 15,-5-2-11-15,5 0-4 0,-5 0-6 0,0 0 0 16,0 0-17-16,8-7 19 0,-8 5-17 15,0-2-15-15,0-1 5 0,0 5-8 0,0-8 7 16,3 5-1-16,-3-1 1 0,0 0-17 16,3-1-10-16,-1 1 2 0,0 0 5 15,3 3-7-15,-2-2 12 0,3 1-13 0,-6 2 6 16,9 0 2-16,-9 0 16 0,8 0-6 0,-2 2 11 0,-2 0 5 16,3 0-3-1,-4 2 3-15,1-2 26 0,-2 1-27 0,3 0 6 0,-3-1-5 16,1 2 74-16,-3-4 16 0,5 3-34 0,-2-1 3 0,-3-2 27 15,0 0-4-15,4 1-8 16,-4-1-36-16,0 0-4 0,6-5 19 0,-4 2-38 16,0-3-7-16,2 0-24 0,0-2 6 0,-1-2-18 15,3-1-47 1,1-1 9-16,2-3-29 0,0-3-51 0,6 0-47 0,4-5-114 0,1-2-149 16,1 2-527-16,-1 7 128 0,-5-1 21 15,1 4 91-15,-1 2 65 0</inkml:trace>
  <inkml:trace contextRef="#ctx0" brushRef="#br0" timeOffset="-153027.33">18813 12648 1131 0,'-17'-3'432'0,"-3"2"-45"0,2-1-16 0,-3 2-30 0,-3-2-24 15,-7 3-30-15,-3-3-19 0,-1 2 55 0,-20 1-36 16,4 3-11-16,-2-1-112 0,-2 0-8 0,7 2-13 16,0-2 11-16,3 1-31 15,2 2-3-15,7-3-7 0,10 0-13 0,1 0 7 16,2-1-43-16,2-1 31 15,5 0-24-15,-1-1 6 0,3 2-31 0,0-1 18 0,3-1-10 0,-2 1-10 16,3-2-6-16,0 0-5 0,1 1 26 16,-3 0-20-16,2-1 7 0,3 0-11 0,-4 0 9 15,1 0-16-15,3 1-2 0,-1-4 4 0,-2 4-12 16,2-1-13-16,0 1 16 0,3-1-18 16,5 1 9-16,-13-1-1 0,6 0 6 0,7 1-4 15,-11 0 3-15,11 0-27 0,-10 1-17 0,10-1-31 16,-8-1-15-16,8 1-13 0,-8 0-36 0,8 0-20 15,0 0-11-15,0 0-30 0,-5 1-16 16,5-1-27-16,0 0-42 0,0 0-82 0,0 0-20 16,0 0-105-16,0 0-394 0,0 0 102 0,15-4 48 15,-15 4 55 1,11-3 89-16</inkml:trace>
  <inkml:trace contextRef="#ctx0" brushRef="#br0" timeOffset="-152712.56">17992 12562 1162 0,'0'0'478'0,"-13"1"-61"0,5 0-35 0,-2 1-14 15,0-1-30-15,-3 4-38 0,0 0-95 16,1 1-19-16,-4 1-17 16,-2 1 23-16,3 0-43 0,-6 3-6 0,1 2-20 0,0-1 5 0,-1 1 108 15,0 1-47-15,6 0 11 0,-3-1-11 16,10 0-35-16,-5 1-21 0,9-3 13 0,-2-1-18 15,3 2-8-15,1-2 8 0,4 0-36 0,-1 0 0 16,3-1-33-16,2 1-5 0,4-3-26 16,-2 2-28-16,5-1-13 0,2-1-10 0,-2-2-31 15,2 0-15-15,1 0-10 16,-1-1-36-16,0-3-8 0,1 4-31 0,-3-2-7 0,1 0-80 16,-3-1-114-16,-3 0-198 0,4 0-415 0,-1 1 90 0,-1-2 49 15,-2 2 158-15,2-1 44 16,0 1 56-16</inkml:trace>
  <inkml:trace contextRef="#ctx0" brushRef="#br0" timeOffset="-151738.34">17174 13166 1174 0,'0'0'333'0,"-5"-4"-5"15,5 4-47-15,0 0-7 0,-8 8 54 16,8-4-36-16,0 2-21 0,0 3-30 0,0-1-3 16,0 3-34-16,0 2-24 0,3 0-9 0,-3 1-25 15,2 0-15-15,0 2-6 0,-1-1-17 16,-1 1-21-16,0-2 2 0,3 2-33 0,-1-2-2 15,0 0-18-15,0-2-23 0,-1 0-16 16,4-2 1-16,-5-1-11 0,3-2 10 16,-3 0-7-16,2-2-23 0,1-2 12 0,-3 0 9 15,0-3-4-15,0 0 1 0,0 0 2 0,0 0 18 0,7-8-13 16,-3 3-4-16,-2-2 27 0,0-1-25 16,1 0 5-16,0 1 10 0,-1-1 5 15,3 1 0-15,-2-1 1 0,-1 1 9 0,1 1 6 16,2 3-8-16,-2 0 28 0,2 0 0 15,-1 1-10-15,-4 2 4 0,0 0-9 0,11 5-8 0,-6-1-2 16,2 0-1-16,-3 2 1 0,3-2-16 16,-2 2-13-16,0-1-35 0,1 2-9 15,1-3-24-15,-2 1-34 0,1-1-57 0,1 2-43 16,-4-3-53-16,2-1-132 0,-3-1-124 16,6-1-321-16,-8 0 65 0,10-2 101 0,-2-1 22 15,-3-2 68-15</inkml:trace>
  <inkml:trace contextRef="#ctx0" brushRef="#br0" timeOffset="-151538.31">17433 13260 1049 0,'0'0'320'0,"0"0"2"0,0 0-7 0,0 0-43 0,0 0-11 15,0 0-16-15,0 0-45 0,0 0 5 16,0 17-18-16,0-12-16 0,0 3-20 0,0 0-15 16,-3 0-36-16,6 0-3 0,-3 1-25 0,2-1-24 15,-2 1-25-15,1-2-28 16,-1 1-41-16,2-1-49 0,1 0-89 0,-3-1-100 15,2-2-64-15,0 1-458 0,-1-3 56 0,-1-2 122 0,5 2-1 16</inkml:trace>
  <inkml:trace contextRef="#ctx0" brushRef="#br0" timeOffset="-151196.15">17548 13195 957 0,'0'0'422'0,"0"0"-46"0,0 0-40 16,0 0-14-16,-2 14-7 0,2-8-51 0,0 0 17 15,0-1-45-15,0 1-34 0,0 3-13 0,0-1-2 16,0 2-33-16,0-1-26 16,0 1-10-16,-1 1-11 0,-1 2-10 0,2-1 6 0,0 0-26 15,-2-1-11-15,-1 4 1 16,3-3 9-16,-2 0-29 16,-1-1-19-16,0-1 15 0,3-2-30 0,-2-1-23 0,2 0-39 0,-1-3-23 15,1 0-40-15,0-4-21 0,0 0-67 0,0 0-64 0,0 0-125 16,0 0-468-16,8-11 94 0,-7 6 13 15,4-3 131-15,-3 3 40 16</inkml:trace>
  <inkml:trace contextRef="#ctx0" brushRef="#br0" timeOffset="-150458.46">17558 13202 788 0,'0'0'251'0,"0"0"-18"0,0 0 5 0,0 0-34 16,-5 6-81-16,5-6-5 0,-2 2-8 16,2-2-5-16,0 0-8 0,0 0-15 0,-3 4-7 15,3-4 17-15,0 0-16 0,0 0 27 0,0 5 4 16,0-5-4-16,3 4-21 0,-3 0 7 15,0-4 3-15,2 9-2 0,-1-5 10 16,-1 1-18-16,2 1-8 0,-2 0-10 0,2 1-5 0,1 0 18 16,-3 1-26-16,3-2-3 0,-1 2 9 15,-2-1-19-15,2 0-10 0,-1 1-7 16,2-1 2-16,-3 1-10 0,-3 1-21 16,3-1-46-16,-3 0-41 0,3 2-33 0,-2-1-135 0,-6-1-101 15,8 1-388-15,0-2 20 0,0-2 105 16,-2 1 33-16</inkml:trace>
  <inkml:trace contextRef="#ctx0" brushRef="#br0" timeOffset="-150101.02">17697 13069 1259 0,'-5'13'443'0,"0"-9"-62"0,4 2-35 0,-1 1-21 0,0 1-28 0,-1-1-49 0,0 0-20 16,1 1-11-16,2 1-99 0,-2-1-16 0,2-1-20 15,0-1 11-15,0 2-24 16,-3-1 13-16,3-1-26 0,3 3-2 0,-1-3-6 15,-2-1-2-15,2 1-10 0,1 0-3 0,-3 0 1 16,5 0-9-16,-2-1 6 0,2 2-11 0,0-1 11 16,1 0 5-16,-2 1-3 0,2-1-28 15,1-1 11-15,-2 1-24 0,0-1-10 0,3-1-30 16,-3 0 1-16,0 2-22 0,0-1-30 0,-2 0-29 16,2 0-103-16,-2 0-104 15,1-2 17-15,-3 5-496 0,2 0 41 0,-1-2 82 0,-2 2 51 16</inkml:trace>
  <inkml:trace contextRef="#ctx0" brushRef="#br0" timeOffset="-149639.95">17066 13857 1159 0,'0'0'402'0,"0"0"-28"0,0 0-26 0,0 0-33 0,0 0-39 15,13-6-30-15,-8 4-44 16,0 1-20-16,1-2-29 0,-2 0-38 0,2 2-40 0,2-2-29 16,-1-1-82-16,-2 1-92 0,3-1-54 15,0-2-97-15,-1 0-61 0,1-2-395 16,0 1 11-16,2 1 97 0,-2-2 40 0</inkml:trace>
  <inkml:trace contextRef="#ctx0" brushRef="#br0" timeOffset="-149253.78">17274 13728 742 0,'0'0'363'15,"0"0"-20"-15,8 7 0 0,-6-2-100 16,0-2-22-16,-1 3-14 0,1-1-10 0,1 2-5 16,0-1-28-16,-1 0-3 0,3 1-23 0,-2-1-5 15,2 1-23-15,-2-1-20 0,1-1 12 16,-1 0-12-16,2-1-5 0,-2 0-9 0,2-2 4 16,-2 0-29-16,2 0-8 0,-5-2 6 0,7 0 2 15,-7 0-10-15,10-2-18 0,-4-1 5 16,-1 1 11-16,0-2-3 0,0 0-26 0,0-1-5 15,0 1 69-15,1-2-5 0,1 0-33 0,-2 2 0 16,1-3-8-16,-2 2 16 0,4-3-26 0,-3 2-13 16,0-2 5-16,1 1 13 15,-2 0-18-15,-1 1 13 0,2 1-5 0,-2-1 2 16,2 2-5-16,-5 0 26 0,5 0 15 0,-3 3-10 16,-2 1 0-16,4-4 16 0,-4 4-29 0,0 0 8 15,0 0 2-15,0 0-2 0,7 6 2 16,-7-6-2-16,3 4-21 0,-1 0 21 0,0-1-15 15,-2-3 4-15,3 7-22 0,-3-4 7 0,0-3-30 16,6 3-16-16,-4-1 8 16,-2-2-62-16,5 4-28 0,-5-4-25 0,5 1-52 0,-5-1-40 15,6 1-111-15,-4-1-237 16,-2 0-275-16,0 0 116 0,10 0 25 0,-10 0 72 0,5 1 80 16</inkml:trace>
  <inkml:trace contextRef="#ctx0" brushRef="#br1" timeOffset="-144213.89">18999 12106 1167 0,'0'0'340'0,"0"0"1"16,0 0-50-16,0 0-17 0,3 10-15 0,-3-10-24 0,0 11-22 15,0-3-21-15,0 1-16 16,0 1-14-16,2 4 1 0,-2-1-32 0,1 4-16 15,-1-1 3-15,2 4-16 0,-2 0-10 16,0-1 1-16,-2 1-27 0,2-1-22 0,2-2 32 16,-2-1-40-16,0 0-2 0,-2-2 9 0,2 1 24 15,0-2-34-15,0-2-2 0,0-1-6 0,0 0 1 16,0-1-11-16,0-3-5 0,0-1-22 16,0-1 22-16,0-1-15 15,0-3 20-15,0 0-20 0,0 0 10 0,0 0-2 0,0 0 9 0,2-15-19 16,-2 5 7-16,0-2-5 0,0-3 2 0,2-6 3 15,-2 1 21-15,0-3-11 0,3-1-20 16,-2 2 20-16,-1-2 10 0,0 5-12 16,2-1 2-1,-2 3 16-15,0 3-11 0,2-1 24 0,-2 2-22 0,3 1 1 0,-3 2 8 16,0 2-16-16,0 0-5 0,0 1 8 16,3 3 31-16,-3 0-44 0,0 4 28 0,2-2-23 0,-2 2 5 15,0 0-2-15,0 0 7 0,5 14-12 0,-5-6 30 31,3 2-7-31,-1 3-26 0,0 0 18 0,-2 2-16 0,0 5-7 0,0 0 20 0,0 1-10 16,0 0-7-16,-2 1 12 16,2 0-25-16,-2-3-1 0,2 0 14 0,0 0-16 0,-3-3 3 15,3 0 9-15,0-2-17 0,0 1 0 0,0-5 16 16,0 0-19-16,0 0-7 16,0-1 10-16,0-1-23 0,3-2 0 0,-3 1 25 15,0-1-15-15,0-1 1 0,0-3 6 0,2 1-9 16,-2-3-6-16,3 3 27 0,-3-3-17 0,0 0 16 15,0 0 6-15,8-9-22 0,-3 3 6 0,-2 0 26 16,-1-1-19-16,0-2 11 16,2 1 0-16,-2-2-6 0,0 1-20 0,0-1 36 0,1 1-35 15,-2-2-6-15,-1-1-8 0,2 0-53 16,0 0-47-16,1 4-53 0,0-3-118 16,-1 3-504-16,1 2 25 0,2 0 88 0,-1 2 68 15,-1 1 93-15</inkml:trace>
  <inkml:trace contextRef="#ctx0" brushRef="#br1" timeOffset="-143306.3">22094 12111 785 0,'0'0'328'0,"0"0"-23"0,0 16-24 0,2-7-12 16,0-1-31-16,-1 3-15 16,-1 2-29-16,0 0-20 0,0 1-5 0,3 3-31 0,-3 0 1 15,2-2-17-15,0 2-22 0,-2 0 0 0,0-2-5 16,0 1-8-16,1 0-13 0,-1-2-15 15,0-1-3-15,2-1-10 0,-2-2-2 16,0-2 5-16,0 2-19 0,3-3 11 0,-2-1-13 0,-1 0 6 16,0-4-19-16,0-2-5 0,0 0 16 15,0 0-11-15,0 0-2 0,0 0 10 16,0 0-8-16,0-16-20 0,0 6 28 0,0 0-25 0,0-2 15 16,1 2 10-16,-2-4-13 0,1 3-23 15,0 0-7-15,0 1-4 16,0 0-24-16,0 0-3 0,0 1-39 0,0-1-15 0,1 3-59 15,-1-1-87-15,0-5-99 0,0 6-459 0,0 0 51 16,0 1 144-16,0-2 23 0</inkml:trace>
  <inkml:trace contextRef="#ctx0" brushRef="#br1" timeOffset="-142474.58">21948 11750 1287 0,'0'0'415'16,"-3"-5"-62"-16,1 4-10 0,2 1-51 0,0 0-24 16,0 0-1-16,0 0-91 0,-10 11-45 15,7-4-11-15,3 3-2 0,-3-1-8 0,3 3-3 16,0 1-30-16,0 0 10 0,0 0-20 15,0 1 12-15,3-1-15 0,0-1-2 0,1 1-11 16,-1-3-15-16,2 1-6 0,-2-1-7 0,2-1 3 16,0-1-21-1,1-2-7-15,-2-1 12 0,2 0-8 0,1-3 9 0,-4 0 4 0,5-1-18 16,-3-1 14-16,-5 0-6 16,9-5-15-16,-3 1 12 0,-1 0-4 0,0-2-4 0,-2 0 9 15,-1-3-3-15,2 1 0 0,-2-1 3 0,-2-2 7 16,0 1-3-16,0-2 4 0,0 2 1 15,-1-2-4-15,0 1 18 0,-3 0-8 16,0 3 0-16,0-3-8 0,2 3-10 16,-2 1 8-16,-2 0-11 0,1 2 3 0,0 0 18 0,0 0-23 15,-1 4-13-15,-2-3-3 0,2 2-25 16,-2 2-28-16,8 0-10 0,-14 2-32 16,7-1-27-16,1 2-82 0,-1 0-136 0,0 0-300 0,3 2-112 15,0-3 62-15,2 3 50 0,-2-4 45 16</inkml:trace>
  <inkml:trace contextRef="#ctx0" brushRef="#br1" timeOffset="-142312.47">22050 11815 1118 0,'0'0'338'0,"0"0"-64"0,6 0-39 0,-6 0-79 16,0 0-125-16,7 1-118 0,-7-1-530 15,0 0-5-15,3 3 16 0</inkml:trace>
  <inkml:trace contextRef="#ctx0" brushRef="#br1" timeOffset="-141954.43">22299 11706 1026 0,'0'0'392'15,"-15"5"-37"-15,15-5-122 0,-8 1-5 0,5 3-31 16,-2-2-18-16,3 2-15 0,1-1-5 0,-1 0-36 0,0 0-8 16,2-3-8-16,3 7-9 0,-1-3 4 15,0-1-28-15,4 2-15 0,0 0 10 0,0 1-12 16,2 1-1-16,-3-1-5 0,3 1-15 15,0-1 5-15,2 1 15 0,-3 1 3 16,0-1 5-16,-3-1 18 0,0 1-3 0,-3 1 3 16,1-2-15-16,-2 1 12 0,-2-1-7 0,1 1-8 15,-6 3-10-15,-1-1 84 0,-5 1-26 16,1-1-19-16,-1 2-29 0,-1-2-62 0,-1 1-20 16,-2-2-12-16,4 0-63 15,-3-2-119-15,4 0-205 0,1-2-512 0,-1 3 81 0,2-3 162 16,2-1 23-16,-2 1 62 0,2 0 48 15</inkml:trace>
  <inkml:trace contextRef="#ctx0" brushRef="#br1" timeOffset="-141174.18">18564 11895 1069 0,'0'0'323'0,"0"0"-39"0,0 0-10 0,0 0-49 0,0 0-2 15,12-4-26-15,-12 4-20 0,8-3-29 0,-3 2-33 16,1 0-43-16,1-4-57 0,1 4-68 15,-3-2-86-15,3-5-124 0,-1 5-449 0,1-1 21 16,2-2 89-16,-2 3 47 0</inkml:trace>
  <inkml:trace contextRef="#ctx0" brushRef="#br1" timeOffset="-140853.45">18730 11778 980 0,'-5'3'320'0,"3"1"-41"0,-1 1-13 0,0-1-30 0,1 4-16 0,0 0-16 0,-1-1 9 0,3 1-54 16,-3 1-19-16,3-2-4 0,0 1-26 15,0-1 10 1,3 2-17-16,-1-2-14 0,-1 0 4 0,1-1-17 0,3-3-7 0,0 1-12 16,0-1-9-16,-2 1 9 0,2-4-16 0,3 0 0 15,-8 0-3-15,10-1 87 0,-4-2-4 0,-2 0 2 16,-2-1 7-16,2 2-15 0,0-3-81 15,-2-1 1-15,-1 0-4 0,-1-1-5 0,0 1 10 16,0-1 7-16,-1-1-10 0,-1 1 1 0,0-2-14 16,0 3-5-16,-2-2 6 0,2 3-29 0,-1-2-2 15,-2 2-18 1,1 1-16-16,1 0-38 0,-2 1-12 0,0 1-62 0,-1 1-59 16,6 1-121-16,-8 0-96 0,4 1-454 0,4-1 118 15,-8 6 62-15,6-3 94 0,-1 0 103 16</inkml:trace>
  <inkml:trace contextRef="#ctx0" brushRef="#br1" timeOffset="-140426.33">18912 11712 1236 0,'-5'4'379'16,"2"-2"-44"-16,1 1-33 0,2-3-31 0,-3 6-25 15,3-2-8 1,0-4-28-16,3 7-23 0,0-1-23 0,2-1-24 0,2 1-17 16,-1-1 36-16,0-1-31 0,-2 1 3 0,1 0 9 15,0 1-22-15,0-1-8 0,1 0 10 16,-4-1-9-16,0 0-17 0,2 1-9 16,-3-2-3-16,-1 3-29 0,-1-1-1 0,-3-2-14 0,0 2-15 15,1 0-31-15,-3 1-45 0,-1-1-42 16,-1-2-77-16,3 2-142 0,-7 0-106 0,6-3-512 15,-2 4 100-15,5-1 67 0,-6-3 86 0,4 3 37 16</inkml:trace>
  <inkml:trace contextRef="#ctx0" brushRef="#br1" timeOffset="-139995">18954 11686 1226 0,'0'0'355'0,"-3"-4"-42"0,3 4-27 0,0 0-32 0,0 0-34 16,0 0 0-16,7-4-46 0,-7 4-8 0,6-3-25 31,-2 2-20-31,-4 1-52 0,10-1-26 0,-6-2-56 0,3 2-84 0,0 1-123 0,-4-1-225 16,5 0-351-16,0-1 112 0,-3 0 34 16,5 2 77-16</inkml:trace>
  <inkml:trace contextRef="#ctx0" brushRef="#br1" timeOffset="-139025.97">19729 12308 911 0,'0'0'402'15,"0"0"-41"-15,0 0-26 0,1 15-110 0,-1-7-28 16,0-1 3-16,3 3-26 0,-3 0-8 16,2 0-4-16,-2 1-19 0,0 1-28 0,2 0-13 15,-1 0-4-15,-1 0-6 0,0 0-10 0,0-3 0 16,2 0-13-16,-2 0-8 0,3-2-12 15,-3 0 17-15,0-1-14 0,0-1-1 16,0-1-10-16,2 0-3 0,-2-4-5 0,1 1-7 16,-1-1 5-16,0 0-6 0,0 0-2 15,0 0 18-15,0 0-7 16,-1-14-14-16,-1 7 6 0,2-1-6 0,-3-3-10 0,3 0-17 0,0 2 2 16,0-1-6-16,0-1 4 0,0-2-21 0,3 5-21 15,-1-2-5-15,-1 3 8 16,-1 0-15-16,2-1-39 15,-2 3-8-15,3-1-40 0,-3 1-16 0,2 3-77 0,-2-2-58 0,0 4-136 16,2-4-325-16,-2 4 51 0,0 0 117 16,1-4 37-16</inkml:trace>
  <inkml:trace contextRef="#ctx0" brushRef="#br1" timeOffset="-138604.3">19476 12139 918 0,'0'0'290'0,"0"0"-32"16,0 0-22-16,0 0-26 0,0 0-18 16,0 0-6-16,0 0 47 0,0 0-30 0,0 0 12 15,16-3-46-15,-16 3-13 0,7 0-16 0,-7 0-35 16,8-1-33-16,-8 1-31 0,8-3-77 16,-2 3-48-16,-6 0-93 0,9-2-87 0,-4 2-550 15,0-3 144-15,1 1-3 0,-6 2 69 16</inkml:trace>
  <inkml:trace contextRef="#ctx0" brushRef="#br1" timeOffset="-138162.05">19633 12041 849 0,'0'0'302'0,"0"0"-15"0,0 0-36 0,0 0 30 0,-8 9-2 0,8-4-23 0,0-1-28 0,0 1-15 15,2 0-32-15,1 0-1 0,0 1-32 16,-1 1-33-16,1-1 0 0,2-1-15 0,-2 1-20 15,4-4 14-15,-2 3-17 16,0-1-15-16,0-2-1 0,-2 1-5 0,4-3-12 0,-1 0-8 0,-6 0 30 16,8-3-40-16,-8 3 12 0,7-2 8 15,-4-1-18-15,0 1 13 0,-1-2 16 16,-2 4-16-16,-2-8 7 0,2 3-12 0,-1-1-8 0,-4 0 0 16,3-1 8-16,-1 2-5 15,-2 0-5-15,4-2-1 0,-3 2 1 0,-1 1-19 0,2 1-19 16,-2 0-6-16,2-1-16 0,-1 3-42 0,4 1-34 15,-8-1-72-15,8 1-84 16,-5-5-111-16,5 5-529 16,0 0 115-16,0 0 62 0,-6 7 114 0,4-4 45 0</inkml:trace>
  <inkml:trace contextRef="#ctx0" brushRef="#br1" timeOffset="-137986.08">19782 12035 854 0,'0'0'326'0,"0"0"-37"0,0 0-33 16,0-4-39-16,0 4-17 0,0 0-67 16,0 0-84-16,0 0-98 0,0 0-110 0,0 0-158 15,0 0-323-15,0 0 10 0</inkml:trace>
  <inkml:trace contextRef="#ctx0" brushRef="#br1" timeOffset="-137684.7">19907 11967 1182 0,'0'0'389'0,"8"3"-33"0,-8-3-105 0,2 7-23 0,-2-2-16 0,-2 0-23 15,2 1-4-15,-2 0-27 0,1 2 65 0,-2-2-23 16,1 2 2-16,2 0-30 0,-2-1-32 0,1 1-4 16,1-3-11-16,0 1-27 0,-2 0 17 0,2-2-33 15,0 0 10-15,0 1 0 16,3 0-18-16,-3-2 11 0,0-3-24 16,4 4-20-16,-4-4-20 0,8 2 4 0,-8-2-43 0,8-1-18 15,-8 1-12-15,10-3-60 0,-5 1-43 0,1 1-117 16,1-1-104-16,-2 1-526 0,3 1 84 0,0 1 67 15,0-1 101-15,-1 0 58 16</inkml:trace>
  <inkml:trace contextRef="#ctx0" brushRef="#br1" timeOffset="-137075.56">21230 12275 1331 0,'0'0'407'0,"0"0"-39"16,-5 8-99-16,3-5-36 0,1 2 2 0,0 2-4 16,0-1-39-16,1 2-31 0,0 1 13 15,0 0-43-15,0 1 7 0,1-1-28 0,-1 2-3 16,0-2-2-16,1 1-46 0,-2-1 3 0,0 1-50 16,1-2-24-16,-3 1-22 0,3-2-17 15,0-1-64-15,-2 1-69 0,2-2-159 0,-1-2-484 16,0 1 26-16,1-4 168 15,-4 2-17-15,4-2 67 0</inkml:trace>
  <inkml:trace contextRef="#ctx0" brushRef="#br1" timeOffset="-136825.8">21056 12064 1164 0,'0'0'361'0,"-13"5"23"0,10-3-36 0,3-2-13 0,-2 8-63 16,2-3-19-16,0-1 6 16,0 2-34-16,0 2-38 0,2-4-41 15,-2 6-23-15,0-2-67 0,3-2-30 0,-3 1-103 0,2 0-141 16,0 2-237-16,-1-3-372 0,4 1 61 15,-2-2 101-15,-3-1 74 0,2-1 63 0</inkml:trace>
  <inkml:trace contextRef="#ctx0" brushRef="#br1" timeOffset="-136437.42">21054 12143 888 0,'-1'-4'340'0,"1"4"-25"0,-2-4-26 16,2 4-12-16,0-5-52 0,0 5 59 0,4-6-5 15,-1 4-38-15,0-3-49 16,2 1-3-16,0 0-38 0,4-1-2 0,-1-1-16 0,-2 0-16 16,5 1-7-16,-3 0-30 0,2-1-11 0,-3 2-10 15,0 0 20-15,-1 0-10 0,-1 1-12 16,2 2 14-16,-4-2-9 0,-3 3 2 0,8 0-13 31,-8 0 0-31,6 4 8 0,-4-1-21 0,0 1-2 0,-2-1 13 0,4 2-3 0,-3-1-5 0,0 1 2 31,1-2 9-31,3 3-27 0,-2 0 19 0,1-1-34 0,-1-1 8 0,4-2 13 0,-4 0-14 16,2 1 12 0,-2-2 14-16,-3-1-28 0,10 0 14 0,-10 0 1 0,8-4 1 15,-8 4-3-15,5-4-2 0,-2-1-3 0,-1 1 2 16,0-2 4-16,-2 2-1 0,0-1-26 0,0-1 19 16,-2 1-26-16,0 0 0 0,-1 0-16 15,0 1-22 1,-1-1-37-16,1 0-22 0,0 3-44 0,-1-1-74 0,1 0-118 0,-3 1-123 0,4 0-407 15,2 2-7-15,-5-3 130 0,5 3 28 16,-1-5 90-16</inkml:trace>
  <inkml:trace contextRef="#ctx0" brushRef="#br1" timeOffset="-136248.6">21292 11986 826 0,'0'0'379'0,"7"3"5"0,0-2-28 0,-6 2-108 16,1 1-10-16,1-2-18 0,-2 3-7 0,-1-1-39 0,2-1-18 15,-2 2-13-15,0-5-12 0,2 6 2 16,-2-4-20-16,3 1-26 0,-3-3 0 0,2 4-18 16,-2-4-28-16,5 5-13 0,-2-5-46 15,-3 0-3-15,9 2-25 0,-9-2-56 0,8 0-85 0,-7 2-87 16,-1-2-35 0,0 0-505-16,13-2 120 0,-10 4 77 0,-3-2 28 0</inkml:trace>
  <inkml:trace contextRef="#ctx0" brushRef="#br1" timeOffset="-135631.95">21297 11965 1197 0,'0'0'377'0,"0"0"-29"15,-1-4-36-15,1 4-46 0,0 0-15 0,0 0-18 16,0 0-26-16,0 0-7 0,0 0-8 0,10 6-90 16,-9-3-4-16,1 1 9 0,-2 2-7 15,3-1-5-15,-2-1-13 0,1 1 58 0,-2 2 1 16,2-3-8-16,-2 2-10 0,3 1-18 16,-2-2-8-16,1 1-15 0,0-1-2 0,0-2 7 15,1 0-28-15,0 1-6 0,1-3-7 0,2 1-23 16,-1-1-12-16,-5-1-9 0,15-4-32 15,-6 1-37-15,0-1-23 0,-1 1-4 16,0-1-42-16,2 1-76 0,0-1-78 0,-2-2-101 0,2 4-513 16,-2 0 85-16,0 1 72 0,-3 0 102 15,-5 1 53-15</inkml:trace>
  <inkml:trace contextRef="#ctx0" brushRef="#br1" timeOffset="-135115.14">21333 12538 670 0,'0'0'207'0,"0"0"-22"15,0 0-32-15,0 0-45 0,0 0-31 0,0 0-52 16,0 0-45-16,0 0-62 0,0 0-51 16,-6-6-95-16,6 6-338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6:18:24.610"/>
    </inkml:context>
    <inkml:brush xml:id="br0">
      <inkml:brushProperty name="width" value="0.05292" units="cm"/>
      <inkml:brushProperty name="height" value="0.05292" units="cm"/>
      <inkml:brushProperty name="color" value="#0070C0"/>
    </inkml:brush>
  </inkml:definitions>
  <inkml:trace contextRef="#ctx0" brushRef="#br0">4022 3296 862 0,'5'-3'335'0,"-5"3"-97"0,5-3 8 16,-5 3-15-16,4-1-1 0,-4 1-38 16,0 0 0-16,3-5-15 0,-3 5-6 0,0 0 54 15,0 0-40-15,0 0-11 0,-10-3-8 16,10 3-25-16,-11 1-13 0,11-1-3 16,-15 2-30-16,3 2 0 0,1-1-6 0,-4 2-12 15,2 0 0-15,-5 0-26 0,0 2 5 0,0 0 3 16,-2 0-10-16,4 1-1 0,-1 1 14 15,4 0-31-15,-3-1 17 0,4-1-12 0,1 0-21 16,3-1 3-16,0 2-5 0,1-1 5 16,0 2-5-16,4-2 7 0,-2 0-2 0,4-1 5 15,1 0-18-15,1 1 8 0,4-1 3 0,0 2-6 16,3 0-5-16,0-2-3 0,2 3 4 0,0-1 1 16,1-1 11-16,3 3-10 15,-1-2 10-15,2-2-16 16,-2 3 1-16,3-1-1 0,-4-2 4 0,1 1-4 0,-2-3 16 0,-1 0-23 0,0 1 8 15,-4 0 2-15,2-2-8 16,-1 2 6-16,-2-1 15 0,0 0-8 0,-2 0 8 16,-1 2 7-16,-4-4-9 0,-1 3 27 0,0 2-4 15,-4-2 2-15,-1 2-1 0,-2 0 24 16,-6-1-43-16,1 1-59 0,-3-1 15 16,0 3-6-16,-2-2 4 0,4 0 2 0,-4-4 30 15,4 4-30-15,-2-3 21 0,0 0-3 16,3 0 0-16,-1 0-21 0,4-2 0 0,-1 2-15 15,0-2-33-15,3 1 5 0,3-2-10 0,-1 0-44 0,-2 2-26 16,4-1-35-16,1-2-16 16,5 0-30-16,-7 3-28 0,7-3-42 0,0 0 13 15,-1 2-212-15,1-2-225 0,0 0 15 0,0 0 87 16,0 0 82-16</inkml:trace>
  <inkml:trace contextRef="#ctx0" brushRef="#br0" timeOffset="937.67">4026 3559 1167 0,'0'-2'373'0,"0"2"-55"0,0 0-16 0,0 0-46 16,0 0-26-16,0 0-17 0,0 0-21 0,0 0-29 16,0 0-19-16,3 12-11 0,-3-9 3 15,3 3-29-15,-3-1 21 0,2 1-54 0,0-1 8 16,-1 1-5-16,1 0-8 0,3-3-13 15,-2 1 14-15,2-1-35 0,-3 2 1 16,4-1-10-16,-1-3 5 0,0 0-3 0,2 1 10 16,1 1-25-16,-2-3 18 0,-6 0-3 0,13-5 20 15,-5 3-19-15,-2 1 17 0,2-3-16 16,0-1 37-16,-3-1-67 16,2 0 5-16,-1 0 0 0,-1-2 23 0,1 0-15 0,-2 1 18 15,2-2 10-15,-2 3 10 0,-1-1 64 16,0 1 11-16,-1 0-14 0,1-1-17 0,0 2 2 15,-1 2-2-15,0-2-13 0,-1 0-21 0,1 3 21 16,1-2-20-16,-3 4-42 0,0 0 26 16,2-3 5-16,-2 3-30 0,0 0 4 0,0 0 1 15,5 8 15-15,-2-3-15 0,-1-2-9 0,1 2-1 16,-1 0-32 0,1 1-7-16,2 1 18 0,-2-2-10 0,2 2-3 0,0-2-23 0,1 0-2 15,2 2 17-15,-1-3-30 0,0 1-1 0,-1 0 27 16,4-3-34-16,-2 2 20 15,2-2 18-15,-3 0-35 0,3 0 12 0,1-2-2 0,-3 0 5 16,2-2 23-16,0 1-13 0,0-1 0 16,-2 0 34-16,2-2-24 0,0 3 3 0,-2-4 26 15,0 0 12-15,-1 1-17 0,1-1 4 0,-5-1 1 16,4 1 25-16,-1-2 13 16,-3 1-28-16,1 0 20 0,1-2-2 0,-2 3-16 15,2-2 18-15,-4 1-5 0,1-1 3 0,0 1 15 16,1 1-7-16,-3 0 2 0,0 0-6 0,3 2 6 15,-3-3-7-15,0 1-6 0,0 5-33 16,2-6 28-16,-2 6 10 0,2-5-2 16,-2 2-29-16,0 3 8 0,0-4-2 0,0 4 15 15,0 0-10-15,0 0-3 0,0 0-25 16,0 0 10-16,0 0 2 0,0 0-12 0,0 0 35 0,0 0-15 16,0 0-2-16,0 0 12 0,0 0-15 0,0 0-12 15,0 0 29-15,0 0-19 16,0 0 12-16,0 0-7 0,0 0-19 0,0 13 27 15,0-13-27-15,0 0 19 0,0 0-1 0,0 0-2 16,0 4-15-16,0-4 30 0,0 0-15 16,0 0 5-16,0 0 1 0,0 0-9 15,0 0 18-15,0 0-4 0,0 0-22 0,0 0 9 0,6 1-34 16,-6-1-20-16,0 0-49 0,0 0-33 16,0 0-31-16,0 0-54 0,0 0-118 0,0 0-135 15,0 0-443-15,0 0 93 0,0 0 60 16,0 0 142-16,12-2-9 0,-12 2 60 0</inkml:trace>
  <inkml:trace contextRef="#ctx0" brushRef="#br0" timeOffset="1891.33">4587 3606 806 0,'0'0'335'15,"0"0"-30"-15,11-12-21 0,-8 8-15 0,0 2-24 0,1-4-1 16,-1 2-35-16,2-3 4 0,1 1-26 0,-2 0-3 16,-1-1-12-16,2 1-98 0,-2-2 13 0,2-1 13 15,-3 1-21-15,-2 0 28 0,1-1-25 16,-1 4 18-16,0 0-13 0,-1-2 0 0,1 0-15 16,-2 2-3-16,2 1 0 0,-3-1-13 15,0 2 1-15,-1-1-16 0,1 1 2 16,3 3-15-16,-10 0-7 0,10 0-6 0,-8 3-5 15,1 1 14-15,4 2-14 0,-3-2 38 0,2 2-25 16,-2 0-23-16,4 3-5 0,-3-3 5 16,4 1-18-16,1 0-5 0,0 0-12 0,0-1-6 15,1 0-6-15,4 0-24 0,-3 0 9 0,4-3-25 16,-2 1-10-16,4 1 0 16,0-2-3-16,0 0-10 0,2-1 18 0,0-2 2 0,3 0-12 15,-3 0-8-15,5 0 38 0,-1-3-12 0,-2 0 2 16,1 1 10-16,0-3 5 15,0 0 1-15,-3 2 28 0,1-3 7 0,-1 0 21 0,0 1 45 16,-2-1 1-16,-1 3 28 0,-2-2 10 0,0 0 8 16,-2 0 8-16,2 1-8 15,-3 1 15-15,-1 1-20 0,1-2-18 0,-2 4-13 16,0-6 20-16,0 6-12 0,0 0 0 0,0 0 12 16,0 0-30-16,0 0-18 0,-13 10 16 15,9-5-17-15,1-1 9 0,-2 2 0 0,2 1-14 16,1 0-4-16,-2-2 0 0,2 4 15 15,0-2-13-15,2-1-7 0,0 1 15 0,0-4-6 16,2 4-27-16,0-3-13 0,2 1 2 0,3 0-12 16,-1-3 7-16,1 2 3 0,0-3 7 0,4-1-19 15,-3 0 16-15,2-1 4 0,3-3 5 16,-3 2-3-16,0-4 10 0,3 1 21 16,-3-3 2-16,3 3 3 0,-3-6 21 15,1 0-4-15,-1 1 14 0,0-4 7 0,0-1-10 16,-2 2 26-16,-3-4 0 0,3 2-19 0,-3-2 88 15,0 0-5 1,1 1-90-16,-2 3 15 0,-4 0 39 0,3 2-10 0,-3 1-8 0,3 2 69 16,-3-1-26-16,2 2-7 0,0 2-16 0,-2 1-27 15,0-1 24-15,0 5-19 0,0 0-3 16,0 0-6-16,0 0-20 0,-15 13-2 0,8-4-5 16,4 3 17-16,-3 1-41 0,2 2 6 0,-1 1 2 15,2 0-12-15,1-1-1 0,-1 3 21 0,3-4-16 16,0 0-22-16,0 0-6 0,0 1-28 0,0-2 18 15,3-1-30-15,-1 0-34 16,0-3-23 0,1-1-33-16,0 0-19 0,0-1-19 0,2-2-49 0,0-1-57 0,3-1-99 0,-4 0-188 15,4 0-347-15,-3-3 112 0,-5 0 13 16,11-3 87-16,-6 1 85 0</inkml:trace>
  <inkml:trace contextRef="#ctx0" brushRef="#br0" timeOffset="2171.61">4911 3422 1075 0,'-8'-1'325'0,"8"1"0"16,0 0-16-16,-5-2-32 0,5 2-26 16,0 0-21-16,0 0-15 0,0 0-20 0,0 0-3 15,13-7 74-15,-6 5-51 0,4 1-8 0,-1-3-12 16,3 1-29-16,2-1-23 0,5 1 19 15,-1-1-50-15,1 1 1 0,1-2-6 16,-3 1-4-16,0 2-34 0,-3 0-5 0,0-1-18 0,-2 0-18 16,-3 2-46-16,0-2-20 0,-1 2-21 15,-1 0-23-15,-1 1-20 0,0-4-39 0,-4 4-64 16,-3 0-125-16,0 0-123 0,13 0-376 16,-13 0 20-16,8 0 100 0,-8 0 53 15,12 0 86-15</inkml:trace>
  <inkml:trace contextRef="#ctx0" brushRef="#br0" timeOffset="2759.45">5998 3340 1023 0,'-5'-2'300'0,"5"2"-21"0,-13-1-8 16,3 1-38-16,0 0-23 0,-1 0-23 15,-1 1-11-15,1 1 70 0,-4-2-28 0,2 4-44 16,0-2 2-16,0 2-1 0,3-1-27 0,-3 1-17 15,1 2-1-15,4-4-7 0,0 2-26 16,-2 2-23-16,3-3 24 0,1 2-14 16,1 1-25-16,0-1-3 0,4 1-4 0,-1-1-17 15,2 0 4-15,2 4 2 0,2-3 28 16,0 1-46-16,4 0 0 0,-3 0 10 0,3 0-10 16,2 2 8-16,0-2 0 0,-2-1-11 0,2 1-7 15,1-2-3-15,-6 2 18 16,2-5-5-16,1 3-7 0,-2 0 2 0,-1-2 0 15,0 2-8-15,-1 0 26 0,-1-2 7 0,0 0-17 0,-3 0 56 16,0-3-29-16,-3 7 17 0,-2-4-17 16,-3 0-12-16,0 1 13 0,-2-2-5 0,-2 2-6 15,-4 0-7-15,3-1 20 16,-2-1-12-16,-1 0-31 0,2 1-13 0,-2-3 15 0,1 4 0 16,0-2 6-16,2-2-8 15,-1 3-26-15,1-2-13 0,3-1 11 0,0 0-34 0,0 1-28 16,2 1-30-16,1-2-49 0,1 0-44 0,6 0-69 15,-10 0-22-15,10-6-145 0,-2 5-475 16,2 1 66-16,0 0 119 0,7-11 52 0,-2 6 75 16,3 0 67-16</inkml:trace>
  <inkml:trace contextRef="#ctx0" brushRef="#br0" timeOffset="3562.78">6011 3289 819 0,'3'-3'332'0,"-3"3"-30"16,0 0-10-16,0 0 36 0,4-3-34 0,-4 3-25 15,0 0-5-15,0 0-34 0,0 0-23 16,-2 11-4-16,2-8-50 0,-2 3 3 0,1-1-20 16,1 3-13-16,-2 1-8 0,-1-1-18 0,1-1-12 15,1 3 22-15,-1 1-35 0,2-2-8 16,-2 2-15-16,2-2-1 0,-3 1-7 15,6 0 3-15,-6 0 4 0,6-1-4 0,-6 0-26 16,6-1 5-16,-3 0 30 0,0 1-19 16,2-1-19-16,-1-2 8 0,-1 1-2 0,0-1-3 15,0-2-6-15,1 2-1 0,0-3 27 0,-1 1-7 16,0-4-8-16,2 7 48 16,-2-2-14-16,0-3 27 0,0-2 11 0,0 0-11 0,3 6 24 15,-3-6-19-15,0 2 22 0,0-2-12 0,0 0-73 16,0 0-11-16,0 0 8 15,0 0-10-15,0 0 8 0,0 0 12 0,7-8 3 0,-3 6 0 16,-2-3-13-16,0 4-8 0,0-6 23 0,2 2-33 16,0 1 16-16,-1 1-13 0,2-4-1 15,-2 4 21-15,2 1 1 16,0-3-6-16,0 3-8 0,-2-1 3 0,-1 1-13 0,1-2-23 16,2 3 26-16,-5 1-24 0,5-2 11 0,-5 2 8 15,7 0 2-15,-7 0-2 0,0 0-34 16,9 6 26-16,-7-4 0 0,3 2-26 0,-4-2 21 15,1 4-18-15,3-1-11 0,-3-1 19 0,1 1-19 16,-1 1 49-16,1-2-45 0,0 2 9 16,1-3-25-16,0 1 0 0,0-1 12 0,2 0-7 15,-2 0-23-15,4 0 28 0,-2-1-18 0,-1-1 3 16,3-1 20-16,-8 0-15 16,14-2-5-16,-6 0 7 0,2 0 0 0,-2-1-2 15,3-2 23-15,-3 2-16 0,-1-2 16 16,3-2-2-16,-2 2-11 0,-2 0 0 0,1 1 15 0,0-1-2 15,-1 2-16-15,-2 1 6 0,0 0 7 16,-4 2 1-16,7-3-11 0,-7 3 10 0,8 0 8 16,-8 0-8-16,10 3 8 0,-5-1 3 15,2 0-1-15,1-2 14 0,0 1-4 0,0 1-9 16,2-1-3-16,0-1 20 0,1 2 6 0,-3-5-6 16,2 3 11-16,0-3 7 0,0 1-7 0,-2-3 35 15,2 3 3-15,-3-1-5 0,1 0 21 16,-3-2 2-16,1 1 13 0,-4-2-8 15,1 2-18-15,-3-1-8 0,0 0-7 0,0 1 16 16,-3-1-12-16,1 2-14 0,-4 0-13 16,1-1 20-16,-5 3-12 0,2 0-1 0,-2-1 13 15,-2 2-17-15,1 2-1 0,1-1-2 0,-3 0-5 16,0 2-39-16,1 1-25 0,3-3-24 16,-1 2-71-16,0 1-59 0,2-1-30 15,1-1-62-15,0 1-72 0,1 0-51 0,3 0-430 0,3-3 39 16,0 0 127-16,0 0 62 0,0 0 59 15</inkml:trace>
  <inkml:trace contextRef="#ctx0" brushRef="#br0" timeOffset="4049.71">6539 3295 1182 0,'0'0'341'0,"0"0"-37"0,0 0-22 0,0 0 15 0,0 15-52 0,-2-9 1 0,1 3-16 15,1 0 21-15,-2 3-48 16,0 5-45-16,2-2 1 0,-3 3-23 0,2 1-19 0,1 0-4 16,-2 0-16-16,0 5-17 0,0-2-4 15,-2 1 11 1,4-1 0-16,-2-3-43 0,0 2-16 0,1-2-18 0,-1-1-10 0,-1 1-7 16,3-5-4-16,-2 1-4 0,1-3 7 0,1 1-4 15,-2-5 1-15,2 2-1 0,-2-2 19 16,2 0 9-16,-3-2 7 15,3-1-16-15,0 0 4 0,0-3 32 0,0-2-12 0,0 0-1 0,0 0 4 16,0 0 7-16,0 0 48 0,0 0-17 16,0-15 2-16,3 5 8 0,-1-2 8 0,0-1-14 15,1-5 4-15,2 3-24 0,0-3 8 0,3 2-38 16,-2 0 30-16,1 3-15 16,-2 1-13-16,3 2 13 0,-3 1-2 0,0 2 9 0,0 2-22 15,1 0 10-15,1 3-24 0,-4 0 37 0,1 1-26 16,-4 1-5-16,9 3 10 0,-4-1 18 15,-3 3-5-15,-1-3-28 0,1 2 0 0,-2 2 15 16,-1-1-10-16,-1 2 0 0,0 0 0 16,-4-1-75-16,1 2 4 0,0-2 17 0,-3 0-8 15,1 1-30-15,2 1-10 0,-3-3-47 16,3 1-25-16,-3-1-21 0,3-1-51 0,0 0-115 16,5-4-120-16,-8-2-489 0,8 2 110 15,0 0 51-15,0 0 151 0,0 0 13 0,0 0 89 16</inkml:trace>
  <inkml:trace contextRef="#ctx0" brushRef="#br0" timeOffset="4422.74">7152 3394 1003 0,'-8'0'415'0,"8"0"-14"0,0 0-58 0,0 0-28 15,0 0 18-15,0 0-46 0,23-3-6 0,-7 2-32 0,-1-1-34 16,8 1-34-16,0-2-4 15,0 0-3-15,5 0-38 0,3 1 2 0,-2-2-18 16,1 1 6-16,1-1-29 0,-3 2-13 16,1-2 6-16,-1 1-29 0,-5 0-20 0,-1 0-15 15,-1 0-36-15,0 2-13 0,-4-1-18 0,-4 2-10 16,3-4-37-16,-6 4-16 0,-2-2-12 0,-3 2-42 16,2 0-75-1,-7 0-62-15,0 0-91 0,6 2-246 0,-6-2-164 0,0 0 89 16,-11 6 47-16,4-2 71 0</inkml:trace>
  <inkml:trace contextRef="#ctx0" brushRef="#br0" timeOffset="4773.17">6990 3471 854 0,'-13'1'361'0,"3"0"-30"0,2 1-32 0,3-2 3 16,5 0-107-16,0 0-1 0,0 0-12 0,0 0 7 15,0 0 83-15,31-4-27 0,-13 4-17 16,5-1 20-16,8 0-25 0,2-2 10 15,11 1-26-15,2 1-4 0,2 0-6 0,-1-3-28 0,2 2 7 16,-1 2 16-16,-2-3-110 16,1 2-20-16,1-1-21 0,1 2 0 0,-10 0 23 15,-1 0-11 1,-4-2 1-16,-1 2-21 0,0 0 44 0,-2-1-39 0,-4 1-4 0,-3 0 17 0,-3 1 0 16,-1-1-7-16,-5 0-3 0,1 0-3 15,-4 2-30-15,-1-2-16 0,-1-2-10 0,-2 2-15 16,0 0-21-16,-3-1-25 0,-5 1-1 0,10-1-12 15,-5 0-23 1,-5 1-26-16,3-2 13 0,-3 2-43 0,0 0-24 0,2-5-4 0,-2 5-39 16,0 0-62-16,-5-7-66 0,0 2 13 0,2 3-456 15,-2-2 49-15,0-1 97 16,3 2 13-16,-4-2 69 0</inkml:trace>
  <inkml:trace contextRef="#ctx0" brushRef="#br0" timeOffset="5157.3">7555 3175 819 0,'0'0'271'0,"0"0"-2"16,0 0-41-16,10 7 7 0,-3-5 8 16,4 4-35-16,1-2 45 0,1-1-7 0,5 3-93 15,2-1-17-15,6 2-16 0,-1 0 6 0,2-1-6 16,1 1-15-16,10 3 10 0,-4-4-23 16,4 3-10-16,-7 0 3 0,-3-4-6 0,-2 2-5 15,0 0 0-15,-1-2 1 0,-2-1-11 0,-5 2-11 16,0-1 1-16,0 2 5 0,-3-2 10 15,-2 1-13-15,-3 1-2 0,-2 0 2 16,-1 4 11-16,-4 1-6 16,-6 2-12-16,-4 3-3 0,-9 10-18 0,-9 2 18 0,-11 5-23 0,-10 1-35 15,-3-2-42-15,1 3-72 16,-7-3-50-16,-1-1-70 0,-3 2-156 0,1-2-496 0,-2-3 89 16,1 0 62-16,0-3 104 0,3-2 21 15</inkml:trace>
  <inkml:trace contextRef="#ctx0" brushRef="#br0" timeOffset="31347.22">9659 3465 1251 0,'0'0'392'0,"0"0"-34"0,-7-2-33 0,7 2-30 16,0 0-29-16,-13 6-5 0,10-3-41 0,-2 5-15 15,0 0 2-15,0 4-25 0,0-3-26 16,-3 7-13-16,3-1-20 0,-1 2 3 0,2 1-19 16,1 1-7-16,-4 6 0 0,4-6-54 15,0 6 23-15,1-5 10 0,2 1-22 0,0 0-16 0,2-2 23 16,1 0-34-16,-1 0-14 16,1-1 9-16,2-4-9 0,-2-1-6 0,2-1-20 15,2-1-3-15,1-3 8 0,0-1 2 0,2-1-10 16,-3-2 6-16,4-4 4 0,-1 0 3 15,0-3 18-15,3 0-18 0,-2-3 8 0,2-1 25 16,-1-4-20-16,1-1 12 0,-5-1-14 0,2-1 7 16,0-5-16-16,-2 1 19 15,-2-1 9-15,-2 0-9 0,-1-2-3 0,-3 2 0 0,0 0 2 16,-3 0-12-16,-1 1 17 0,-2 3 1 0,-2-2-11 16,1 4 3-16,-3-1 8 0,2 5-26 15,-2-1 0-15,-1 1-3 0,1 5 1 16,-3-1-3-16,3 4-1 0,-1 1 17 0,-2 1 9 0,1 1-22 15,-1 2-6-15,0-1 28 0,1 1-30 16,3 2 13-16,-1-2-11 0,3-1-10 0,0 3-7 16,3-2 7-16,0 0 15 0,3 1-25 15,-1-1 23-15,2-1 0 0,0-3-16 16,5 6 11-16,-3-3 2 0,4-2-7 0,2-1 5 16,-1 2 10-16,3-2 18 0,1 0-21 0,1 0 1 15,-1 0 17-15,1 0-10 0,1 3-18 16,1-3 26-16,0 1-23 0,-1 2-11 15,2 1 16-15,-2 1 26 0,1 0-21 0,-2 0 0 0,1 0 12 16,0 4 1-16,-3-3 13 0,-2 2-11 16,0 0 1-16,-1 2-14 0,-2-3 13 0,1 1-15 15,-2-2-2-15,-1 0 25 0,2 1 0 16,-3-1 18-16,2-1-26 0,-2 0 31 0,0 1-53 16,1 0 9-16,0-4 24 0,-3-2 97 15,2 5 23-15,0-4-29 0,-2-1-9 0,0 0-44 16,0 0 56-16,11-5-33 0,-6 2 8 0,-2-3-8 15,4 0-15-15,1 0 2 16,0 0 0-16,2 0-20 0,0 0 7 0,3 1-27 0,-5 3 4 16,5-2-5-16,-3 2-5 0,1 2 18 0,1 0-28 15,-2 1 16-15,0 1-9 0,1 3 19 16,1-1-19-16,-2 3 6 0,1-2 25 0,-1 2-20 16,-2 0-23-16,0 4-16 0,-1-4 3 0,1 2-12 15,-3 1-37-15,-3-3-53 0,1-1-19 16,2 1-55-16,-2 0-32 0,0-2-63 15,-1 0-54-15,-2-2-100 0,2 2-187 0,-1-1-424 16,4-2 114-16,-5-2 88 0,5 1 66 0,0 2 79 16,-5-3 98-16</inkml:trace>
  <inkml:trace contextRef="#ctx0" brushRef="#br0" timeOffset="31769.73">10344 3809 908 0,'5'-5'356'15,"-5"1"2"-15,5-1-7 16,-3 0-41-16,1-1-18 0,2-2-6 0,-4 3-17 0,1-3-18 15,-2 1-77-15,2-1 15 0,-2 1-4 0,0 0-9 16,-2 4 16-16,2-3-25 0,-3 1-4 16,1 0 78-16,-1 2-41 0,-2 1-31 0,5 2 2 15,-8 0-12-15,8 0-18 0,-12 3-42 0,6 2 27 16,-1-2-31-16,1 4-11 0,-1-1-17 16,2 3 12-16,-1-2-2 0,2 2-26 15,-2 1 5-15,4-3-35 0,0 1 40 0,1 1-38 16,1-2 23-16,0 1-12 0,1-1-22 15,1 1-22-15,3 0-23 0,0-4-26 0,3 2-26 16,0-1-53-16,2-1-33 0,0 2-44 0,1-4-28 16,-1-1-106-16,2 0-91 0,1-1-118 0,3 0-366 15,4-1 95-15,1-1 53 0,4 1 95 16,3-4 90-16</inkml:trace>
  <inkml:trace contextRef="#ctx0" brushRef="#br0" timeOffset="32458.25">11249 3550 1162 0,'3'-4'340'0,"-3"4"-15"0,-3-5-13 15,3 5-33-15,-3-3-18 0,3 3-7 0,0 0-39 16,0 0-10-16,0 0 63 0,0 0-14 16,-2 14-37-16,0-6-30 0,1 3 5 0,-2 5-7 15,1 0-34-15,0 3-8 0,-4 4-10 0,4 4-15 16,-3 1-8-16,2-2 0 0,-2 13-28 15,-1-4 5-15,2-3-44 0,-2 5-7 16,2-6-20-16,1-6-19 16,3 1 26-16,-3-2-33 0,1-5-13 0,2 2 13 0,-3-3-21 0,3 0-10 0,-2-3 8 15,2 0-16-15,0-2 8 0,-3-3 5 16,3 0 3-16,3 1 12 0,-3-4 6 0,0 1-11 16,0-2 14-16,0 0-4 0,0 0-4 15,0-2 33-15,0-4-19 0,0 6-1 16,0-6 12-16,0 0-5 0,0 0 41 0,0 0 0 15,0 0-3-15,0 0 13 0,0 0-10 0,2-22 21 16,-2 9 15-16,1-1-8 0,1-2-18 16,0-5 36-16,1-4-38 15,0 0 27-15,4 0 11 0,0-13-97 0,2 3-10 0,1 7 15 0,0-2 22 16,0 6-9-16,0 4 0 0,0 4 7 16,-1 3-12-16,1 0 38 0,0 0-28 0,0 6 2 15,0 0-5-15,-1 0 13 0,1 4-7 16,-3 0 19-16,1 3-24 0,-1 0 12 15,1 2 5-15,-3 2-3 16,0 0 9-16,-2 2-6 0,-3-1-10 0,0 0-11 0,-2 3-12 0,-1 1 8 16,-2-1 10-16,0 0-1 0,-3 3-9 0,-2-3 17 15,0 3-9-15,0-4-14 16,-1-1-12-16,1 2 12 0,0 0-30 0,2-4 20 16,-2 2-33-1,2-3-18-15,0 0-15 0,3 1-39 0,-1-3-25 0,2 0-24 0,4-1-14 0,-8 3-52 16,8-3-8-16,0 0-66 0,0 0-90 15,-2 1-18-15,2-1-465 0,0 0 38 0,0 0 122 16,0 0 83-16,22-5 43 0</inkml:trace>
  <inkml:trace contextRef="#ctx0" brushRef="#br0" timeOffset="32985.5">11544 3841 898 0,'2'-3'356'0,"1"-2"-34"0,0 0 6 0,1 0-29 0,-3 0-9 15,4 0-19-15,-1-2-10 0,-1 1-2 0,0 0-50 16,-1-1-1-16,1 2 22 0,-3-2-110 0,0 3 14 16,2-1-22-16,-2 2-2 0,0 3 11 15,0-7-19-15,-2 4-18 0,2 3-7 0,0 0 3 16,0 0-9-16,0 0-4 0,-13 5-3 0,8 0-23 15,2 1 5-15,-1 0 8 0,0 1-24 16,0-2 1-16,1 2-3 0,0-1-2 0,1 1-26 16,2-1 20-16,-2 0-33 0,2 0-7 15,0-4 5-15,2 3-3 0,0 0-13 0,2-2 11 16,0 1 2-16,2-3-5 0,1 1 15 16,1 0-7-16,2-4-6 0,-2 1 13 0,2 1 24 0,2-2 7 15,-3-1 2-15,1 0 1 0,0-1 23 16,2 1 9-1,-4-3-1-15,0 0 2 0,0 1 5 0,-1 4 23 0,-1-3-3 0,2-1 72 16,-4 2-28-16,2 2 0 0,-6 1 26 0,7-3-26 16,-7 3-28-16,0 0-3 0,8 3-8 15,-8-3-22-15,5 6-16 0,-2 1 36 0,-1-1-18 16,1 0-2-16,-1 0-36 0,-1 1 10 16,1 1-11-16,0-2-32 0,-2 1-57 0,0-1 3 15,0 0-52-15,3 1-15 0,-3-3-53 16,0 2-52-16,0-3-23 0,0 1-79 0,1 1-108 15,1-3-153-15,0-1-413 0,0 2 137 0,-2-3 65 16,0 0 91-16,0 0 48 0,16-8 56 16</inkml:trace>
  <inkml:trace contextRef="#ctx0" brushRef="#br0" timeOffset="33096.71">11818 3769 821 0,'-2'-4'297'0,"1"1"-20"15,-1-3-29-15,-1 3-18 0,0 0-40 0,1-1-32 16,0 2-53-16,2 2-51 0,-6-5-80 15,6 5-55-15,-2-1-122 0,2 1-65 0,-5-4-411 16,5 4 88-16</inkml:trace>
  <inkml:trace contextRef="#ctx0" brushRef="#br0" timeOffset="33514.58">11915 3681 1069 0,'0'0'343'16,"0"0"47"-16,0 0-17 0,0 0-22 15,0 0-36-15,-10 9-29 0,5-4-17 0,2 0-15 16,1 3-19-16,-1-1-94 0,1 3 0 0,-1-1-31 16,1 2-16-16,0 0 4 0,1-2 9 15,1 1-25-15,0-1-13 0,3 1-12 0,-3-1-1 16,5 1-13-16,0-3 6 0,0 0-21 0,2 0-10 16,1-3 8-16,3 2 15 0,1-4-23 15,2 1-1-15,0-2 1 0,-1-1-5 16,1-3-10-16,1 1 2 0,2-3-5 15,-1 2 10-15,-1-3 3 0,1-2-8 0,-6 1 8 0,5-1 2 16,-4 0 13-16,2-2 6 0,-6 2-6 16,1 1 10-16,0-2 16 0,-4 3 2 0,-4 2 31 15,1-2-13-15,2 1-7 0,-6 1-3 0,3 4 3 16,0 0-26-16,-3-3-6 16,3 3 32-16,0 0-44 0,0 0-15 0,-13 8 4 0,8-2 11 15,3-1 1-15,-1 2-1 0,-2 0 0 16,3-1-18-16,1 2 2 0,-1 1 4 0,2-3-14 15,0 1-2-15,0 0-18 0,3 0-3 0,2-1-7 16,-3 1-8-16,3 0-23 0,1-2-23 0,1 0-46 16,-2 0-23-16,3-2-18 0,-3 0-36 15,3-3-72-15,0 1-130 0,-4-1-49 16,7 0-440-16,-1-1 64 0,3-2 105 0,-1 1 136 16,4-1 17-16</inkml:trace>
  <inkml:trace contextRef="#ctx0" brushRef="#br0" timeOffset="33852.67">12890 3663 844 0,'0'0'361'0,"-8"1"46"16,8-1-31-16,0 0-30 0,0 0-11 0,0 0-35 16,0 0-11-16,18 5-54 0,-10-5-12 15,2 0-100-15,5 0-15 0,0 0-6 16,4-1 13-16,4-2-33 0,-3 2-10 0,4 0-21 0,1-3-20 16,-2 3-21-16,0-1-10 0,-2 2-44 15,-1-2-7-15,-2 1-31 0,-3-1-23 16,-1 2-53-16,-2 0-88 0,-2 0-10 0,-2 0 5 15,-3 2-59-15,0-2-442 0,-5 3 15 16,0-3 104-16,0 0 68 0</inkml:trace>
  <inkml:trace contextRef="#ctx0" brushRef="#br0" timeOffset="34099.65">12897 3728 883 0,'-10'0'286'0,"2"0"-4"0,3 0-34 15,5 0-15-15,-7 0-5 16,7 0-18-16,0 0 53 0,0 0-4 0,0 0-6 0,0 0-15 15,0 0-30-15,15 5 2 0,-15-5-34 16,13 0-7-16,-3 1-74 0,3-1-8 0,2-1 10 16,3 1-33-16,-2-1 26 0,4 0-29 15,3 1-10-15,0-3 8 0,0 1-13 0,5 0 3 16,-5-1-26-16,1 1-5 0,-1-2-23 16,-3 2-18-16,1 1-36 0,-6-2-38 0,3 1-29 15,-2-1-17-15,-4 1-31 0,-1 0-95 0,1-1-18 16,-4 0-38-1,0 0-486-15,0 0 38 0,-1-2 164 0,-2 0 30 0,1 2 13 0</inkml:trace>
  <inkml:trace contextRef="#ctx0" brushRef="#br0" timeOffset="34385.49">13154 3434 921 0,'0'0'351'0,"0"0"-29"15,0 0 24-15,0 0-52 0,0 0-15 16,20 5 64-16,-10-1-8 0,1 0-33 16,-1 1-15-16,6 1-3 0,-1 2-28 0,3 1-28 0,0 3 8 15,3 1-24-15,4 6-17 0,-2-5-80 16,-5 0-31-16,-2 2 3 0,-1-1-5 0,0 1 5 16,-5-1 13-16,-4 1-21 0,1-1-4 0,-4 2 81 15,-6 1-39-15,-2 1-6 0,-5 0-37 16,-3-1-5-1,0 1-51-15,-8 6-49 0,7-6-33 0,-2-5-38 0,1 0-60 0,2-2-32 16,2-1-111-16,1-2-184 0,0-1-527 0,2-1 82 16,3-4 117-16,3 0 62 15,2-3 64-15,0 0 77 0</inkml:trace>
  <inkml:trace contextRef="#ctx0" brushRef="#br0" timeOffset="34932.17">14851 3356 1197 0,'-5'-3'387'0,"-3"0"-29"0,-2 3-33 16,0 0-25-16,-5 1-42 16,-1 1 3-16,-2-1-5 0,-5 3-35 0,-3 2-35 15,-12 2 17-15,0 2 9 0,1-1-33 0,7 2-7 16,7-3-11-16,2-1-100 0,3 0-7 15,3 0-8-15,0 2 29 0,6-1-22 16,2-2-7-16,0 2-2 0,4-1-13 0,3-1 4 0,3 1-6 16,1-1-4-16,6 2-15 15,3 0 19-15,3 1-14 0,2-3-12 0,3 3 9 0,4 0-1 16,-1 0-9-16,1-3 6 0,0 2-1 16,1 1-4-16,-3-3-3 0,0 2 13 0,-2 0-13 15,-3-1 23-15,0-2 2 16,-6 1-14-16,-1 1 19 0,-3-1 22 0,-1-1 6 0,-7 2-1 15,0-1-6-15,-3 1 5 0,-2 0-20 0,-10 2 0 16,0 0 2-16,-6 0 8 0,-4 1-2 16,-12 3-21-16,2-2 3 0,-1 2 12 0,0-2-2 15,0 1-29-15,3-5-19 0,7-1-6 0,-2-1-51 16,4 1-26-16,2-4-15 16,6 1-46-16,1-1-46 0,2-2-37 0,2 0-101 0,5 0-98 15,0-3-491-15,4 1 77 0,2 2 120 16,0-6 120-16,7 1-15 0,0 2 112 0</inkml:trace>
  <inkml:trace contextRef="#ctx0" brushRef="#br0" timeOffset="36310.15">15387 3511 1100 0,'0'0'335'0,"0"0"-15"0,-8-7-28 0,8 7 0 16,-5-4-69-16,3 3-24 0,-4-2-7 0,1 2 13 15,-2 0-18-15,1 1-28 0,-4 0 5 0,0 0 2 16,0 1-15-16,-3 0-31 0,-3 3-15 16,-1 0 10-16,-1 1-33 0,0 1-15 0,0 1-19 15,0-1 19-15,0 4 64 0,2-2-19 0,1 3-17 16,0-3-16-16,-1 3-2 0,3 0-23 16,1-1 10-16,4-1 20 0,0-1-38 0,3 0-12 15,0-1 27-15,0 1-38 0,3-1 3 16,2-2 4-1,0-1-24-15,2 1 29 0,3-1-14 0,0-2-29 0,5-1 18 0,-2 0-10 16,3-2 0-16,1 0 3 0,4 0 20 0,-3-3-8 16,1 1 13-16,2-4 1 0,-1 1-9 0,-1-3 21 15,0 1-18-15,-5 1 13 0,1 0 7 16,0-2-9-16,-2 1 19 0,0 1 9 0,-1-3 12 16,-2 3-35-16,-2 1 42 0,2 0-11 0,-2 1-29 15,-1 1 17-15,-2 0 6 0,2 2-2 16,-2 2-16-16,0 0-23 0,0 0 13 0,0 0-11 15,0 0 6-15,0 0-18 16,0 0 23-16,-10 10-23 0,8-5 17 0,-1 1-25 16,3-2-12-16,-2 2 32 0,-1 0-27 0,3 0-19 15,0-3 11-15,0 4-26 0,0-2-5 16,0 0 0-16,3 1 18 0,-1-3-28 0,0 2 10 16,1-1 10-16,0-2-12 0,0 3 22 0,-1-3-2 15,3 1 11-15,0-2 9 0,0 1-5 0,0-2 21 16,-5 0-3-16,11 0 3 15,-11 0 8-15,10 0 9 0,-5 0-7 0,-5 0 18 0,8-5-15 16,-3 4-3-16,0-1 28 0,0 0-10 16,1-1-5-16,-2 1-3 0,-1 1-17 0,5-2-4 0,-3 1 29 15,-2-1-30 17,1 1-6-32,-4 2 2 0,8-2 19 0,-3-1-34 0,-5 3 16 0,5-3 7 0,-5 3-4 0,8 0-6 0,-8 0 0 15,5 0 18-15,-5 0-3 0,8 0 6 16,-8 0-13-16,5 2-1 0,-5-2 12 0,8 5 14 0,-5-3-5 15,-3-2 6-15,4 5 7 0,-1-3-31 16,-3 1-15-16,3-1 23 16,-1 3 5-16,0-3-30 0,1 1 4 0,-3-3-7 0,1 7 10 15,1-5 8-15,-2-2 7 0,2 5-9 0,-2 0-9 16,3-3 1-16,-3-2-19 0,0 5 14 16,0-5 4-16,3 2 19 0,-3-2-11 15,0 4-66-15,0-4 15 0,2 3-8 0,-2-3 26 0,0 0-10 16,2 4 10-16,-2-4 0 0,0 0 18 15,0 0-3-15,0 0-5 0,0 0 18 16,0 0 80-16,0 0-6 0,0 0-20 0,0 0 15 16,6-8 8-16,-4 4-36 0,-2 4 18 0,3-5-12 15,-1 3-22-15,1-2-2 0,0 1-20 16,-1 0 23-16,3 2-11 0,-5 1 14 0,3-6-34 16,-1 6 30-16,-2 0 6 0,6-3-8 0,-6 3-35 15,5-2 14-15,-5 2 16 0,0 0-35 0,10 2 42 16,-10-2-22-16,8 3 23 0,-6 0-42 15,4-1 24-15,-4-1-15 0,3 2 20 0,-2-1 12 32,-1 3-25-32,4-3-12 0,-4 2-9 0,3-2 14 0,-2 0 20 0,-3 1-21 0,0-3 13 15,4 4-28-15,-4-4 54 0,3 5-20 16,0-5 7-16,-3 0-21 0,3 3-35 0,-3-3-8 16,0 0 15-16,4 2 52 0,-4-2-36 0,0 0 15 15,0 0-3-15,11-2 11 16,-11 2-8-16,5-4-35 0,0 3 12 0,-5 1 20 0,8-1-22 15,-8 1 20-15,7 0-16 0,-7 0 14 0,11 0-8 16,-4 1 17-16,-4 1-22 0,5 1-8 16,-1-2 5-16,-2 2-10 0,1 0-13 15,1 0-18-15,-1 2-2 0,1-1-8 0,-2-2-59 0,1 1-57 16,1 1-40-16,-4-1-21 0,1-2-46 16,-1 1-48-16,2 2-18 0,-2-3-108 15,-3-1-38-15,3 1-485 0,-3-1 101 0,7-1 120 16,-7 1 54-16,10-5 64 0,-7 3 84 0</inkml:trace>
  <inkml:trace contextRef="#ctx0" brushRef="#br0" timeOffset="36829.57">15925 3401 993 0,'0'-4'363'0,"0"4"-28"15,0 0-30-15,0 0 12 0,0 0-43 16,0 0-38-16,0 0-16 0,-5 16-18 0,3-7-25 15,1 3-6-15,-3 1-12 0,1 5-8 16,3 1-23-16,-3 0-3 0,1 3-17 16,0 3 66-16,-4 1-20 0,4 1-11 0,-4 10-28 15,1-7-25-15,0-3-14 0,0 8-6 0,0-4-14 16,0-6 0-16,3 1-12 0,-4-2-3 16,4 0-18-16,-1-5 0 0,0 0-8 15,1-3-12-15,0 0 25 0,-1-3 3 0,3-1-21 0,-3 0-8 16,1-3 14-16,1 0 14 0,-1-2-4 15,2-1-3-15,0-2 23 0,0 0-7 0,0-4 32 16,2 2-27-16,-2-2 20 0,0 0-5 16,0 0 30-16,6-10 29 0,-3 4-82 15,-1-6 12-15,6-2 14 0,-4-1-19 0,4-3 26 16,0-1 62-16,0-1-31 0,5 0-8 0,-3 2 15 16,2 0 4-16,-1 4-14 0,-1 2-8 0,0-2-12 15,-2 4-23-15,2 3 18 0,-2-1-29 16,0 3 1-16,-1 1 9 0,-1 1 27 0,1 2-39 15,-2 1 12-15,-5 0 9 0,8 1 12 16,-5 2-43-16,2 2-16 0,-5 0 29 0,0 2-26 0,0 0 15 16,-3-1-36-16,0 4 34 0,-1-2-13 15,-4 3 5-15,3-3-23 0,-3 3-15 0,-2-3-11 16,2 2-7-16,-2-2-64 0,2 0-26 16,0 1-18-16,-2-3-43 15,3-2-26-15,1 0-51 0,-2-2-80 0,1 1-107 0,0-3-130 16,6 0-467-16,1 0 185 0,-5-5 26 0,3 0 48 15,2-1 62-15,2-1 84 0</inkml:trace>
  <inkml:trace contextRef="#ctx0" brushRef="#br0" timeOffset="37086.18">16166 3397 1136 0,'0'0'458'0,"0"0"-51"0,0 0-8 0,0 0-32 15,0 0-76-15,0 0-12 0,-2 20-15 0,2-11-29 16,0 3-9-16,0 1-32 0,-2 1 3 16,2 0 0-16,-1 2-40 0,-2 3-4 0,3-1 3 15,0 2-43-15,-2-1 5 0,0-1-21 0,1 0 0 16,-1 1-69-16,2-2-30 0,-3-1-39 0,1 1-21 16,2-3-66-16,-2 1-43 0,2-1-29 15,0-2-94-15,0 0-100 0,0-2-241 0,0 0-261 16,2-2 118-16,0 3 54 0,-2-5 89 0,3 1 49 15</inkml:trace>
  <inkml:trace contextRef="#ctx0" brushRef="#br0" timeOffset="37478.05">16328 3806 949 0,'15'-10'341'0,"-4"2"-27"0,-1 2-9 0,3-4-21 0,-1 1-30 0,2-1-16 16,-2-2-3-16,4 2-12 0,-4-1-13 16,-1 0-13-16,-1 3 8 0,-2 1 43 15,-1 0-36-15,0 1-15 0,-4 2 11 0,0 0-19 0,-3 0-46 16,0 4 19-16,-5-3-24 16,5 3-15-16,0 0-8 0,-13 4-66 0,5-1-21 15,0 2 18-15,1-1 20 0,-1 4-7 0,0-1-18 0,-2 3 16 16,2-2 1-16,1 1 63 0,2-1 12 15,0 3-10-15,2-2 10 0,1 1-28 16,2-1 20-16,0 0-22 0,0-1-32 0,2 0 3 16,4 2 16-16,1-1-16 0,0 1-2 0,1-2 0 15,3 0-21-15,-1 0-8 0,2-3-4 16,-1 0-29-16,6 1 10 0,-4 0-27 16,1-2 4-16,0-1-15 0,0 0-28 0,-1 0-38 15,-3-3-11-15,0 4-30 0,-2-3 2 0,2-1-38 16,-5 1-16-16,3 2-56 0,-3-2-31 0,0-1-53 15,-5 0-154-15,8 2-246 0,-6-1-243 16,4 0 95-16,-6-1 54 0,4 2 153 0,-4-2 90 16,0 0-6-16</inkml:trace>
  <inkml:trace contextRef="#ctx0" brushRef="#br0" timeOffset="38806.01">9569 3166 962 0,'0'-4'325'0,"0"0"-8"0,-2-1-48 16,0 3-26-16,-1-2-25 0,-5 2-26 0,-2 1-13 16,-3 1-13-16,-2 2-25 0,-6-1-20 0,-2 3-14 15,-3 1-12-15,1 1-1 0,-1-2-9 0,0 2 5 16,-1 1-98-16,3 1 10 16,1-1-9-16,1 2 2 0,3-3 5 0,-1 4 2 0,4-1 14 15,1 1-14-15,2 2 13 0,-2 1-17 16,4 5 7-16,-1 2 3 0,-2 11 17 0,7 1-9 31,-3 4-9-15,5 2 27-16,3 0-9 0,-1 7-2 0,3 3 16 0,-3 4-14 0,6 14-2 0,-3 3 21 0,0 2-8 0,-5 3 10 15,2 2 5-15,-3 3 64 0,2 0 8 0,1 5-10 16,-4 3-14-16,4 0 11 0,-10 20 3 16,2-1-95-16,-3 1 18 0,0-1 36 0,0-4-26 15,-3 1 7-15,0-3-9 0,4-17 12 16,-5 16 6-16,-3-3-1 0,7-17 6 0,-3-4-16 0,5 2 10 15,-4-2-4-15,1-2-11 16,0-2 2-16,2-1-9 0,0-3-14 0,1-5 8 16,1-5-7-16,4-9-3 0,-1-3 21 0,3-5 17 0,-1-4-51 15,1-7 8-15,5-3 0 16,-2-7-13-16,1-5 8 0,4 2 5 0,0-2-13 16,-1-1-5-16,4-1 5 0,-1-1-7 0,3 0 7 15,-1-3-8-15,8 3 24 0,-2-3-21 0,3 0 30 16,2-2-14-16,2-1-16 0,3 1 18 15,0-4-16-15,5 3 6 0,3-4 0 0,0-1-19 16,3 0 11-16,1-1 5 0,2 1 1 16,-2-1-40-16,-1-3-1 0,-3 4-42 0,1-1-10 15,-9 0-16-15,-2 1-20 0,-3 0-28 0,-2-1 13 16,-2 1-44-16,-3 1-12 0,-1-1-8 0,-2 0-16 16,-3 0-53-16,0 2-65 15,-5-2-40 1,6 4-420-16,-4-3 41 0,-2-1 66 0,0 0 106 0,5 1 61 0</inkml:trace>
  <inkml:trace contextRef="#ctx0" brushRef="#br0" timeOffset="40573.41">9483 5200 657 0,'-8'12'256'0,"5"-5"-13"16,0 0-20-16,3 4 41 0,-2-1-26 0,0 2-26 0,-1 0-7 0,0 1-23 0,3 3-21 16,-3-2-23-16,3 3-12 0,-2-4-16 15,0 1 0-15,2-1-13 0,-3-1-15 16,3 0 8-16,-3-1-14 0,3-3-24 16,0 0 12-16,-2 1-6 0,2-3 22 0,2 0-14 15,-4-4-84-15,4 2 18 0,-2-4 18 0,0 0 5 16,0 0-7-16,0 0 43 0,0 0 0 0,0 0-1 15,0-18-1-15,0 8-6 0,0 0 8 16,0-4 2-16,0-2-17 0,0-4 22 16,3-3 1-1,0-2 17-15,-1-4-17 0,0 3 28 0,-1 0 7 0,4 2-2 0,-3 4 71 0,1 2-2 16,2 3-31-16,-2 1-4 0,-1 3-17 0,4 0-12 16,-2 5-20-16,2 1 15 0,-1 3-6 0,3-1-4 15,1 6-3-15,-1-1-3 0,0 4-27 16,3 1 2-16,-1 4-11 0,0-2-2 15,0 3-10-15,0 2 0 0,-2 0 7 0,2 5-76 16,-2-4-21-16,0 1 24 0,-1-2 4 16,-2 4-17-16,1-4-19 0,-2 2 3 0,2-2-25 15,-4-1-26-15,1 1 0 0,0-1-18 0,-1-1-28 16,-2-1-3-16,2 0-18 0,-4 0-10 0,4-2-17 16,-4 1-11-16,2-2-36 0,-2 0-77 15,-1 1-43-15,0-2-259 0,1-1-184 0,0-2 51 16,-1 0 157-16,0-1 20 0</inkml:trace>
  <inkml:trace contextRef="#ctx0" brushRef="#br0" timeOffset="40783.08">9483 5375 1121 0,'0'-4'363'0,"0"4"-48"0,4-2-33 0,2-1-14 16,-6 3-22-16,10-1-105 0,-5-1 2 0,3 1-38 0,-1 1-5 16,1 0-26-16,3 0-23 0,-1 0-33 0,-3 0-23 15,1-1-26-15,2-2-74 16,0 3-51-16,0-2-125 0,-1-2-449 0,1 2 21 0,2-2 110 16,-4 2 36-16</inkml:trace>
  <inkml:trace contextRef="#ctx0" brushRef="#br0" timeOffset="40997.32">9769 5106 1052 0,'0'0'281'0,"-2"-4"-7"16,2 4 0-16,0 0-49 0,0 0-15 0,-8 9-18 0,8-3-15 15,-2 2-14-15,1 0-12 0,1 3 24 16,-2 1-40-16,2 2-9 0,-2 0-29 15,2 2-2-15,0 2-3 0,-3 1 51 0,3 0-35 0,0-3-24 16,-3 3-63-16,1 0-29 0,2-3-31 16,0-1-58-16,0 0-105 0,0-2-92 15,0-1-551-15,2-4 113 0,-2 2 28 0,3-3 69 16</inkml:trace>
  <inkml:trace contextRef="#ctx0" brushRef="#br0" timeOffset="41289.11">9913 5156 1049 0,'0'-5'328'0,"2"3"-24"0,-2 2-35 0,0 0-34 0,0 0 9 0,0 0-37 0,0 0-15 16,0 0-23-16,3 13-18 15,-3-8 2-15,0 3-19 0,3 0-4 0,-3 3-10 16,0-3-17-16,2 5-6 0,-2 0-23 0,0 1-22 15,0 0 6-15,0-2-58 0,0 1-7 16,0-4-39-16,0 1-13 0,0 2-23 0,0-4-38 16,-2 0-34-16,4 1-99 0,-2-7-119 0,3 5-401 15,2-3 16-15,-2-2 150 0,2 3 59 16</inkml:trace>
  <inkml:trace contextRef="#ctx0" brushRef="#br0" timeOffset="41671.03">10454 5108 957 0,'-12'0'361'0,"-4"3"-108"0,5-1-20 0,-1 1 15 0,-1 0-43 15,3 0-8-15,-3 2-15 16,2 0-13-16,1 0-5 0,0 1-26 0,0 1-2 15,2-1-14-15,1 2-1 0,1 2-1 0,4-3-30 0,-1 1-1 16,3 3-22-16,0-3 10 16,0 3-16-16,3-2-7 0,-3 1-6 0,5 2 75 15,0-1-2-15,0-1-27 0,0 1 4 16,0 0 1-16,1-2 6 0,-2-1-10 0,0-1-16 16,0 1-81-16,-4-2 45 0,3 1 16 0,-3-1-10 15,0-1-3-15,-3 2 10 0,-1-1-2 0,-2 1 0 16,-2-1 0-16,1 1-8 15,-6 0-16-15,2-2 22 0,-1 1-4 0,2 0-12 0,-3-4-3 16,0 2 18-16,2-3-33 0,-1 2-5 16,2 0-31-16,2-3-10 0,0 2-36 0,1 1-31 15,-1-2-40 1,3-1-39-16,0 1 0 0,5-1-16 0,0 0-7 0,0 0-59 0,0 0-56 16,0 0-62-16,0 0-448 0,0 0 39 0,15-7 61 15,-10 2 85-15,5 2 110 0</inkml:trace>
  <inkml:trace contextRef="#ctx0" brushRef="#br0" timeOffset="42222.53">10452 5271 1016 0,'0'-5'335'0,"0"5"-43"0,0 0-26 0,0 0-38 0,0 0 18 15,0 0-49-15,0 0 2 0,0 0-12 16,-11 11-43-16,8-5-11 0,1-2-18 15,2 3-8-15,-2-1 72 0,2 0-10 0,0 1-23 16,0-1-13-16,0 0-10 0,2 0-31 16,0 1-5-16,2-1-17 0,-2 1-4 0,3 0-4 15,0 0-9-15,-2-3 1 0,4 1-13 0,-2-3-3 16,3-1-4-16,0 2 7 0,-3-3-3 0,3 0-2 16,-1-3-3-16,1 1-5 15,0 1 16-15,-1-3 15 0,1 0-3 0,0 0 13 0,-3-1-13 16,0 0-17-16,0 0 4 15,-2 2 29-15,0-2 0 0,1 4-13 0,-1-3-6 16,0 3 16-16,-3 1-28 0,5-2-12 0,-5 2-6 16,0 0 10-16,0 0-8 0,7 7 1 0,-7-4-11 15,3 0-2-15,-3 2-10 0,3-2 10 16,1 3 20-16,-1-2-20 0,0-1-3 0,1 1 0 16,0-2-23-16,1 2 6 0,2-4 25 0,-2 0-1 15,1 1 24-15,-6-1 13 0,12-1 20 16,-6 1 13-16,1-4 16 0,1 2-14 15,-1-2-48-15,-1 1 11 0,-1-2 29 0,0 0-6 16,-2 0 9-16,1 1-27 0,-1-3 1 16,2 2 27-16,-3-4-19 0,-1 1-35 15,2 2 10-15,-3-2-5 0,2 2 23 0,0-1-26 0,-2 2-10 0,0-2-18 16,1 3-7-16,-1-1-44 0,2 2-29 16,-2-2-30-16,0 5-43 15,0-6-31-15,0 6-13 0,0-3-23 0,0 3-26 0,0 0-48 16,0 0-44-16,0 0-94 0,0 0-57 0,0 13-471 15,3-9 77-15,-1 1 128 16,1 0 80-16,2 1 65 0,-2-1 45 0</inkml:trace>
  <inkml:trace contextRef="#ctx0" brushRef="#br0" timeOffset="43021.98">10926 5357 977 0,'2'-5'333'0,"1"3"-16"16,-3-2 57-16,0 4-8 0,0-7-30 16,0 4-17-16,3-2-6 0,-3 1-50 0,0 4-14 31,0-8-4-31,-3 6-9 0,3 2-29 0,0-4-7 0,0 4-36 0,-5-4 20 0,5 4-33 16,-5-2-33-16,5 2-16 0,0 0-2 0,-8 6-26 15,6-4 34-15,-2 2-34 0,2 2-7 0,0-4-6 16,-1 4-18-16,0-1-7 0,3 1 26 15,0-3-55-15,0 2 14 0,0 0 17 16,3-3-17-16,0 4-19 0,2-3 14 0,0-1-16 16,0-1-13-16,5 2 10 0,3-2-63 15,-2-1-3-15,4-4 7 0,0 2 1 0,0-1 17 16,3-1 19-16,0-1 17 0,-2-1-25 0,1-1 5 16,-1 1-6-16,-3-1 34 15,0-2-5-15,-3 1 10 0,0 1-2 0,0 0 7 0,-2 1 29 16,0-1-9-16,-3 2 1 0,0-1 7 0,0 1-4 15,-2 2 12-15,0-2-36 0,-1 0 18 16,-2 3-7-16,0 2-1 0,0 0 6 0,0 0-1 16,0 0 3-16,0 0 16 0,0 0-34 15,0 0 11 1,-10 7-16-16,5-1 10 0,2-1-23 0,0 1 24 0,-1-2-6 0,1 5-20 16,2-2 5-16,-1-1-13 0,2 2 2 0,0-2-19 15,0 0 4-15,0 1-8 0,2-1-25 0,2 1 6 16,0-1-9-16,-1 0-10 31,5-2-2-31,-1-1 0 0,1 1-6 0,0-2 19 0,-1-2-1 0,1 0-2 0,2 0 5 0,-1 0 10 0,3-2 3 16,-2 1-3-16,0-4 13 0,1 0 10 15,-1 2 11-15,0-5 10 0,0 0 17 0,0 2 11 16,-2-3 16-16,0-1 12 0,0-1 20 16,-1-1-17-16,1-2 17 15,0-1 1-15,-3-3 0 0,2 0 12 0,-1-1-7 0,-1 0-11 16,1 0 18-16,-2 1-12 0,2 3-18 0,-4 3 22 15,3-1-25-15,-2 2 18 0,-3 1 13 0,2 3 13 16,-2-1-21-16,0 2-10 0,2 2 15 16,-2 1-43-16,0 3 15 0,0 0 20 0,0 0-15 15,0 0-10-15,0 0-10 0,-14 9-3 0,8 1-20 16,4 1 12-16,-4 3 9 0,4-1 1 16,-1 1-12-16,1-1 5 0,-3 3-41 15,5-2-5-15,-1-1 3 0,-1 0-13 0,2 1-34 0,0 1-20 16,2-3-44-16,-1 1-7 15,1-3-28-15,1 1-31 0,0-2-3 0,-1-1-25 16,3-2-21-16,-2 1 0 0,2-1-79 0,-2-1-74 16,4-3-13-16,-4 2-456 0,1-3 34 0,2-1 155 15,-6 0 39 1,8 2 54-16</inkml:trace>
  <inkml:trace contextRef="#ctx0" brushRef="#br0" timeOffset="43437.53">11393 5263 870 0,'0'0'350'0,"-6"-4"-27"0,6 4 0 0,-4-3-39 0,4 3-18 15,-1-3-33-15,1 3-21 0,0 0-12 0,0 0-13 16,8-6-31-16,-3 3-23 0,3 2 3 16,2-3-8-16,0 0-23 0,3 1-8 0,-1-1-8 15,7 0-76-15,-4-2-10 0,3 0-34 16,0 1 3-16,-2-2 0 0,-2 3-3 0,0-1 5 15,-1 2 9-15,-1-2 6 0,-2 3-12 0,-2-3 3 16,-3 3 20-16,1-2-13 0,-1 3 28 16,-3-1-12-16,-2 2 10 0,0 0 7 0,0 0-15 15,0 0 18-15,0 0 11 0,0 0-14 0,0 0-2 16,0 0-5-16,-15 5 7 16,15-5-2-16,-3 9-13 0,1-7 3 15,-1 3 2-15,0 3 8 0,3-2 0 0,0 1 5 0,-2 2-10 16,2-2 2-16,2 2 11 0,-2 0-8 15,3 0 94-15,0 1-17 0,-3-3-10 0,4 1 9 16,-3 2-7 0,1-2-12-16,1-1 14 0,-3 1 3 0,2 1-58 0,-2-2-22 0,0 1 6 15,-5-1-15-15,3 1 15 0,-1-2-13 0,-2 1-18 16,-2 0-38-16,1-1-18 0,-2 0-41 16,-2-2-46-16,3 0-31 0,-3 0-79 0,-1-3-129 15,1 2-472 1,2 0 81-16,0-3 64 0,1 1 95 0,7-1 66 0</inkml:trace>
  <inkml:trace contextRef="#ctx0" brushRef="#br0" timeOffset="43839.02">12856 5157 1249 0,'6'-4'289'0,"1"1"-20"0,3-2-6 16,4 0 47-16,0 2-36 15,5-2-16-15,1-1-27 0,0 2-21 0,7-1-21 16,-2 1-20-16,3-1 3 0,0 3-50 0,1-2-1 16,1 1-24-16,-7-1-43 0,0 3-36 0,3 0-23 15,-5 0-49-15,-3-1-18 0,0 2-61 16,-5-1-46-16,-1 1-92 0,-2 1-39 0,-4 1-18 15,-2 0-432-15,-1-1 15 0,-3 4 118 16,0-5 41-16</inkml:trace>
  <inkml:trace contextRef="#ctx0" brushRef="#br0" timeOffset="44073.96">12867 5239 749 0,'-3'1'313'0,"3"-1"2"0,0 4-29 0,0-4-14 0,0 0-22 15,0 0-91-15,18 0 23 16,-10 0-11-16,2 1 9 0,7-2 60 0,-1 1-38 16,3 0-4-16,3 0-7 0,4-2-22 0,-3-1-25 15,6 2-9-15,1 1-4 0,1-4-21 16,-3 1-25-16,0-1-21 0,3 2-21 0,-8-2-23 16,-2 2-20-16,-1 1 6 0,1-4-37 0,-6 4-25 15,0-3-26-15,-2 3-36 0,0-4-59 16,-2 3-84-16,-1-2-61 0,-3 2-482 0,-2-3 21 15,0 3 86-15,1-4 88 0,-1 1 5 0</inkml:trace>
  <inkml:trace contextRef="#ctx0" brushRef="#br0" timeOffset="44398.12">13148 5003 883 0,'0'0'291'0,"0"0"-12"0,6-6-2 0,-1 5-31 0,2-1-16 0,1 2-2 0,3 0-23 16,1 0 15-16,4 0-39 0,2 2 1 15,-1-1 5-15,4 2-15 0,2 0-37 0,-2 1 11 16,0 2 49-16,1-1 12 0,1 2-7 0,3 1-14 16,-8-2-1-16,0 2-14 15,0 1-81-15,-3 0 20 0,-4 1-23 0,-1 0 10 16,-2-1-15-16,-3 3 0 0,0-1-13 0,-5 3 13 15,-6-1-38-15,-4 5-6 0,-2-3 18 16,-11 9-25-16,-3 0-39 0,-2 1-20 31,-1-4-18-31,-2 1-44 0,0-2-38 0,1-2-38 0,-1 1-59 0,1-1-49 0,1-2-148 0,6-1-374 0,3-6-98 16,4 2 116-16,4-6 67 0,3 1 99 16,2-3 33-16</inkml:trace>
  <inkml:trace contextRef="#ctx0" brushRef="#br0" timeOffset="44939.28">14558 4947 829 0,'0'0'317'16,"0"0"-20"-16,0 0-20 0,0 0-39 0,-7 9-21 16,4-2-30-16,1 1-3 0,0 3-17 0,-1 2-16 15,-2 5-28-15,2 0-3 0,-2 7-15 16,2-1-3-16,-4 2-25 0,4-1-15 0,-2 0-32 16,0-3-43-16,2 2-2 0,1-1-39 15,-3-4-33-15,5 0-53 0,-3-1-32 0,3-3-30 16,-3-3-44-16,3 0-483 0,3 1 20 15,-3-5 148-15,1 0 16 0</inkml:trace>
  <inkml:trace contextRef="#ctx0" brushRef="#br0" timeOffset="45292.85">14497 5019 1021 0,'5'-12'302'0,"-2"0"-38"16,2 1-1-16,3 4-17 0,-1-1-21 15,3 3 46-15,-1-1-9 0,3-1-14 0,1 3-20 16,3 1-34-16,1 3-2 0,-1-1-33 0,1 2-8 16,-1 0-28-16,-1 4 2 0,4-2-15 15,-1 4-23-15,-6-1 18 0,-1 2-13 0,-1 0-15 16,-2 1 5-16,-1 1-10 0,-4 2-11 0,-3-1 16 15,-3 1-5-15,-2-1-6 0,0 3-7 16,-5 0-26-16,-1-1 19 0,-2-1 4 0,-2 1-41 16,-3-1-12-16,3-3-26 0,2 1-3 15,0-3-23-15,0 0-27 0,3-1-24 0,0 0-26 16,-1-1-30-16,4-3-74 0,-1 2-95 16,3-2-49-16,0 1-209 0,5-3-152 0,0 0-20 0,0 0 71 15,0 0 60-15</inkml:trace>
  <inkml:trace contextRef="#ctx0" brushRef="#br0" timeOffset="45641.25">14803 5070 624 0,'2'6'210'16,"0"-1"-23"-16,-2 1-18 0,0-1-23 16,3 3 5-16,-3 0-39 0,0 3 14 0,3 0-24 15,-1 0-5-15,0 0 72 0,1 1-15 0,2 0-13 16,1-1-11-16,1-1-22 0,-1 1 7 0,4-3-18 15,0 1-15-15,0-3 5 0,1 0-15 0,1-3 10 16,1 1 7-16,-3-4 32 0,5 1 17 16,-2-2-72-16,-3-1 9 0,4-1 30 15,-2-1 15-15,-3-1 80 0,-2 0-1 0,0-4-2 16,-1 4-7-16,-4-4 2 0,0 1-34 16,-4 2-25-16,0-1 29 0,-4-4-114 0,1 5-14 15,-2-2 14-15,-3 2 1 0,-1 1-23 0,-1 0-9 16,-2 2-14-16,-1-1-39 0,0 3-20 15,0 1-21-15,-1-1-25 0,1 2-24 0,2-1-32 16,2 0-37-16,-1 0-71 0,1 1-116 16,1 2-66-16,5-2-391 0,-2-1 40 0,7 0 90 0,-6 0 141 15,6 0-11-15</inkml:trace>
  <inkml:trace contextRef="#ctx0" brushRef="#br0" timeOffset="46122.66">15089 4953 1013 0,'0'0'364'0,"0"0"-21"15,0 0-13-15,0 0-49 0,-10 16-14 0,8-6-24 16,-1 2-18-16,1 5-2 0,-1 2-42 16,0 1-17-16,1 7 3 0,0-1-24 0,-2 1-15 15,2 10 5-15,-3-5-36 0,5-3-7 0,-3 2 17 16,1-4-32-16,0 2-1 0,2-2-18 15,-1 2-12-15,-1-3-31 0,2-6 15 0,0 2-18 16,-3-2 8-16,3-4-3 0,3 0 6 0,-3-2-6 16,-3-1 0-16,3-2 14 15,0 0 35-15,0-4-34 0,0 1 34 0,-2-1-10 0,2-2 2 16,2 0 44-16,-2-5-10 0,0 3-11 0,0-3 29 16,0 0-19-16,0 0-63 0,0 0 20 15,0-16-21-15,-2 7 27 0,4-1-4 16,1-8 9-16,0-1-42 0,4-6 18 0,0-10 0 0,4 1-9 15,4 2-4-15,1 1 21 16,-3 1-15-16,0 8 9 0,2 5 9 0,-5 1-26 0,-2 3-13 16,5 5 15-16,-6-2-4 0,3 4 4 15,1 0 16-15,-4 3-31 0,-1 2 16 0,-1-1-9 16,-5 2 9-16,10 3-16 0,-7 1 13 16,-1 0 18-16,-2 1-18 0,-2 2 5 0,-3 1 2 15,-3 2-12-15,0-2 10 0,-2 3-23 0,-3-3-18 16,0 3-2-16,-2 1-47 0,2-5-22 15,-2 4-34-15,-1-4-31 0,6-1-20 0,-3 1-15 16,3-1-47-16,0-3-58 0,2 1-103 16,0 0-79-16,3-3-433 0,0 0 103 0,5-1 36 15,0 0 61-15,0 0 102 0</inkml:trace>
  <inkml:trace contextRef="#ctx0" brushRef="#br0" timeOffset="47707.88">15336 5191 1105 0,'0'0'387'0,"0"0"-49"0,0 0-34 0,0 0 11 0,0 0-41 16,0 0-26-16,0 0-10 16,-8 11-105-16,8-6 3 0,-3-1-10 0,3 0-19 15,-2 0-10-15,2 1-20 0,0-2 0 0,0 3 2 16,0-1 3-16,0 0-10 0,0-3-13 16,0 3-3-16,2-2-7 0,0 0 12 0,-1 2-25 15,2-3 51-15,-3-2-31 0,5 3 29 0,0-1 76 16,-5-2 0-16,7 0-5 0,-7 0-23 15,0 0 21-15,10-4-49 0,-10 4 3 16,6 0-11-16,-6 0-23 0,0 0-10 0,8 2 23 0,-6 1-43 16,1-1 35-16,-1 2-25 0,3 1-3 15,-4-2-3-15,3 1-14 0,1 2 2 16,-2 0-26-16,3 0 0 0,-2-2 11 0,4 1-9 16,-3 0-1-16,2-2 17 0,-1-1-5 0,2-1-8 15,-1-1-12-15,1-3 25 16,0 0 13-16,2-1-8 0,0 1 16 0,1-4-83 0,-1-2 40 15,-2 0-1-15,2-2 87 0,0-1 13 0,0-1 18 16,-5-1 15-16,3-4-36 0,-2-4 24 16,1 0-37-16,-2-2 1 0,0 0 10 0,0-1-6 15,-2 0-19-15,2 0-6 0,-2 4-15 16,2 3-3-16,-3 1 0 0,-1 4 18 0,1-1-41 16,0 4 18-16,1 2-5 15,-3 0-13-15,0 3-61 0,0 4-8 0,0 1-2 0,0 0-3 16,0 0-3-16,-5 13 26 0,3-5-3 0,-1 3-12 15,0 3 15-15,0 3-51 0,1 1-6 16,-1 2-7-16,3 0 0 0,0-1-36 0,3 1-20 16,-1 0 7-16,4-3-56 0,-1 5-10 0,3-4-15 15,-3-4-24-15,5 0 13 0,-2-1-12 0,2-1 9 16,2-1-25-16,-1-4 0 0,-1-1 8 16,3-1 58-16,0 0 9 0,0-2-147 15,4 1 0-15,-1-3 88 0,-1-1 27 0,1 0-53 0,-1 0 36 16,1-1 35-16,-4-3 34 0,4 2 33 15,-6-2 54-15,3-1 48 0,-1 2 13 16,-3-2 52-16,1-1 15 0,-2 2 51 0,-1-3-6 16,0 0 19-16,-1 4 2 0,-1-3 11 15,-2 0 10-15,-1 0 7 0,1 0-10 0,-3 1-2 16,0 3 2-16,0 2-20 0,0-6-18 0,0 6 10 16,-5-4-15-16,5 4-21 0,-6 0 5 0,6 0-30 15,-10 0 7-15,10 0 6 16,-8 4 7-16,4-1-18 0,-2 0-8 0,3-1 6 0,-2 1-16 15,0-1 3-15,3 3-13 0,-3-3-10 16,2 3 0-16,3-3-8 0,-2 2-13 0,2-4 3 16,0 8-10-16,2-3-11 0,-2-3 8 0,0-2-10 15,5 6 8-15,0-2 12 0,-2-3-18 16,4 3 8 0,-1-2 8-16,1 1-10 0,1 0 4 0,2-1 24 0,-2-1-28 0,0 2 4 15,2-3 14-15,-3 2-21 0,1-2 12 0,2-2 16 16,-1 2-5-16,1-4-5 0,-2 2 39 0,2-3 7 15,0 0-13-15,0 2 33 0,1-3 13 16,-4 0 26-16,4-3 92 0,-4 1 23 16,1-1-15-16,-1-2-3 0,-2 0-2 0,1-3 14 0,1 2-104 15,-4-3-15-15,2-2 5 0,0 0-3 16,-3 0-23-16,1 0 87 0,0 1-28 16,-1 2 5-16,0 2 0 0,-1 0 8 0,-1 4-13 0,3-2 10 15,-6 2-20-15,6 2-39 16,-6 1 34-16,3 3-6 0,0 2-48 0,0 0-20 15,0 0 43-15,0 0-8 0,-8 12-33 0,5-4-13 16,1 2-36-16,-3 0-7 0,5 3-18 0,0 1-1 16,0 1-22-16,3-3-23 0,-1 2-29 0,0 0-25 15,1-2-15 17,2 0-60-32,-2 0-19 0,2-1-4 0,0 0-48 0,-2-3 10 0,0-2-17 0,1 1-37 0,1 0 1 0,-2-2-119 0,-1-2-14 15,2 0 43-15,-4-3 74 0,2 2 8 16,-2-2-19-16,0 0 65 0,0 0 28 15,0 0 87-15,0 0 52 0,-8-10 42 0,3 7 52 0,-2-2 41 16,-1 3-5-16,0-2 43 0,0 1 21 16,-2 2 28-16,3-3-8 0,-2 2-7 15,2-1 20-15,-1 0 18 0,1 0-10 0,1 0 10 16,2-1-16-16,0 3-12 0,2-3 18 0,2 0-21 16,0-1-15-16,2 0-2 0,2 0-9 15,3 0-4-15,3-1 15 0,-2-2-16 0,7 0 3 16,-2 1-2-16,3-3 94 0,-1 3-33 15,1-1-5-15,1 2 8 0,1 0 14 0,-2 1-29 16,-4 0-1-16,1 2-23 0,0 1 5 16,-2-1 11-16,-1 3-26 0,0 0-3 0,0 4 13 0,-2-2-7 15,-1 3-6-15,1 0-5 0,-3 3-2 0,3 0-11 16,0 2 8-16,-1 2-7 16,-2-4 20-16,1 5-13 0,-2-2-15 0,2 1-21 15,-4-3 5-15,1 1-81 0,0-3-62 0,-1 1-18 16,1 2-54-16,-1-4-89 0,-2 0-149 15,3-2-478-15,-1-1-41 0,1 0 94 0,2 0 124 16,-5-3 42-16,10 0 70 0</inkml:trace>
  <inkml:trace contextRef="#ctx0" brushRef="#br0" timeOffset="47861.91">16538 4979 977 0,'-5'-2'236'0,"5"2"-72"16,0 0-141-16,-13 4-223 0,13-4-445 0,-3 1 95 16</inkml:trace>
  <inkml:trace contextRef="#ctx0" brushRef="#br0" timeOffset="48468.46">16610 5005 765 0,'0'0'325'0,"0"0"-15"0,-15 12-29 0,12-9 3 16,-2 4-35-16,0 0-29 16,0 3-23-16,0 1-15 0,1-1-8 0,0 0-39 15,2 2-12-15,1-4 3 0,-2 5-9 0,3-4-12 16,0 0-10-16,4 1-21 16,-2-2-12-16,0-2 2 0,4 1 5 0,1-1 0 0,0-2-15 15,1-2-1-15,1-1 9 0,-2 1-19 0,3-2 6 16,1-2-16-16,-1 1 44 0,-3-1-36 15,3-1 90-15,-2-2 14 0,0-1-29 0,0-1 4 16,-3-1-38-16,-3 2 7 0,3-1-9 0,-4-1 2 16,-1 0-8-16,0 1-8 15,0 2-14-15,-1-2 17 0,-4 2-15 0,2-2-11 16,-1 4-7-16,-2-3-16 0,-1 2 21 0,2 1-15 16,-1-1-13-16,2 3 10 0,1-4-10 15,-2 4-1-15,5 1 4 0,-5-4-14 0,2 3-7 16,3 1 33-16,0 0-12 0,0 0-27 0,0 0 6 15,0 0 5-15,0 0-12 16,13-2 12-16,-13 2 2 0,11 2 1 0,-1-1-6 0,-3 2-2 16,1 3 13-16,0-4-16 0,0 2-5 15,-1 3 16-15,0-1 4 0,-1-1-7 0,-1 2-2 16,2-1-1-16,-1 0 8 0,-3 1-15 0,1-1 20 16,-1-1-10-16,0-1 18 0,-1 1 0 15,0 1 3-15,-2-4 17 0,4 1-17 0,-2 1 66 16,-2-1-46-16,0-3 46 0,5 5-69 15,-5-5-6-15,5 1 1 0,-5-1 20 0,10-1-2 16,-10 1 7-16,8-4 11 0,-3 3-39 0,3 1 24 16,-8 0 27-16,12-1-35 0,-6 2-8 15,4-1-6-15,-2 2-9 0,2 2 92 16,0-4-39 0,-2 3 23-16,2 0 1 0,-2 1-14 0,0-1-40 0,2-2-26 0,-2 2-23 15,-1-1-46-15,1-1-16 0,0 1-53 0,0 0-36 16,-8-2-46-16,12-4-39 0,-4 3-97 0,0-1-150 15,2-2-490-15,-3-3 67 0,3 0 112 0,3-5 49 16,-2 0 90-16,-1-1 41 0</inkml:trace>
  <inkml:trace contextRef="#ctx0" brushRef="#br0" timeOffset="49231.18">16610 2908 755 0,'21'1'281'0,"4"-1"-35"0,1 2-5 0,5 1-16 15,12 2-13-15,3 2-12 0,3 0-21 16,2 1-20-16,-2 2-8 15,-1 2-8-15,-1 0-10 0,-4 2 0 0,1 1-10 0,-5 3-18 16,-4 0 21-16,1 6-21 0,-7 0-11 0,-4 1 3 16,-2 5-22-16,-5 2-9 0,5 14-7 15,-5 4 5-15,-2 4-5 0,-1 5-8 0,0 3-2 16,-2 5-8 0,3 2 10-16,-4 3-8 0,4 2 29 0,-1 4 2 0,5 18-4 0,-2-17 22 15,-2-4-16-15,-1 3 6 16,-2 0 31-16,0 0-13 0,-2 1 10 0,-1-4-10 0,0 0-18 0,0-3-8 15,-2 1-10-15,2-2-5 16,-3 0 2-16,1-1-28 16,2-1 21-16,1 0-15 0,-1-2 4 0,3-2-5 0,-3 1-12 0,0-3-16 15,3-2 18-15,-5-5-12 0,-1 1-26 16,1-10 17-16,0-1-25 0,-3-2 18 16,3-3-5-16,-1 0-13 0,-2-4 6 0,3 0 12 0,-2-9-18 15,-2-4-18-15,-1-6 20 0,4 1-17 0,-1-3 8 16,-1 0 12-16,3-2-10 15,-1 1 10-15,-2-6-23 0,-2 2 18 0,2-3-2 0,1 1 17 16,-4-1 18-16,3-2 3 0,-5-1 28 16,0-3-15-16,0-2 31 0,-3 6-1 0,-1-5 0 15,4-1 1-15,-16 1 89 0,1-1-26 16,-3 1 1 0,-6-1 17-16,-7 3 0 0,-17-3-35 0,-3 0-39 0,-8 2 5 0,-21 1 21 0,-2 1-31 15,-8 1-56 1,-4 0-31-16,-9-1-80 0,-33 1-66 0,0 5-43 0,-5 3-95 0,-10 1-328 15,5-3-425-15,-5 2 100 0,-5 0 131 0,-1-1 71 16,-7 0 65-16,-5 0 71 0,-8 0 92 16</inkml:trace>
  <inkml:trace contextRef="#ctx0" brushRef="#br0" timeOffset="78480.81">4216 8713 1116 0,'0'0'366'0,"0"0"-41"0,0-5 56 15,0 5-48-15,0 0-16 0,0 0-17 0,-5 17-26 16,5-10-24-16,-3 5-27 0,1 6-23 0,-3-1 20 16,2 1-31-16,-2 6-40 0,-3 2-1 15,-2 8-4-15,0 1-4 0,0-1-32 0,-1-2-13 16,-1 1-3-16,4-5-26 0,-5 2-22 0,5-6-3 16,-2-3-54-16,4-3-28 0,-3 2-3 15,4-6-37-15,-1 4-27 0,2-7-15 16,-2 1-20-16,1-3-59 0,2 1-49 0,-1-3-85 0,3-1-309 15,-1-2-217-15,2-1 63 16,0-3 152-16,0 0 17 0,0 0 85 0</inkml:trace>
  <inkml:trace contextRef="#ctx0" brushRef="#br0" timeOffset="78757.62">4032 8811 888 0,'0'-4'430'15,"0"1"-23"-15,0 3-62 0,0-7-22 0,4 5-52 16,-4 2 16-16,8-1-13 0,-8 1-34 16,13 1 11-16,-5 2-31 0,4-1-30 0,2 5-19 15,-2-1-7-15,3 0-41 0,1 0 7 16,-1 1-7-16,1 3-10 0,-3-2-16 0,2-1-7 15,-4 0-1-15,3 1-30 0,0 1-15 0,-4-2 10 16,0-1-49-16,0 0-41 0,-2 1-8 16,-1-1-68-16,2 0-39 0,-2 0-54 0,1-1-143 15,-6-3-128-15,3 3-395 0,1-2 42 0,-2 0 89 16,2-2 90-16,-1 2 77 0</inkml:trace>
  <inkml:trace contextRef="#ctx0" brushRef="#br0" timeOffset="79027.22">4496 8776 1295 0,'0'0'363'16,"-10"-1"-48"-16,10 1-13 0,-13 1-5 15,5 4-26-15,-3 1-40 0,1 0-24 0,-2 1-28 0,-2 6-10 16,2-2-18-16,-3 3 3 0,-1 3-39 0,1-3 0 15,-1 5-25-15,1-1-11 0,0 1-25 16,-4 4-13-16,2-4-31 0,4-4-25 16,3 0-47-16,0-2-38 0,1 2-56 0,2-2-89 15,0-3-50-15,3-1-550 0,-1-2 39 16,3-1 182-16,2 0 4 0,0-1 57 0</inkml:trace>
  <inkml:trace contextRef="#ctx0" brushRef="#br0" timeOffset="79288.09">4465 8819 1072 0,'0'0'363'0,"2"-3"-58"0,-2 3-18 16,0 0-31-16,0 0-3 0,10 5 8 0,-9-1-30 15,4 3-14-15,-3 2-4 0,4 1-42 0,-4 3 19 16,0 2-14-16,1 2-30 0,-3 4-13 15,0-1 13-15,0 4-51 0,-2 2 2 0,-1-1-20 16,1-1 2-16,-4 2-25 0,-1-3-23 0,2-1-44 16,-1 2-28-16,1-4-31 0,0-3-33 0,1-1-35 15,0-2-68-15,1 0-55 16,1-4-106-16,-5 0-87 0,7 1-353 16,0-6 80-16,2-1 30 0,1 0 100 0</inkml:trace>
  <inkml:trace contextRef="#ctx0" brushRef="#br0" timeOffset="79658.98">4719 9066 1023 0,'0'0'366'0,"0"0"-38"16,0 0-16-16,0 0-17 0,0 0-29 0,0 0-20 15,-11 10-21-15,9-5-36 0,-1 3 3 16,1 1-33-16,-1-1-16 0,3 4-22 0,-2-1-14 15,2-2-12-15,-1 4-11 0,2-2 3 16,1 2-15-16,1-4-13 0,2 1-16 16,0-1-4-16,2 1-14 0,1-4 9 0,0 1 4 15,2-2-7-15,-2-4-11 0,2 2-2 0,-2-1 3 16,2-2 9-16,3-1 6 0,-5-2 41 16,2 1-33-16,-3-3-4 0,1 2 99 0,-2-4-16 15,-2-2 2-15,2 1-2 0,-6-2 0 0,0 1-18 16,0-2 0-16,-3-2 7 0,-2 1-7 15,0-1-5-15,-2 1-28 16,1-1-21-16,-2 5 15 0,-2-3-4 0,0 5-47 0,-1-1 16 0,1 1-44 16,-3 1 13-16,1 3-56 0,-1-1-18 15,2 2-49-15,-1 4-41 0,-1-1-54 16,0-1-140-16,0 3-126 0,6-1-481 0,-4 2 59 16,4-4 110-16,1 4 97 0,2-4 46 0,1 2 129 15</inkml:trace>
  <inkml:trace contextRef="#ctx0" brushRef="#br0" timeOffset="80520.08">5104 8813 906 0,'4'-2'355'0,"-4"2"-22"0,0 0 0 0,0 0-39 15,10 7-33-15,-7-1-28 0,0 1-2 0,-1 1-39 16,1 4-8-16,-3 6-23 15,0 1-15-15,3 0-10 0,-6 5-16 0,3 1-23 0,0 1 1 16,0 2-24-16,-3-3-33 0,3-3 5 16,0 1-3-16,0-3-25 0,3-1-5 0,-3-3-13 15,3-2-23-15,-1-1 23 0,1 0-5 0,2-2-8 16,-3-3 11-16,1 1-4 0,2-4 12 0,-2 0 4 16,2 0-13-16,-3-3 24 15,1 1-8-15,-3-3-6 0,0 0-2 0,0 0 11 16,0 0-6-16,0 0 10 0,5-9-2 0,-5 9 11 15,-5-7-1-15,2 3 2 0,-4 0-7 0,1-1 3 16,-1-1 25-16,-1 0-25 0,0 3-1 16,0-1-2-16,1-2 11 0,-3 6-6 0,0-4 3 15,2 3-19-15,-2-1 19 0,2 2-13 16,-2 3 8-16,1 0-19 0,2-2 4 0,-3 3 4 16,3 0-2-1,1 0-3-15,1 3-13 16,-2-3 21-16,4 2-28 0,-3-3 2 0,4 3 19 0,2-1-14 0,-2-1 11 0,2-4 5 15,4 8 2-15,2-6-20 0,-1 2 5 0,5-3-8 16,0-1 0-16,3 0 3 0,2-1-10 0,1-3 18 16,1 3 25-16,2-5-31 0,1 3 3 15,-2-2 10-15,0-2-17 0,0-1 9 0,-2 0-4 0,-1-1 12 16,3-1 0 0,-5 3 3-16,-1 0-16 0,-1-1 32 0,-1 2-24 0,-2 3 7 15,0-3 6-15,-4 3-13 0,2 0-7 0,-4 2 10 16,-2 1 7-16,0 0-2 0,0 0-3 0,5 8 3 15,-5-3-26-15,0-1 16 16,0 1-6-16,0-1-2 0,0 2 2 0,0-1-2 16,3 2 8-16,-3-1-6 0,2-1-2 0,1 0-5 0,2-2 10 15,-2 2-8-15,5-4 18 16,-1 3-20-16,1-3-13 0,2-1 28 0,3-1-12 0,-3-3-1 16,5 2-2-16,-2-2 7 15,0-3-15-15,0 1 21 0,-1-5-6 0,2 3-2 0,-4-4 31 16,0-1-14-16,1-1-1 0,-4-3 4 15,-1 2 8-15,1-4 15 0,-5-1-25 0,1-1 3 16,-3 6 2-16,0-1 17 0,0 2 6 16,0 1 5-16,-2 2-5 0,-1-1 8 15,0 5-8-15,0 1 2 0,-1 5-2 0,-2 0 3 0,6 1 33 16,-15 6-11-16,7 2 11 0,-1 3-23 0,0 3 10 16,-1 5-5-16,0 0 0 0,2 0-8 15,3 4-10-15,0-4-5 0,3 0-26 16,1-5 26-1,2 4 15-15,1 1-31 0,3-1-15 0,3-4 16 0,-3 2-24 0,3-2-15 16,2 0-25-16,-2-5-31 0,2 0-11 0,-2-1-53 16,1-2-8-16,2 1-54 0,-4-3-48 0,1 0-92 15,-3-1-162-15,3-2-460 0,0 2 114 16,-3-2 57-16,1-1 77 0,-6 0 95 0</inkml:trace>
  <inkml:trace contextRef="#ctx0" brushRef="#br0" timeOffset="81470.22">6516 9031 1141 0,'5'-11'338'0,"-2"3"49"15,1-3-19-15,0 3-17 0,-2-3-34 0,1 3-30 0,-1-5-21 0,1-1-28 16,1-1-13-16,-3-1-76 0,4-1-26 0,-5-1 15 15,2 5 5-15,-2-4-51 0,0 4 57 16,0 1-11-16,1 2 18 0,-2 1-15 0,1 0 2 16,-2 3-58-16,-1 2-13 0,3 4 7 15,0 0 72-15,-7 9-21 0,2 1 9 0,0 7-27 16,-1 1-30-16,1 8-13 0,-3 9 23 0,0 4-17 16,1-1-22-16,2 1-22 0,0 3-13 15,2-3 23-15,-2 4-69 0,2-4 23 0,1 1-44 16,0-8-12-16,1-5 9 0,-1-2-22 0,2 0-28 15,0-6 2-15,0 3-25 16,0-2-19 0,0-6 16-16,0-1-56 0,0 0-11 0,0-4-50 0,0 0-37 0,-3-3-117 0,3-2 2 0,-2-2-2 15,2-2 38-15,-6 0-143 0,6 0-67 16,0 0 161-16,-10 0 177 0,10 0 54 16,-10-3 100-16,5 0-3 0,-3 2 8 0,3 0 45 15,-2-2 12-15,1 2 24 0,1-2 34 0,-2 0 46 16,2 3-2-16,-1-3 40 0,1 0-10 15,0 1 11-15,0-2 4 16,0 1-12-16,2-1-5 0,3-2 4 0,-3 4-7 0,1-4 11 0,4 0-1 16,1-1-2-16,0-1 66 0,-1-1 8 15,6 1-18-15,-3-2-7 0,3-3-4 0,2 1-12 16,0-1 8-16,3-6 23 0,-2 1-23 0,1-1 12 16,3-10-2-16,-4 6-44 0,2-8 32 15,0 1-24-15,-1-2 7 0,1 2-1 0,-2 4-19 16,-4 4-41-16,3 1 62 0,-2 2-13 15,0 5 23-15,-3 3-2 0,0-1-101 0,-3 2 1 16,1 1-11-16,2 3-7 0,-3 1 23 16,-1 3-13-16,-1 2 12 0,0 0 4 15,0 0-4-15,2 13-24 0,-2-6-1 0,-2 7-5 0,1 1 10 16,-3 3-5-16,1 0-20 16,0 3-16-16,-2 0 1 0,0 2-29 0,3-3-36 0,-1 5-15 15,3-6-36-15,-3 2-13 0,3-2-2 16,0-3-26-16,0 3-40 0,3-5 24 0,0 0-63 15,2-2-25-15,-2-3-93 0,4 3-85 16,0-5-291-16,1 0-56 0,0-4 14 0,0-1 124 16,2 1 74-16</inkml:trace>
  <inkml:trace contextRef="#ctx0" brushRef="#br0" timeOffset="82044.92">6890 9150 965 0,'0'0'401'0,"-7"-3"-40"0,7 3-36 0,-10 1-99 15,4-1-1-15,-2 2-20 16,1-1-1-16,-1 3-32 0,-2-2-6 16,2 3-12-16,0-2-21 0,1 1 0 0,-1 2-7 0,0 0-14 15,1-2-7-15,2 2-33 0,2-1-3 16,-4 2-3-16,4 0-7 0,0-3-5 0,1 1 18 15,2 1-19-15,0-1-37 0,0-5 15 16,2 6-3-16,1-5-13 16,0 2 0-16,1-1 16 0,-4-2 0 0,13 2-21 0,-7-2-5 0,3 0 0 15,-3 1 6-15,4 4-6 0,-5-5 2 16,3 2 6-16,2 1-8 0,-2-2-7 0,-1 2 17 16,4 1-15-1,-4-3 10-15,1 1-5 0,2-1 88 0,-2-1-24 0,2 1 15 0,-2-2-10 16,3-2 1-16,-1 2 14 0,0-2-4 15,-3-1-16-15,4 0-56 0,-1-1 17 0,-2 1 29 16,1-4 49-16,-1-1-44 0,0 1 10 0,0-2-13 16,-1 1 16-16,1-5-13 0,-2-2-13 15,-1 3 6-15,2-5 7 0,-2-1-5 0,0 4 7 16,-2-4-12-16,2 1-31 0,-2 1 23 16,2 5 0-16,-5-1 82 0,3 0 23 0,-1 5-20 0,0-2-29 15,-1 4-36-15,-1 4 42 16,2-2-34-16,-2 4-5 0,0 0 3 0,-7 11-26 0,4-3 21 15,0 5-37-15,-1 0 37 0,1 4-34 16,0 0 18-16,1-2-35 0,1 2-6 16,0-3-18-16,3 5-25 0,0 0-8 0,1-2-20 15,0 0-42-15,1-3-15 0,-1-1-40 0,2 0-14 16,0-1-27-16,1 1-34 0,1-7-41 16,-2 3-69-16,0-2-118 0,3-4-256 0,-3 2-278 15,3-4 165-15,-3-1 37 0,2-1 61 0,1 0 61 16,-3-3 77-16</inkml:trace>
  <inkml:trace contextRef="#ctx0" brushRef="#br0" timeOffset="82295.2">6939 9057 982 0,'0'0'400'0,"-10"0"-9"0,10 0-37 0,0 0-24 15,0 0-23-15,0 0-56 0,0 0 76 0,0 0-37 16,0 0-29 0,25 0-3-16,-15 0-43 0,6-1-28 0,1 0 0 0,2 0-21 15,4-2-40-15,0 2-31 0,0 0-14 0,3 1-60 16,-3-3-31-16,0 1-44 0,0 2-46 16,-6 0-43-16,0 0-100 0,0-1-118 0,-1 2-558 0,-1-1 56 15,-2 0 111-15,2 2 89 0,1 1 53 16</inkml:trace>
  <inkml:trace contextRef="#ctx0" brushRef="#br0" timeOffset="82718.64">7883 9070 1164 0,'0'0'374'0,"-6"-1"-23"0,6 1-90 16,0 0-31-16,0 0-18 0,0 0-20 0,20-1-23 16,-11 0-5-16,1-2-36 0,2 2 0 15,4 1 0-15,-1-1-54 0,1-1-5 0,2 0-51 16,0 1-12-16,-3 0-47 0,1 1-31 0,-4-1-15 15,-1 0-85-15,1 1-78 0,-2 0-14 16,0-1-13-16,-2 2-429 0,-2 0-3 16,-3 1 166-16</inkml:trace>
  <inkml:trace contextRef="#ctx0" brushRef="#br0" timeOffset="82961.62">7693 9189 985 0,'-13'0'376'0,"6"2"-35"0,1-1-98 0,3 0-5 0,3-1-31 16,0 0-5-16,0 0-30 0,0 0 7 16,0 0 52-16,0 0-22 0,21 1-19 0,-8-2-19 15,3 0-32-15,6 0 9 0,-1-2-25 16,5 3-3-16,4-4-10 0,1 1-38 0,0 1-13 16,-1-2-26-16,1-2-7 0,-3 5-57 0,1-5-15 15,-8 2-26-15,-1 2-5 0,-2-3-43 0,-3 3-57 16,1-2-53-16,-4 1-72 0,-2-1-504 31,-1 2 86-31,-2-2 32 0,0 0 15 0,-1 0 61 0</inkml:trace>
  <inkml:trace contextRef="#ctx0" brushRef="#br0" timeOffset="83234.53">7962 8933 965 0,'8'-2'358'0,"2"2"-15"16,0-1-31-16,3 0-12 0,2 1-29 15,1 2-15-15,4-2-97 0,1 5-3 0,-1-1-10 16,3 4-6-16,1 0 1 0,-2 2-23 0,-3-1 79 16,1 4-31-16,-5 0 9 0,-1 0-19 15,-2 4 0 1,-4-2-5-16,-3 2-21 0,-3 1-40 0,-5 1 35 0,-1 2-53 0,-9 9-13 0,-5 0-13 15,-2 1-59-15,-4 1-35 0,-7 4-37 16,-2-1-66-16,3-6-159 0,-7 8-143 0,12-11-481 16,-3 2 84-16,2-4 136 0,1-2 56 15,-1 0 69-15</inkml:trace>
  <inkml:trace contextRef="#ctx0" brushRef="#br0" timeOffset="86419.95">9011 8994 84 0,'0'0'43'0,"0"0"-66"0,0 0 72 0,0 0-41 0,0 0 22 15,0 0-4-15,0 0-11 0,0 0 47 0,0 0-57 16,0 0-15-16,0 0 0 0,0 0 35 16,0 0-17-16,3-6 7 0,-3 6-30 15,0 0 15-15,0 0-10 0,0 0 35 0,0 0-38 16,0 0 29-16,0 0-4 0,4-2-14 0,-4 2 12 15,0 0 26-15,0 0-18 0,3-4-44 16,-3 4 14-16,0 0 68 0,5-2-41 16,-5 2 16-16,2-5 20 0,-2 5 8 0,3-2 10 15,-3 2 0-15,3-5-5 0,-1 1 10 0,0 3 8 16,-2 1-5-16,6-7-15 0,-4 6 27 16,1-4-43-16,0 3 41 0,-1-2 0 0,1 3 16 15,-1-5 7-15,3 5-10 0,-2-3-70 0,-1 3 34 16,1-4 8-16,0 2-21 15,-1-1 121-15,1 1-21 0,0 0-5 0,-3 3 25 0,4-6-15 16,-1 5-2-16,-3 1-1 0,3-5-76 16,-3 5-18-16,2-2 13 0,-2 2-8 0,0 0 7 15,0 0-37-15,0 0 7 0,0 0 7 16,0 0-14-16,-5 14 6 0,2-4-19 0,-1-1 7 16,1 3 13-16,0 0-15 0,1 3-16 15,0 1 28-15,-2 2-20 0,2 0 13 0,2 0-21 16,0-2-15-16,0-1 8 0,-2 0 9 0,4 0-6 15,0-1-1-15,1-1-13 0,0-3-2 16,2 2-3-16,0-1 5 0,3-4 6 0,-4-1 9 16,4 0-14-16,3-5 2 0,-1 1 12 0,0-4-7 15,3 1 8-15,0-1-8 0,2-5 18 16,-2-1-16-16,2 0 19 16,-4-4-3-16,-1 0-8 0,-2-2 8 15,-3 0 8-15,0 0-9 0,-3 0 32 0,-2 1-28 0,-2 0 9 16,0 1 1-1,-4-1 5-15,1 3-8 0,-3 1-2 0,-2-3-8 0,0 5-11 0,0 1 3 0,-3 0 8 16,0 2 0-16,0 2-20 16,1 1-24-16,-2 1-43 0,-1 1-21 15,0 4-22-15,2-1-80 0,-3 3-77 0,6-4-84 0,-2 3-433 0,3 1 13 16,2-2 174-16,0 1 26 16</inkml:trace>
  <inkml:trace contextRef="#ctx0" brushRef="#br0" timeOffset="86677.5">9562 8695 1082 0,'2'0'315'0,"-2"0"-38"0,0 0-9 15,5 9-40-15,-2-3 8 0,-3 3-39 0,0 2 48 16,0 3-22-16,-3-1 13 0,1 9-47 15,-1 3-15-15,-2 0-10 0,-2 8-28 16,-1 4-14-16,0-5-9 0,0-3-26 0,-2 5-23 16,3-9-20-16,-1-1-21 0,2-3-36 0,2-4-33 15,-2 2-31-15,2-2-48 0,3-3-80 16,-1-1-92-16,-3-1-146 0,5-4-379 0,0-2 77 0,0-1 116 16,2 1 17-16</inkml:trace>
  <inkml:trace contextRef="#ctx0" brushRef="#br0" timeOffset="87048.75">9764 8860 959 0,'1'-3'292'0,"-1"3"-28"0,0 0-13 0,-1 12-29 0,1-6-22 16,-2 4 2-16,-1 3-30 0,0-1-14 15,1 2-17-15,0-1 10 0,-1 6-38 0,3-1-6 16,-3-4-17-16,1 2 0 0,2-2-21 15,0-1-16-15,0 0 1 0,0-3 5 0,0-1-21 16,0 0 3-16,0-2 3 0,0-1 2 16,-2 1 8-16,2-5-21 0,-3 4 3 0,2-6 5 15,1 0-10-15,-7 5 7 0,7-5-12 0,-8 0-6 16,8 0 13-16,-12-3-20 16,1 1 0-16,4 2 12 0,-3 0-14 0,-1 0-1 0,-2 0 8 15,0 4-8-15,-2-2 16 0,2 2 12 16,0 0 6-16,1 1-16 0,2 0 2 15,-1 1 40-15,1-3-22 0,2 2-9 0,3 1-14 16,0 0 21-16,-1 0-2 0,4-1-8 0,2-1 7 16,2 0 3-16,-1 2-23 0,4-4-23 0,0 2-2 15,2 0-16-15,1-1-41 0,1-3-23 16,1 1-13-16,2 1-58 16,-2-1-16-16,1-1-105 0,1 0-90 0,-1-1-217 0,2-2-215 15,0 3 46-15,2-3 159 0,-2-1 10 0</inkml:trace>
  <inkml:trace contextRef="#ctx0" brushRef="#br0" timeOffset="88210.95">10713 8825 980 0,'0'0'351'0,"-10"5"-19"0,4 0-30 16,-1 3-28-16,-1 0-25 0,1 1-4 15,-3 4-32-15,1-1-14 0,2 2-27 0,-4 0-19 16,4 2-14-16,-1-1-14 0,1 0 11 0,2 1-47 16,-1 0-14-16,4-2 19 0,-1-1-22 0,1-1-18 15,2-4-3-15,0 3 0 0,2-2-15 16,3-3 20-16,1 0-25 0,-2 0 7 15,4-2-7-15,0-3 2 0,-1-1-12 16,4 0 30-16,-3-5 16 0,0 4-26 0,2-5-8 16,0 0-2-16,-2 3 4 0,-1-2 19 0,1 0 0 15,-3 3-3-15,0-2-71 0,0 2 9 0,-2-1-9 16,-3 3-1-16,5-1 6 0,-5 1 12 16,7 5 1-16,-7-2-21 0,3 0 20 0,-2 1-4 15,-1 0-11-15,2 2 18 0,0-1-11 0,1 0 22 16,0-2-14-16,-1 2-2 0,0 0 8 15,4-2 2-15,-4 1-3 0,3-3-12 0,1 2 7 16,-1 0 6-16,2-3-8 0,-7 0 5 0,11 0 0 16,-4-3 2-16,-1 0 14 15,-2 2-3-15,2-3-11 0,-3 1 19 0,1-2 2 16,-1 0-13-16,0 1-2 0,-1-1 10 0,0 1-8 16,-2-1-3-16,0 5 19 0,-2-9-8 15,0 6-21-15,-1 0 6 0,0-2 10 0,1 3 5 16,-1-2-16-16,3 4 6 0,-8-2 7 0,4-1-2 15,4 3-13-15,-4-2 0 0,4 2-5 16,-4-5 33-16,4 5-43 0,-5-1 15 0,5 1 10 16,0 0-20-16,0 0 7 0,0 0 13 0,0 0-2 15,13-2 5-15,-13 2-23 0,0 0 22 16,15 2-24-16,-10-2 17 16,2 3 18-16,1 0-28 0,-2-3 12 0,1 4-9 0,1-2 4 0,-1-1-7 15,1 3 16-15,-3-2-32 16,3 2 18-16,-3-2 3 0,0 2 11 0,1-3-16 15,-2 0 10-15,-1 3 5 0,-3-4 16 0,8 3-26 16,-6-3 28-16,-2 0-18 0,8 5 108 16,-8-5-34-16,5 1 24 0,-5-1 45 0,3 1-81 15,-3-1 18-15,2 3-24 0,-2-3-20 0,0 0 13 16,6 2-13-16,-6-2-2 0,2 3 2 0,-2-3-28 16,0 0-34-16,5 4-9 0,-5-4-24 15,5 0-15-15,-5 0-20 0,0 0-27 0,8 0-24 16,-8 0-19-16,10-3-25 0,-5 0-21 0,3 0-27 15,0-1 1-15,2 1 6 0,0-2-10 16,1-1 40-16,-1-1 24 0,0-1-3 16,0 1 59-16,-2-1 15 0,2 1 75 0,-5 0 25 15,1 0 51-15,1 1 29 0,-4 1 17 16,2 0-5-16,-2-2 6 0,-1 5-9 16,0-2-6-16,-2 4-4 0,0-5 0 0,0 5-17 0,0 0 7 15,0 0 21-15,0 0-26 16,0 0 0-16,0 0-2 0,-10 12 33 0,8-6-16 15,-1 3 6 1,0-1-3-16,1-1 0 0,0 2-3 0,-1 1-7 0,3-1-18 0,-3 1-5 0,1-1 7 16,2 0-2-16,-2-1-21 0,1 1 3 15,-1-1-8-15,-1-1 1 0,1 1 7 0,-1-1-21 16,0 0-2-16,0 0-10 0,-1-4-39 0,1 3 3 16,0-2-23-16,1-2-39 15,-3 2-12-15,0-2-31 0,3-1-41 0,2-1-67 0,0 0-74 16,0 0-59-16,-8-7-79 0,8 4-414 0,4-3 60 15,0-2 137-15,0-3 25 0,2 1 64 16</inkml:trace>
  <inkml:trace contextRef="#ctx0" brushRef="#br0" timeOffset="88419">11180 8857 719 0,'5'-10'363'0,"-3"1"-89"0,1 2 8 0,0 1-31 0,-1 2-13 16,0 2-3-16,-2 2 42 0,0 0-9 15,0 0-22-15,0 0 10 0,0 0-26 16,3 10-4-16,0-3-24 0,-3 1-36 0,0 2 21 15,0 0-46-15,0 3 18 0,0 3-26 0,0-2-21 16,0 5-17-16,-3 0 15 0,3 0-25 16,-3 2 9-16,1-2-81 0,0 0 8 0,-1-1-60 15,0-1-17-15,1 0-11 0,2-3-25 0,-2-1-41 16,1 1-10-16,1-2-44 0,0-2-69 16,0 0-59-16,0-7-92 0,3 6-445 0,-3-4 48 15,2-1 97-15,1 2 124 0,0-6 45 0</inkml:trace>
  <inkml:trace contextRef="#ctx0" brushRef="#br0" timeOffset="89933.9">11185 9076 959 0,'-2'-4'369'0,"2"4"-39"0,0-8-28 0,0 8-15 16,4-6-41-16,-1 3-6 0,0-2-27 0,1 3-26 16,2-3-19-16,2 0-24 15,-3 2-3-15,3-1-1 0,-1 2-27 0,0-2-11 0,1 1-35 16,0 0-26-16,0 3-46 0,-3-4-8 16,2 1-15-16,-1 3 5 0,-1 0-33 15,-5 0 2-15,12-1 5 0,-6 1-20 0,2-1 25 16,-8 1 4-16,12 1-4 0,-7-1 6 0,3 0 27 15,-3 1 11-15,0 1 18 0,1 2 13 16,-2-3 5-16,2 3 5 0,-2-2 15 0,-1 4-17 16,2-2 22-16,-2 2 0 0,-1-1 11 0,2-1-11 15,-2 3-9-15,0-2 14 16,-2 1-12-16,3-1-13 0,-3-2 10 0,3 2-18 31,-3 1 8-31,2-3 16 0,-2 1 2 0,0 2 35 0,0-6-30 0,2 5 39 0,1-4 37 16,-3-1-19-16,0 0 35 0,0 0 18 0,5 1-5 15,-5-1-18-15,0 0-23 0,8-7-16 0,-3 2 1 16,0 2-3-16,-2-2-25 0,2-1-16 16,-2 1 25-16,1 1-24 0,0-2-14 0,0 2-20 15,-1-1-26-15,0 1-10 0,1 1-41 0,-3-1-5 16,4 2-10-16,-3 0 7 0,-2 2-28 0,5-4-2 16,-5 4-8-16,0 0 0 0,0 0 25 15,14 4-35-15,-10-2 20 0,-1-2 13 0,2 4-5 16,0-3 21-16,-2 0 7 0,1 2 0 0,2-1-3 15,-6-2 26-15,10 2-10 0,-7-1 20 16,2 1-12-16,0-1-8 0,-5-1 10 0,10 0-5 16,-4 1 10-16,-1 0-5 0,-5-1 3 15,10 0 15-15,-3 0-18 0,-2 0 0 16,-5 0 18-16,11 4-15 0,-8-3 17 0,1 0-20 16,2 2 11-16,-2-2 9 0,2 1 1 0,-1-1-1 15,1-1-7-15,-2 4-10 0,4-3 20 16,-3-1 8-16,0 2-24 0,3 1 22 15,0-2-22-15,-3-1 17 0,2 0 9 0,1 0-18 0,-8 0 6 16,13 0 35-16,-5 0-20 0,-3-1-13 16,2-2 36-16,1 2-46 0,0 0 49 0,-3-1-32 15,1-2 22-15,0 3-29 0,0-3 18 0,-3 3-10 16,2-1-1-16,-1-1 37 0,-4 3 7 16,8-1-20-16,-8 1 8 0,0 0-19 15,5 0 21-15,-5 0-20 0,0 0 0 0,6 6-1 16,-6-6-12-16,0 5 13 0,2-3 30 0,1 3-38 15,-3-5-13-15,0 5 10 0,0-2-4 16,0 2-6-16,0-5 20 0,5 4-38 0,-3-2-7 16,-2-2 30-16,8 4-17 0,-6-3-14 0,-2-1 24 15,11 0-32-15,-11 0 24 0,10-3 21 16,-4 1-11-16,1 0 8 0,-2-2 12 0,3-3-22 16,-3 2 2-16,2-1 13 0,-1-4-16 0,-1 1 11 15,3-2 13-15,-1 0-16 16,-2-5 28-16,1 2-9 0,-2-3-11 0,2 0 7 15,-4 1 8-15,1 3-7 0,2 0 23 0,-3 1 17 16,-1 2-4-16,1 1 14 0,-2-1-19 0,3 3-83 16,-3 1 8-16,2 3-13 15,-2 3 14-15,-2-3 22 0,2 3-41 0,0 0 8 0,0 0 30 16,-8 12 1-16,3-5 2 0,2 3 3 0,1-1-16 16,-3 6 10-16,2-2-7 15,-2 2-13-15,0 1-40 0,2 0-27 0,-2 1-51 0,1-2-2 16,-2 1-28-16,3-2-8 0,-2 0-11 15,2 1-17 1,-1-5 0-16,-2 1 23 0,4 0-5 0,-4-3 15 0,4-2 5 0,-2 0 15 0,0-2 9 16,2-1 6-16,-1-2 30 0,3-1 16 0,-7 2 53 15,7-2 1-15,0 0 9 0,-8-6 58 16,8 2-7-16,0 4 12 0,-3-7 36 16,1 2 24-16,2-1-24 0,0 4-3 0,2-3-7 15,-2-1 8-15,1 1 7 0,4-2-4 0,-3 1-27 16,3-1-9-16,1 1-6 15,1-1 11-15,0 0 7 0,1-1-13 0,3-1-5 0,1 2-22 16,1 0 4-16,2-1 0 0,-1-1 8 16,1 5-10-16,-2-2 20 0,2 2-30 15,-2-1-3-15,0 4 20 0,-3-1-4 0,0 1-19 16,1 1 16-16,-4 1-3 0,3 1 6 0,-2-1-1 0,-2 5 11 16,1-1-14-16,0 0 6 15,-1 1 0-15,-3 0 0 0,1 1 8 0,2 1 4 16,-4-2-22-16,1 1 5 0,0-1 18 0,1 1 12 15,-1-1-25-15,-3 0-3 16,3 0-12-16,-1 0 12 0,0-1-9 0,1-2 11 0,0 1 12 16,-1-1-27-16,1 1 8 0,-3-4-10 0,8 0-7 15,-8 0 17-15,8 0 0 0,-8 0 8 0,7-5-28 16,-2 2 7-16,1-2 19 0,-2 0 4 16,-1-1-17-16,2 2 25 0,-2 0 10 15,2-1-20-15,-3 2 44 0,1-1-14 0,-1 0-2 0,1 2-2 16,-3 2 7-1,0 0-5-15,5-2 10 0,-5 2-4 0,0 0-4 0,0 0 44 16,8 7-74-16,-8-5 44 0,2 4-39 0,1-3 18 16,0 0-3-16,-1 0-2 0,1 0-26 15,-1 1 3-15,1-1-18 0,2 0-51 0,-2-1-16 16,2-1-10-16,-5-1-49 0,8 3-32 0,-4-2-50 16,2 0-12-16,-6-1-98 0,10 0-102 15,-5 0-483 1,-5 0 66-16,10-1 56 0,-5-2 108 0,-2 1 63 0,2 1 147 0</inkml:trace>
  <inkml:trace contextRef="#ctx0" brushRef="#br0" timeOffset="91234.55">4419 9544 824 0,'0'0'330'0,"0"0"-38"0,-6-1-24 16,6 1-14-16,0 0-31 0,0 0-19 0,0 0-81 15,21-6 0-15,-6 5-10 0,9-1-11 16,6-2 3-16,19-2-3 0,5 1 6 15,13-2-1-15,9 2 6 0,9-2 51 0,2-1-8 0,5 1-23 16,3 2 3-16,0 0-6 0,0-2-9 16,2 0-29-16,1 1-15 0,-3-1-8 15,4 1-16-15,-6 2 4 0,2-1 2 0,-3 2-11 16,-7-2-12-16,-5 2-10 0,-9 0 22 16,-15 0-30-16,-4 0-25 0,-4 3-37 0,-9-2-2 15,-11 4-28-15,-2-4-21 0,-8 2-59 16,-1-1-48-16,-6 2-36 0,-1 1 10 0,-2-2-22 15,-3 1-22-15,-5-1-14 0,0 4-137 0,0-4-314 16,-8 5 51-16,-2-3 69 0</inkml:trace>
  <inkml:trace contextRef="#ctx0" brushRef="#br0" timeOffset="93663.64">4308 8120 908 0,'-25'-1'266'0,"2"0"-20"0,-5 2-21 0,4 0-10 16,-19 4-35-16,-1 3-19 0,3 3-15 16,0-3-16-16,-2 4-22 0,4 4-1 0,3 2 1 15,1 0 2-15,4 4-31 0,2 7 3 0,4 0-8 16,-3 13-5-16,2 2 3 0,5 6 2 16,3 0 1-16,4 9 9 15,3 4-25-15,1 6-5 0,2 4 5 0,3 5-8 0,2 5-10 0,-2 3 12 16,-5 27 1-16,4 3 0 0,-1 0-18 15,-1 3 2-15,1 4-10 0,-3 0 1 0,-1-2-9 16,-1-1 8-16,-2-2 13 0,-6 0-31 16,-1-2 6-16,-4-2-14 0,1-6 24 15,-1-2-21-15,-3-7 0 0,-1-4 8 0,2-7-11 16,6-15 9-16,-4-5-9 0,1-3-2 0,-1-3 10 16,-1-4-25-16,3-2 13 0,-3-7-1 15,3 0 3-15,8-13-10 0,0-5 10 0,5-5-18 16,2-5-3-16,5-8 9 0,0-1 4 15,3 0-7-15,3-6 17 0,2 0-22 0,5-1 4 0,4-3 21 16,3-2-10-16,7 0-2 16,8-2 9-16,12-3 3 0,2-3-2 0,3 1-6 15,2-2 3-15,-2 2 0 0,2-2-10 0,0 0-44 0,-4-1-25 16,-1 1-44-16,2 1-64 16,-4 0-56-16,0-2-131 0,-3 4-383 0,0-1-14 15,-6 1 124-15,-6 1 22 0</inkml:trace>
  <inkml:trace contextRef="#ctx0" brushRef="#br0" timeOffset="96136.14">4501 10436 936 0,'0'-7'331'0,"-3"4"-122"0,3 3-9 0,0 0-36 15,0 0-11-15,0 0-7 0,-5 10-7 0,3-3-19 16,-1 3-7-16,1 0-21 0,-1 5-5 15,0 1-5-15,0 2-11 0,-4 1-9 0,4 4 9 16,-1 0-32-16,1 0 12 0,-4 1-2 16,3-1-16-16,0-2-5 0,3-2-30 0,-4 1-9 15,3-1-32-15,2-3-3 0,-1 1 5 16,-1-3 0-16,2-3-8 0,0-1 16 0,-2 0 10 16,2-3 2-16,0-1 14 0,-3-1-1 15,3-1 18-15,-3-1 8 0,3-3 5 0,0 0 3 0,0 0-11 16,0 0 13-16,-8-17 21 15,8 9-31-15,-2-3 20 0,0-5 1 0,1-1-9 16,1-6-7-16,3-1-2 0,-1-1 7 0,1-2 13 0,5-10-13 16,-1 9 8-16,1 2 10 15,3-4-23-15,-1 7 10 0,0 4 26 16,0 3-10-16,-2 4-3 0,2 4 20 0,-2 2-12 0,2 4 10 16,-2 1-7-16,2 3-6 0,0 3 13 15,-2 3-26-15,2 2 6 0,-2 3-3 0,0 2 2 16,0 0 1-16,-3 2-24 0,0 2 11 0,0 3 2 15,-3-1-5-15,1-2-23 16,-1 3-2 0,1-2-31-16,-1 0-21 0,-2 0-5 0,0 0-33 0,0 0 5 0,0-5-30 0,-2 4-37 0,0-3-17 15,1-1-39-15,-1-2-125 0,-1 3-56 16,-1-6-367-16,3 2 36 0,-4-6 108 16</inkml:trace>
  <inkml:trace contextRef="#ctx0" brushRef="#br0" timeOffset="96548.15">4465 10772 662 0,'0'0'320'0,"0"0"-20"0,0 0-39 0,0 0-31 0,0 0-15 0,15 6-25 15,-8-5-21-15,2 0-31 0,3-1-33 16,-2 0-39-16,1-1-55 0,4-3-24 15,-4 3-20-15,4-4-19 0,0-1-1 0,1 2-6 16,-1-5 18-16,1 1-5 16,-4-3-13-16,1 1 44 0,0-1 15 0,0-1 30 0,-3-1 19 15,0 0 23-15,-2 1 33 0,-1-1-6 0,1 1 6 16,-5 0 8-16,2 1 17 0,0 0 6 16,-2 3-13-16,-1 2-3 0,1 0 21 0,-1 1-36 15,1 2 20-15,-3 3-17 0,0 0-16 16,0 0-2-16,0 0-21 0,0 11 18 0,-5-3-18 15,3 0-8-15,1 4 8 0,-1 1-5 16,-1 3-2-16,0 0-16 0,1 2-8 0,-3 1 8 16,2-1-40-16,1 1-22 0,-3 0-25 15,4-2-51-15,-1-2-54 0,2 0-69 0,2 0-95 16,-2-5-48-16,1 3-497 0,2-4 141 0,1 1-10 16,-1-2 58-16</inkml:trace>
  <inkml:trace contextRef="#ctx0" brushRef="#br0" timeOffset="96747.99">4896 10521 908 0,'0'-5'382'16,"0"1"-42"-16,2 3-23 0,-2 1-25 0,0 0-8 16,0 0-28-16,-2 12-36 0,1-4 6 15,1 1-24-15,-2 4-25 0,0 2-19 0,2 4-2 16,-4 0-15-16,3 7-5 0,-2 1-29 0,3-1-7 15,-5-1-38-15,4 2-24 16,-1-2-51-16,2-3-5 0,-2-2-48 0,4 1-75 0,-2-1-84 16,2-3-113-16,1 2-540 0,2-3 120 15,-3-3 41-15,4-3 60 0,-1-1 58 16</inkml:trace>
  <inkml:trace contextRef="#ctx0" brushRef="#br0" timeOffset="97489.46">5726 10788 739 0,'0'0'274'16,"-2"-3"44"-16,2 3-16 0,0-10 7 16,-2 5-32-16,1-2-3 0,1 0-88 0,-3-5-6 15,1 0-11-15,2 1-6 0,-3-3-17 0,1 0-5 16,2-1 23-16,-3-1 59 0,-1-2-1 16,3 6-45-16,-1-1 10 0,-1 0-3 0,1 4 0 15,1-1-2-15,-1 4-90 0,0-2-5 0,-2 3-10 16,4 3-13-16,0 2 0 0,0 0-8 15,0 0 1-15,-7 18-21 0,4-5 30 0,3 2-20 16,-2 5-20-16,-1 7-11 16,1 2 3-16,-1 10-10 0,1 3 5 0,-1 1-57 15,1-1-12-15,-4-2-34 0,4 3-20 0,-3-2-33 0,2-3 4 16,1-7-6 0,-1-4 1-16,0-2 6 15,1-5 5-15,-3-1 0 0,2-2-31 0,-1 1 18 0,0-5-20 0,0-3-19 0,1-1-19 16,0-2 4-16,1-2-64 0,-1-3 1 0,1 1 7 15,2-3 61-15,0 0 67 0,0 0 33 16,-10-5 26-16,10 5 39 0,-4-6 4 0,2 1 29 16,2 3 38-16,-2-2 10 0,2-3 5 15,0 1 8-15,0 0 3 0,0-1 7 0,2-1 18 16,0-3-20-16,-1 0 20 0,4-2 23 16,-2-3-20-16,4 0 5 0,1-6 17 0,-1 1 6 0,1-4 15 15,2-8-22-15,3-3 14 0,-2-1 6 16,1-1-65-16,1 1 4 0,0-2 4 15,0 2 5-15,0 0 16 0,-1 4 26 0,-2 7-32 16,-2 5 75-16,-2 5 5 0,-1 0 6 0,-3 4-29 16,3 3 7-16,-2-1-32 0,-1 7-6 15,1-1 5-15,0 4-14 0,-3 0-6 0,0 0-18 16,4 13-8-16,-6-6-5 0,2 8-5 16,0 0-5-16,-2 4-13 0,-1 0-28 0,0 5-17 15,1-2-17-15,0 1-32 0,-1 0-44 0,3-3 5 16,-3 2-54-16,1-3-20 0,2 1-31 0,2-6-38 15,-2 1-34-15,3 0-66 0,4-1-2 16,-1-3-67-16,2-3-441 16,-1 2 16-1,3-4 100-15,0-3 74 0,1-1 41 0</inkml:trace>
  <inkml:trace contextRef="#ctx0" brushRef="#br0" timeOffset="97940.02">6054 10798 962 0,'0'-4'353'0,"0"4"-23"0,-2-6-33 0,2 6-36 15,-6-1-17-15,6 1-29 0,0 0-13 0,-14 6-13 16,6-2-40-16,0 0 7 0,3 1-33 16,-3-4-6-16,3 4-1 0,0 1-14 0,-1-2-15 15,2-1-18-15,1 1 8 0,0-2-3 32,1 3-20-32,0-3-21 0,2-2 13 0,2 6-15 0,-2-6 7 0,5 4 6 0,0-3 5 15,-5-1-6-15,8 1-15 0,-3 3-2 16,0-3 10-16,3 3-8 0,-1-2 13 0,-1-1-18 15,2 0-3-15,-3 4-10 16,2-4 16-16,1 2 30 0,-3-1-40 0,1-2 2 0,1 2-8 16,0-2 31-16,-7 0-10 15,16-2-24-15,-8 2 14 0,4-5 25 0,-4 2-69 0,3-2 25 16,-1-1 26-16,0-1-12 0,0-3 20 0,-2 3 12 16,2-5-7-16,1-1 87 0,-1-2 5 15,-3-1-17-15,6 1-1 0,-6-1 10 0,1 3-30 0,0 0 5 16,-3 2 15-16,1 1-10 15,-2 0-62-15,0 3-9 0,0 2-22 0,-1-1-1 16,-1 4 12-16,-2 2 2 0,0 0-2 16,0 0-12-16,3 8 6 0,-3-1-27 15,-2 3 26-15,-1-2-24 0,0 4-36 0,1 2-68 0,-1 1-26 16,-2-2-34-16,2 3-33 0,-2 1-51 0,2 0-130 16,-4-2-113-16,2 2-464 0,-1-1 111 0,2-5 66 15,1 2 103 1,-2-2 58-16,2-4 93 0</inkml:trace>
  <inkml:trace contextRef="#ctx0" brushRef="#br0" timeOffset="98130.68">6157 10896 888 0,'3'-2'407'16,"2"1"-46"-16,0-1-29 0,5 1-19 15,3-3-98-15,2-1-8 0,3 1-35 0,2-2-11 16,6-2-18-16,0 2 54 0,13-6-15 0,1 2-36 15,-1-3-23-15,2 1-62 0,0-2-38 0,0-2-64 16,0 2-123-16,0-5-186 0,0 3-464 16,0 1 61-16,11-3 100 0,6-4 55 15</inkml:trace>
  <inkml:trace contextRef="#ctx0" brushRef="#br0" timeOffset="99067.61">12831 8163 593 0,'20'0'226'0,"-5"0"-1"16,3 1-25-16,-2 2-16 0,-1 0-10 16,1 1-18-16,-1 2-2 0,3 1 17 0,-5 3-28 15,5 6 19-15,0 8-16 0,0 7-8 0,-5 2 10 16,-1 5-12-16,-2 5-3 0,-2 5-13 16,0 14 21-16,-3 2-23 0,-5 6 20 31,3 5-28-16,-3 4 18-15,0-1-25 0,-3 6 4 0,1 3-25 0,-4 22 10 0,1-3-2 0,0-19-24 0,2 1 11 0,3 1-28 0,-4 1 12 16,4-1-28-16,0-1 34 0,2 0-18 0,-2-7 22 16,0 0-22-16,2-1 0 0,1-4-6 0,2-3-17 15,0-3 17-15,0-1-22 0,1-6-1 16,1 0 3-16,-1-3-23 0,4-4 3 0,-2-13 12 16,-1-2-2-16,1-4-21 0,2-2 0 0,-4-8 3 15,-2-7-15-15,2-3 5 0,-4-3 15 16,3-2-8-16,-2 0 18 0,-3-4-10 0,0 0 38 15,-3-4 6-15,0 1 12 0,-1-1 11 0,-4-2-13 16,-5-2 22-16,0 1 19 0,-5-1-123 16,-2 0 41-16,-6 0-6 0,-5-1 1 15,-5 1-3-15,-15 0 18 0,-3 0-28 16,-5 0-18-16,-2 1-2 0,-16 1-29 0,0-1-26 0,-3 1-32 16,-2 0-16-16,-5 2-46 0,1-3-39 15,-2 3-68-15,-2-2-93 0,-5-1-15 16,8-1-489-16,-2 0 82 0,-1-3 64 0,0-1 115 15,0-3 69-15</inkml:trace>
  <inkml:trace contextRef="#ctx0" brushRef="#br0" timeOffset="163013.51">16954 8618 808 0,'-3'2'251'0,"-2"2"-23"0,2-2-31 16,1 1-25-16,-1-1-19 0,3-2-25 0,-2 6 8 0,2-6 2 16,0 5-33-16,0-5 13 0,2 3-18 15,1 0-16-15,1-1-7 0,-1 0-13 16,3 1 10-16,-2-1-7 0,2 1-11 0,2 0 5 31,-1 0-9-31,0 0-11 0,1 1-1 0,0-1 7 0,0 1-4 0,-3-2 8 16,3 3 0-16,-3-3-10 0,0 2 34 0,0 0-6 0,0 0-79 15,-3 1 12-15,-1-3 3 0,-1 3 21 0,-1 0-1 16,-3-1 83-16,-1-1-19 0,-3 3 1 16,3-2 12-16,-5 2-81 0,-1 1-6 0,-4-1-10 15,4 0 8-15,-3-3-5 0,-2 4 23 0,-2-1-19 31,0-1 11-31,-3 2 3 0,4-1-13 0,-1 0 12 0,-3-4-14 0,3 3 25 0,6-2-24 16,-4 0-9-16,3 0-34 0,1-2-5 16,1 0-53-16,-2 0-26 0,5-1-70 15,1 2-112-15,-6 0-56 0,8-2-448 0,5 0 30 16,0 0 142-16,-8-2 35 0</inkml:trace>
  <inkml:trace contextRef="#ctx0" brushRef="#br0" timeOffset="164334.47">17158 8614 972 0,'-2'-1'379'0,"2"1"-64"0,0 0-13 16,0 0-46-16,0 0-13 0,0 0-18 0,0 0-22 16,-11 11-29-16,7-4-16 0,1-1-12 15,1 1 51-15,1 3-2 0,-4-1-36 0,3 4-8 16,1-3 0-16,-1 1-29 0,0 0-17 0,2 0 11 15,-3 0-42-15,3 0-8 0,0-1 19 16,0-4-49-16,0 5 5 0,0-3 30 16,0-3-43-16,0 2 1 0,3-2 19 0,-3 0 1 15,0-3-6-15,2 3 47 0,1-3-24 0,-3-2-7 16,7 2-38-16,-7-2-13 0,0 0 27 16,13-5-24-16,-7 1 17 0,1 1 2 0,0 0-1 15,1-2 9-15,-2 2-7 0,4-2-3 0,-3 4-10 16,-1-3-11-16,2 4 37 0,-4 0-34 15,4 0 29 1,-8 0-16-16,11 3 7 0,-6-1-4 0,0 2-3 0,0 0-10 0,-2 1-8 0,-1 1-5 16,3 1-23-16,-5-1-23 15,3 0-13-15,-1 3-28 0,-2-1-26 0,3-3-17 0,0 1-34 16,-3-2-10-16,2 1-28 0,0 1-6 16,1 0-9-1,2-4-21-15,-2 3-23 0,2-5-16 0,0 0 37 0,1 0 19 0,1 0 42 16,-7 0-8-16,15-2 57 0,-7-2 25 0,0 2 56 15,-1-3 21-15,1 0 33 0,2 2 31 0,-2-2 8 16,0 0 22-16,-3 3 13 0,3-2 11 16,-4 3 0-16,0-1-6 0,0-1 6 15,-4 3 12-15,8 0 0 0,-8 0-12 0,10 3-8 16,-7-1-13-16,-1-1 3 0,3 3-11 0,-2-2 3 0,2 2 8 16,0-1-21-16,1 0-7 15,1-1-6-15,0-2-2 0,-1 4 10 0,2-4 46 16,-3 1-5-16,3-1 31 0,-1 0 15 0,-7 0-46 15,11-3 5-15,-9 1 18 0,0 1-7 16,1-3 86-16,-3-2-25 0,3 2-8 0,-6 0-36 16,3-1 13-16,-5-2 0 0,3 1-10 0,-1 0-25 15,-2 0 12-15,-1 1-34 0,1 1-4 16,0 0 13-16,-2 2-39 0,1-1 2 0,-1 2-20 16,2-1 21-16,-3 2-46 0,3-1-14 0,5 1-12 15,-15 1-64-15,9 1-18 0,1-1-10 16,0 2-49-16,5-3-33 0,-7 3-13 0,4 0 3 15,3-3-16-15,0 0-7 0,0 0-39 0,7 6-17 16,-7-6-109-16,10 2 73 0,-4-2 2 16,-6 0 56-16,15-4 36 0,-7 2 77 0,2 2 62 15,0-3 50-15,-2 0 68 0,3 1 19 16,-3-1 19-16,1 0 35 0,-4-1 6 0,1 3 20 16,-1 0 10-16,2-3-13 0,-1 4-10 0,-2-1 1 31,-4 1-4-31,9-3-7 0,-7 1-2 0,-2 2-1 0,0 0-15 0,10 0-5 0,-10 0-5 15,0 0-8-15,6 2 2 0,-6-2-9 16,4 2 4-16,-4-2-14 0,3 2 1 0,-3-2-14 0,3 5 2 16,-1-4 15-16,-2-1-41 0,3 6 1 15,-1-4 15-15,-2-2-29 16,6 4 6-16,-4-3 5 0,-2-1 2 0,6 5-10 0,-4-5 5 0,3 4 11 16,-5-4-11-16,7 3-2 0,-1-3 15 15,-6 0-5-15,10 0-11 0,-5 2 14 16,2-1-6-16,-1 0-2 0,-6-1 10 0,10 0 3 15,-2 0 27-15,-8 0 1 0,13 0-3 16,-6-1 52-16,-1 1-42 0,2-1 26 0,-1-1 10 16,0 0 70-16,1-3-32 0,-5 5 32 0,5-3 7 15,-3 0 18-15,0 3-67 0,-5 0-17 0,8-2-8 16,-4-1 2-16,-1 1-69 0,-3 2-12 16,7-4 2-16,-7 4-33 0,4-2-24 15,-4 2-30-15,0 0-51 0,2-1-26 0,-2 1-53 16,0 0-26-16,0 0-54 0,0 0-82 0,0 0-151 15,-8-4-494-15,8 4 80 16,0 0 81-16,0 0 95 0,-10 0 88 0,10 0 81 0</inkml:trace>
  <inkml:trace contextRef="#ctx0" brushRef="#br0" timeOffset="165230.23">17954 8700 1046 0,'0'0'302'0,"7"0"-25"0,-7 0-36 16,5 4-24-16,1-2-7 0,-2 3-21 15,-1 1 49-15,0 2-17 0,1-1-27 16,-3 0-28-16,-1 5-2 0,0-3-13 0,-1 0-43 15,-1 3-3-15,0-4-13 0,-1 3 5 0,3-4-2 16,-3 4-21-16,1-4 23 0,0 0-22 0,0-1-1 16,-2 0 10-16,2 0 39 0,2-2 0 0,-3-2 31 15,0 2-16-15,3-4 18 0,-2 2-41 16,2-2-7-16,0 0-8 0,0 0 2 16,0 0-15-16,0-13-26 0,2 5 26 0,1-1-99 0,0 2-17 15,1 0 14-15,2-2-28 16,-1 0-3-16,2-1 2 0,-1 1-33 0,1 2 11 0,1-1-24 15,0-1-5-15,0 3-10 0,-1 1-5 16,1-2-15-16,0 4 12 0,0-1 11 16,-1 2 12-16,0-1-2 0,-3 1-3 0,3 2 11 15,-7 0 10-15,7 5 15 0,-4-3 0 0,0 1 5 16,0 1 11-16,-1 1-3 0,0 2 5 16,-2-3 18-16,4 3 2 0,-3-1-2 0,0 0 13 15,1 1 2-15,1-1 3 16,0 1 0-16,1-3 5 0,-1 2 3 0,4-1 14 0,-1-1-6 0,-1 1-4 15,3-4 14-15,0 4 12 0,-1-4 3 16,3-1 13-16,-2 0 33 0,0-1-18 0,0-4 7 16,-1 4 1-16,-2-4 0 0,1 1-1 15,-4-1-2-15,0-2-2 16,-2 2 10-16,3-2-26 0,-6-2 15 0,3 2-7 0,-4 0-5 16,1 0-21-16,-2 0 6 0,2 1-1 0,-4 0-2 15,1 2-21-15,1-1-15 0,-3 3-7 0,3 2-14 16,-2-3-43-16,1 3-15 0,-1 0-34 15,7 0-43-15,-13 3-41 0,10-3-51 0,-2 0-103 16,5 0-2-16,-7 6-13 0,7-5-461 0,0-1 92 16,0 0 90-16,7 6 10 15</inkml:trace>
  <inkml:trace contextRef="#ctx0" brushRef="#br0" timeOffset="165981.94">18303 8699 901 0,'2'-1'289'0,"-2"1"-3"16,7-3-30-16,-7 3-2 0,3 0-31 15,-3 0-37-15,0 0 65 0,0 0-13 0,0 0-20 16,0 0-29-16,5 5-7 0,-2-4-26 0,-3-1-2 16,-3 7-19-16,3-2-22 0,-3-1 20 0,3-1-31 15,0 2-22-15,-2-1 20 0,2-1-31 16,0 3-8-16,0-3 1 0,0-3-21 0,0 8 28 16,2-6-5-16,-2 3-39 0,3-1 19 0,0-1-8 15,-1-2-13-15,0 3 0 0,-2-4 13 16,6 4-19-16,-1-1-6 0,-5-3-1 15,8 1 26-15,-8-1-16 0,10-1 34 0,-5 1-33 0,-5 0 30 16,10-2-5-16,-5-1-62 0,-5 3 34 16,10-1 8-16,-7-2 20 0,3 0-2 15,-2 2-6-15,1-4 16 0,-2 5 12 0,0-3-12 16,-3 3 7-16,7-3-4 0,-4 0-1 0,0-1 3 16,-3 4-23-16,5-5 15 0,-3 4-15 15,-2 1-16-15,5-6 34 0,-3 6-28 16,-2 0-1-16,4-7 16 0,-2 7-23 0,-2 0 5 15,3-6 18-15,-1 5-10 0,-2 1-13 0,5-5 18 16,-5 5-34-16,3-1 6 0,-3 1 5 0,2-4 2 16,-2 4 11-16,0 0 2 0,3-2-13 0,-3 2-7 15,0 0 17-15,3-5-4 0,-3 5-14 0,0 0 9 16,0 0 9-16,2-1-17 16,-2 1 18-16,0 0-8 0,0 0-34 0,0 0 24 15,0 0 7-15,5-5 6 0,-5 5-24 16,0 0 19-16,0 0-27 0,0 0-4 0,0 0 12 15,0 0-4-15,0 0 4 0,0 0 1 0,0 0-6 16,0 0 28-16,0 0 9 0,0 0-32 0,0 0-2 16,0 0-10-16,0 0 20 0,0 0-3 0,0 0 29 15,0 0-36-15,0 0 10 16,0 0-26-16,0-3 6 0,0 3 7 0,0 0 6 0,0 0 17 16,0 0-25-16,0 0-10 0,0 0 14 15,0 0-9-15,0 0 25 0,0 0-17 16,0 0 7-16,0 0-13 0,0 0 0 0,-3-5-7 15,3 5 20-15,-4-5 5 0,1 2-8 0,3 3-12 16,-5-5-8-16,2 2 5 0,-4 1-13 0,2-3 13 16,-1 4-10-16,-1-2 13 15,-1 0-24-15,1 2-2 0,-1-1-23 0,2 0-13 0,-1 0-22 16,-1 2-1-16,8 0-13 0,-14 0-17 16,5 0 4-16,2 4-53 0,1-4-3 15,-1 2-35-15,3-1 4 0,-3 2-48 0,5 0-36 16,-1 0-48-16,3-3 9 0,-5 3-513 0,5-1 96 15,0-2 39-15,5 5 100 0,0-5 53 16</inkml:trace>
  <inkml:trace contextRef="#ctx0" brushRef="#br0" timeOffset="166529.91">18537 8656 1108 0,'0'0'384'0,"0"0"-121"0,6-2-7 0,-6 2-25 16,0 0-29-16,0 0 5 0,0 0-20 0,5 3-8 15,-5-3-30-15,3 6-19 0,-1-3-7 0,-2-3-5 16,1 8-13-16,-1-6-13 16,0 4-13-16,0-1 8 0,0-1-2 0,0 0-16 0,0 2-13 15,0-1-4-15,0-1-1 0,-1-1-8 16,1-3-7-16,0 7-3 0,-2-2 6 16,2-1-9-16,0-4 4 0,0 5 2 0,2-1 63 15,-2-4 14-15,0 4 0 0,0-4 15 0,1 2-31 16,-1-2 3-16,2 5-29 0,-2-5 16 0,0 0 34 15,0 0-47-15,0 0-10 0,0 0 8 16,10-11 10-16,-5 11-16 0,-2-4 1 0,-1 2-21 16,4 0-5-16,-4-1 0 0,-2 3 33 15,8-4-49-15,-5 1 16 0,-3 3-5 0,7-1-13 16,-7 1 3-16,5 0 10 0,-5 0-8 0,0 0-3 16,0 0-17-16,13 1 23 0,-13 2 7 15,0-3-15-15,5 2-5 0,-1 3 13 16,-4-5-28-16,4 4 17 0,-4-2 0 0,0-2 14 0,4 2 2 15,-4-2-82-15,1 5 5 0,-1-5 12 16,5 1 19-16,-5-1-13 0,3 5 69 16,-3-5 34-16,0 0-6 0,5 2 46 0,-5-2-7 15,0 0 17-15,7-2-22 0,-7 2-24 16,8-1-2-16,-8 1-15 0,10 0-1 0,-10 0-17 0,8-2 25 16,-8 2-23-16,8 3-7 15,-8-3 2-15,7 2-5 0,-4-2-8 0,-3 0-5 16,10 3-7-16,-7-2-26 0,2 1-26 0,-5-2-69 15,5 4-41-15,0-2-35 0,-2-2-57 0,2 3-16 16,0-2-47-16,0 1-78 16,3 1-202-16,0-2-468 0,0 0 79 0,2-1 104 0,0 0 112 15,3-1 50-15,-1 0 66 0,1-2 60 0</inkml:trace>
  <inkml:trace contextRef="#ctx0" brushRef="#br0" timeOffset="166746.47">19030 8719 1182 0,'0'0'492'0,"0"0"-60"0,0 0-109 0,0 0-9 16,0 0-35-16,0 0-7 0,0 0-34 0,18 4-26 16,-8-2-17-16,4-2 10 0,0 0-31 15,4 4-21-15,3-1-25 0,0-3 0 0,-3 0-33 16,2 2-36-16,-2-2-46 0,5 1-36 0,-3 2-29 15,-1-3-42-15,-4 0-37 0,3 0-43 16,-2 0-54-16,-2 0-92 0,-3 0-41 0,2-2-509 16,-2 2 130-16,-5-1 67 0,2-2 28 0,0 3 72 15</inkml:trace>
  <inkml:trace contextRef="#ctx0" brushRef="#br0" timeOffset="166997.16">19364 8594 1052 0,'4'0'376'15,"-4"0"26"-15,8-1 23 0,-8 1-8 0,13 1-49 16,-6 4-60-16,1-3 1 0,1 4-12 0,-2 0-31 16,2 5 3-16,-1-4-31 0,1 6 98 15,-1-1-47-15,0-2-13 0,-4 0-102 16,2 2-61-16,-2 1 0 0,-2-1-29 0,-2 0-38 0,-4 1-41 15,2 0-48-15,-4-2-70 0,-4 2-53 16,0 0-67-16,-1-1-82 0,-1-8-182 16,-2 8-511-16,1-2 102 0,-1 2 81 0,-2-5 134 15,4-1 51-15,1-1 39 0</inkml:trace>
  <inkml:trace contextRef="#ctx0" brushRef="#br0" timeOffset="167718.49">20335 8556 918 0,'0'0'341'0,"0"0"-34"0,-14 12-36 0,6-5 54 16,-1 0-28-16,-6 0-28 0,2 5-3 0,-2-6-51 16,-3 7-2-16,0-2-1 0,-2 2-53 15,3-2-5-15,-3-3-16 0,7 3 3 0,-4-3-21 16,6 2 3-16,1-3 15 0,0-1-25 0,5 1 9 15,-1-1-50-15,-1-1 25 0,7-3-2 16,0 4-31-16,0-3 21 0,3 1-101 16,2-1-2-16,3-1 18 0,2 1 0 0,0-1 0 15,3 1-13-15,4-3 16 0,-1 2-11 0,2-2-20 16,0 1 33-16,0-1-51 0,0 0-8 16,0 0-43-16,-3-1-23 0,1-1-46 0,-1 2-21 15,-2-2-62-15,-3 2-86 0,-5-3-74 0,3 1-413 16,0 0 8-16,-3-2 164 15,0 2 33-15,0-2 51 0</inkml:trace>
  <inkml:trace contextRef="#ctx0" brushRef="#br0" timeOffset="167916.19">20358 8550 1026 0,'0'0'358'0,"0"0"-15"15,0 0-28-15,0 0-13 0,-10 6-20 0,7 1-6 0,1-1 39 16,-1 2-8-16,-2 3 0 0,3 0-58 15,-1 3 7-15,-4 2-90 0,1 0-30 16,1 8-16-16,-5-4 8 0,2 3-28 0,0 0-26 16,0-1 0-16,1 2-38 0,0-5-13 15,-1 2-43-15,-2-1-26 0,4-4-29 0,-1 2-63 16,4-5-23-16,-2-1-54 0,2 0-110 0,1-4-80 16,-1 2-468-16,3-5 75 0,3-3 56 15,-2 4 112-15,-1-6 69 0</inkml:trace>
  <inkml:trace contextRef="#ctx0" brushRef="#br0" timeOffset="168824.39">20753 8601 1069 0,'-6'0'405'16,"-1"-2"-44"-16,0 2-13 0,-3 2-26 15,0 1-32-15,-4 0-24 0,3 3-5 16,-6 4-26-16,2-2-20 0,-1 5-28 0,-1 0-25 16,1 3-14-16,1-1 67 0,-1 1-33 0,6-3-21 15,2 0-7-15,-2 1-31 0,5-2-19 16,0-1 7-16,2 1-1 0,3-3-41 0,0 0-26 16,3 1-12-16,2-3-11 0,3 2-38 0,2-4-22 15,3-1 4-15,2 2-41 0,3-1-23 16,0-4 5-16,2-1-25 0,-1 0-5 0,5 0-16 15,0-3 13-15,-3 0 2 0,2 0-14 16,3-3 22-16,-3 1 18 0,2-3 3 0,-1-1 15 16,0-1 8-16,-3 1 35 15,2-3 21-15,-7 5 31 0,1-2 20 0,-4-2 16 0,-1 5 30 0,-3-3 11 16,-4 2 41-16,0 3-6 0,-2-2 6 16,-1 1-6-16,-2 0 3 15,0 5-23-15,-7-6-21 0,2 6 14 0,5 0-11 0,-12 0 5 16,3 0 3-16,-1 3-24 0,-3-1-2 0,3 2 6 15,-1 0-42-15,-1 1 18 0,2 1 0 16,-1 0-23-16,5-2 3 0,-1 2 5 0,0-3-13 16,1 4-20-16,4-3 27 0,0 1-25 15,2-2 3-15,0-3-8 0,7 6 3 16,-2-2-11-16,3-3 31 0,0 1-31 0,-1-2 8 0,3 0 21 16,3 3-32-16,-2-1 1 0,-1-2 31 0,3 0-24 15,-3 1-7-15,2 0 20 16,-1 4-20-16,-1-3 20 0,0 2-7 0,-2-3 7 0,0 4 8 15,0 0-21-15,-1-1-12 16,-2 1 15-16,-2 0 28 0,0 0-20 0,-3 0-6 0,2-2 11 16,-2 3-21-16,-2 0 39 0,2-2 38 15,-3-1-30-15,3 2 43 0,0-5-21 0,-1 5-69 16,1-5 42-16,-4 3-29 0,4 1 31 0,0-4-1 16,0 0 1-16,0 0 8 0,0 0 4 15,0 0-9-15,0 0 12 0,0 0-18 0,4-12 1 16,0 7-11-16,-1 1-36 0,1-4 3 0,4 4-42 15,0-5-40-15,0 2-18 0,-1 1-31 16,3 0-38-16,0-1-26 0,1 0-7 16,-1-1-26-16,0 3-26 0,1-2-35 0,-4 1-42 0,3 1 1 15,-2 0 127-15,0-1 11 0,0 4 54 16,-3-3 22-16,2 2 42 0,-4 0 30 0,3 1 36 16,-2 0 31-16,0 0 31 0,-4 2 7 15,4-3 2-15,1 1 22 0,-5 2-4 0,0 0 6 16,0 0 15-16,10 5 6 0,-10-3 14 15,3 2-4-15,-1 1 12 0,1 0-7 16,2 0 38-16,-2 2-26 0,2 0 29 16,-2 1-3-16,-1-2 0 0,3 2 7 0,-3-2 4 0,-1 3-14 0,1-2 6 15,-2 0 7-15,-2-1-5 0,2 1-20 16,-2 0-26-16,-2-1 13 0,0 1-23 0,1-2-26 16,-3 0-41-16,-1-2-69 0,-1 2-51 15,3-2-77-15,-3 0-76 0,4-1-124 16,-2 0-534-16,4-2-85 0,2 0 61 15,0 0 147-15,0 0 61 0,-9-6 79 0,9 6 77 0</inkml:trace>
  <inkml:trace contextRef="#ctx0" brushRef="#br0" timeOffset="168976.26">21478 8849 926 0,'6'-2'307'15,"-6"2"-76"-15,4-3-129 0,-4 3-238 0,0 0-516 16,0 0 65-16</inkml:trace>
  <inkml:trace contextRef="#ctx0" brushRef="#br0" timeOffset="170018.59">16905 8652 903 0,'-3'-2'343'0,"3"2"56"0,-5-3-43 0,5 3-26 16,0-4 8-16,0 4-77 0,2-7-7 15,1 2-14-15,0 0-27 0,2 2-21 0,0-3-3 16,0 1-38-16,0-1-28 16,0 1-13-16,3-2-15 0,-1 2-41 0,-1 1-39 0,-1 0-33 15,1-2-46-15,0 1-41 0,0 3-84 0,-2-3-108 16,-3 4-105-16,4-1-453 0,0 0 100 16,-5 2 77-16,10-1 45 0</inkml:trace>
  <inkml:trace contextRef="#ctx0" brushRef="#br0" timeOffset="171249.68">18445 9301 790 0,'0'0'333'0,"0"0"-67"0,0 0-5 0,1 11-40 0,-4-1-11 15,-2 3 5-15,0 6-47 0,-8 9 1 0,0 3-10 16,0 1-21-16,-2 1-17 0,-3-1-6 15,3 1-3-15,2-2-1 0,-3 1 40 0,4-2-11 16,1-4-14-16,1-7-16 0,2 3-5 0,2-6 15 16,2 1-33-16,-1-2-8 0,5 0-48 15,0-6-23 1,0 4 7-16,5-2 13 0,1-2 31 0,1 0-10 0,6-1 10 0,2-2-23 16,1-1 7-16,4 1 1 0,1-4-9 0,4 2-1 15,3-2-6-15,-2 2 10 0,-1-3-22 16,1-1 4-16,0 1-20 0,0-2-10 0,-1 2-23 15,-2-1-26-15,0 0-21 0,-2 0-37 0,-1 0-9 16,-4-1 6-16,2 1-34 0,-3-1-30 16,-2-3-44-16,4 4-61 0,-3 0-18 0,-3-3-80 15,-1 0-381-15,2 2 54 0,1-5 59 0,-5 5 102 16</inkml:trace>
  <inkml:trace contextRef="#ctx0" brushRef="#br0" timeOffset="171511.51">18907 9675 857 0,'0'0'353'15,"0"0"-25"-15,0 0-77 0,0 0-11 0,16 7-2 16,-10-2 0-16,0 3-28 0,2 3 8 16,3 0-18-16,-1 0-19 0,-2 4-12 15,4 3-15-15,-4-4-3 0,-1 4-23 0,-1-1-3 0,-2-1-10 16,0 1-12-16,-5-3-16 0,-2 4-8 0,-1 1-7 15,-2-1-18-15,-1 1-21 0,-3 0-23 16,-4 1-33-16,2-3-2 0,1 2-50 0,-1-3-32 16,2-2-29-16,0-2-71 15,1-1-106-15,1-4-45 16,1 0-481-16,0-2 48 0,3-2 130 0,0-3 70 0</inkml:trace>
  <inkml:trace contextRef="#ctx0" brushRef="#br0" timeOffset="175247.42">20120 9756 558 0,'-3'13'232'0,"1"-1"-14"0,-1 1-93 0,-2 1 19 0,3-2-32 0,-1-1-27 0,-2 3 22 15,0 1-38-15,2-1-2 0,0-1 23 16,-1 1-34-16,0-3 8 0,0 2-31 0,1 1-10 16,-2-2-13-16,3 0-53 0,-1 1-44 15,-2-3-82-15,3-2 0 0,-1-2-427 0,3 4-26 16</inkml:trace>
  <inkml:trace contextRef="#ctx0" brushRef="#br0" timeOffset="175691.89">20245 9822 895 0,'0'0'251'0,"-10"9"-15"0,10-3-44 15,-2 1-82-15,-1-1-3 16,3 4-22-16,-3-1-1 0,1 1 16 0,2-2-36 0,0 5-15 0,0-4 2 16,2 1-26-16,1 1 4 15,2-2-1-15,3 2-13 0,-3-3 21 0,3 0-18 16,0 0 2-16,2-3-9 0,0 0 7 0,0-2 10 16,1-3 13-16,1 0 0 0,1 0 17 15,0-1 6-15,0-4 26 16,-1 3-8-16,1-4-18 0,-5 0 20 0,0-3 1 0,0 1 10 0,-4 1-6 15,2-4-2-15,-4 4-25 0,-2-1 9 16,0-2-2-16,-2 3-7 0,0-2-11 0,-2 0 0 16,-1 1-10-16,-2 2-2 0,-1-1-16 0,3 2 2 15,-5-1-7-15,-1 3-36 16,1 0 5-16,0 2-15 0,-3 0-31 0,5 0-23 16,-2-1-38-16,0 4-31 0,2 1-97 0,2-3-41 15,0 3-484-15,0 0 64 0,4-3 74 16,-1 5 56-16</inkml:trace>
  <inkml:trace contextRef="#ctx0" brushRef="#br0" timeOffset="176112.04">20638 9798 534 0,'-5'2'228'0,"2"5"-8"16,3-2-30-16,-5 3-11 0,3 3-10 0,-1-1 0 16,0-1-21-16,1 4-7 0,1-3-18 15,0 0 5-15,1 1-3 0,1 1-20 0,2 0-20 16,2-2-16-16,-2 0 13 0,2 1-5 0,2-3-3 15,-1 1-8-15,4-2-73 0,-2-1 2 16,2-1 17-16,3-2-1 0,-1-1 88 0,-1 0 19 0,2-4-18 16,-3 2-8-16,3-2 0 0,-2 1-58 15,-1-3 14-15,-3 1 6 0,3-1 79 16,-5-3 0-16,1-1-18 0,-4-1-10 0,0 1 5 16,-2 0-23-16,-2-2-10 0,0 1 3 15,-1-1-16-15,0 1 2 0,-3-1-12 16,-3 3-23-16,2 0-11 0,-3 1 11 0,-1 0-54 0,1 1-11 15,-2-1-4-15,0 6-46 0,2 0-21 16,0 0-64-16,-1 0-82 0,-1-3-90 16,4 6-526-16,1 2 66 0,-1 0 86 0,0-2 137 0,3 2 51 15</inkml:trace>
  <inkml:trace contextRef="#ctx0" brushRef="#br0" timeOffset="176725.13">20989 9949 1044 0,'8'6'289'0,"-6"-3"-15"16,1 1-33-16,-1 3-1 0,-2 0-25 0,1-1-2 16,-1 3-32-16,-1 0-17 0,-1-3-10 15,-1 4-19-15,0-1-17 0,-1 2 0 0,-2-2-18 16,1 2 5-16,-2-5-28 0,-1 7-26 0,3-6-21 15,-3 2-30-15,2-1-38 0,-3 0-49 16,1-3-59-16,3 2-84 0,0-6-75 0,-1 4-481 16,-1-3 67-16,2 0 46 0,0 0 123 0</inkml:trace>
  <inkml:trace contextRef="#ctx0" brushRef="#br0" timeOffset="177680.61">21071 9879 1039 0,'0'0'309'0,"0"0"-35"0,-5 13-25 0,5-7-4 0,-2 0-35 15,2 2-15-15,0 2-26 0,0-1-5 16,0 2-42-16,2-2-1 0,-2 2-4 0,2 0-12 15,1 0 0-15,2-1-30 0,-1 2-9 0,0-3 8 16,4 0 6-16,-1-2-37 0,1-1 19 16,2 0-11-16,0-1-10 0,0-2 0 15,0 0-5-15,-2-3 40 0,1 0-19 16,0 0-6-16,-2-2 3 0,-3 0-1 0,1-3 9 16,0 1-6-16,-3-1 6 0,-1-3-6 0,-1 3-18 15,0-3 3-15,-3-1 10 0,3 0-99 0,-5-1 15 16,4 2-14-16,-5-1 12 0,2 1 9 15,-1 3-10-15,-2-2 3 16,2 1-8 0,0 1-13-16,0 1-25 0,-1 0 5 0,1-2-21 0,2 6-2 0,-1-2-36 0,4 2 12 0,-3-4-58 15,3 4 15-15,0 0-12 0,0 0-29 16,0 0 10-16,8-5-7 0,-3 3-3 16,3 0 29-16,2-1-6 0,-3 2 51 0,5-1-14 0,-3 2 32 15,-1-3 26-15,2 3 54 0,-2 0-11 16,0 0 49-16,-1 0 16 0,-7 0 12 0,10 0 13 15,-3 0-15-15,-3 5 12 0,1-1 21 0,0-2-33 16,-2 5 46-16,1-1-29 16,1 0-14-16,-2 1-6 0,1 2 3 0,0-2-1 0,0 1-12 15,0-1 21-15,-2 0-6 0,3 2 3 0,2 0 7 16,-4-3 1-16,3 1 15 0,1-1 15 16,-2 0 15-16,3-1 14 0,-3-3 20 0,3 2-21 15,0-2 11-15,-1-2-11 0,1 0 13 16,1-1-2-16,-1-1-18 0,0-1 2 15,-2 1 21-15,-1-3-16 0,3 2-23 0,-3-2 39 16,-2 0-33-16,-1-1-14 0,0 0 67 0,-2-2-10 16,0 1-18-16,0-2 6 0,-2 1-19 15,0 2-20 1,-1-2-3-16,-2-1-13 0,2 2-7 0,-2 0-18 0,0 1-8 0,-1 1-25 0,2 1-6 16,0 0-30-16,0-1-13 15,0 3-16-15,0-2-25 0,2 2 3 0,2 2-13 16,0 0-13-16,-6-2 20 0,6 2-30 0,0 0-19 0,0 0 17 15,0 0 17-15,8 10 0 0,-3-7 25 16,0 0 6-16,1 2-3 0,-1 2 8 16,2-1 8-16,-2-1 17 0,3 0-10 15,0-1 24-15,2 1 20 0,0 1 7 0,1 1 31 0,-3-2 5 16,4-1 11-16,0 0 10 0,-3 0 12 16,1-2 16-16,0 1 13 0,0-1 5 0,-2-2-8 15,2 3 5-15,-2-3 16 0,-3-2-13 16,-5 2 2-16,13-1 28 0,-10-1-25 0,1-1 16 15,-4 3-29-15,4-6-3 0,-4 2-4 0,0 0-26 16,-2-2-8-16,-4 0 5 0,3 0-2 0,-4 0-13 16,1 0-10-16,1 4-8 15,-1-3-26-15,-2 3-25 16,-1-2-23-16,2 3-31 0,-1-1-3 0,2-2-60 0,-1 4-40 0,7 0-91 16,-10-2-67-16,6 4-543 0,4-2 93 15,-8 2 66-15,4 1 82 0,4-3 97 16</inkml:trace>
  <inkml:trace contextRef="#ctx0" brushRef="#br0" timeOffset="178000.17">21940 9831 885 0,'-1'-5'353'0,"1"5"-20"0,0 0-18 0,0 0-41 0,0 0-23 0,-6 9-21 0,6-3-10 0,-3 0-33 16,3 3-33-16,-3-1-8 0,3 2-1 0,-2 3-17 15,-1-1-15-15,0 1-16 0,-1 0-12 16,2 0-16-16,-4 0-28 0,5 2-18 0,-3-2-8 15,-1 0-17-15,2-1-16 0,-2 0-18 0,2 0 0 16,1-3-56-16,0 2-44 0,1-3-51 16,-2-2-22-16,1 3-53 0,-1-2-129 0,2-4-377 15,2 4 87-15,-1-4 18 0,0-3 115 16</inkml:trace>
  <inkml:trace contextRef="#ctx0" brushRef="#br0" timeOffset="179343.62">20161 10276 780 0,'7'-3'366'16,"13"-2"-48"-16,5-2 2 0,18-1-23 0,10-1-54 16,14 0 0-16,8-1-31 0,-1 4-20 0,8-3-25 15,5 0-14-15,3 3-2 0,2 2-12 16,3-1-27-16,-2 1-12 16,1 0-8-16,-4 1-25 0,-1 2-21 0,-3 1 2 0,-3 0-9 15,-5 1-29-15,-7 3-13 0,-17-1-14 16,-5 1-19-16,-5-2-16 0,-11 3-50 0,-4-3-41 15,-9 3-44-15,-5-1-72 0,-5-2-119 0,-2 2-436 0,-6-2 115 16,-6 4 15-16,-7-1 114 16</inkml:trace>
  <inkml:trace contextRef="#ctx0" brushRef="#br0" timeOffset="179645.93">19930 10439 952 0,'-5'-2'302'0,"3"1"-28"0,2 1 2 16,20-5-12-16,-5 0-11 0,11-2-12 0,20-1-103 15,18-3-7-15,10 2-16 0,9-1 2 0,4 0-22 16,5 0-5-16,5 3-8 0,3-2-6 16,24 1-6-16,-22 3 1 0,-2-1-22 15,-2 2-13-15,-1-1 7 0,-5 1-25 0,-5 2-5 0,-5 1-16 16,-5-2-17-16,-15 3-21 0,-4 3 3 15,-6-3-11-15,-4 0-30 0,-11 1 7 0,-8 0-36 16,-7 0 9-16,1-1-29 16,-5 3 2-16,0-2-35 0,-5 1 20 0,1-2-25 0,-5 3-19 15,1-1 40-15,-2-1-7 0,-1-1 14 0,-2 3-8 16,-5-3 18-16,6 2-71 0,-6-2-57 16,2 2-300-16,-2-2 21 0</inkml:trace>
  <inkml:trace contextRef="#ctx0" brushRef="#br0" timeOffset="180653.5">15764 8364 852 0,'-18'65'289'0,"-13"25"-28"0,1 17-33 16,-4 6-13-16,3 9-26 0,0 8-27 16,4 4-22-16,1 4-17 0,3-1-36 0,2-1-28 15,5-4-23-15,4-6 64 0,2-8-57 0,2-5-48 16,6-26-74-16,1-2-167 0,-1-9 1 16,5-2-444-16,-1-5 16 0,-2-6 158 0</inkml:trace>
  <inkml:trace contextRef="#ctx0" brushRef="#br0" timeOffset="181860.12">15625 8314 862 0,'31'-7'264'0,"10"-4"-13"0,6 3-24 0,14-7-4 0,10 0-21 16,7 2-12-16,4 0-9 0,33-6-9 0,3 5-16 15,8-3 5 1,4 3-30-16,9-3-18 0,7 4 12 0,5-2-5 0,3-1 21 16,7 4-41-16,4-1 5 0,4 0-10 15,5 1-6-15,3 3-7 0,0-1 3 0,0 2 9 0,13-2-35 16,-1 3 10-16,3 0-2 0,6 0-16 0,0 2 21 16,-4 2-13-16,4 0-29 0,2 3 21 15,-6 0-7-15,1 6-1 0,-2 1-22 0,-2 2 10 16,-5 1-8-16,-2 1 0 0,1 2 2 0,-5 4-2 15,-8-2 0-15,-1 4-15 0,-2 0-5 16,-5 5 4-16,-10-2 16 0,-10 6-15 0,-2 0 18 16,-7 1-19-16,-5 1 14 0,-7 5-6 0,-7-1 6 15,-9 2 22-15,-4 1-43 0,-8 1-2 0,-4 0 22 16,-21-7-12-16,-1 2-3 16,-4 4 15-16,-4 2 14 0,-7 4-14 0,-3 3 1 15,-5 4-1-15,-10 3-12 0,-2 10 5 0,-9 1-3 16,-1 9 20-16,-2 26-24 0,-5 7 9 0,-6 5 3 15,-4 7 5-15,-5 5-10 0,0 5-16 16,-4-1 29-16,-2 2-8 0,0-3-26 16,-2-6 21-16,1 0-3 0,-4-2-10 0,2-6 0 15,-5-5 23-15,7-22-10 0,-4-4 2 0,-3 0-20 0,0-3 26 16,-1-3-21-16,2-4 0 0,-6-1 23 16,4-5-39-16,-1-4 32 0,-2-1-27 0,0-4 34 15,1-3-30-15,-1-2 9 0,5-12-2 0,-4 0 5 16,4-3 8-1,-4-2-23-15,0-2 30 0,4-3-14 0,-3-7 9 0,4-3-13 16,1-2 16-16,-1-4-13 0,-2 0 1 16,2-1 9-16,-4-2 8 0,2-1-20 0,-4-1-1 0,-1-2 16 15,4-1-10-15,-8-2-16 0,0 0 46 16,0-3-25-16,-5 0-5 0,-6-3 7 16,-16-1-7-16,-4-3 20 0,-2 1 11 0,-13-8 4 0,-2 1-25 15,-3-2 13-15,-7-3-11 0,-7 3-2 0,-28-8-5 16,-4 0 12-16,-5 1 6 0,-8-1-28 15,-7 0 30-15,-4-3-10 0,-9 5-8 0,-8-4 3 16,-4 3-23-16,-5-1 3 0,-8 2-1 16,-6 0 31-16,-10 1-10 0,2 0-23 0,-8 2 18 15,-4 1-11-15,0 4 1 0,-4 0 20 16,-53-4-13-16,65 8-15 0,1-2-5 0,-4-1 12 16,2 2 6-16,5 1-26 0,3 1 11 0,2-1 1 15,9 1-4-15,4 0 13 0,0-1-1 16,8 4-2-16,5-4 11 0,10 4-24 0,6-3 15 15,6 1 14-15,5 0-19 0,26 2 29 0,9 0-37 16,-1-1-1-16,3 2 24 0,6-1-27 16,6-1 18-16,4 0-11 15,3 1-2-15,7-1 12 0,12-1 11 0,3 2-26 0,6-1-15 16,6 0 13-16,6 3 5 0,6-2 10 0,4 0 25 16,3 1-10-16,5 1-20 0,3 1-5 15,2-2-28-15,-3 3-1 0,6-1-2 0,0-1-2 16,0 3-21-16,2-2 5 0,3 1 8 0,-3-1 5 15,8 2-11-15,-10 0 9 0,4-2-6 16,6 2 23-16,-7 0-15 0,7 0 0 0,-7-2 10 16,4-1 3-16,3 3 7 0,-5-3 1 0,2-1 4 15,0 1 19-15,1-3-21 0,-1 0 10 16,1-4 16-16,-3-2-16 0,0-6 8 0,-1-4-3 16,-2-16 5-16,1-9-12 0,-3-17 12 15,2-11 3-15,-2-11-5 0,2-27-15 0,0-14-1 16,6-8-37-16,2-3-45 0,5-12-12 0,8 0-51 15,2-1-44-15,8 0-113 0,0-4-109 16,8 7-452-16,5 9 76 0,-3 8 106 0,6 7 75 16,-4 9 102-16</inkml:trace>
  <inkml:trace contextRef="#ctx0" brushRef="#br0" timeOffset="194894.45">20371 2285 1428 0,'3'-1'481'0,"-3"1"-66"0,0 0-44 0,0 0-8 0,6-2-40 0,-6 2-11 0,0 0-64 16,0 0-10-16,0 0-30 0,0 0-60 15,0 0-15-15,0 0 0 0,0 0-15 0,0 0 0 16,0 0-16-16,0 0-7 0,0 0-3 15,0 0 8-15,-22 0-23 0,12 1-18 0,-1 0-13 16,-1 2 72-16,-1-1-11 0,-2 3 8 0,0-2-28 16,1 1-20-16,-1 1 20 0,-1 1 8 0,2-2-55 15,0 1 14-15,2 0 5 0,1-2-5 16,1 3-23-16,0-3 20 0,2 3-26 16,1-3-17-16,2 2-3 0,2 0-5 0,-2 0-8 0,4-2 14 15,-1 4 1-15,2-3-14 0,0 3-4 16,3 1-7-16,-1-2-2 0,4 3-8 0,-1 0 18 15,2 1-1-15,1-1-19 0,2-1 40 16,2 3-8-16,-3 0-9 0,3 0 9 0,0 0-22 16,-3-2 25-16,4 3-10 0,-5-2 2 0,-1-1 21 15,-1-3-5-15,-2 1 18 0,-1 0 33 16,-3 0-23-16,0 0 5 0,0-1-16 16,-5 3-14-16,-3-2 35 0,-2-1-105 0,0 2 0 0,-1-1 19 15,-3-1 1-15,-2 1 6 0,-2-2-20 16,3 1 9-16,-3-2 14 0,1 0-47 15,1-1 5-15,0 0-25 0,3 1-2 0,0-4-22 16,4 0-45-16,-2 1-10 0,3 0-29 0,0-2-36 16,8 1-55-16,-10 0 9 0,10 0-176 15,-4-1-402-15,4 1 28 16,0 0 79-16,0 0 121 0,0 0 15 0</inkml:trace>
  <inkml:trace contextRef="#ctx0" brushRef="#br0" timeOffset="197907.71">20256 1507 762 0,'0'0'333'15,"-2"-3"-23"-15,2 3-34 0,0 0-7 0,0 0-18 0,-6-1-57 16,6 1-12-16,0 0-8 0,0 0-33 0,-8 4 51 16,6-1 20-16,-1 6-32 0,1-2-40 15,-1 1-1-15,0 3-24 0,-2 0-5 0,0 1-13 16,0 1-10-16,-2 1 0 0,1 2-18 0,1 1-2 15,0-3-1-15,0 0-4 16,0 0-16-16,2 0 2 0,-2-2-27 0,2 1 5 16,-1-2 4-16,2-2-12 0,-2 0 5 0,2-1 21 15,1 0-29-15,-1-1-2 0,0-1 23 16,-1-1-23-16,3-1 12 0,0-1-7 0,0-3 3 16,-2 3-6-16,2-3 0 0,0 0 24 0,0 0 4 15,0 0-17-15,2-12-8 0,1 6 10 16,-3-3 0-16,2 2 5 0,-1-3-12 0,0-1 12 15,0-2 18-15,4 2-18 0,-2-4 14 16,-1 2-63 0,3 0-2-16,0-2-5 0,-2 3 8 0,2 0 12 0,0 2 14 0,-5 1-19 0,5 0 3 15,-3 4 10-15,-1-3-23 0,1 4 5 0,1 1 0 16,-3 3 8-16,5-1-8 0,-5 1 6 16,0 0-3-16,8 7 12 15,-6-1-2 1,3 1-13-16,-2 0 6 0,-1 1-16 0,1 3-8 0,2 0-13 0,-2 1 1 0,4-1 2 15,-4 1-3-15,2-2 9 0,-2 1-4 0,4-1 11 0,-2-1 0 16,-2 1-3-16,4-4 13 0,-3 0 5 16,2-1 36-16,-2 0 0 0,0-2 16 0,2 0 7 15,-1-3 10-15,-5 0 29 0,13-3 4 16,-8 0-9-16,0 0 4 0,2-3 36 0,-4 1-30 16,4-3 33-16,-1-1-23 0,-1-3-21 0,1-4-58 15,-4 3 63-15,3-2-20 0,0-2-23 0,1-1-3 16,0 0 19-16,-5 2-19 0,6 1 0 15,-4 2-12-15,2 0 15 16,-2 2-18-16,-1 2 3 0,2 1-26 0,-2-1 0 0,-2 2-44 16,2 2-66-16,1 0-15 0,-2 2-26 0,0-1 2 15,-1 4-25-15,0 0 3 0,0 0-60 16,0 0-66-16,0 0-97 0,0 0-15 0,8 9-503 16,-3-6 93-16,-2 0 110 0,6-1 105 15,-3 3 18-15</inkml:trace>
  <inkml:trace contextRef="#ctx0" brushRef="#br0" timeOffset="198249.31">20655 1492 875 0,'0'0'343'0,"3"5"-5"16,-3 0-52-16,0-1-9 0,0 3-29 0,-2 0-25 16,2 2-13-16,0 0-87 0,0 0-8 15,0 2-3-15,2 0-22 0,-2 1 10 0,3 1-21 16,0-3 1-16,-1 3-1 0,3-2 5 0,-2-2 11 15,4 1-5-15,-2-3-1 0,1-1 16 16,-1 0 10-16,3-1 11 0,0-1 94 16,0-2-59-16,1-1 18 0,-1-3-33 0,2 1-7 15,-2-3 117-15,2-1-118 0,2-1-15 0,-1-2-18 16,-3-1-3-16,0-1 11 0,2-1-26 16,-2-2 15-16,-1-4-25 0,1 3 20 15,-1-3-43-15,2-3-16 0,-5 2 13 0,4 1-22 0,-3 0-17 16,0 1 9-16,1 2-44 0,-4 1-18 15,3 2-39-15,-2 0-35 0,-1 3-41 0,0 0-51 16,-1 1-8-16,1 3-23 0,-2 1-39 0,0 3 49 16,0 0-158-16,0 0-259 0,0 0-248 15,-7 9 68-15,4-3 142 0,-2 1 79 0,2 1 23 16</inkml:trace>
  <inkml:trace contextRef="#ctx0" brushRef="#br0" timeOffset="199100.02">20717 2435 993 0,'0'-3'361'0,"0"3"-34"0,0 0-30 0,0-4-26 0,0 4-22 0,0 0-24 16,0 0 8-16,0 0-36 0,0 14 0 16,0-8-25-16,0 3-9 0,-2 0-12 0,2 2-10 15,0 0-33-15,0-1-11 0,-1 4-2 16,2-3-6-16,1 4-84 0,-2-3 6 0,4 1-1 16,-2-1 0-16,0-2-12 0,0 2-4 0,1-3 4 15,2-2-13-15,-2 0 17 0,2-1 13 0,0-3 19 16,1 0 66-16,1 0 40 15,0-5-7-15,1 0 1 0,2-1-65 0,0-3-10 0,1 0-6 16,-1-2 6-16,0-3 8 16,0-1 7-16,1-3-2 0,2-2-11 0,-3-2-10 15,3 0 6-15,-1 0 1 0,-1-1-27 0,-1 0 5 16,0 1-8-16,0 1-5 0,0-1 0 16,-3 3 0-16,-3 4-28 0,2 0-10 0,-2 2-29 0,-1 1-48 15,2 1-18-15,-3 3-54 16,2-1-15-16,-4 3 8 0,2 1-47 0,-2 2-33 15,0 0-110-15,0 0-7 0,0 0-513 0,-10 11 85 16,7-4 82 0,-2-1 38-16,-3 3 103 0</inkml:trace>
  <inkml:trace contextRef="#ctx0" brushRef="#br0" timeOffset="199975.34">20271 3228 1005 0,'0'0'313'0,"-3"-3"-34"0,3 3-28 0,0 0-11 16,0 0-17-16,0 0 48 0,0 0-20 0,-13 9-23 16,6-2-31-16,-1 0 3 0,1 3-21 0,-1 1-15 15,-4 1-26-15,1 1-15 0,1 0-6 16,-6 2-14-16,6 0-3 0,0-2-16 15,-1 1-2-15,1 0-13 0,0-1-15 0,5 1 5 16,-2-4 2-16,3 1 3 0,-1 1-5 0,0-2-23 16,3-2-13-16,2 1 36 0,-1-1-34 15,2 1 1-15,-1-1 25 0,2-3-28 0,3 1 5 16,0-1 16-16,1 0-26 0,1-1-5 16,1 0 2-16,0 0-15 0,2 0-13 0,0-3-5 15,0 2-25-15,1-2-31 0,2 1-26 0,0-1-21 16,2 2-86-16,0-3-110 0,-5 2-126 0,6-2-435 15,-3 0 59-15,2-1 105 16,1 0 66-16,-1 1 29 0</inkml:trace>
  <inkml:trace contextRef="#ctx0" brushRef="#br0" timeOffset="200319.12">20705 3321 1116 0,'0'0'345'0,"0"0"-17"16,-13 13-24-16,13-9-35 15,-3 3-5-15,2-1-52 0,-3 2-20 0,2-1 3 0,2 3-37 16,-1-1-4-16,1 0-11 0,0-1-12 16,1 2-8-16,1-1-6 0,2-1-12 0,0 1-5 15,-2-3-10-15,3 0 51 0,3-2-88 0,-2-2 80 16,1 0 54-16,0-1-41 0,3-2 51 15,0-1-97-15,-3-1 3 0,3-4 73 0,0 1 19 16,0-3-39-16,0-1 20 0,1-1-122 0,-1-1 28 16,2-1-33-16,-1 1 30 0,-1-2-25 15,-2 2 0-15,2 2-21 0,-5-1 3 0,4 1 5 16,-5 0-18-16,1 4 2 0,0-3-48 16,-2 2-38-16,-1 1-3 0,1 0-62 0,-3 3-32 0,2-3-52 15,-1 2-49-15,-1 0-63 16,0 4-157-16,0-5-540 0,0 5 129 0,0-2 55 15,0 2 108-15,0 0 105 0,0 0 33 0</inkml:trace>
  <inkml:trace contextRef="#ctx0" brushRef="#br0" timeOffset="202241.8">21409 1308 755 0,'13'-5'240'15,"-5"1"67"-15,2 1-25 0,-2 1-3 0,2 0-41 0,0 2-8 16,3 2-25-16,-5 0 2 16,0 1-43-16,2 2 10 0,-2 3-2 0,0 2 17 15,-1 4-20-15,-4 3-69 0,-1 1-44 0,-4 3 24 16,-1 7 37-16,-10 9-22 0,3 3 15 15,-5 0 5-15,-3 8-33 0,0 0 5 0,-1-1-5 16,4-8-2-16,0-1-24 0,2-3-13 0,1 0 21 16,2-3-15-16,2-6-5 0,2-3 30 15,2-3-38-15,1-2 30 0,0-1-22 0,2-2 15 16,1 1-3-16,0-4-5 0,0 0-15 0,-2-1-5 16,4 0 17-16,-1 1 6 0,-1-3-13 0,3 0 13 15,-3-1-6 1,4-2 16-16,-1 1-15 0,2 1-8 0,-2-1 5 0,3 0-2 15,0 3-14-15,2 1 42 0,0 0 15 0,0 3-115 16,-1 2 38-16,5 3 0 0,-3 2-5 16,-2 5 8-16,4 8 23 0,-3 3-18 0,0 2 13 15,0 2-3-15,0 4 10 0,-2 13 52 0,0 0-6 16,-4-8 14 0,0-1-29-16,-1 2-5 0,-2 2 12 0,-1 10-6 0,0-13-1 0,-1 1-16 15,0-2-7-15,-1-2 11 0,-2 0-11 0,1-5-8 16,-2 0 19-16,-1-2-22 0,3-5 4 31,-6 2 12-31,4-5-46 0,-3 2 21 0,0-9-6 0,1-4 29 0,-1-1-18 0,0-2-26 0,-2-1 20 16,1-3 3-16,1-1-5 0,-2-3 6 15,-2 0 6-15,1-1-22 0,-2-3 0 16,-1 0-26-16,1-3 0 0,0 0-7 0,1 0-31 16,0-5-29-16,0 1-17 0,-1-3-5 15,3 0-24-15,-2-4-30 0,2-1-36 0,3-2-20 0,0-1-26 16,4-2-23-16,2-4-70 0,0 0-196 15,6-2 25-15,2-5-184 0,8-9-217 0,3 0 99 16,2-3 98-16,6-8 61 16,3 2 92-16</inkml:trace>
  <inkml:trace contextRef="#ctx0" brushRef="#br0" timeOffset="202633.36">21806 2231 880 0,'0'0'261'16,"0"0"69"-16,0 0-23 0,0 0-12 0,24 0-19 15,-14 0-43-15,5 0-10 0,1 0 5 16,1 0-36-1,1 0-21-15,-1 0-4 0,0 0-98 0,7 0-5 0,-2 0-3 0,-1-2-10 0,-1 2-2 16,0 0-11-16,-3-1-12 16,0 1-16-16,1 0-38 0,-3-2-41 0,-2 2-36 0,0 0-49 15,-3 0-107-15,1 0-18 0,0-2-399 16,-3 2-54-16,-2-1 89 0,0 0 50 0</inkml:trace>
  <inkml:trace contextRef="#ctx0" brushRef="#br0" timeOffset="202861.68">22258 2119 767 0,'6'-2'369'0,"-6"2"-54"16,9 3 5-16,-4 0-18 0,1 2-120 16,-1 0-8-16,5 2-5 0,-2 2-6 15,-2 1 1-15,0 3-15 0,-2-2-21 0,0 3 10 16,-4 1-28-16,3 1-13 0,-6 0-5 15,-1 1-25-15,-2 1 2 0,2-1-33 0,-7 1-18 16,3-4-34-16,0 2-55 0,3-5-90 0,0 3-126 16,1-5-471-16,0 1-12 0,2-4 94 15,2 0 64-15</inkml:trace>
  <inkml:trace contextRef="#ctx0" brushRef="#br0" timeOffset="204730.57">23933 1299 982 0,'0'0'359'0,"0"0"-37"0,12 11-17 0,-10-4-103 16,1 0-10-16,-3 3-15 0,3-1-21 0,-3 2-5 15,4 1-15-15,-4 1-11 16,1 2-2-16,-1-1-13 0,0 0-13 0,3-1 49 0,-3 2-8 16,-3-2-35-16,3 0-9 0,0-2-17 15,0 3-36-15,0-3-15 0,0 0-11 16,0-1-28-16,3 1-30 0,-3-2-26 0,0 0-31 15,3 1-36-15,-3 0-84 0,1 2-44 0,0-5-15 16,-1 6-494-16,2 1 52 16,-4 0 99-16,2 0 58 0</inkml:trace>
  <inkml:trace contextRef="#ctx0" brushRef="#br0" timeOffset="205142.89">23986 2086 1075 0,'0'0'330'0,"0"0"33"0,0 0-4 0,0 0-39 16,5 9-54-16,-5-9-5 0,-3 9-18 15,1-3-38-15,2 0-18 16,0 0-16-16,0 1-7 0,-2 0-39 0,2 2 14 0,0-1-52 0,-1 0-5 15,-1-1-47-15,-1 1-12 16,3-1-40-16,0 0-7 0,-2 0-65 0,2 0-75 0,0-2-61 16,-2 1-87-16,0 1-154 0,2-1-330 15,0 0 92-15,0 3 84 0,0-2 57 16</inkml:trace>
  <inkml:trace contextRef="#ctx0" brushRef="#br0" timeOffset="205483.3">24035 2882 844 0,'0'0'333'0,"0"0"-28"0,0 0-29 0,5 8-28 0,-5-2-15 0,0 1-13 16,0-1-35-16,3 4 7 0,-6 2-31 0,3-2-15 15,0 3-16-15,0 2-9 16,0-3-4-16,0 2-37 0,0 1-16 0,-1-3-28 15,1 1-24-15,-2 1-19 0,2-4-68 0,-2 2-22 0,2-2-56 16,0 0-70-16,0-1-41 16,-2-1-66-16,2-3-405 0,0 1 47 0,2-3 104 15,0 1 39-15</inkml:trace>
  <inkml:trace contextRef="#ctx0" brushRef="#br0" timeOffset="206948.53">24247 1051 793 0,'0'-6'294'0,"-2"2"-20"0,0-1-100 0,-1 0-15 16,-2 0-5-16,-3 1-26 0,-2-2-18 0,0 0 13 16,-3 3-21-16,-3-2 8 0,-1 1-8 0,-4 1-27 15,0 0 12-15,-2 1-23 16,-7 0 10-16,-1 1 0 0,-2 2-15 0,-3 0-3 16,3 1 1-16,-14 1 4 0,4-1-5 0,2 5 70 15,0 1 12-15,3 1-36 0,7-2-7 16,5 1-13-16,-7 4-10 15,6 1 7-15,5-3-15 0,-5 8 10 0,3-3 6 0,6 1-19 0,-3 6 3 16,3 0-8 0,3 4-7-16,2-1 7 0,0 7-15 0,2 3 16 0,2 3-24 0,0 3-10 15,2 6 31-15,-1 15-37 0,3 2 12 16,0 7 12-16,2 2-23 0,1 2 10 0,0 2 5 16,2 3-13-16,0-1 29 0,-1 4-16 15,1 2-17-15,-2 0 14 0,2 0-1 0,-5-1 1 16,2 0-12-16,-2-3 0 0,-3-1 15 0,3-1 6 15,0-1-21-15,-3-5 0 0,-1-1-13 0,-2-4 18 16,1-2-18-16,0-1 10 0,-1-2 1 16,1-4-9-1,-3-2-2-15,5-11 39 16,1-3-49-16,-1-2 25 0,3-3 3 0,0-8-12 0,2-4 14 0,0-6-30 0,1-1 5 0,2-1 10 16,2-2-17-16,3-2 19 0,1-2-19 15,1-2-1-15,3 0 8 0,4-3 5 0,1 2-5 16,7-2-46-16,-1 1-41 0,3 1 18 0,1-2 10 15,3-1-2-15,8 4 4 16,-5-4 32-16,-3 0-26 0,0 0 15 0,11 0 8 0,2 1 15 16,0 1-13-16,-5-4 13 0,-3-1-10 15,11 0 5-15,-5 0 3 0,-7-3 7 0,2 0-12 16,0-3 12-16,-1 0 18 0,13 0-22 16,-5-4-6-16,-6 2 2 15,-6 2 24-15,-1-3 7 0,-1-1-20 0,0 1-5 0,-1 0 15 16,-1-1-7-16,-1-2 7 15,0 1 2-15,-5 0-9 0,-1 1-1 0,-3-1 11 0,1-1 2 0,-1-1-10 16,0-2 8-16,-2-1-13 0,2-3 12 0,0 0-1 16,-4-2 1-16,4-11-7 0,-6 3 13 15,1-7-10-15,-3 0-16 0,-2 2 20 16,-2-8-9-16,-1-4 17 0,1-6 1 0,-2-4-19 0,0-13 21 16,0 1-18-16,-1-7 8 0,2-3-3 15,-2-1-5-15,0-4-3 0,0 0 11 16,0 0-11-16,4 3 6 0,0-2 5 0,3 1-8 0,-2 1 2 15,1-1 6-15,-1-2-11 16,-2 1 8-16,2-1 8 0,-3 4-18 16,-2 1-5-16,3 1 18 0,-3 4 2 0,2 3-18 0,-2 3 16 15,0 11-8-15,0 3-5 0,-2 3 15 16,-1 2-20-16,3 4-13 0,-2 2 5 0,1 8-28 16,0 7-3-16,-2 4 0 0,0 2-25 15,2 4-31-15,1 3-10 0,0 2-26 0,-2 2-35 0,0 4-32 16,0 2-91-16,2 1-44 15,0 0 38-15,-8 11-447 0,6 1 12 0,-4 4 133 16,-2 5 49-16</inkml:trace>
  <inkml:trace contextRef="#ctx0" brushRef="#br0" timeOffset="207411.52">23733 3766 837 0,'-6'21'373'0,"3"-4"-27"0,-2 4-36 16,2 1-37-16,-4 6-9 0,-3 6-28 0,2 3-29 16,-2 2-5-16,-3 1-36 15,3-2-43-15,0-1-23 0,-1 1-23 0,-1-4-39 0,-1 0-48 16,0-3-69-16,-2-2-83 0,5-4-157 0,1-4-457 16,2-3 82-16,-1-2 21 15,3 1 84-15</inkml:trace>
  <inkml:trace contextRef="#ctx0" brushRef="#br0" timeOffset="207701.25">23805 3906 831 0,'4'-10'369'0,"1"3"28"16,-2 1-39-16,-1 2-15 0,-2 3-15 0,0 1-42 15,0 0 16-15,0 0-53 16,-3 20-9-16,-1-9-9 0,-1 6-21 0,0 2-57 0,-1 5 39 16,-4 9-15-16,2-1-42 0,-2 3-7 15,0-1-25-15,2 1-80 0,-2-2-3 0,-3 3-17 16,3-3 10-16,0 2-34 0,2-8-4 16,1-3-24-16,1 0-23 0,-2-2-22 0,2 0-29 31,0-3-26-31,1-1-15 0,-1-3-43 0,4-2-80 0,-3 0-71 0,2-1-46 0,-2-2-421 15,5-1 132-15,-1 0 7 0,-3-4 133 16</inkml:trace>
  <inkml:trace contextRef="#ctx0" brushRef="#br0" timeOffset="208031.14">23468 4382 1052 0,'-2'6'312'0,"2"0"-23"0,0 3-28 0,0 0-18 15,0 0-23-15,0 1-22 0,0 1-22 0,5-1-15 16,-2 3-25-16,1-2-10 16,4 1-4-16,0-1-12 0,3-2 16 0,1 0 10 0,-2-2-6 15,6 1 13-15,2-4-2 0,-3-3-15 16,1 0 40-16,1-2-38 0,6 0 3 0,2-6 7 15,-4 3-36-15,3-2 11 0,-1-1-13 16,-1-5-26 0,-3 2 0-16,-1-2 5 0,0-1-30 0,-4 0-28 0,-3 5-16 0,2-5-26 0,-4 6-27 15,-1-3-45-15,-4 4-40 0,0 1-79 16,-3 2-100-16,-1-1-101 0,0 4-500 0,0 0 101 16,0 0 42-16,-16 13 97 0,9-6 63 0</inkml:trace>
  <inkml:trace contextRef="#ctx0" brushRef="#br0" timeOffset="208520.67">23386 5131 755 0,'-14'1'340'0,"-1"0"-33"0,1 3-20 0,3 0-34 16,1-1-4-16,0 3-32 0,0-1-12 0,0 2-26 15,2 0-23-15,0 0-10 0,4 3-13 16,-2-2-5-16,5 3-18 0,0-3-25 0,1 0 17 16,2 4-12-16,0-1-19 0,4 1-12 15,-2 1 0-15,4-5 0 0,0 6-8 0,0-2 72 16,-1-1-8-16,1 0-17 0,-2-2 7 0,1 1-18 16,-2-3-8-1,-1 0-10-15,0 0 13 0,0-1-87 0,-3 1 0 0,1-1-8 0,-2-1 10 16,-2 1 14-16,-3 1-14 0,2 0 6 0,-4-2-3 15,-3 2-3-15,-1 2-7 16,-2-5-16-16,-2 5 8 0,3-6-15 0,-2 2-13 0,-1 0-28 16,-1-1-39-16,4-1-20 0,-1-2-44 15,-1 2-76-15,2-1-108 0,-3-1-15 16,7-1-456-16,0-1 87 0,3 0 108 0,-2-3 86 16</inkml:trace>
  <inkml:trace contextRef="#ctx0" brushRef="#br0" timeOffset="210320.79">23361 5071 739 0,'5'-2'266'0,"-3"-1"-2"16,-2 3-36-16,6-3 2 0,-6 3-15 0,0 0-28 15,0 0-5-15,12 5-18 0,-8-3 0 0,-2 3-21 16,0 1 54-16,2 2 41 0,-3-2-54 16,2 5-33-16,0-3-5 0,-2 2-13 0,0 2 6 15,-1 1-19-15,2-3-20 0,-2 0 23 16,3 2-47-16,-3 1 4 0,2 1-6 0,-2-2-13 16,0 1-4-16,0-2-11 0,1-2 15 0,-1 2-20 15,0 0 5-15,0-2 3 16,-1 2-21-1,-1-1 10-15,2-1 3 0,-3 2-10 0,3-3-5 0,-2 0 10 0,2 0-1 0,-1 1 14 16,0-4-108-16,-2 2 31 0,3-2 2 0,0 1-7 16,-3-2 31-16,3 0-11 15,0 1-10-15,0 0-3 16,0-5 24-16,-1 4 4 0,1-4-2 0,-2 5-5 0,2-1 15 0,0-4 3 0,0 0 2 16,0 4 8-16,0-4 8 0,0 0 10 15,0 0-18-15,3 3 5 0,-3-3-5 16,0 0 5-16,0 0 16 0,0 0-24 0,8-8 6 0,-6 5-21 15,3-2 5-15,0 2 3 16,0-2 13-16,2 0-19 0,-1 0 6 0,0 0 5 16,1 0 23-16,1-1-41 0,0-1 26 0,-1 3 2 15,-2 1-20-15,1-2-1 0,-2 4 14 16,0-4-6-16,0 5-12 0,-1-3 2 0,-3 3 0 16,0 0 15-16,10 0-38 0,-10 0 18 0,5 3 6 15,-5-3-9-15,3 5 8 0,-1-3-10 16,1 3 8-16,-2-3-6 0,1 3 6 0,-2 1-1 15,2 0 11-15,2-1-26 0,-2-1-7 0,-2 0 7 16,2 2-15-16,-2-3 0 0,4 1-6 0,-3 1 4 16,-1-5 14-16,3 5-9 15,-1-3-4-15,1-1 14 0,-3-1 2 0,9 4-5 0,-9-4 3 16,7-2-3-16,-7 2 8 0,9-2 5 16,-6 1 2-16,-3 1 3 0,10 0-10 15,-10 0-3-15,6-1 18 0,-6 1-5 0,0 0-5 16,10 1 0-16,-7 0-3 0,-1 4 3 0,3-3-5 15,-2 1 23-15,-1-1 2 0,0 4-25 16,4-4-5-16,-4 2 17 0,4 1-4 0,-4-4 9 16,3 1 14-16,0 2-21 15,0-4 13-15,-5 0-13 0,11 0 0 0,-4 0 15 0,-1-1 5 0,1-2-9 16,-2 2 1-16,3-1 1 0,-3-3-3 16,0 0 8-16,-2 2 8 0,2-2-18 15,-1-1 15-15,-3 1-5 0,1 0-16 16,-2-1 16-16,0 3-8 0,-2-3-17 0,1 1 25 15,-3 1-24-15,-1 1 9 0,0 2 7 0,-1-3 6 16,0 3-11-16,-3 0 28 0,2 1-43 0,7 0 10 16,-13 0-11-16,7 1 4 0,-1 0-6 0,4 2 8 15,-2-2-13-15,0 1 8 0,5-2-1 16,-5 5-4-16,5-5-10 0,-3 1 9 16,3-1 14-16,0 0 7 0,0 0-21 0,0 0-4 0,10 3 12 15,-10-3-2-15,10-2 10 16,-10 2 0-16,14-2-8 0,-7 2 3 0,1-1-3 0,0-1 6 15,2 0-1-15,-2 1-2 0,2 0 5 16,-5 1 0-16,3 0-13 0,0 0 19 16,-8 0-9-16,10 2 0 0,-4-1 1 0,-2 2-1 15,1-1 6-15,1 1-3 0,-2-1 10 0,1 1-10 16,0 2 3-16,-1-1-24 0,0-2 11 16,1 3 7-16,-2-4 3 0,2 3 3 15,1-3-6-15,-2 1 3 0,1-1-7 0,0 1 2 0,-5-2 20 16,11 1-2-16,-11-1-21 0,10 0 18 0,-3 0 1 15,-1-3-4-15,-1 2-7 0,1-1 8 16,-2 1 0-16,2-3 4 0,-2 2 6 16,2-2 0-16,0 2-13 0,-2-2 8 0,0 2 8 0,0-1-21 15,-1 1 41-15,-1 0-29 16,0-2-14-16,-2 4 12 16,7-1-7-16,-7 1 4 0,6-3 29 0,-6 3-23 0,0 0-8 0,5 0 0 15,-5 0 13-15,0 0-18 0,6 5 13 16,-4-1-8-16,0-3-5 0,1 4 10 0,0-2-12 15,-1 2-9-15,2 0 19 0,-3-2-3 0,2 0-20 16,1 3 28-16,-3-4-21 0,4 1 3 16,-2-1 5-16,-1 0 5 0,2 1 41 0,-2 0 3 15,-2-3-8-15,7 3-23 0,-7-3 25 0,5 1 67 16,-5-1-23-16,0 0 21 0,12-4 9 0,-8 1-32 16,1 2 10-16,0-2-24 15,-1 2 4-15,-1-4-1 0,3 4-36 0,-1-1 24 16,-2-1-11-16,1 1-3 0,-1-1-45 0,-3 3-3 15,7-3-28-15,-4 1-8 0,-3 2-25 16,3-5-11-16,-3 5-23 0,5 0 21 0,-5 0-23 16,6-3-8-16,-6 3-8 0,0 0-10 0,0 0 23 15,0 0 11-15,10 3 15 16,-10-3 4-16,7 3 1 0,-4-1 21 0,-3-2-6 0,6 3-2 16,-6-3 22-16,4 2-4 0,0 1 15 15,-4-3 2-15,6 3 1 0,-3 0 2 0,2-1 8 16,-5-2 2-16,7 5 8 0,-3-4-18 0,0 0 13 15,-4-1 8-15,6 4-3 0,0-2 0 16,-2-1-11-16,-4-1 29 0,7 3-18 0,0-1 21 16,-7-2-26-16,9 0 5 0,-9 0 2 0,12-2 3 15,-6 2 13-15,2-1-28 0,-2 1-5 16,1-2 22-16,0 1-4 0,-7 1-18 0,11-3 17 16,-7 3-9-16,-4 0-11 0,8-3 12 15,-3 2 12-15,-5 1-19 0,0 0 13 0,9 3-5 16,-9-3 12-16,4 1-19 0,-4-1 9 0,0 0-5 15,10 0 19-15,-10 0-1 0,5 3-10 0,-5-3-8 16,8 1 26-16,-3 1-26 0,-5-2 3 0,0 0 13 16,13-3-3-16,-13 3 5 15,8 0 13-15,-3 0-7 0,-5 0-1 16,5-3 5-16,-5 3 16 0,5-3-5 0,-5 3 0 0,0 0-1 16,2-2 11-16,-2 2-12 0,0 0 6 15,0 0-12-15,0 0-25 0,0 0-16 0,0 0-18 16,0 0-15-16,0 0-26 0,0 0-61 15,0 0-36-15,0 0-64 0,-12-2-85 16,12 2-109-16,0 0-37 0,0 0-386 0,0 0 98 0,0 0 76 16,0 0 46-16,0 0 90 0,12 8 527 0,-12-8 120 15,0 0-30-15,13-2 12 0,-13 2 65 0,11-2 48 16,-4 1 95-16,-7 1-8 16,8-1-8-16,-1 1-35 0,-4-2-100 0,3-1-13 15,-6 3-21-15,9-1-58 0,-6 0-57 16,-3 1-250-16,6-4-416 0,-4 2 37 0,3 2 125 15</inkml:trace>
  <inkml:trace contextRef="#ctx0" brushRef="#br0" timeOffset="212546.15">23233 3643 534 0,'-9'0'180'0,"-3"1"-6"0,-6 0-21 16,-5 4-2-16,-13 9 92 0,-3 3-45 0,-12 11-73 15,-2 3 62-15,-4 6-26 0,-15 24 3 0,-10 3-10 16,0 7-11-16,-3 6-15 0,-2 4-13 16,3 12-10-16,2 3-3 0,2 9 3 0,-2 1-13 15,-2 4-7-15,4 10 17 0,3-4-15 0,8 3-2 16,3-1-21-16,4-2 5 15,7-3-13-15,3-6-7 0,5-1-11 0,8-12 8 0,4-4 8 16,11-21-13-16,4-1-15 0,5-2 12 16,2-4-17-16,7-4-14 0,-1-13-14 15,7-2-17-15,0 1-27 0,3-3-23 0,1-3-28 16,2-11-14-16,1 8-78 0,-1-8-44 0,2-7-51 16,-2-5-492-16,0-1 49 15,-1-5 84-15,3-2 72 0</inkml:trace>
  <inkml:trace contextRef="#ctx0" brushRef="#br0" timeOffset="212937.76">21274 6394 724 0,'10'19'271'0,"0"-1"-33"0,2 2-10 16,5 5-46-16,3 1-16 0,0-2-33 0,1-1-10 0,4-2 5 16,5-1-23-1,-3 1-3-15,-1-8-4 0,-3-4-9 0,2 2 3 0,-4-9 13 0,6 2 6 16,-3-5-7-16,17-9 17 0,-8 4-14 15,6-6-4-15,0-3-16 0,-1-3 2 16,-5-6 6-16,0 3-13 0,-4-7-16 0,-3 1 4 16,-4 2-19-16,-3-6 5 0,-1 2-7 0,-6 0-3 15,-2 4-5-15,-1 2-11 0,-5 1-22 16,2 0 7-16,-2 3-22 0,-1 5-21 16,-1-2-11-16,-1 3-20 0,-1 0-15 0,2 2-46 15,-2 2-31-15,0-1-103 0,0 2-19 0,0 1-53 16,4 1-441-16,-3 1 34 0,2-1 147 0,1 1 21 15</inkml:trace>
  <inkml:trace contextRef="#ctx0" brushRef="#br0" timeOffset="-213359.46">22633 6431 801 0,'0'0'281'0,"2"-5"-17"0,-2 5-52 0,0-2-4 15,0 2-24-15,0 0 0 0,0 0-22 0,0 0-6 16,-2 14-18 0,1-4-31-16,-1-2 78 0,-1 5-16 0,-1 4-18 0,0-1 5 0,2 2-31 15,0 1-20-15,0-1 10 0,-2 1-33 0,2 0-5 16,-1-1 0-16,1 1-29 0,-1-1-14 0,0-4-14 15,1 2-12-15,0-2-23 0,2-1-14 16,-3-1-22-16,0 0-10 0,3-4-19 0,-2 3-32 16,2-3-26-16,0-2-11 0,-3 1-40 15,6-2-44-15,-3 0-82 16,-3-3-95-16,6 2-299 0,-3-4 103 0,2 5-9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1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6:22:07.779"/>
    </inkml:context>
    <inkml:brush xml:id="br0">
      <inkml:brushProperty name="width" value="0.05292" units="cm"/>
      <inkml:brushProperty name="height" value="0.05292" units="cm"/>
      <inkml:brushProperty name="color" value="#0070C0"/>
    </inkml:brush>
  </inkml:definitions>
  <inkml:trace contextRef="#ctx0" brushRef="#br0">1171 2575 975 0,'-6'1'368'16,"6"-1"-30"-16,0 0-36 16,0 0-36-16,0 0-22 0,-5 1-14 0,5-1-28 0,0 0 52 15,0 0-4-15,21 2-6 0,-11-1-22 0,5 1-9 16,8-1-39-16,5 1 33 0,17 1-25 15,0 3-34-15,3-3 1 0,4 3-16 0,2 0 8 16,2 1-24-16,11 2-91 0,2-2 2 0,5 2-5 16,-2 0-5-16,3-2 13 15,-1-1-16-15,-5 0 6 0,-10-3 2 0,13 0 5 16,-5 3 46-16,-11-3 23 0,0 1-10 0,-2-3-17 16,0-1-4-16,-7 3-17 0,-1-1-16 0,-8-1 18 15,-8 0-17-15,-4 0 1 16,-3 2-6-16,-2 0-4 0,-3-3-12 0,0 1 5 15,-5 1-11-15,-1-2 34 0,-1 2-10 0,-1 0-23 0,0-2-6 16,-4 0 6-16,2 0-31 0,-1 0-26 16,-7 0-53-16,7 1-46 0,-7-1-32 0,0 0-111 15,0 0-147-15,0 3-581 0,0-3 69 16,0 0 134-16,-12 5 86 16,6-5 50-1,6 0 68-15</inkml:trace>
  <inkml:trace contextRef="#ctx0" brushRef="#br0" timeOffset="1345.36">3206 2016 568 0,'0'0'333'0,"0"0"-19"16,-5-2-19-16,5 2-21 0,0 0-21 16,0 0-10-16,0 0-25 0,0-6-19 0,0 6-14 15,0-5-27 1,0 5 4-16,3-6-22 0,-1 3-14 0,0-2-6 0,4 0-15 0,-4-1-10 15,4-1 10-15,-2 2-39 0,4-4 9 16,0 2-4-16,2-1-14 0,-2 0 4 0,2-3-18 16,3 1-2-16,2 1 6 0,1 0-12 0,-1-1 9 15,6-1-8-15,-1 1 0 16,1 0-13-16,2 0-11 0,-1 1 24 0,4-1-28 0,8-2 10 16,-4 2 5-16,-4 1-18 0,10-1-49 0,2-2-14 15,1 2-4-15,2-1 19 0,-2 4 2 16,2-2-3-16,2 2 16 0,3 0-3 15,-2 0 3-15,4-1-8 0,-3 1 8 16,0 3 10-16,2-1 3 0,1-1 2 0,-2 1 0 16,2 2 0-16,2 2 1 0,-2-4 12 0,1 1-16 15,0 2 9-15,0-2-6 0,-3 4 8 0,2-3 7 16,1 0 9-16,-10 3-1 16,-1 0-8-16,11-3 26 15,-8 3-25-15,5 1 0 0,3 0 81 0,-9-2-15 0,9 0-5 0,-2 4 0 0,-6-3 3 16,-8 0-6-16,13 3-10 15,-3 0-2-15,-4 1 12 0,-6-2-20 0,1-1-10 0,-1 2 10 16,0-2 5-16,-2 3 13 16,3-2-26-16,-3 1-5 0,2 0 11 0,0-1-24 15,10 2 21-15,-4-1-8 0,4 2-7 0,-6-3 32 16,-4 2-37-16,13 0-11 0,-11-2 23 0,9 3 3 16,-6-2-24-16,-4 1 27 0,-3-1-4 15,15 0 22-15,-2 1-47 16,-6 0 2-16,-7-2 14 0,12 2-21 0,-4 0 23 0,5-2-21 0,-6 1 6 15,-5-1 13-15,-2 0-9 0,3 2-1 16,-3-3 19-16,4 0-7 0,-4 2-7 0,2-1 7 16,0 2 13-16,1-3-24 0,-3 1 22 31,2 2-21-31,-2-2 2 0,0 1 18 0,1 0-33 0,-3 0 16 0,1-1-6 0,1 2 8 16,0-1-11-16,0 1 14 0,0-2-6 0,0 2 1 15,-1 0-19-15,1-1 23 0,0 0-7 16,-1 1-8-16,1-2 8 0,13 4-23 15,-11-1 13-15,-4-3 27 0,-1 1-4 0,2 1 12 16,1 0-17-16,-3-1-11 0,3 2 13 0,-3-2 5 16,1 2-2-16,-1-1-6 0,1 1-10 0,-2 0-10 15,4 0 26-15,-3-1-18 0,0 1-6 0,0 0 19 16,1 0-3-16,1-1-3 0,-1 1-10 16,-1 0 3-16,3 1 10 0,-3-2 5 15,-2 0-5-15,2 1-3 0,-3-1 6 0,-1 0 7 16,-2-1-21-16,-1 0-7 0,0 2 39 15,-1-1 9-15,-2 0-17 0,0-3-21 0,-3 3 24 16,-2-2-16-16,0 2 17 0,0 0-9 0,-3-2 30 16,0-1-25-16,0 1-34 0,-2 0 14 15,0 0-1-15,0-1-23 0,-3 1 26 0,0-1 25 16,2 1-35-16,-1-2 12 0,-1 4-10 0,-5-4-2 16,7 1 17-16,-4 1-22 0,-3-2 35 15,6 1-38-15,-6-1 8 0,4 1 2 16,-4-1 18-16,6 2-21 0,-6-2-20 0,0 0-46 15,7 0 3-15,-7 0-59 16,0 0-57-16,0 0-20 0,0 0-18 0,0 0-44 0,3-4-30 16,-3 4-67-16,0 0-115 0,0-3-394 0,0 3 23 15,2-4 56-15,-2 4 105 0,6-4 39 16,-4 2 45-16</inkml:trace>
  <inkml:trace contextRef="#ctx0" brushRef="#br0" timeOffset="1552.79">8239 1919 726 0,'0'-6'267'0,"3"2"94"0,-1 2-24 15,-2 2-35-15,2-5-10 0,-2 5-23 16,3-2-28-16,-3 2-24 0,0 0-9 0,0 0-55 16,0 0-9-16,0 0 17 0,8 9 33 0,-6-5-40 15,-2 2-16-15,3-2 0 0,-3 2 6 16,2 2 7 0,-2 0-39-16,0-1-30 0,-2 1 105 0,-1-1-54 0,-1 2 28 0,-4-1-53 15,0 2-3-15,-3-1-28 0,-3-1-80 0,1 1-38 16,-3 2-41-16,-4-1-59 0,1 0-102 15,-3-2-207 17,3 0-508-32,-3 1 127 0,-2-2 11 0,4-1 132 0,2 0 48 0,-5 0 54 0</inkml:trace>
  <inkml:trace contextRef="#ctx0" brushRef="#br0" timeOffset="5506.64">8159 2556 801 0,'0'0'263'0,"-4"-3"-7"0,4 3-105 15,0 0 5-15,-6-1-7 0,6 1 2 0,0 0-13 16,-3-2 6-16,3 2-24 0,0 0 15 0,0 0-40 15,-4-3-13-15,4 3-15 16,0 0 12-16,0 0-10 0,0 0 5 0,0 0 65 16,0 0 4-16,0 0-15 0,20 0-10 0,-15 3 2 15,3-3-20-15,0 0 0 0,-1 1 5 16,4-1-16-16,1 1-2 0,-2 0-15 0,6 0-70 16,-3-1-2-16,2 2-7 0,1-1 7 15,-1-1 2-15,3 1 11 0,0 1-26 0,2-2 24 16,1 0-1-16,2 0 3 0,0 0 4 15,3 0 17-15,0 0-24 0,-1 0 5 16,5 3-4-16,-2-3-6 16,-4 0 7-16,1 0 1 0,2 0 8 0,-3 0-19 0,3 1 9 0,-4 0-4 0,2 0 1 15,-2-1 0-15,-2 3-3 0,-1-3 5 16,1 0-2-16,-3 1 7 0,0-1-10 16,2 0 8-16,-2 1 0 15,0-1-18-15,-2 2 5 16,4-2 12-16,-2 0-4 0,0 2-3 0,-1-2-2 0,2 0-1 0,-1 2 3 15,-3-2-7-15,1 1 10 0,2 0-1 0,-4-1 6 0,2 1 15 16,-3 1-28-16,-1-2 0 0,4 0 26 16,-1 0-31-1,1 1 10-15,-1-1-3 0,-2 0 11 0,0 1-3 0,3-1 13 0,-4 1-23 0,1 1 8 16,0-2-13-16,0 0 5 0,-3 0 8 16,3 1 7-16,-1 0-23 0,-1-1 31 0,-1 0-7 15,3 0 2-15,-3 0-21 0,3 1 6 16,-3-1-8-16,1 0 5 0,1 0 15 15,-2 0-20-15,0 0 5 0,1 0 5 0,-3 0-13 16,2 0 11-16,0 2-11 0,0-2 3 0,-2 2 10 16,0-2-7-16,0 0 14 0,-1 0-4 15,1 0-8-15,0-2 0 0,0 2-8 0,-4 2 19 16,-4-2-14-16,13 0 13 0,-5 0-7 0,-2 0-1 16,1 0-7-16,-7 0 18 0,10 1-21 15,-3-2 11-15,1 1-1 0,-2 0 4 16,-6 0-19-16,12-2 5 0,-4 2 11 0,-3 0 7 0,-5 0 64 15,13-2-23-15,-6 2 36 16,-1-1-25-16,1 1-24 0,-1-1 3 16,-6 1-10-16,15 0 15 0,-8 0-20 0,-1 0 2 15,2-1 15-15,-8 1-12 0,10 0-23 0,-5 0 17 16,0-2-4-16,-5 2 4 0,11-1-12 0,-7 1 15 16,-4 0-10-16,8-1 3 0,-8 1-6 0,8-1 26 15,-8 1-44-15,5 0-2 0,-5 0 28 16,6-2-12-16,-6 2-9 0,0 0 1 15,9-1 2-15,-9 1 10 0,8-1-10 0,-8 1-7 16,5-2 20-16,-5 2-16 0,8-1 6 0,-8 1 0 16,0 0 7-16,5-2-5 0,-5 2-7 0,5-1 25 15,-5 1-18-15,0 0-5 0,8-1-2 16,-8 1 27-16,0 0-19 0,5-1-16 16,-5 1 20-16,0 0 8 0,0 0 15 0,5-1-12 15,-5 1-26-15,3-3 15 0,-3 3-7 0,0 0-5 16,4-2-9-16,-4 2 17 15,0 0 4-15,4-4-7 0,-4 4-11 0,0 0 21 0,2-4-18 16,-2 4 13-16,0 0-8 0,2-5-13 0,-2 5 29 16,3-4-8-16,-3 1-3 0,0 3 8 15,0-3-13-15,0 3-15 16,3-5 33-16,-3 5-39 0,2-4 1 0,-2 4 28 0,0-4-16 0,0 4 6 16,2-5-8-16,-2 5-11 0,0-4 39 15,0 4-15-15,0-5-5 0,0 5 14 16,0-5-6-16,0 5 9 0,0-5-17 0,0 5 2 15,0-7 18-15,0 7 0 0,0-6 0 0,0 3 15 16,-2-3-38-16,2 2 13 0,0-2-3 16,2 3 1-16,-2-2-6 0,-2-2-3 15,4 1 11-15,-2-1 0 0,0-2-8 0,1 1-2 16,1 0 20-16,-2-1-11 0,3-1-4 0,-1 1 0 16,-2-1 0-16,3 1-1 0,-3-1 6 0,2 0 5 15,1 2-18 1,-3-1 13-16,3 0-26 0,-3 0 41 0,2 1-23 0,-4 0-10 0,4 1 15 15,-2-2-17-15,3 1 1 0,-3 1 1 0,2 0-2 16,-2 0 12-16,0 1-18 0,0-1 5 0,0 1 44 16,0 0-33-16,0 1-3 15,1-1-5-15,1 0 7 0,-2 0 19 0,0 0-3 16,2 0-1-16,-2 1-1 0,0-1-11 0,3 0-2 16,-3 2 7-16,0-3 0 0,3 3 0 15,-3-1-5-15,2-1 6 0,-2 1 9 0,2 1-20 16,-2-2 23-16,0 1 3 0,1 0-24 0,1-1-2 15,-2 1 21-15,3 0-14 0,-3 1 1 16,0-1 13-16,2 2-32 0,-2-1 24 16,0-1 5-16,0 5-15 15,0-7-1-15,0 4 1 0,1 0-24 0,-1 3 26 0,0-7-10 16,0 7 26-16,-1-6-19 0,1 6 6 0,0-6-21 16,0 2 11-16,0 4 17 0,0-4-2 0,0 4-8 15,0-4-5-15,0 4-15 0,-2-6 12 16,2 6 34-16,0 0-31 15,-3-5 10-15,1 4 3 0,2 1-8 0,0 0-38 0,-3-6 17 0,3 6 14 16,-2-2 9-16,2 2 6 0,-3-5-28 16,3 5 30-16,-5-3 3 0,5 3-18 15,-3-3 10-15,3 3-7 0,-5-2-11 0,5 2 16 0,-5-2-29 16,5 2 42-16,-5-3-26 16,5 3-6-16,0 0 22 0,-8-1-22 0,8 1 19 0,-5-2-16 15,5 2-7-15,-5-2 13 0,5 2 2 0,-5-1-11 16,5 1 9-16,0 0 9 15,0 0-17-15,-10-2 18 0,10 2 7 0,0 0-7 16,-6-2-11-16,6 2-15 0,-5-1 6 0,5 1 4 16,0 0 11-16,-7-1 30 0,7 1-36 15,0 0 6-15,-8-1-1 0,8 1-2 16,-8-2 0-16,8 2 5 0,-5-2 13 0,5 2-30 0,-5-2-4 16,5 2 1-16,-8-1 38 0,8 1-18 15,-10-1-5-15,5 0 0 0,5 1-8 0,-10-1-15 16,5 0 26-16,-1 0 10 0,6 1-16 0,-12-1 24 15,6 1-27-15,-1-1-4 16,-1-1 3-16,8 2-9 0,-13 0 6 0,3-2 30 16,5 1-20-16,-5 0-7 0,2 0 7 0,-3-1 25 15,4 1-20-15,-6 0-12 0,3 0 14 16,0 0-24-16,-1-1 11 0,1 1 9 0,-2-1-18 16,1 1-1-16,-2 0-2 0,0 0 11 0,1 0-1 15,-1-1-5-15,-3 1 18 0,4 0-7 16,1-1 12-16,-4 1-15 0,0 0 0 0,1 0 10 15,-1-1-5-15,3 2-5 0,-4-2 0 0,3 1 10 16,-2 0-10-16,2-1 2 0,-2 0 3 16,4 2-18-16,-1-2 23 0,-1 2 13 15,3-2-28-15,-3-1 33 0,-2 1-15 0,2 0-3 16,0 1-5 0,5 0-18-16,-5-1 13 0,1 0 0 0,3 1 0 0,-5 0-3 0,3 0 10 15,1-1-17-15,-3 2 5 0,0-2-8 16,3 0 13-16,0 1 0 0,0-1-13 0,1 1 18 15,-3 0 2-15,2 0-20 0,0 1 13 0,-1-1 0 16,1 0-3-16,0 1 8 0,0-2-12 0,0 2 27 16,1-2 3-16,1 1-39 0,-2-1 27 15,3 2-12-15,-4 0 1 0,1-3-10 0,0 3 5 16,0-1 12-16,2 0 1 0,-2 1-13 16,0 0 12-16,0-1-7 0,-1-1-8 15,1 2 6-15,-1-1 1 0,1 1 6 0,0-2 3 16,-1 2 5-16,1-2 38 0,0 0-54 15,-2 2 11-15,1-2-16 0,1 1 13 0,-2 0 10 16,1 1-30-16,-2 0 15 0,-2 0 2 16,2-2 13-1,-2 1-33-15,2 1 23 0,0 0 3 0,0 0 2 0,-2-2 0 0,2 2-13 0,0 0-7 16,1-1 28-16,1 1-6 0,1-1 19 0,-3-1-46 16,0 2 20-16,2-1 0 0,-1 0-3 0,2 1-15 15,-1-1 5-15,-1 1 3 0,2-1 18 16,-1 1-21-16,-2-1 8 0,3 0 30 0,-2 1-27 15,3 0-3-15,-3-2-3 16,2 2 0-16,0 0 11 0,1-2-3 0,-1 2-8 0,0-1 31 16,0-1-41-16,2 2 11 0,0 0 14 15,1 0-19-15,-1-1 1 0,0 1 14 0,0 0-3 16,1-1 20-16,7 1-17 0,-13 0 2 0,8 0 18 16,-3-1-26-16,8 1-12 0,-12-1 2 15,4 1 8-15,3-1 10 0,5 1 8 0,-13 0-13 16,8-1-5-16,5 1-8 0,-13 0-2 0,6 0 25 15,7 0-12-15,-11 0-19 0,6 0 24 16,5 0-11-16,-10 0 0 0,10 0 3 0,-9 0 3 16,9 0-6-16,-9 0-2 0,9 0 2 15,-5-2-7-15,5 2-3 0,-10 0 10 16,10 0 0-16,0 0 3 0,-9 0 3 0,9 0-16 16,-7 2 8-16,7-2-3 0,-8 0-10 0,8 0 23 15,0 0-23-15,-7 0 33 0,7 0-8 16,-6 1-7-16,6-1-7 0,0 0 9 0,-8 1-10 15,8-1-5-15,0 0 23 0,-7 1-17 0,7-1 14 16,-5 1 1-16,5-1-14 16,0 0 9-16,0 0-6 0,-8 2 6 0,8-2 2 0,-3 2 2 15,3-2-9-15,0 0 12 0,-8 1-8 16,8-1 16-16,0 0-28 0,-4 2 15 0,4-2-16 16,0 0 6-16,-5 2 53 0,5-2-37 0,0 0-24 15,-5 3 13-15,5-3 10 0,-3 2 0 16,3-2-18-16,-5 4 5 0,2-2-2 15,3-2 2-15,-5 4 13 0,5-4 11 0,-3 2-26 16,1 0 17-16,2-2-12 0,-5 5 0 0,3-3 5 16,2-2 5-16,-6 5-15 0,6-2 46 15,-3 0-18-15,3-3-39 0,-4 6 19 0,1-2-9 16,0 0 19-16,3 0-10 0,-2-1-11 0,-1 2 23 16,0-1 0-16,1 0-10 0,0 1 0 15,-1 0-10-15,0 0 0 0,1 0 28 0,0 2-29 16,-1-1 4-16,0 1 9 0,0 0-7 15,-1-1 13-15,0 1-6 0,2 0-14 16,0 0 12-16,-3-1-8 0,2 3 0 16,1-2 8-16,-1 1-13 0,-2-2 31 0,2 2-13 0,-2-3-5 15,3 4 21-15,-1-2-29 0,0-1-15 16,1 1 16-16,-1 0 17 0,-2 0-10 0,2 0-8 16,1 0 8-16,0 1 10 15,-1-1-2-15,3 0-21 0,-3 1 31 0,1-2-26 0,-1 2 6 16,0-2-6-16,3 2 11 0,-2-2 25 0,0 0-36 15,2 1 3-15,-3-3 38 0,3 1-35 0,0 0-16 16,-3 0 23-16,3-1-5 0,-2 0 5 16,2 1-5-16,0-2-2 0,0 2 4 0,-2-2-4 15,1 1-27-15,1-4 17 0,0 6 1 16,0-2-14-16,0-4 27 0,0 5-14 16,0-1 19-16,0-4-7 0,-2 5-5 0,2-1 28 15,0-4-2-15,0 3-32 0,0-3 6 0,0 5-10 16,0-5 20-16,0 5-10 0,0-5 10 15,-3 5 10-15,3-5-15 0,3 3-5 0,-3-3 3 16,0 4 15-16,0-4-39 0,0 0 21 16,0 7 2-16,0-7 19 0,0 3-14 0,0-3 6 15,0 0-11-15,3 4 1 0,-3-4-1 0,2 3 3 16,-2-3-10-16,2 3 15 0,-2-3-20 0,0 3-3 16,0-3 49-16,0 0-26 15,3 4-10-15,-3-4 5 0,5 1-8 0,-5-1-5 16,2 5 34-16,-2-5-27 0,3 4 6 0,0 0-5 15,-3-2 3-15,0-2 17 0,2 7-28 16,1-6 24-16,-3-1-6 0,3 5-8 0,-3-2 21 16,0-3-13-16,4 5-10 0,-4-5 28 0,3 4-26 15,0-1 6-15,-3 1-13 16,0-4 10-16,3 3 31 0,-1 1-44 0,-2-4 10 0,2 5 13 16,-2-5-7-16,3 3-13 0,-1 1-6 0,-2-4 4 15,1 3 6-15,-1-3 12 0,5 3-22 16,-5-3 29-16,0 3-8 0,2 0 10 15,-2-3 3-15,0 0-20 0,0 3 10 0,0-3 4 16,0 0-1-16,3 4-24 0,-3-4 8 16,5 3 10-16,-5-3 13 0,3 3-23 0,-3-3 12 15,2 2-12-15,-2-2 15 0,5 4-25 0,-5-4 41 16,7 1-24-16,-3 0 3 0,-4-1-12 16,7 4-16-16,-1-3 56 0,-2 1-36 0,2 0-4 15,1 0-1-15,-2 0 0 0,1-1-2 16,-2 1 7-16,2-1 11 0,-1 1 15 0,2-2-23 15,-1 4 0-15,-1-4 8 0,3 1 10 16,-3 0-28-16,4 0 15 0,-3-1-13 0,2 1 13 0,2 2 0 16,-3-3-10-1,4 0 10-15,-3 0-15 0,2 0-13 0,3 0-41 0,-6 0-23 0,3 0-49 16,0 0-43-16,-1 2-97 16,1-4-144-16,0 4-550 0,-2-2 46 0,0 1 158 15,-3-1 57-15,3 2 72 0,-1-2 56 0</inkml:trace>
  <inkml:trace contextRef="#ctx0" brushRef="#br0" timeOffset="7473.04">1316 4090 737 0,'-7'0'228'0,"7"0"-8"16,-5-3-16-16,5 3-19 0,0 0-6 16,0 0-23-16,-8-2 72 0,8 2-29 0,0 0-19 15,0 0-24-15,0 0-5 16,0 0-5-16,0 0-13 0,0 0-15 0,0 0-6 0,0 0-9 15,0 0 4-15,16 9-7 0,-9-7-10 16,3 2 9-16,4-4-14 0,0 3-3 0,2 0 2 16,-1-2-20-16,5 4 5 0,1-4 0 0,0 1 3 15,2 1-18 17,-1-1-3-32,2 0 0 0,-1-1-5 0,2 1-2 0,1-1-11 15,-3-1-2-15,3 0-70 0,-1 0-7 0,1-1 31 0,3 1-11 0,-1 0 6 0,0 0 2 0,3-2 10 16,2 1 16-16,-2 0-21 0,2-1 16 15,0 2-3-15,-2-3-3 0,0 2 8 0,2 0-7 16,-7 1 7-16,-1-1 13 0,-1 1-8 16,1-1-10-16,-2 1 13 0,-2-3 0 0,-1 3 2 15,1 0-2-15,-4-1 0 0,1 0 2 0,-2 1-5 16,0 0 11-16,-1-1-16 16,3 1 10-16,-3 0 11 0,-2 0-8 0,0-2-6 15,3 1 4-15,-4 1-1 0,1 0 16 0,0 0-8 0,-1-2 5 16,-2 1-13-16,1 1 14 0,-1 0-11 15,-2 0-11-15,0 0 21 0,0 0-12 16,-1-3 4-16,-1 6 11 0,1-6-3 0,-7 3-5 16,11 0-2-16,-11 0 4 0,9-1-7 0,-4 2 18 15,-5-1-21-15,9-1-2 16,-9 1 20-16,7 0-17 0,-7 0-6 0,0 0 5 0,10 0 3 16,-10 0-2-16,8 0 9 0,-8 0-4 15,0 0 12-15,7 0-28 0,-7 0 3 0,0 0 15 16,6 1-16-16,-6-1 6 0,0 0-3 0,0 0-2 15,0 0 20-15,0 0-33 0,8 0 13 16,-8 0-6-16,0 0-4 0,0 0-34 16,0 0-33-16,0 0-23 0,0 0-39 0,0 0-27 0,2 3-11 15,-2-3-39-15,0 0-137 16,0 7-113-16,0-7-420 0,-2 6 69 0,2-6 112 16,2 3 73-16,1 0 56 0</inkml:trace>
  <inkml:trace contextRef="#ctx0" brushRef="#br0" timeOffset="13206.34">4124 4081 665 0,'0'0'236'0,"-6"1"-29"0,6-1-15 0,0 0 0 0,0 0-13 16,0 0-23-16,0 0-15 0,0 0-18 15,0 0-5-15,-4-7 25 0,4 7-36 0,0 0-2 16,0 0-2-16,-2-4-21 0,2 4 12 16,0 0-96-16,-1-5-11 0,1 5 16 15,-3-3 14-15,3 3 4 0,-2-3-1 0,2 3 14 16,0 0-14-16,0-4 11 0,0 4 0 16,-2-6 10-16,1 2-3 0,1 4 21 0,-2-7-21 15,2 5 88-15,0-4-16 0,-3 3-13 0,3-3 13 16,0 3-2-16,-2-4-29 0,1 2 10 15,0-1-19-15,0-1 1 0,-1 0-4 16,2-3 10-16,-4 1-26 0,3-3-10 0,0 0 7 16,-1 0 11-1,-3-4-18-15,4 3-15 0,-1-2 5 0,-3-3-1 0,2 0 9 0,1 0-21 16,-1-1-1-16,1 0 4 16,-1 0 5-16,1 2 9 0,0 1-17 0,1 0-15 0,1 3-3 15,-3 0 25-15,1 0 6 0,1 5-10 0,0-3 4 16,1 3-7-16,-1-1-2 0,1 2 12 15,0 1-10-15,0 1-3 0,0 2-7 0,-2-4 15 16,2 3-5-16,0 4-3 0,0-7-15 0,0 7 18 16,-3-5-3-16,3 5-7 15,5-3-21-15,-5 3 13 0,2-4 8 0,-2 4-8 0,0 0 15 16,11-1 8-16,-11 1-15 0,8-1 20 0,-8 1-18 16,10 0-7-16,-5 0 7 0,2 0-5 15,1-2 18-15,0 2-5 0,0 0-15 16,3-1 12-16,1 1 18 0,-2-1-17 0,1 1-6 15,1-1 5-15,1 1 13 0,1-1-7 16,0 1-88-16,2 0 21 0,-3-1-10 0,4-1 15 16,2 1-3-16,-1 0 6 0,2 0 36 0,3 1-22 15,-2-1 17-15,1-2-6 0,2 1-18 16,-3 1 29-16,2-1-3 0,2 1-8 0,0 1-3 16,-2-3 9-16,1 2 12 15,1-1-10-15,-1 1-5 0,1 0 15 0,-2 0-5 0,1-3-5 16,-2 4 12-16,1-2-9 0,1 1 2 15,-3 1-3-15,-1 0 11 0,-2 0 7 0,-1-2-20 0,4 1 8 16,-1 0 7-16,-2 1-5 0,-2-1-5 16,2 1-5-16,-3 0 0 0,1-2 2 15,-2 1 1-15,3-1 7 0,-2 2-5 0,0-2-8 16,0 2 5-16,-1-2 11 16,-2 1 8-16,0 0-16 0,-1 1 0 0,2 0 7 15,0-1 6-15,-1 1-18 0,-1-1 7 0,1 1 4 0,-1-3-9 16,-1 3 11-16,3 0-11 15,-5 0 6-15,2-1-6 0,0 1 8 0,1 0 3 0,-1-1-8 16,-3 1 8-16,1 0-1 0,0-1-9 0,-3 1 4 16,3 0-2-16,-8 0 10 0,12 0-2 15,-6-1-8-15,-6 1-2 0,10-2 17 16,-10 2-28-16,10 0 11 0,-5 0 9 16,-5 0-4-16,7 2 12 0,-7-2-25 0,8-2 2 15,-8 2 8-15,8-1 5 0,-8 1 6 16,8-1-14-16,-8 1 6 0,10-1 7 0,-5 1-2 0,-5 0-21 15,10 0 10-15,-10 0 6 0,9-1-6 16,-9 1-2-16,9 0 18 0,-9 0 2 0,9 0-10 16,-9 0-2-16,9-2 2 0,-4 2 3 0,-5 0-16 15,8 0 0 1,-8 0 11-16,8-1 10 0,-8 1-8 0,0 0 18 0,8 0-28 0,-8 0 18 16,0 0-11-16,7 0 16 0,-7 0-13 0,0 0 8 15,0 0-23-15,8 0 7 16,-8 0 13-16,0 0 8 0,6-2-10 0,-6 2 0 15,0 0-3-15,7-1 13 0,-7 1-8 0,0 0 5 16,5 0-7-16,-5 0 20 0,0 0-30 16,0 0-11-16,0 0 15 0,0 0 3 0,8 0-2 15,-8 0-11-15,0 0 8 0,0 0 3 0,0 0 10 16,0 0-13-16,0 0-8 16,5-2 8-16,-5 2-3 0,0 0 16 0,7-1 3 0,-7 1-19 15,0 0-2-15,9 0 10 0,-9 0-5 0,7 0 33 16,-7 0-30-16,7 0-13 15,-7 0 12-15,14-1 6 0,-9 1-16 0,2-1 11 0,1 1 2 16,-1 0 0-16,4-1-15 0,-3 1 0 16,1 0 22-16,2 0-14 0,-3 0 2 15,2 0 0-15,0 0 2 0,0 0-7 0,0-1 0 16,1 1 5-16,2-3-2 0,0 3 12 0,2-1-13 16,3 1-2-16,-2-1 3 15,-1 1-1-15,3 0 0 0,-3 0 6 0,6 0 5 0,-4-2-11 16,2 2-10-16,1-2 18 0,0 2 13 15,4 0-28-15,-1 0 15 0,-2 2 23 0,4-2-17 16,-2 0-14-16,0 0-2 0,3 0 18 16,-3 0-18-16,-1 2-1 0,2-2 9 0,1 0 2 15,1 0 23-15,-3 0-10 0,3 0-15 0,0 0-1 16,0 0-4-16,-1 0-6 0,0 0-7 16,-2 0 12-16,3 0 11 0,-1 1-13 0,-1-1-11 15,1 0 14-15,-2 1 17 0,1-1-15 16,-1 1-7-16,-1 1 1 0,2-2 17 0,-1 0-16 15,0 0 17-15,0 1-19 0,0-1 4 0,-2 0-12 16,1 1 28-16,-1 1-13 0,-1-2 0 16,-1 0 5-16,4 0-3 0,0-1 1 15,-2 2 4-15,-1-1-1 0,0-1-1 0,-1 1-3 0,1 0 19 16,0 0-21-16,1 0 7 0,2-1-7 16,0 1 6-16,-3 1-12 0,1-1 1 15,0 0-2-15,-1 0 14 0,3 0-12 0,-2 1 8 16,2-1-3-16,2 1 2 15,-4-2-7-15,2 1 5 0,-3 0-8 0,1 1 21 0,2-2 15 16,0 2-22-16,-2-2-1 0,2 0 10 0,0 1-30 16,0-1 30-16,-2 1-23 0,1 1 11 15,-2-1-11-15,-1 0 3 0,1-1 13 0,-1 1-18 16,1 0 12-16,-2-1 3 16,0 1-18-16,-1 0-4 0,1 0 9 0,-1 0 28 0,0-1-7 15,1-2-15-15,0 2-11 0,0 1 23 0,0-1-20 16,0-1 7-16,-3 0-2 0,3 2 10 0,-3 0-5 15,1-1-13-15,2 0 11 16,-3 0-1-16,1 1-2 0,-2-3 8 0,3 3-11 16,0-2 5-16,-2 1 24 0,1 1-24 0,-1 0-7 15,1 0 23-15,-1-3-21 0,1 3 29 16,-1-1-21-16,1 1-13 0,1-2 21 0,-2 2-8 16,-1 0 12-16,1-2-6 0,0 0-4 0,0 2-7 15,1 0 2-15,2-2-12 16,-3 2 23-16,1-1-8 0,-3 1 0 0,2 0 2 0,3 0-4 15,-3-2-11-15,0 2 16 0,-1 0-6 0,1-1 39 16,1 1-44-16,1 0 26 0,-1 0-18 16,-1 0-5-16,2-1 7 0,-1 0 14 15,2 1-24-15,-2 0 16 16,1 0-18-16,-1 1 15 0,1-1 5 0,0 0-13 0,0 1-4 16,-2-1 12-16,3 0 3 0,-2 0-11 15,1 1-10-15,2-1 18 0,-3 0-10 0,1 0 21 0,1 2-24 16,-2-2 5-16,2 0-4 0,-1 0 9 15,1 0-7-15,0 0-3 0,0-2 16 0,-3 2-5 16,3 2-3-16,0-2-6 0,-3 0-4 0,1 0 10 16,0 0-2-16,-1 0 4 15,-3 0 19-15,5 0-14 0,-3 3 1 0,0-3-8 16,-2 0-2-16,1 0 9 0,3 0 3 0,-2 2-7 0,0-2-3 16,-1 2-5-16,2-2 2 15,0 1 1-15,-2-1 4 0,0 0 11 0,2 1-3 16,1-1-17-16,-3 1 14 0,1 1 1 0,2-1-16 15,-5-1 21-15,1 1 3 0,1 1-6 16,-3-2-15-16,3 0 7 0,-2 0 6 0,1 1 2 16,-2 1-5-16,0-2 8 0,1 1-26 15,-3 0 13 1,0 0 10-16,-1-1-7 0,1 0 2 0,0 0-7 0,0 2 7 0,1 0 10 16,-4-2-7-16,-5 0-1 0,14 0 4 0,-7 0-14 0,0 1 8 15,1-1-7-15,-3 0 14 0,-5 0-9 16,14 0 2-16,-7 0-5 0,-2 0 5 15,3 0 5-15,-3 1-4 16,-5-1-14-16,10 0 26 0,-10 0-3 0,10 0-12 0,-7 1 25 0,-3-1-5 16,11 0-18-16,-11 0 3 0,7-1-1 15,-7 1-9-15,7 0 10 0,-7 0 2 0,0 0-18 16,9 0-2-16,-9 0 7 0,0 0 3 16,7 0 21-16,-7 0-3 0,0 0-18 0,0 0-8 15,8 1 8-15,-8-1 0 0,0 0-8 0,0 0 11 16,0 0 5-16,7 2-8 0,-7-2 5 15,0 0 2-15,0 0-19 0,0 0 24 0,0 0-19 16,6 1 12-16,-6-1 10 0,0 0-5 16,2 2-7-16,-2-2 15 0,0 0-10 0,2 4-8 15,-2-4 15-15,3 3 5 16,-3-3 1-16,3 4-29 0,-3-1 8 0,2 1-7 0,-2-4 9 16,0 7 21-16,0-3-15 0,1 0-11 15,-1 1 11-15,0-1 2 0,0 2-2 0,2-3 5 16,-2 3 10-16,0-2-5 0,0 2 10 0,0-1 20 15,3-1-30-15,-3 2-25 16,0-2 17-16,0 2-2 0,0 0 97 0,0-1-26 16,2 0 8-16,-4 0 5 0,2 1-10 0,0 0-39 0,-3-1 11 15,3 1-21-15,-2 1-15 16,2-1 3 0,-1 1-8-16,-1-1-1 0,2 1-1 0,0-1-4 0,-3 2 27 0,3-3-86 0,0 1 4 15,-3 0-1-15,1 2 13 16,2-3 18-16,-2 4-22 0,2-5 16 0,-3 2 12 0,3 3-1 15,-3-5 3-15,3 4-13 0,-2-3 10 0,0 1 10 16,2-1-4-16,-3 2 12 0,3-1-10 16,-3-1 7-16,3 1-7 0,-2-1 10 0,2 1-5 15,-3 0 0-15,3-4 5 16,-3 4-15-16,3-1 18 0,-2-2-6 0,2 2 3 0,-2 0-12 0,1 0 14 16,1-2-9-16,-2 2 2 0,-1 0 7 15,3-1-7-15,-3 1 3 0,3 0 7 16,-2 0 3-16,0 1-21 0,-1 0-2 0,3-3 33 15,-3 2-15-15,1 1 12 0,0 0-22 0,-1 0-1 16,2-1 13-16,-1-2-4 0,0 3 14 16,-1-1-10-16,3 1-7 0,-5 1 10 0,5-2-13 15,-2 1 0-15,-1-3 18 0,3 2 2 16,-3 1-35-16,1-1 22 0,1 1 1 0,-1-4 7 16,0 4-22-16,2-2 4 0,-3 2-2 0,1-3 5 15,1 2 3-15,1 0-39 0,-2-2 33 16,2 2 19-16,-3-1-19 0,1-2 16 0,1 3-11 15,1-5 14-15,-2 6-14 0,2-4 6 16,-2 2 10-16,-1-1-3 0,3 1-17 0,0-4-6 16,-3 7 26-16,1-4-41 0,2 1 36 15,0-4-24-15,-5 7 19 0,5-3 2 0,-3-2-5 16,1 2 1-16,-1-1-4 0,3 1 3 0,0-4-15 16,-5 7-8-16,5-3 16 15,-3-1-4-15,3 1-6 0,-2-2 1 0,-1 2 19 0,3-4 7 16,-3 4-7-16,1-1-23 0,2-3 20 0,0 0 20 15,-5 6-30-15,5-6 34 0,0 3-37 16,0-3 10-16,-3 3 4 0,3-3-9 0,0 0 13 16,-2 4-10-16,2-4-7 0,0 0 24 15,-5 3-9-15,5-3 5 0,0 0-11 0,-5 2 9 16,5-2-4-16,0 0 4 0,-6 0 1 16,6 0-4-16,-7 1-3 0,7-1-10 0,-10 0 23 15,10 0-8-15,-13 2-7 0,8-2 7 16,-3 0 5-16,0 0-22 0,0 0 2 0,-4 0 35 15,1 0-27 1,1 0-3-16,-3 0-5 0,1 0 23 0,-2 1-11 0,0-2 19 0,-2 1-23 0,1 0-9 16,1-2 27-16,-3 2-16 15,1 0-2-15,1 0-14 0,0 0 6 0,-3 0 8 0,5 0-26 16,0 0 25-16,-2 0-15 0,4-1 16 16,-4 1 12-16,5 0-15 0,-5 0 8 0,4 0-23 15,1 0 20-15,-2 0-8 0,1 0-7 16,-2 0 20-16,2 0-15 0,-1 0 5 0,2 0 3 0,-1 0-37 15,-1 0 52-15,2 0-18 0,-1 0-10 16,1 0 23-16,-3-1-16 0,2 1 6 0,1 1-34 16,0-1 31-16,-2-1 10 0,3 1-7 15,-1 0-13-15,0 0-11 0,-2 0 14 16,4 0 17-16,-3 0-25 0,1 0 22 0,0-1 1 16,0 1 20-16,-1 0-13 0,1 0-12 0,0 0-6 15,0 0 1-15,-1 0 9 0,1 0 9 0,0 0-8 16,0 0 15-16,2 0-21 0,0 0-25 15,1 0 10-15,-4 0 0 0,4 0 26 0,-3 1-23 16,0-1 15-16,1 0-2 0,0 1-21 16,1-1 20-16,0 0-2 0,0 0-2 0,1 0-11 15,-3 0 5-15,1 0-2 0,0 0 18 16,0 0-13-16,2 1 0 0,-1-1-1 0,0-1 17 16,1 1-4-16,-3 0-2 15,1 0 3-15,2 0-10 0,-3 0 7 0,2-1-5 0,-2 2 0 16,0-1 7-16,0 0 1 0,2 0-18 15,-3 0-3-15,2 0 16 0,0 0-16 0,-1 0 10 0,2 0 1 16,-2 0-21-16,0 0 23 16,2 0-3-16,-2 1 13 0,0-2-5 0,-1 1 11 0,1 0-9 15,0 0-17-15,0 0 5 0,0 0 41 16,-1 0-59-16,-2 0 28 0,3 0-10 0,-2 0 0 16,-2 0 0-16,0-1-8 0,1 1 5 15,-5-1 11-15,2 1 7 0,-2-1-10 0,0-1 0 0,0 0-10 16,0 2 28-16,-2-2-29 0,-1 2 4 15,-1-4 14-15,4 4-1 0,-3-2-1 16,3-1-3-16,-3 1 1 0,1 1-19 0,0-2 22 16,1 0-6-16,1 2 2 0,-2-2-10 15,2 2 3-15,-3-1 13 0,6 0-16 0,-3 0 19 16,0 1-14-16,0 0 0 0,3 0-9 16,-3 1 17-16,0-3 0 0,0 2 3 0,1 1-8 0,0-1-23 15,-1 1 46-15,3-4-18 0,-3 4-3 16,3 0 3-16,-2-1 13 15,1 1-31-15,3 0 6 0,-3-1 7 0,1 0 20 0,-1 1-27 0,1-2 27 16,0 2-17-16,2 0-11 0,0 0-10 16,-2 0-5-16,0 2 38 0,-1-2-17 15,1-2 25-15,-1 2-13 0,1-1-18 0,0 1 11 16,-3 1-6-16,0-1 11 0,2 0 7 16,-1 0-25-16,1 2 8 0,-2-2-6 0,2 0 0 15,-1 0 6-15,1 1 12 0,-1-1-18 0,1 1 21 16,-2 0-26-16,2-1 0 0,-2 0 1 0,3 0 17 15,-3 3-13-15,3-3 23 0,-3 1 1 16,2-1-24-16,-2 0 11 0,3 0-1 0,0 1 14 16,2-1 4-16,0-1-22 0,0 1 12 15,1 0-26-15,-1 0 19 16,3 0-8-16,-3 0 5 0,2 0-5 0,-1 0-3 0,1 0 8 16,-1 0-5-16,1 0 2 0,-1-1-9 0,1 1 6 15,-2-3 17-15,1 3-6 0,1 0-15 0,-4 0-16 16,2 0 54-16,0 0-38 0,1 0-5 15,-2 0 17-15,0 0-2 0,3 0 5 16,-4 0-12-16,4-1 14 0,-1 1-2 0,-1 0-12 0,3 0-6 16,-4 0-2-16,2 0 7 0,0 0 26 15,1 1-28-15,-2-1-1 0,2 0-2 0,-1 0 19 16,1 0 24-16,1 0-25 0,-2 3-17 16,2-2 9-16,-1-1 18 0,1 0-27 0,2 1-6 15,-2-1 7-15,0 0 9 16,2 0 4-16,0 0 9 0,1 2-27 0,-1-2 11 0,0 2 3 15,0-1 4-15,1-1-2 0,0 0-2 0,1 1-6 16,-2-1 3-16,1 1-3 0,-1 0 8 16,8-1-5-16,-16 3 10 0,9-3-2 0,0 0 12 15,-2 1-10-15,1 0 8 0,1-1-28 0,-1 1 25 16,1-1-2-16,-1 3-16 0,-2-3 10 16,2 0-22-16,-2 0 33 0,2 1 0 0,0 0-29 15,-2-1 16-15,2 1 5 0,-2 0-2 0,2 1-13 16,1-2 7-16,-3 1 21 0,-1 0-15 15,6-1-19 1,-5 2 11 0,0-2 5-16,2 0-8 0,0 3 19 0,-2-3-9 0,3 0-4 0,-1 0 22 0,0 0-22 0,0 0-6 15,-2 0 10-15,-1 0-7 0,4 2-13 0,0-2 24 16,-4 0-4-16,1 1 8 0,2 1 16 0,-2-2-18 16,2 1-21-16,0-1 10 0,-2 0 8 0,3 0-2 15,-1 0-21-15,-2 1 21 0,2 0-19 16,0-1 39-1,0 0-23-15,1 0-2 0,-1 0 7 0,1 0 0 0,-1 2-15 0,8-2-1 0,-13 2 14 16,5-1 0-16,1-1 7 16,-1 0-2-16,0 1-19 0,1 0 11 0,-1 0-13 15,1-1 8-15,1 2 0 0,-2-2 8 0,-2 1-13 0,3 1 7 16,-1-2-5-16,-2 0-2 16,2 3 10-16,-3-2-13 0,2-1 24 0,0 1-6 15,-1 0-23-15,0 0 28 0,-1 2 13 0,1-3-13 16,0 0-7-16,0 1-16 0,0 1 3 0,-1-2 10 15,1 1-3-15,-2 1 16 0,-2-2 2 16,1 1-25-16,3 0 8 0,-5 0 19 0,0 2-27 16,2-3 3-16,-2 1-6 15,2 0 15-15,-3-1-2 0,-1 1 16 0,1-1-42 16,-2 3 26-16,0-2-10 0,3-1 18 0,-5 1-3 0,3 0-3 16,0 1-7-16,-1 0-5 0,-2-2 12 0,-1 1 1 15,3 0-18-15,0-1 17 16,-2 1 1-16,2 2-3 0,2-3 2 0,-1 1 24 15,-1 0-36-15,2-1-3 0,0 1 5 16,1 0 0-16,0-2-7 0,-1 2 25 0,1 1-17 0,2-2-6 16,0 1 5-16,1-1 11 0,1 0-8 15,-1 1 7-15,-2 0-17 0,2-1 5 0,1 1-6 16,1-1 6-16,-2 0 7 0,1 0-4 0,1 3-3 16,0-3 22-16,0 0 9 0,0 0-42 15,4 0 16 1,-2 2 8-16,1-2-19 0,7 0 37 0,-13-2-24 0,8 2 8 0,5 0-7 0,-13 0-6 15,6 2 8-15,7-2 5 0,-11-2-10 16,11 2 10-16,-10 0-25 0,4 0 40 16,6 0-20-16,-12 0 5 0,6 0-12 0,-1-3-11 15,2 3 15-15,5 0-7 0,-15-1 15 16,7 0-2-16,2 0 4 0,-1 1-1 0,-1-1-14 16,-1-1 3-16,0 0 25 0,-1 1-20 0,2 0-15 15,-2-2 25-15,0 2-7 0,-1 0-32 0,1 0 53 16,2-2-14-16,-2 2-33 15,0-1-11-15,0-1 27 0,2 2-1 0,-2 0 23 16,-1 0-17-16,4 0-8 0,-3-2-1 0,0 3-1 16,2-1 7-16,-2-1 5 0,2 2-3 0,-2-2-15 15,1 1 8-15,2-1 5 0,-3 1 7 16,3 1-7-16,-2-4 15 0,0 4 1 0,0-2-9 0,1 2 6 16,-1-1-11-16,1-2 1 15,1 1 9-15,-1 1-14 0,0-1 2 0,3 1 25 16,-3 0-30-16,1 0-11 0,2 0 29 0,-1-3-23 15,1 2 20-15,0 2 2 0,-3-3-12 16,3 2 10-16,-1-1-10 0,2 2-25 0,-2-3 48 16,6 3-21-16,-10-3-5 0,5 2 16 15,3-2-16-15,2 3 3 0,-11-2 8 16,11 2-8-16,-5-1 0 0,0-2 12 0,5 3-4 0,-5-1-6 16,5 1 8-16,-5-2 0 0,5 2 11 0,0 0-6 15,-8-2-25-15,8 2 35 0,-5-1-28 16,5 1-4-16,-5-2 24 0,5 2-19 15,0 0-6-15,-5-2-18 0,5 2-46 16,-5-3-43-16,5 3-18 0,-5-2-44 0,5 2-33 0,-3-1-2 16,3 1-65-16,-7-5-104 0,6 2 22 15,1 3-565-15,-2-4 38 0,-1-2 133 0,0 2 11 16,1-4 125-16</inkml:trace>
  <inkml:trace contextRef="#ctx0" brushRef="#br0" timeOffset="14188.4">2681 3529 796 0,'0'0'276'0,"0"0"-76"0,0 0-6 0,0 0-27 16,0 0 2-16,0 0-18 0,0 0 2 0,0 0-17 16,0 0-6-16,2-9-9 0,-2 9-24 0,11-7 10 15,-2 0-4-15,2 1 2 0,-1 0-16 16,2-4 1-16,4 2 81 0,-1 1-20 31,4-6-12-31,3 1-14 0,9-3-12 0,-5 3-3 0,7-1-18 0,3-1-51 0,0 1-21 0,5-1-9 16,0 1 9-16,1 0-10 0,6-1 8 15,8-2 3-15,-7 5-8 0,10-1 10 0,-8 2-8 16,-2 1 5-16,2 3 3 0,0-1-10 0,-2 5 79 16,0-3-28-16,2 1 13 15,-2 2 8-15,0 1-29 0,-1 0-5 0,1-3 8 0,-8 4-13 16,-7 1 5-16,2 0 0 0,-3-1-7 16,-2 2 23-16,2-2-39 0,-5 1 15 15,-3 0 11-15,-2 1-28 0,-2-2 2 0,-1 3 0 16,-4-2 5-16,-1 0 3 0,-1 0-28 0,-2 0 38 15,-2-1-21-15,0 2 1 0,-2-2-11 16,0 0 8-16,-1 0-2 0,-1 0 10 0,2 1-8 16,-4 0-13-16,-4-1 10 0,9 0-17 0,-9 0 10 15,7 2 25-15,-7-2-20 16,7 1-8-16,-7-1-10 0,6 2 5 0,-6-2 13 0,0 0-15 16,5 2-3-16,-5-2-5 0,0 0-11 15,0 3-4-15,0-3-26 0,0 0-16 16,0 0 9-16,0 5-42 0,0-5-13 0,0 0 19 15,0 0-42-15,0 0-27 0,0 0 9 0,-3 4-45 16,3-4-45-16,0 0-50 0,0 0-51 16,3 1-441-16,-3-1-5 0,0 0 98 0,0 0 73 15,0 0 42-15</inkml:trace>
  <inkml:trace contextRef="#ctx0" brushRef="#br0" timeOffset="14532.41">4288 3157 721 0,'0'0'231'0,"0"0"-9"0,0 0 65 0,8 9-39 0,-3-6-7 16,0 0-11-16,3 2-20 15,0 0-92-15,2 0-16 0,0 2 1 0,1-1 81 0,3 2-20 16,-1 2 2-16,2-2-43 0,1 3 15 0,-1-4 3 16,1 1-26-1,-4 2 1-15,1-3-6 0,-5 0-5 0,3 0-21 0,-2 1 13 0,-1 1-17 16,-5-3 4-16,-1 2 8 0,-2 1 0 16,-4 3 6-16,-5 3-16 0,-6 3-16 15,-10 5-4-15,-1 1-22 16,-16 7-73-16,-1 0-56 0,-8 1-98 0,-5 0-806 0,-1 1 135 0,-2-1 44 15,-2-5 138-15,-6 3 34 0,0-6 74 16</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1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5:37:41.137"/>
    </inkml:context>
    <inkml:brush xml:id="br0">
      <inkml:brushProperty name="width" value="0.05292" units="cm"/>
      <inkml:brushProperty name="height" value="0.05292" units="cm"/>
      <inkml:brushProperty name="color" value="#0070C0"/>
    </inkml:brush>
  </inkml:definitions>
  <inkml:trace contextRef="#ctx0" brushRef="#br0">8738 1614 890 0,'0'-5'361'0,"0"5"-49"0,0 0 47 0,0-5-29 16,0 5-13-16,0-4-40 0,0 4 10 16,0 0-47-16,0 0-27 0,0-5-9 0,0 5-9 15,0 0-18-15,0 0-24 0,0 0-17 16,0 0 7-16,0 0-35 0,0 0 12 0,0 0-18 16,0 0-17-16,0 14 15 0,0-8-39 15,0 1 16-15,0 2-21 0,0 1-5 0,0 1-10 16,0 1 11-16,0 1-24 0,0 1-5 0,0 2 25 15,0-2-20-15,0 0-15 16,0 2-2-16,0-2-52 0,-2 1-11 0,2-1-19 16,0-1-19-16,0 0-20 0,0-3-26 0,0 0-53 0,0 1-39 15,2-3-112-15,-2 0-180 0,0-1-373 0,1-3 99 16,2 1 67-16,-1-3 100 16,0 2 67-16</inkml:trace>
  <inkml:trace contextRef="#ctx0" brushRef="#br0" timeOffset="340.15">8832 1614 1267 0,'-1'-6'399'0,"1"6"-18"0,0-4-35 0,0 4-52 16,-3-3-7-16,3 3-39 0,0 0-10 15,0 0-41-15,0 0 0 0,0 0-12 0,3 18-24 16,-2-11-25-16,-1 1-8 0,2 0 5 0,-2 2-36 16,2-2 18-16,0 3-43 0,-2 2-18 0,0-1 12 15,1-1-33-15,2 0-33 0,-3-1-2 16,0 3-19-16,0-2-38 0,0 0 8 0,0 0-33 15,0-1-29-15,0 1-40 0,0-2-37 0,-3 1-84 16,3-1-156-16,-1 0-425 0,1-1 87 16,0-2 93-16,-2-1 65 0,2 1 40 15</inkml:trace>
  <inkml:trace contextRef="#ctx0" brushRef="#br0" timeOffset="791.41">8680 1797 1277 0,'-5'-3'386'16,"5"3"-32"-16,0 0-32 16,-2-5-35-16,2 5-16 0,0 0-30 0,0 0-42 0,0 0-19 15,0 0-6-15,0 0-11 0,7 14-30 0,-2-9 3 16,-3 2 7-16,1-1-22 0,2 1-26 0,1 0-16 16,-2 2 8-16,-1-2-15 0,2-1-8 15,0 1-23-15,0 1 15 0,-2-2-18 16,3 1 6-16,-2-2 9 0,-1 0-14 0,2 0-3 0,-2-1-11 15,2-1 21-15,-1-1-17 0,-1 0-19 16,2-1 13-16,-5-1 15 0,11-1-15 16,-3-1-10-16,-1-2-3 15,-2 1 11-15,3-2-14 0,0-1-60 0,-1 0-4 0,1-1 4 16,2-1-6-16,-2 0 2 0,0 1 6 0,-1-1 3 16,1 0-34-16,0 2-26 0,-3-1 6 15,2 1-24-15,-1 1-20 0,-2 0-53 0,2-1-72 16,-1 1-72-16,-2 1-36 0,-1 1-428 0,1 0 75 15,2 1 57-15,-2-1 145 0</inkml:trace>
  <inkml:trace contextRef="#ctx0" brushRef="#br0" timeOffset="2540.6">5626 3334 1139 0,'0'0'366'0,"0"0"-29"16,0-5-29-16,0 5-27 16,0 0-35-16,0-4 10 0,0 4-120 0,0-4-14 0,0 4-19 15,0 0 4-15,0-5 1 0,0 5-3 0,0 0-34 16,3-3 1-16,-3 3-18 0,0 0 2 15,0 0 16-15,0 0-13 0,0 0-18 16,0 0-8-16,0 12 10 0,3-5-7 0,-3-1 3 0,2 2-14 16,-2 0 6-16,0 2-16 0,0 1-7 15,2 2-18-15,-2-3-3 0,0 4-30 0,0-1-6 16,0 0-20-16,0 0-16 0,0 0-30 16,0-2-54-16,0-1-64 0,0 0-89 15,0-1-267-15,0 1-133 0,0-2 31 0,0-2 128 0,0 0 28 16</inkml:trace>
  <inkml:trace contextRef="#ctx0" brushRef="#br0" timeOffset="2840.43">5703 3303 1080 0,'0'-3'297'0,"0"3"-8"0,0-6-20 15,0 2-42-15,0 4-1 0,0 0-57 16,0-4-16-16,0 4 1 0,0 0-13 16,0 0 4-16,0 0-37 0,-2 14 7 0,2-8-28 15,-3 3 3-15,3 1-3 0,0 0-26 0,0 4 11 16,0 0-16-16,0-2-5 15,0 3-12-15,-3 0 7 0,3-1-49 0,0 0-4 0,0 0-37 16,-2-2-38-16,2 1-12 0,0-1-57 0,0-2-52 16,0-1-78-16,-5 1-75 0,5-3-425 15,3 1 105-15,-3-3 49 0,0 0 115 0</inkml:trace>
  <inkml:trace contextRef="#ctx0" brushRef="#br0" timeOffset="3461.5">5593 3428 1072 0,'0'0'284'0,"-2"-3"5"0,2 3-66 0,0 0 5 0,-4-3-36 0,4 3-18 15,0 0-33-15,0 0 10 0,0 0-31 16,0 0 8-16,-4 10-44 0,4-10 11 0,2 9-3 15,-2-3-23-15,2 1 11 0,-1 2-9 16,2-2-12-16,-3 0-7 0,2 3-22 0,0-2 21 16,1 0-7-16,0 0-1 0,-1 0-9 15,-1 0-9-15,1-1-2 0,0 0-2 0,1-2-11 0,-1 1 26 16,-1 0-18-16,1-2 82 0,3 1 12 16,-4-2-37-1,1-1-6-15,3 1 28 0,-5-3-38 0,7 1 20 0,-7-1-20 0,10-2-8 16,-2-1-5-16,-2-3 16 0,4 1-32 15,-3-1-94-15,3-2 6 0,1 0-17 16,2-3-19 0,-2 0-50-16,3 1-35 0,-1 0-128 0,0-1-36 0,0 5-507 0,3-4 128 15,-2 3 29-15,-3-1 99 0,2 2 61 0</inkml:trace>
  <inkml:trace contextRef="#ctx0" brushRef="#br0" timeOffset="12429.26">16669 4123 1297 0,'-5'2'400'0,"5"-2"-40"0,-6 2-24 16,6-2-65-16,0 0 11 0,-4 1-37 15,4-1-30-15,0 0-17 0,0 0 9 16,0 0-25-16,0 0-6 0,0 0-86 0,0 0 5 16,10 3-34-16,-10-3 8 0,12 0-13 15,-6 0 6-15,1 0-31 0,3-3 15 0,1 2-3 16,-1 0 13-16,0 0-30 0,3-1-3 0,-2 1 3 16,1-1 66-16,-1 1-21 0,-1 1-32 0,0-3-6 15,3 1 18-15,-6 2 1 0,1 0-19 16,0-1-25-16,-8 1 7 0,8 0 18 0,-8 0-23 15,0 0-5-15,0 0-10 0,0 0-10 16,0 0-16-16,0 0 13 0,0 0-2 0,-14 6-13 16,4-4 12-16,-2 0 3 0,1 1 8 15,-4-1 5-15,0 2-10 0,-1-1-9 0,4 0 19 16,-4 0-18-16,3 0 18 0,3-1-2 0,0-1-9 16,2 1-4-16,1-1-26 0,-1-1-36 15,5 1-18-15,3-1-41 0,0 0-41 0,0 0-53 16,0 0-29-16,0 0-135 0,3-7-436 0,1 4 83 15,2 1 43-15,-1 0 153 0,3-3-9 16</inkml:trace>
  <inkml:trace contextRef="#ctx0" brushRef="#br0" timeOffset="16998.14">21617 5344 1146 0,'-5'0'364'0,"-1"2"43"15,6-2-44-15,-9 1-20 0,9-1-13 0,-8 2-38 16,8-2-3-16,0 0-45 0,-5 0-19 0,5 0 15 16,0 0-55-16,0 0-9 0,0 0-2 15,13-8-28-15,-4 5-28 0,0-1-3 16,6 1-5-16,-2-2-18 0,5-1 8 0,3 3-5 15,6-4-21-15,-1 2 11 0,3 0-6 0,-1-1-30 16,-1 0-11-16,2 1-25 0,-1-1-13 16,-5 4-36-1,1-2-5-15,0 2-31 0,-3-1-12 0,-3 1-47 0,0 1-17 0,-3 1-62 0,1-1-125 16,-6 1-134-16,1 1-465 0,-1-1 110 0,0 1 174 16,-5 4-52-16,-2-3 52 0,-1-1 95 15</inkml:trace>
  <inkml:trace contextRef="#ctx0" brushRef="#br0" timeOffset="17217.12">21740 5397 980 0,'21'-2'340'0,"0"-1"-15"0,1 0-35 0,-1 1-34 16,1-2-16-16,3 1-22 0,0-2-13 15,3 1-29-15,-5 2-15 0,5-5-7 0,-2 3-29 16,-3 1-35-16,-1-2-39 0,-1 2-38 16,-1 0-54-16,-4 0-82 0,-3 0-107 15,-3 2-216-15,3-3-273 0,-5 2 25 0,-1 2 111 0,-1-4 33 16</inkml:trace>
  <inkml:trace contextRef="#ctx0" brushRef="#br0" timeOffset="17626.49">21871 5076 1149 0,'-7'-1'386'0,"7"1"-22"0,-16 3-42 15,3 0-4-15,-3 4-73 0,-4-1-12 0,1 6-7 16,-14 4-34-16,-2 3-8 0,-1 3-87 16,0-1 6-16,3 2-1 0,2-2 5 0,3 3-20 0,2-1-7 15,8-4-6-15,2-4-20 0,2 1 7 16,6-2-4-16,3 2-16 0,0-5 12 15,7 0-9-15,1 1 2 0,4-1-5 0,7 0 41 16,1-1-8-16,5 0-2 0,6-3-39 16,-1 1-18-16,6-3-40 0,13 2-21 0,-1-1-59 15,1-1-77-15,2-10-159 0,-3 11-552 16,-1 0 43-16,-9-1 111 16,-5 0 45-16,-5-2 57 0</inkml:trace>
  <inkml:trace contextRef="#ctx0" brushRef="#br0" timeOffset="31463.6">12654 5827 747 0,'0'0'287'15,"0"0"-44"-15,0 0-8 0,0 0-20 0,0 0-12 16,-10-1-12-16,10 1 1 0,0 0-20 15,0 0 74-15,0 0-29 0,0 0-7 0,-6 1 10 16,6-1-53-16,0 0-1 0,0 0-10 16,0 0-5-16,0 0-28 0,0 0-3 0,0 0-12 15,0 0 20-15,0 0-23 0,0 0-18 0,0 0-26 16,0 0 24-16,0 0-24 0,0 0 11 16,0 0-18-16,24-1 10 0,-19 1 2 0,5 0-38 15,0-2 3-15,0-1 15 0,3 1-15 0,2 2 2 16,-2-2-5-16,3 0-56 15,-1-1-18-15,3-1 10 0,-2 3 8 0,2 0-10 0,-1-4 20 16,1 3-3-16,1-1 1 0,3 1 10 0,-2-3 2 16,-1 4-5-1,1-3 5-15,1 1-7 0,2 1 7 0,-2-2 29 0,-1 1-34 16,3 1 3-16,-2 0 7 0,-1-2 8 0,1 3-23 0,1 0 13 16,-1-3 3-16,-3 2-3 0,2 1 12 15,-1-1-14-15,1 0 19 16,-2 2-1-16,3-2-24 0,-1-2 5 0,-2 3 0 0,3-1 8 15,-1-2-7-15,1 3 2 0,-3-2 2 0,-3 1 6 16,5 0-3-16,-2-2-3 0,-2 2 8 16,-1-1 0-16,3 1-15 0,-2-1 2 0,-1 0 11 15,1 1 0-15,-1-1-6 0,0 0 18 0,3 0-22 16,-5 1 14 0,2-3-12-16,0 4 5 0,-2-3-7 0,3 2 14 0,-1-1-9 0,1 0 7 15,-1 1-13-15,0-1 0 0,0 1 11 0,1 1 5 16,-1-2-3-16,1 2-8 15,-1-1 13-15,3 0-20 0,-2 1 8 0,-1-2 14 16,0 2-24-16,1-1 24 16,-1 1-22-16,1 0 8 0,-3 0 2 0,1 0 0 0,2-2-11 0,-3 2 17 15,3 0-1-15,-2 0 5 0,0-2-23 16,-2 3 5-16,-1-2 14 0,1 2-9 0,-2 0 8 16,1-1-7-16,-1-1 2 0,0 0 17 0,0 2-9 15,1 0-10-15,-3-1-6 16,2 1 16-16,0 0-8 0,-2-1 2 0,0 1 8 0,-1 0-10 15,1 0 3-15,0-1 7 0,-1 1-12 0,-7 0 7 16,13 0-3-16,-8 0 3 0,2 1-15 0,-7-1 13 16,14 1-13-16,-9-1 12 15,2 0 3-15,-2 0-10 0,-5 0 5 0,14 1 5 16,-10-1 13-16,-4 0-26 0,11 0 11 16,-4 0 2-16,-2 2 3 0,3 0-1 0,0-1-4 15,-3-1 0-15,3 0 7 0,-1 2-5 0,1-2 3 16,0 1-8-16,2 1 0 0,-3-1-11 15,1 0-1-15,2-1 12 16,-2 1 5-16,0 2-5 0,2-2 18 0,-2 0-18 0,0 0-5 0,-1-1 35 16,1 1-27-16,0 2 15 0,-1-3-18 0,1 3-5 15,0-2 2-15,0 1 26 0,-1-1-10 16,-1 0-26-16,2 0 26 16,-1 2-26-16,0-2-5 0,-1-1 46 0,-1 2-40 0,2-1-9 0,-1 1 16 15,-1-1 2-15,0 0 6 0,-5-1 15 16,10 2-23-16,-5 1-6 0,1-2 14 15,-6-1-11-15,7 0-22 0,-7 0-1 0,5 1-31 16,-5-1-37-16,5 1-24 16,-5-1-77-16,0 0-125 0,0 0-69 0,0 0-494 0,0 0 94 0,0 0 83 15,0 0 73-15,0 0 60 0</inkml:trace>
  <inkml:trace contextRef="#ctx0" brushRef="#br0" timeOffset="34709.58">12654 5088 847 0,'0'0'299'15,"0"0"-35"-15,0 0-6 16,0 0-37-16,0 0 1 0,0 0-35 0,0 0-3 16,0 0-20-16,0 0-13 0,0 0-18 0,0 0-7 15,0 0-11-15,0-12 3 0,0 12-13 16,0 0-8-16,8-2 0 0,-6-1-99 15,-2 3 7-15,8-3-10 0,-3 0 2 0,0 1 26 0,3 0-5 16,-3 0 5-16,5 1-8 0,-2 0-12 16,2-1 20-16,0-2-13 0,1 3 3 15,-1-2 0-15,2 0 5 0,1 1 2 0,3-1 70 0,-3 1-11 16,2-2-7-16,0 2-6 0,1-1-14 16,2 2-9-16,-3-1 11 15,5-3-6-15,-1 4-14 0,1 0-6 0,0-3 10 16,1 3-17-16,-1-3 4 0,1 1-2 15,3 0-2-15,-2 0-3 0,1 0-3 0,-2 1 29 16,5 0-26-16,-4-1 5 0,4 1-8 0,-3-2-15 0,0 3 8 16,1 0-3-16,1-4 10 0,-2 3-7 0,0-1 0 15,3 0-6 1,-3 1 16-16,0-1-21 0,-2 1 6 0,1-1 7 0,-4 2-25 0,3-1-49 16,2-2 8-16,-2 2 4 15,0 1 22-15,1-3-14 0,-1 3-15 0,-1-3 16 0,1 2 15 16,1 1 2-16,-1-2-5 0,0 1 24 0,0 1-24 15,1-2 13-15,-3 1 5 16,4 1-7-16,-3-3 15 0,3 3 2 0,-3-1-12 16,1 0-1-16,2-1 4 0,-2 2-4 0,-3 0 26 15,2-2-33-15,1 3 31 0,-1-1 7 0,-2-4-43 16,3 4 10-16,-4 0 11 0,1-2-6 16,0 2 18-16,-2 1-5 0,-1-2 10 15,3 0-7-15,-3 1-8 0,1-1 5 0,-3 1-11 0,-1 1 22 16,2-1-4-16,-2-1-4 0,-1 0 12 15,4 2-20-15,-4-2-3 0,1 2 14 0,-2-3-19 16,1 3 15-16,-1-1-12 0,2 1 23 0,-2-1-18 16,-1 1 12-16,3-1-9 0,-2-2-13 15,0 3 9-15,-1-2-1 0,3 2 14 0,-2 0 4 16,1 0-19-16,-1-1 13 0,0 1-13 16,3 0 6-16,-2 0 4 0,1 0 9 0,1-1-9 15,-3-1-7-15,3 2 10 0,0 0-10 16,-1 0-5-16,2 0 20 0,1-1-7 15,-3 1-11-15,2-1 13 0,3 1-10 0,-3 0 15 0,3 0 3 16,-1 0-10-16,-4 0 4 0,4 0-2 16,-1 0-15-16,-1 0 23 15,3 0-5-15,-2 0-19 0,-2 0 9 0,3 0-1 0,-1-1 6 0,-2 1-13 16,0 0-1-16,2-1 9 0,0 1-16 0,-2-2 18 16,0 1-3-1,0 2-7-15,0-1 20 16,2-1-17-16,-2 1 9 0,-3-1 11 0,3 1-28 0,0-1 43 0,-3 1-28 0,3 0 0 0,-1 1 7 15,-3-1 4-15,3-1-9 16,1 0-4 0,-3 0 2-1,1-1-16-15,-1 1 19 0,0 1 2 0,3-2-8 0,-3 2-2 0,1 0 10 0,-1 0-2 0,0 0-23 0,0 0 25 16,0-3 2-16,0 2-12 0,-1 1 28 0,3-1-33 16,-2 0 13-16,-2 1-11 0,3-1 8 15,-3 1 2-15,2-2-9 0,0 2 4 0,-3 0 3 16,1-1 3-16,0 1-13 0,0-2-1 15,-1 2 22-15,0-1-9 0,1 1-7 0,0 0 31 16,0 0-21-16,-1 0-16 0,-7 0 9 0,14-1-1 0,-7 1 31 16,1 1-17-16,-1-2-14 0,1 2-2 15,0-1 13-15,-1 0-6 16,1 0-15-16,2 0 19 0,-2-1-12 0,0 1-6 0,2 0 12 16,-2 0 7-16,2 0-4 0,-2 0 17 15,2 0-35-15,-2 1-3 0,4-2 18 0,-2 1 8 16,1 0-21-16,-1 0 16 0,0 0-19 0,1-2 1 15,-1 2 20-15,0-1-15 0,1 2 7 16,-1-1 6-16,0 0-8 16,-3 0 2-16,4 0 13 0,-3 0-10 0,0 2 0 0,-1-4 5 15,1 2 8-15,-1 2-20 0,-7-2 14 0,13 0-14 16,-8 0 22-16,-5 0-10 0,11 1 3 0,-6-1-6 16,-5 0-4-16,7 0 4 15,-7 0 8-15,8 0 16 0,-8 0-26 0,6 3 8 0,-6-3-3 16,7 1-15-16,-7-1 10 0,7 2 0 15,-7-2 5-15,6 1 2 0,-6-1 16 16,3 3 1-16,1 0-9 0,-4-3 5 16,5 1 1-16,-5-1-21 0,6 5 13 0,-4-3-3 0,-2-2-8 0,3 5 21 15,-1-4-12-15,1 3-11 0,-3-4 15 16,5 6-5-16,-3-3 11 0,1 1-8 0,0 0 7 16,-1 0-2-16,0 1 8 0,-1-2-9 0,2 1-4 15,-1 2 10-15,0-1-10 16,-1-1 2-16,1 1-4 0,1 1 19 0,0 0 1 0,-1 0-13 15,-2-1 15-15,2 2-7 0,1-2 5 0,-3 2-21 16,3-1-8-16,-1 1 21 16,0 0-5-16,1 0-5 15,-2-1 15-15,1 1-12 0,0-1-6 0,-2 2 5 16,3 0-2-16,0-2 8 0,-1 1-14 0,0-1 4 0,-1 1 14 0,1 0-4 16,-2 0 2-16,3 2 5 15,-1-5-8-15,-1 5-25 0,1-3 20 0,-2 1-9 0,2-1 9 16,1-1-10-16,-3 0 21 0,2 3-19 15,-1-2 4-15,-1-2 14 16,0 2-7-16,2-1 8 0,1 0-34 0,-3 1 13 0,0 0 11 16,3-3-14-16,-3 2 1 0,0 1-6 0,2-1 3 15,-2 0 18-15,0-2-10 0,0 4 10 16,0-3-29-16,2 2 27 0,-2-3-6 0,0 3-5 16,0-2 10-16,0 1 1 15,3-1-6-15,-3 1-7 0,0 0-6 0,-3-1 16 0,3-1-21 0,0 3 26 16,0-1-10-16,0 0-13 0,0-2 2 15,-2 2 16-15,2 1 15 0,0 0-13 0,-2-3-7 16,2 3 2-16,0-2-20 0,0 2 7 0,-1-1 9 16,1-1 1-16,-2 1 4 15,2 1 6-15,-3-1 4 0,3 1-13 0,0-1-14 16,-2 2 19-16,2-4 18 0,0 3-31 0,-1-1-3 16,-1 0 14-16,2 1 1 0,0 0 4 15,-3-2 50-15,3 2 16 0,-2-1-18 0,2 0-23 16,-2 2 26-16,1-2-13 0,1 1-24 15,0-4 16-15,-2 5-10 0,2-3 5 0,0 3-23 16,-3-2-13-16,3 2 18 0,0-1-13 16,-2-1 13-16,2 0-5 0,-1 0-10 0,-1 0 0 0,2 2 2 15,0-1 0-15,-2-1 11 0,2 1 7 0,-3 0-15 16,3 0-1-16,0-1 4 0,0 2-8 16,0-1-1-16,0-2-9 15,0 2 32-15,-3 0-30 0,3-1-18 0,0 2 41 0,-2-1-30 0,2 0 27 16,0-1-17-16,-2 1-1 0,2 1 9 0,0-2-11 15,0 2-8-15,-1-1 5 0,1-1 16 16,-3-1-5-16,3 1-24 0,0 0 19 16,0 1 10-1,0-1 2-15,-2-1 1 0,2 1-11 0,0 0-10 0,0-2-16 16,0-3 19-16,0 8-6 0,-2-6 0 0,2 2 8 16,0-4 5-16,0 4-12 0,0-4 9 0,0 0 19 0,0 6 7 15,0-6-10-15,-3 4-18 0,3-4 0 0,0 5 18 16,0-5-6-16,0 0 14 15,-3 4 15-15,3-4-44 0,0 0-4 0,-4 3-14 0,4-3 16 16,-6 1-3-16,6-1 1 0,-5 1 14 16,5-1 9-16,-8 1-29 0,8-1 3 0,-8 3 17 15,4-3-1-15,-4 1 14 0,3-1-12 16,-3 1-88-16,1-1 11 0,-2 2 13 0,2 0 2 16,-6-1 6-16,5-1-1 0,-2 0 0 0,0 2-2 15,0-2 26-15,-1 3-14 0,1-2 16 16,-2 1 21-16,3-1-27 0,-3 1 6 0,2 0 8 15,-1-1-5-15,1 1-4 16,-3 0 12-16,3-1 19 0,0 1-7 0,-3 0 5 0,0 0-2 16,0 0 7-16,-2 1-20 0,2-1 5 15,-2-1-5-15,2 0 15 0,-3 2-31 0,4-2 34 0,-1 1-29 16,0 0 24-16,-2 0-11 0,2-2-5 0,0 2 16 16,3 1-8-1,-3-2-5-15,3 0 10 0,-3-1 2 0,3 2-12 16,-1 0 5-16,1-1 7 0,-3 0 16 0,3 2-2 0,0-1-19 15,-1-1-2-15,1 0-15 0,0 0 9 0,-1 2 11 16,1-1-5-16,0-2-8 0,0 5 8 16,0-5 13-16,2 2-11 0,-2 0-9 15,-1 0 17-15,4 0 5 0,-6-2-10 0,6 3 15 16,-4-1 6-16,3-2-29 0,-2 1-7 0,0 3 15 16,2-3 0-16,-2-1-3 0,0 2 3 15,0 0 3-15,-1 0-8 0,1-1 10 0,-3 0-10 16,0 3-3-16,0-3 8 0,-2 1 15 15,2 1-4-15,-2 0-11 0,-1-1-11 0,1 0 11 16,0 0-5-16,-1 3 13 0,-1-4 7 0,1 2-10 16,1-2-7-16,-1 2 12 15,-2 1 5-15,3-4-12 0,-3 2-13 0,2 0 25 0,1 1-20 16,-1-3 2-16,2 2 6 0,-2 0-3 16,1-1-5-16,2 0-16 0,0 0 26 0,2-1-12 15,-1 0-1-15,-1 0 13 0,3 0 0 0,0 0-5 0,-1 0 5 16,1 0-17-16,0 0-11 0,-1 0-11 15,1-1-32-15,-3 0-29 0,3 1-43 16,-5 0-36-16,-1-3-110 0,1 1-213 16,-6 2-445-16,-2 0 95 0,-7 0 69 0,-6 0 105 0,-12-3 74 15</inkml:trace>
  <inkml:trace contextRef="#ctx0" brushRef="#br0" timeOffset="36182.61">12713 5102 729 0,'0'0'297'16,"0"0"-21"-16,4-3-22 0,-4 3-26 16,0 0-6-16,0 0-27 0,0 0-21 15,0 0-15-15,0 0-24 0,0 0-12 0,0 0-10 0,0 0 4 16,0 0-9-16,0 0-34 16,0 0 11-16,0 0-16 0,0 0 10 0,0 0-20 0,-14 9-3 15,11-8-7-15,-2 3 2 0,3-1-5 0,-1 0-2 16,0 2-3-16,-1-2 0 15,3 3-8-15,-4-2-5 0,3 3-10 0,-1-1 13 0,0 0-1 16,1 1-19-16,1 0 14 16,-1 0-12-16,0 2 20 0,-1-1-38 0,3 0 10 15,-3 2 13-15,3-1-5 0,-2 0 10 0,2 0-23 16,0 2 5-16,-2-3 11 0,2 3-73 0,0-3 6 16,0 2-3-16,0-1 13 0,0 1 6 15,0-1 14-15,-3 1 1 0,3-1 17 16,0 1-15-16,0 1 85 0,0-4 9 0,0 5-14 15,3-5-6-15,-3 1-2 0,0 3-11 0,0-5 1 16,2 2 2-16,-2 2-2 0,0-2-3 0,2 0-11 16,-2 2-9-16,0-3 7 0,0 0 0 15,0 1 0-15,0-2-2 0,3 2-16 16,-3 0 11-16,0-2-11 16,0 1 8-16,3-1 5 0,-3 0 0 0,2 0 2 0,-2 0-12 0,2 1-10 15,-1-1 22-15,-1 0-14 0,2-3-4 16,-2 3 11-16,0-1-3 0,0 2-12 0,3-3 10 15,-3 3 15-15,0-3-20 0,0 0-3 16,2 2 13-16,-2-2-11 0,0 2 1 0,1 0-5 16,-1-1-3-16,0-2 15 0,0 3-15 0,0-1 8 15,0 1 7-15,0-2-7 0,0 1-11 0,0-1 19 16,0 2-11-16,-1-1-5 0,1-1 25 16,0 1 6-16,0 0-5 0,0 1-9 0,0 0-9 15,0-3 13-15,0 2-16 0,0 1 15 16,0-1-2-16,-2 1-3 0,2-2-4 0,0 1 17 15,-3 0-15-15,3 1-11 0,0-1 24 0,-2 1-6 16,2-3-17-16,0 2 15 0,0 0-11 16,0 1 1-16,0-1 15 0,-1-2-10 0,2 4-3 15,-1-3 26-15,0 2-33 0,0-2 4 16,2 1 11-16,-2-1-5 0,3 2 20 16,-3-4-28-16,2 2 21 0,1 1-39 0,2-2-12 0,-2 1-14 15,2-2 8-15,0-2-38 0,3 1-30 16,-1 2-29-16,1-3-44 0,0 0-99 0,0 1-152 15,2-2-470-15,0 1 61 0,2-2 110 16,-1 1 80-16,-1 1 71 0</inkml:trace>
  <inkml:trace contextRef="#ctx0" brushRef="#br0" timeOffset="145844.84">7690 6693 911 0,'0'0'340'0,"-3"-4"-25"0,3 4-18 0,0 0-33 0,0 0-34 0,-7 0-10 0,7 0-15 16,0 0-23-16,0 0-24 0,0 0 6 15,-3 6-18-15,1-1-36 0,0 1 13 0,1-1-26 16,1 2-12-16,-2 1 2 0,2 0-8 0,0 3-7 16,-3-1-8-16,3 2-3 0,-2 1-5 0,1 1-9 15,1-2 14-15,-2 2-23 0,2 2-7 16,-3-2 15-16,3 0-7 0,-2 1-14 0,2-1-4 15,-2-1-3-15,1 0 15 0,1 0-8 0,0-3-9 16,0-1-9 0,0 1 1-16,-2-3 15 0,2 0-15 0,0-2-6 0,-3 1 1 15,3-3-8-15,0 2 5 0,0-5 0 0,-2 4-13 16,2-4-2-16,0 0 2 0,0 0 10 0,0 0-7 16,0 0 25-16,0 0-27 0,0 0 19 15,-3-11-4-15,3 7-6 0,-2-2 8 0,2 6-7 16,0-7-6-16,-3 2 11 0,3 2-8 0,0-3 10 15,-3 1-13-15,3-1 11 0,0 0 20 16,-2 0-23-16,2 1-3 16,-2 0 24-16,1-4-14 0,1 3-2 0,0-1-5 0,-3-1 3 15,3 1 2-15,0-3 3 0,-2 3 5 0,2-1 10 0,-2-3-16 16,2 3 9-16,0-1 2 16,0 1-11-16,0-3 6 0,0 3-3 0,0 3-7 0,2-3 12 15,-2 1 1 1,2-1-14-16,-2 1 11 0,3 3-3 0,-3 0-2 0,1-1 2 0,1 2 16 15,0-1-16-15,-2 4-8 16,6-1 6-16,-6 1 5 0,0 0 0 0,10 5-62 0,-5-2-17 16,0 2 14-16,3 2 11 0,-1 3 21 0,-1-2-26 15,1 3 13 1,1-3-3-16,0 5 18 0,0-3-10 0,-1-1 2 0,3 1 3 0,-2 2-3 16,-1-3 6-16,1 1 0 0,0-1-9 0,0 0 9 15,-1-1 7-15,1-1-2 0,0 0-8 0,-3-1 12 16,2 0-4-1,-1-2 10-15,-3-3 2 0,1 1-2 0,2 1 10 0,-2-2 18 16,-4-1-10-16,0 0 21 0,11-6-22 0,-8 2 47 0,-1 1-13 16,0-3-2-16,1-1-6 15,-3-2-15-15,3 1 18 0,-3-4 10 16,-3 0-7-16,1-3-1 0,1 0-4 16,1 0-11-16,-4-2 5 0,4 4-2 0,-3-2-3 0,0 3-5 0,1 0-8 15,-1 0 26-15,0 0-33 0,1 0-10 16,0 5 7-16,-1-1 0 0,3 0-5 0,0 0-44 15,-3 2-15-15,1 4-7 16,2-2-19-16,0 4 1 0,0-7-21 0,0 7-23 0,5-1-20 16,-5 1-60-16,0 0-58 0,0 0-80 0,10 8-516 15,-5-4 73-15,-2 1 78 0,2-2 99 0</inkml:trace>
  <inkml:trace contextRef="#ctx0" brushRef="#br0" timeOffset="146310.54">8036 6667 1036 0,'-10'0'287'15,"10"0"-44"-15,-5 3-23 16,2 2-7-16,-2 1-27 0,5 0-17 0,-2 1-7 0,2 2-34 15,0 1-5-15,0 1-6 0,2 1-22 16,-1 2 10-16,1-2-18 0,3 1-5 16,-2-1-36-16,4 0 0 0,-2-2-5 15,1 1-5-15,-2-1-5 0,4-3-3 0,0 0-16 0,0-3-1 16,-3-1 7-16,3 1 15 16,2-2-10-1,-2-3 13-15,-1-2-3 0,1 0 23 0,2-3-4 0,-2 0-4 0,0-1 26 0,-1 0 16 0,-1-3-11 16,1 1 80-16,-4-1-10 0,-1 1-14 15,1-2-9-15,-3 0-1 0,0-1-12 16,-3 2-90-16,0-1 10 0,-2-1 0 0,0 0-5 0,-2 3 1 16,-1 0-9-16,0 1 24 15,1 1-24-15,-3 0-2 0,1 2 15 0,1-1-23 16,-1 2-2-16,1 3-18 0,0-1-13 0,0 2-3 16,1 1-12-16,-1 0-24 0,3 0-30 0,0 3-18 15,-2 3-15 1,3-3-52-16,0 3-86 0,1 0-121 0,0 0-26 15,3-1-435-15,0 0 62 0,3-1 130 0,-3 1 44 16,5-2 69-16</inkml:trace>
  <inkml:trace contextRef="#ctx0" brushRef="#br0" timeOffset="147131.62">7749 7244 965 0,'6'-12'350'0,"4"5"-32"0,5-1-24 16,6-4-41-16,9-5-17 0,1-2-24 0,4-1-15 0,2-2-17 15,1 2-19-15,-2-1-10 16,2-1-23-16,-1 3-26 0,1-2-5 0,0-1-20 16,-2 3-20-16,-3 0-27 0,1 4-40 0,-3-2-33 31,-6 4-32-31,-7 5-42 0,0-1-101 0,-5 2-69 0,0 1-529 0,-3 4 73 0,-2-1 132 16,-3 1-1-16</inkml:trace>
  <inkml:trace contextRef="#ctx0" brushRef="#br0" timeOffset="147383.41">7821 7289 829 0,'-3'4'307'0,"3"-4"-33"0,0 0-23 16,0 0-8-16,16-10-33 0,-4 4-16 15,4-1-12-15,5-2-26 0,1-1-15 0,12-5-16 16,-3-2-12-16,0-1 59 0,2 1-21 0,0 0-13 15,-3-2-18-15,-1 2 0 0,0 0-22 16,-4 4-22-16,-4 1-14 0,-1 1-24 16,-2 0-17-16,-3 0-31 0,1 5-31 0,-1-2-29 15,-3 0-29-15,-1 1-78 0,-1 1-71 0,-2 0-98 16,0 3-460-16,0-2 69 0,-3 0 92 16,2 2 58-16</inkml:trace>
  <inkml:trace contextRef="#ctx0" brushRef="#br0" timeOffset="177277.18">8872 6801 757 0,'0'0'238'0,"15"-5"-48"0,-7 3 55 0,-2-2-4 16,1 1-26-16,1 2-20 0,2-3-9 15,0-2-35-15,1 3-2 0,1-1-16 0,1-1-26 16,-2 3-14-16,1-2-22 0,-2 1-14 0,-1-1-29 16,0 3-44-16,0-1-30 0,1-1-38 15,-3 3-72-15,0-3-54 0,1 1-515 0,0 2 42 16,-8 0 51-16</inkml:trace>
  <inkml:trace contextRef="#ctx0" brushRef="#br0" timeOffset="177540.37">8823 6912 829 0,'0'0'225'0,"0"0"8"0,0 0-41 16,0 0 64-16,15 0-26 0,-15 0-15 0,18-4-23 15,-9 2-23-15,6 1-15 0,0-4-11 16,3 0-25-16,0-1-3 0,0-1-15 0,2 2-23 16,-2-1-6-16,3 0-35 0,-1-1-28 15,-2 1-77-15,0-1-80 0,1-7-89 0,-2 8-509 16,-3 1 66-16,-2-2 13 0,4 0 74 0</inkml:trace>
  <inkml:trace contextRef="#ctx0" brushRef="#br0" timeOffset="177855.99">9003 6625 816 0,'0'0'251'0,"0"0"-18"0,0 0-8 0,13 5-28 0,-3-3-13 0,0-1-17 0,6 2-11 15,-1-2-18-15,5 4 6 0,-2-3-6 16,3 0-18-16,0 3 3 0,1 0-5 0,-1-2-29 16,0 2-4-16,-1-2-8 0,-4 0-8 0,1 3 0 15,-1 1-10-15,-3-1-3 0,-3 1 3 0,-2 4 5 16,-3-1-13-16,0 0-15 0,-3 2-5 15,-2 1 12-15,-5 4-35 0,0 1-8 0,0-1-23 16,-6 3-23-16,1 0-13 0,-2-2-67 0,-1 1-114 16,-7 6-126-16,9-6-435 15,1-5 79-15,0-1 95 0,-1-1 53 0</inkml:trace>
  <inkml:trace contextRef="#ctx0" brushRef="#br0" timeOffset="180789.9">9731 6664 760 0,'0'0'315'0,"0"0"-13"0,0 0-49 0,0 0-17 0,0 0-16 16,0 0-16-16,0 0-24 0,0 0 1 0,0 0-27 15,-5 16-18-15,5-8 17 0,-2-2-35 16,1 6-13-16,1-3-5 0,-2 5-18 0,-1-1 0 16,3 1-6-16,-3 0-9 0,1 3-6 0,0-2-7 15,-1 1-16-15,0-3 83 0,1 2-24 16,2 0-10-16,-3-2-15 0,1 0-1 0,1-5-4 15,1 2-8-15,0-1-5 0,0-3-8 16,0 4-8-16,0-4 3 0,3 0-3 0,0-2-7 16,0 1 13-1,2-2-14-15,-1 0-22 0,2-1 7 0,-1-2-17 0,3 2-11 0,0-2-20 16,-1-2-1-16,3 0-17 0,-2 0-18 0,2-2-20 16,0 2-32-16,0-1-76 0,1 0-64 15,-3-1-136-15,0 1-465 16,2-1 101-16,-5 2 27 0,2-2 109 0,-1 2 124 0</inkml:trace>
  <inkml:trace contextRef="#ctx0" brushRef="#br0" timeOffset="180993.24">9731 6901 788 0,'-5'-2'335'0,"5"2"-38"16,-2-4-26-16,2 4-32 0,2-6-19 0,-2 6-23 15,8-7-23-15,-4 1-10 0,4 1-18 0,0-1-19 16,2 2-9-16,-1-4-15 0,3 0-19 16,-2 2-28-16,0 0-17 0,1-2-37 0,1 3-96 15,-2-2-70-15,-4 1-179 0,4 1-428 0,-2 3 78 16,-3-4 60-16,1 2 70 0</inkml:trace>
  <inkml:trace contextRef="#ctx0" brushRef="#br0" timeOffset="181335.05">9636 6767 903 0,'0'0'323'0,"6"-9"-47"0,1 6-5 0,-2-3-43 15,5 0-23-15,3-1-16 0,0 0-25 0,5-2-15 16,5 0-32-16,0-2-47 0,0 0-12 15,11-3-32-15,-7 3-49 0,7-1-62 0,-1-2-27 16,-7 6 12-16,-1 1-15 0,-1-3 23 16,-6 5 25-16,0-2 13 0,0 1 21 0,-6 1 15 15,1 3 39-15,0-1 40 0,-5 0 34 0,-1 2 33 16,-1 1-26-16,-6 0 13 0,10 6 8 16,-7-3-20-1,-1 2 17-15,1 2 0 0,-1 2-28 0,-2 0-2 0,0 3 0 0,-2 0-14 0,-1 1-1 16,1 6-14-16,1-1 3 0,-4-1 8 15,2 1-36-15,1 1-24 0,-3-3-53 16,2 2-43-16,-2 1-131 16,0-5-51-16,1 2-566 0,0-3 74 0,2 0 70 15,-1-2 94-15</inkml:trace>
  <inkml:trace contextRef="#ctx0" brushRef="#br0" timeOffset="181581.15">9944 6731 1141 0,'0'0'369'0,"0"-4"-44"15,0 4-8-15,0 0-35 0,0 0-11 0,0 0-15 16,0 0-41-16,18 7-2 0,-11-2-34 0,1 1-3 16,0-1-20-16,2 1-7 0,0 1-24 15,1-1 3-15,1 0-38 0,-2 1-13 16,1-2 20-16,-1 2-18 0,0 0-43 0,1-3-23 15,-1 2-18-15,-2-3-21 0,0 3-40 0,1-3-37 16,0-1-22-16,-2-1-90 0,1 3-74 16,2-4-579-16,-2 0 105 0,2 0 34 0,0-3 119 15,-2 1 70-15</inkml:trace>
  <inkml:trace contextRef="#ctx0" brushRef="#br0" timeOffset="182339.12">10323 6608 1256 0,'-5'0'402'0,"5"0"-46"0,-7-2-34 0,7 2-19 16,-11 3-32-16,6 1-18 0,0 2-17 0,0 0-39 16,0 2-21-16,-1 2-9 0,1 1-11 15,-2 3-13-15,4-1-27 0,-2 2-6 0,3 1-8 16,-1 2-10-16,0-3-15 0,1-2 13 15,2 0-29-15,0 2-7 0,2-2-11 0,-2-3-12 0,3 1 10 16,0-1-36-16,-1-1 13 0,3 0-10 16,0-2-19-16,0-1 4 0,1-3-1 0,1 1-7 15,1-2 2-15,-1-2-8 0,3 0 26 0,-1-1-20 16,1-1-3-16,0-4 13 0,3 2-5 31,-5-4 0-31,2 1 10 0,0-2 2 0,-2 0 1 0,0-1 7 0,-1-3-5 0,1 1-10 16,-3 1 15-16,-2 0 6 0,2-1-4 15,-2-1 6-15,-1 1 28 0,0 0-12 0,1-1 4 16,-3 1 18-16,3-1-25 0,-3-2 7 0,2 5 19 16,-2-1-14-16,0 0-7 0,2 2 8 15,-2-1-90-15,0 2 17 16,0 2 14-16,0 1 20 0,3-1-10 0,-3 1-5 0,0 2 25 0,0 3-15 16,0-5 8-16,0 5 2 0,0 0-5 15,0 0-2-15,1 13-1 0,-1-7 1 16,0 3-11-16,0 0 24 0,0 1-1 0,0 0-18 15,0 2 14-15,2 0-9 0,-2 4-4 0,0-2 2 0,-2-1-13 16,4 1 0-16,-2 1 13 16,0-5-10-16,0 2 12 0,0-1 1 0,0-2-13 0,2 0 2 15,-2-2 18-15,0 0 13 16,0 0-18-16,3-3 21 0,-3 0-8 0,0 1 7 0,0-2 6 16,0-3-23-16,5 3 30 0,-5-3-10 0,0 0-2 15,0 0 2-15,0 0 21 0,13-6-49 16,-8 5 23-16,-5 1-10 0,8-2 7 0,-5 0 1 15,-3 2-6-15,10-2-2 0,-10 2 12 16,12 2-17-16,-4 0 5 0,0-1-16 0,2 1 3 0,-3 1 36 16,1 0-46-16,2 0 30 15,-2 0-35-15,0 1 0 0,0-3-6 16,-1 4-22 0,1-3-34-16,-3-1-13 0,2 3-20 0,-1-3-20 0,-1 0 2 0,0 0-28 15,0 1-16-15,3-1-15 0,-8-1-18 0,13 0-48 0,-8 0-103 16,0-3-87-16,3 2-399 0,0 0 41 0,0 1 138 15,2-5 31-15,-3 4 84 0</inkml:trace>
  <inkml:trace contextRef="#ctx0" brushRef="#br0" timeOffset="183248.25">10772 6703 1095 0,'-5'-2'317'15,"5"2"-48"-15,0 0-5 0,-10 0-41 0,10 0-8 0,-8 6-26 16,5-5-12-16,-1 5-8 0,-2 0-26 0,1 0-5 16,2 0-20-16,-1 2 12 0,1 1-30 15,-2-2-5-15,4 1-18 0,-1 1-6 16,2-1-7-16,-2-1 6 15,2 0-14-15,2 0-2 0,-2-2-1 0,2 1-12 0,-1 1-2 0,1-4 4 16,3 0-12-16,-2-2-6 0,-1 2 9 16,4-2-11-16,-6-1 0 0,10 0 10 0,-10 0-5 15,10-1 0-15,-5-4 26 0,0 0-31 0,0 2 0 16,0-2 34-16,-2-2-11 0,0 1 56 16,-1-3 11-16,1 1-8 0,-3 3-16 15,2-3 3-15,1 2-2 0,-3 1-34 0,0-2 42 0,3 4-55 16,-3-2 21-16,2 1-15 15,-2 1-3-15,0 3-16 0,0-5 17 0,0 5-17 16,0 0 6-16,0 0-3 0,0 0 3 0,0 0-26 16,0 0 1-16,0 0-9 0,0 0 26 0,5 8-22 15,-5-8-17-15,3 6 4 0,-3-6-9 16,2 4 14-16,-2-2-6 0,3 2 13 0,-3-4-7 16,3 3 7-16,-1 0-5 0,-2-3 2 0,3 3-17 15,-1 1 10-15,-2-4-5 0,5 1-1 16,-5-1 6-16,3 4-8 0,-3-4 6 0,5 3-9 15,-5-3 21-15,3 4-7 0,-1-2 12 16,-2-2-25-16,0 0 12 0,5 4 13 16,-5-4-15-16,3 1 13 0,-3-1-5 0,5 3-3 0,-5-3-3 15,0 3 8-15,0-3-13 0,5 2 14 0,-5-2-4 16,0 0-12-16,0 0 0 0,0 0 15 16,5 4 8-16,-5-4-1 0,0 0-12 0,3 2 59 15,-3-2-46 1,0 0 8-16,0 0 9 0,0 0-7 0,0 0 3 0,0 0 2 0,7-8-10 15,-7 8 0-15,3-6-8 0,0 5-2 16,-1-3 15-16,-2 4-13 0,5-5 18 16,-2 3-87-16,-3 2 8 0,5-6 18 0,-2 6-3 0,-3 0 0 15,5-2 23-15,0-1 1 0,-5 3-17 0,5-1 24 16,-5 1-5-16,0 0 23 0,13 1-39 0,-13-1 16 16,7 3-5-16,-4-2-1 0,-3-1 27 15,7 1-9-15,-7-1-20 0,6 4 13 16,-1-2 0-16,-5-2 13 0,3 3 4 0,-3-3-14 15,4 3-1-15,-4-3-7 0,3 1 23 16,-3-1-8-16,0 0 3 0,5 4 7 0,-5-4-10 16,0 0 3-16,5 0-8 0,-5 0 31 0,0 0-29 15,0 0 21-15,0 0-5 0,0 0 18 0,0 0 53 16,8 1-4-16,-8-1-3 0,0 0-10 16,0 0-6-16,6-5 16 0,-6 5-28 0,0 0-8 15,7 0 8-15,-7 0-24 0,0 0 21 0,7 0-10 16,-7 0-12-16,0 0 17 0,8 0-18 0,-8 0-18 15,8 0-5-15,-8 0-25 16,5 0-34-16,-5 0-7 0,8 0-34 0,-8 0-38 16,7 4-26-16,-7-4-25 15,8 0-18-15,-5 1-34 0,-3-1-51 0,12-1-179 0,-9-2 8 0,2 2-471 16,5 0 100-16,-4-4 46 16,1 4 73-16,1-5 140 0,2 1 17 0</inkml:trace>
  <inkml:trace contextRef="#ctx0" brushRef="#br0" timeOffset="183696.56">11200 6670 1057 0,'0'0'289'0,"0"0"-25"0,-3-2-8 16,3 2-6-16,0 0-6 0,0 0-35 15,-7 0 60-15,7 0-21 0,0 0-27 16,0 0-1-16,-7 7-18 0,6-2-18 0,-1-1-2 16,2 4-18-16,0-1-5 0,-3 1-1 0,3 3-30 15,0 1 18-15,0 3 13 0,0-2-44 16,0 2-28-16,0 0 3 0,0 2-6 0,0-2 3 15,-2 4-31-15,-1-1-10 0,-2-1-7 0,2-1-14 16,1-1 4 0,-1-1-11-16,0-2-1 0,1-3 17 0,0 2-21 15,-2-3-19-15,2 0-17 0,2-5-12 0,0 3 19 0,0-2-7 0,0-4-18 16,0 0 10-16,0 0-12 0,0 0 10 16,8-12-8-16,-6 3-26 0,4-1 13 15,-4-2-2-15,3-4 10 0,0 0 10 0,-2-2-20 16,3 0 20-16,-2 1 5 0,2 1-12 0,-2 0 12 15,-1 3 6-15,2 2-1 0,-3 2-7 16,2 0 25-16,-2 2 8 0,0 5 8 0,-1-3 12 16,-1 5 13-16,0 0 1 0,0 0 2 0,0 0 38 15,7 11-41-15,-7-4 3 0,0-2 18 16,1 4-8-16,1-3-10 0,-2 4 2 0,5-2 16 16,-2-2-18-16,-1 1-16 15,3-1 8-15,-2 0-7 16,1-1-19-16,2 2-2 0,-1-3-15 0,2-1-21 0,-1 1-13 0,4-3-40 15,-5-1-8-15,5 0-55 0,0-2-86 16,1-3-125-16,2 0-566 0,0 1 76 0,2-3 126 0,8-1-17 16,8-7 122-16,-2-2 61 0</inkml:trace>
  <inkml:trace contextRef="#ctx0" brushRef="#br0" timeOffset="184273.57">11782 6604 1351 0,'0'0'392'0,"0"0"-21"0,0 0-44 0,0 0-25 0,-8 9-40 16,8-3-27-16,-2 5-7 0,4 2-28 0,-2 0-32 16,0 5-1-16,1 2 4 0,1 5-50 0,0 1-14 15,1-1-30-15,-2 1-41 0,1 1-13 0,3-1-31 16,-5-1-30-16,3-4-6 0,4 2-25 16,-4-4-31-16,-1-1-20 0,3-3-49 0,-2-2-23 15,0 2-69-15,2-6-74 0,-2 3-474 0,1-2 59 16,-1-5 107-16,-1 0 21 0</inkml:trace>
  <inkml:trace contextRef="#ctx0" brushRef="#br0" timeOffset="186760.43">11813 6908 1103 0,'-5'-18'363'0,"2"4"-17"0,1-4-106 0,-1 4-9 16,3 1-6-16,0 0-7 0,0 0-21 15,0 0-13-15,0 2-13 0,0 0-4 16,3 3-26-16,-1-2-6 0,0 3 47 0,1 1 7 15,2 1-27-15,-2 2-14 0,3 2-10 0,1 1-2 16,-7 0 7-16,10 2-20 0,-5 4-23 16,1-1-8-16,-2 2-23 0,-1-1 23 0,0 2-17 15,-1 2 14-15,0-2-20 0,-2 3-20 0,0-3 0 16,-2 3-11-16,0-3-7 0,-1 2-3 16,3-2-13-16,-5-2 1 15,3 2-14-15,-2-3-12 0,2 0-28 16,0 1-1-16,-1-3-4 0,0 0 4 0,3-3-9 0,-4 2-9 0,4-2-7 15,0 0 8-15,-6-9 15 0,6 3-10 16,-2-3-5-16,2 1 4 0,0-3-1 0,0 2-1 16,2-2 13-16,1 0 8 15,0 2-3 1,1-2 26-16,2 2-24 0,-2 0 4 0,4 1 19 0,-2 1-17 0,1 1 15 0,-1 1 6 0,2 1 2 16,2 1 5-16,-3 3 2 0,3-1 16 15,1 2-10-15,-4-1-1 0,3 3-12 0,-2 1 13 16,0-2 18-16,-3 3-14 0,3 0-9 0,-1 1 10 15,-2-1-3-15,-1 1 5 16,0 0 8-16,2-1-10 0,-2 0-13 0,-4 1 10 0,3-1 1 0,0 1 1 16,-1-4-6-16,0 2 17 15,-2-1-11-15,0-3 9 0,3 5-1 0,-3-5-9 16,5 1 4-16,-5-1-2 0,0 0-8 0,0 0 5 16,8-8 26-16,-5 6-31 0,2-3 3 15,-2-1 15-15,1-2 0 0,-1 0-23 0,2 0 8 16,3 0-14-16,-3-2-4 0,2 3 10 0,-1 1-8 15,-3 1-7-15,4-2 18 0,-4 4-24 16,2-1 14-16,-2 2 1 0,-3 2 6 16,7 0 0-16,-7 0-2 0,0 0 2 0,13 3-8 0,-10 2 6 15,4-1-14-15,-4 0 9 0,5 1-4 0,-4-1 9 16,2 1-3-16,-2-2 10 0,2 2-3 16,-1-2-7-16,3 1 5 0,-1 0 3 15,-2-2-1-15,3-2 1 0,0 1 2 0,-3-1 8 16,-5 0-13-16,13-1 20 15,-5-1-9-15,-3-2-6 0,2 0 28 0,-2 1-25 0,-2-2 17 16,2 2 14-16,-3-2-24 0,2-1 5 16,-2 0 9-16,-2 1-14 0,0-1 0 0,0 1 11 15,-2 1-11-15,-1 0 11 0,0-2-13 0,-2 4-1 16,2-2 4-16,-1 3-19 0,-2 0 11 16,6 1 23-16,-10-1-36 0,2 1 20 0,1 2-25 15,1-2 7-15,-1 5 16 0,2-3-11 16,-1 3-12-16,1-4 31 0,0 4-39 0,3-2 13 15,1 1-3-15,-1-2-10 0,0 2 15 0,2-4 3 16,0 4-7-16,0-4 4 16,5 3-10-16,-5-3 16 0,5 0-6 15,-5 0 6-15,7 0 2 0,-7 0-18 0,13 0-2 0,-8-1 15 16,1-1-10-16,-1-1 7 0,3-2-12 0,-1 3-18 0,1-2-11 16,-1 1-5-16,1-2 6 0,0 3-19 0,0-3 4 15,-3 1-6-15,3 2 10 0,-1-3-3 16,1 3 14-16,-3-2-8 15,3 1 10-15,-3-1-5 0,0 3 12 0,0-4-1 0,2 5 14 0,-4-2-15 16,3-1 21-16,-4 1 0 16,3 1-6-16,-5 1 11 0,7-5-3 15,-3 4 16-15,-4 1-14 0,4-2 17 0,-4 2 4 16,6-3 26-16,-4 2-18 0,-2 1 5 0,3-4 10 0,-3 4 8 16,5-2 7-16,-5 2-4 0,2-2-11 15,-2 2 6-15,3-4 17 0,-3 4-7 0,0 0 12 16,2-2-5-16,-2 2-17 0,0 0 20 15,3-4-13-15,-3 4-16 0,0 0-1 0,0 0-1 16,0 0 5-16,0 0 10 0,0 0-22 0,0 0-3 16,0 0 5-16,-15 7 3 0,12-4-24 0,1 0 26 15,-1 2-2-15,0-4-16 16,1 4-2-16,0 0 7 0,-2-2-15 0,2 3 0 16,2-2 26-16,0-1-19 0,-2 3-9 15,4-1-1-15,-2 1 19 0,2 0-27 0,-1 0 11 0,4 0 0 16,0 1 13-16,-2 0-18 0,2-1 33 15,0 2-15-15,0 2-13 0,1-1 8 16,1 1-16-16,-2-1 23 0,0 2-2 0,0 1 8 0,-2-1-24 16,-1 0 3-16,1-1 5 0,-3 1 8 0,0 0 0 15,0 2 18-15,-3-1-21 0,0 0-5 16,-1 1 5-16,1-4-15 0,-4 2 5 16,4-4-15-16,-2-1 7 15,2 2-28-15,-2-2-7 0,0-1-19 0,0 0-27 0,2-4-21 0,-2 0-6 16,5-1-30-16,0 0-33 0,0 0 0 15,-13-5-36-15,11 2-38 16,2-2-21-16,-3-3 8 0,3-3 20 0,0 2 33 0,0-2 55 0,0-2-6 16,0-2 56-16,0 1 29 0,3 0 30 15,1-3 49-15,0 1 11 0,0-1 24 0,-1 4 17 16,2 1 19-16,-2 0 6 0,2-1 2 0,-2 2 29 16,1 4-18-16,2-1 9 0,-4 2 6 15,4 0 0 1,-2 1 5-16,-1 3-2 0,4 2-11 0,-4-3-7 0,-3 3 2 0,13 3-5 0,-8-2-21 15,0 1 4-15,0 2 4 0,1-2-20 16,-2 3 4-16,2 0 9 0,-1 1-6 0,2-3-15 16,-4 3-10-16,2-1-15 0,0 1 22 15,-1 1-9-15,0-3-11 0,-1-1 5 16,0 2 8-16,-1-2 7 0,0 1 16 0,1-3-21 16,-3 3 44-16,0-4-18 0,5 2 0 15,-5-2 8-15,0 0 7 0,0 0-22 0,8-7-11 0,-6 5 13 16,1-3-16-16,2-1-5 0,-2 0-9 15,4-2 22-15,-2 2-31 0,3-3 8 16,2 1-10-16,-2 2-18 0,2-1-7 16,1 0-24-16,1 2-28 0,-1-2-7 0,4 3-19 0,-2 1-12 15,-1-1-21-15,2 1-12 0,-1 0-19 0,2 1-17 16,-5 2-21-16,5-1-46 0,-4-3-13 0,1 3 34 16,1-1 25-16,-5-1 23 0,2 1 13 0,-2-2 33 15,0 4 52-15,0-2 27 16,-1-3 47-16,0 4 25 0,-1-4 18 15,-1 0 24-15,0 3 19 0,-2-2 1 0,2 1 23 0,-3-1-18 16,-2 4 2-16,1-5 39 0,1 2-34 0,-2 3-7 16,0-4-26-16,0 4 29 0,0 0-21 0,0 0 10 15,0 0 3-15,0 0-24 0,0 0-2 16,-15 5-12-16,11 0-4 16,0 0 1-16,-1-2 0 0,2 2-21 0,-2 2 0 0,2-2-4 15,1 2 12-15,0-2-21 0,2 2 11 0,-1-2-11 16,-1 2 3-16,2-1-12 0,0-1 17 15,2-1-23-15,-1 1 8 0,1-1 2 0,0-2-20 16,1 2 0-16,2-2 10 0,-5-2 5 16,10 1-10-16,-10-1-8 0,8-1 24 0,-8 1-14 15,11-4-4-15,-7 2-6 0,2 0 26 16,1-2-13-16,-4 0 16 0,2 0-16 0,0-1-5 0,-2 0 15 16,-1 2-10-16,3-2-2 0,-2 1 30 15,-1 2-13-15,1-3-12 0,-1 3 0 16,-2 2 0-16,3-5-1 0,-3 5-7 0,0 0 16 15,5 0-16-15,-5 0 2 0,0 0 19 0,0 0-14 16,0 0 16-16,0 0-12 0,3 7-19 0,-3-7 3 16,0 5-3-16,0-5 6 0,2 5-6 15,-2-5 5-15,3 3 3 0,-3-3 0 0,0 4 0 16,0-4 16-16,3 2 2 0,-3-2-18 16,2 4 28-16,-2-4-33 0,0 0 5 0,0 0 2 15,5 1 8-15,-5-1 8 0,0 0-15 0,0 0 17 16,11-5 9-16,-11 5-14 0,5-5 0 0,0 4-7 15,-3-1 5-15,3-3-59 16,-2 4-3-16,2-1 5 0,1-1 9 0,-2 0 22 0,2 0-20 16,-2 2 10-16,-4 1 5 0,8-1-8 0,-8 1 16 15,11 0-3-15,-11 0 8 0,8 1-3 16,-8-1 11-16,7 1-3 0,-4 0 7 0,1 2-12 16,-4-3 13-16,8 2 0 0,-6 2 4 15,2-3 4-15,-2 1-9 0,1 2 24 0,-1-2-13 16,1 2-15-16,-3-4 17 0,3 5-10 15,1-3 11-15,-1 0 7 0,-3 2-2 16,0-4 7-16,5 5-41 16,-3-3 31-16,-2-2-12 0,4 4-6 0,-4-4 15 0,4 1-5 0,-4-1 9 0,0 0-22 15,0 0 6-15,0 0 22 0,0 0 14 16,10-1-11-16,-10 1-23 0,6-6 21 0,-3 2 54 16,1 2-6-16,-1-3 0 0,0 4-15 15,2-3-2-15,-2 1-3 0,1 0-26 0,-1 1 21 0,2 1-6 16,-5 1-25-16,8-4 13 15,-8 4-13-15,8 0 18 0,-8 0 10 0,7 4-12 16,-2-4-11-16,0 3 8 0,-5-3 2 0,6 4-33 16,-2-3 21-16,0 3 12 0,-2-2-25 15,-2-2-5-15,5 2 30 0,0 1-10 16,-5-3 6-16,5 2 30 0,-5-2-21 0,5 2-20 0,-5-2 44 16,8 0-21-16,-8 0 2 0,8-1 32 0,-8 1-1 15,10-2-25-15,-5 2 18 0,0-1-24 0,0-2 26 16,3 2-4-16,-3 0-30 15,1 1-57-15,-6 0 32 0,14 0-15 0,-8-1-15 16,-1 1-8-16,2-1 10 0,-7 1-28 0,11-3-36 16,-4 2-23-16,-1 1-18 0,-1-2-56 0,3-1-53 15,-1 0-50-15,0-1-33 16,1 1-68 0,-2 0-198-16,1-3-499 0,1 5 102 0,0-1 95 0,0-2 105 0,-1 3 69 0,1-1 82 0,2 0 100 15</inkml:trace>
  <inkml:trace contextRef="#ctx0" brushRef="#br0" timeOffset="186897.99">13505 6646 783 0,'8'0'345'0,"-8"0"57"0,0 0-41 0,0 0-23 0,5-1-31 0,-5 1-46 15,0 0-41-15,7-1-53 0,-7 1-65 16,3-2-102-16,-3 2-207 0,3-3-623 0,-3 3 83 16,0 0 66-16,3-3 113 0</inkml:trace>
  <inkml:trace contextRef="#ctx0" brushRef="#br0" timeOffset="193256.68">9808 7407 1169 0,'-2'-6'333'0,"1"2"-13"0,-1 1-36 16,2 3-25-16,0-6-21 15,-3 4-28-15,3 2 2 0,0 0-43 0,-2-4-13 16,2 4-13-16,0 0-20 0,-1 11-2 0,-1-5-16 0,2 2-13 16,0 1 8-16,2 1-21 15,-2 3-7-15,3-2-1 0,0 6-25 0,-1-3-2 16,1 0-8-16,0-2 7 0,-1 2-15 0,3 1-5 16,0-4-20-16,0 1 7 0,3-1 0 15,-2 0-27-15,1 1 6 0,0-5-9 0,1 1 7 16,0 1-7-16,0-5 7 0,-1 1 2 0,3-5-14 15,-2 1 25-15,2-2-13 16,-2 1-2-16,0-4 10 0,0 1-3 0,2-3 8 0,-2 0 0 16,0-1 0-16,-1-4 0 0,-4 2 13 0,2-1-11 15,-3-3-2-15,-2 0 13 0,0 1-3 16,-2-1-2-16,-3-5 15 0,2 5-18 16,-2 1 5-16,0-1 6 0,-1 0-19 15,-1 6 8-15,2-4 13 0,-1 5-13 0,-1 0 6 0,2-1-9 16,0 6-2-16,-1-2 13 0,-1 1 7 15,2 2-17-15,5 0-6 0,-13 2 1 0,10 1 2 16,-2-2-3-16,0 0 8 0,5-1-2 0,-5 6-8 16,5-6-3-16,0 4 11 0,0-4 2 15,0 0-8-15,0 0 11 0,10 2-8 0,-5-2 0 16,3 0-15-16,2 0 12 0,-2 0 13 16,3 0-15-16,-1 0 21 0,2 0-14 0,-2 4-10 0,1-3 6 15,-1 1 4-15,0 2-12 16,0-2 0-16,1 3 20 0,-1 0-7 15,0 1 10-15,0 0-11 0,-2-3-4 0,-2 2-1 0,-1 2 3 16,2-3-3-16,-2 2-2 16,-1-3 33-16,0 3-12 0,1-2 9 0,-2-1 1 0,2 1 12 15,-2 0 14-15,-1-1 9 0,0-2-7 0,-2-1 2 16,6 3 98-16,-6-3-24 16,0 0-4-16,0 0-6 0,12-6-20 0,-9 2 0 0,2 2-8 15,-2-4-15-15,2 2-21 0,2-3 28 16,-1 1-32-16,2 3 4 0,-3-2-13 0,2 0-12 0,1 3 20 15,-3-1-30-15,3 2 15 16,0 1 10-16,-1 1-28 0,1 2 7 0,2-1-33 0,-2 3 3 16,2-3-15-16,-2 4-54 0,-3-1-21 15,2-1-25-15,-1 3-57 0,-1-3-35 0,0 1-129 16,-8 1-186-16,9 0-461 16,-4-5 102-16,1 4 149 0,-1-5 25 0,-2 0 131 0,8 2-20 15</inkml:trace>
  <inkml:trace contextRef="#ctx0" brushRef="#br0" timeOffset="193672.63">10328 7182 1075 0,'-2'7'312'0,"2"3"-20"0,2 2-29 0,1 2-20 0,0 3-22 0,-1 3-24 15,4 1-18-15,1 3-3 0,-2 0-40 16,0 0-13-16,1-4-8 0,4 2 6 0,-3-5-19 16,1 0-23-16,-1-4-7 0,-1 0-34 15,2-1 1-15,-1-4-19 0,1 2-2 0,0-4 15 16,0 0-25-16,-1-4 0 0,0 2 2 0,-1-4 16 16,-1 0 4-16,3-4-4 0,-1 1 5 0,-2 0 15 15,1-4 2-15,-1 1-2 0,2 0 16 16,-4-1 2-16,2 1-5 0,-3-1 0 15,1 1-8-15,2 2 3 0,-2 2 15 0,-1-3-13 16,1 4-7-16,-3 1-11 0,0 0 21 0,0 0-11 16,11 6-22-16,-9-2 10 0,3 2 2 15,-2-2-15-15,-1 2-5 0,0 1-25 16,1-1-24-16,0 3-31 0,-1-4-22 0,1-1-41 0,-3 2-75 16,2 0-105-16,1 0-493 0,0-2-6 15,2-2 97-15,-3 0 16 0,1 1 64 0</inkml:trace>
  <inkml:trace contextRef="#ctx0" brushRef="#br0" timeOffset="193790.03">10549 7256 747 0,'0'0'148'0,"0"0"-99"16,-7 1-136-16,7-1-479 0</inkml:trace>
  <inkml:trace contextRef="#ctx0" brushRef="#br0" timeOffset="194299.71">10649 7301 988 0,'3'6'407'0,"-1"0"-8"0,0 1-46 0,1 0-53 0,2 2-11 16,-2 0-23-16,2-2-28 0,0 4-13 0,0-3-17 0,-2 3-32 0,2-3-14 0,-2 3 6 0,1-1-22 0,-1-3-18 15,2 1-18-15,-2 1 26 0,0-1-36 0,1-2-16 16,-1 0 42-16,0-3-93 0,-1 2 0 0,-2 0 24 16,3-2 2-16,-3 0 7 15,0-3 88-15,5 2-26 0,-5-2-23 0,0 0 28 16,0 0-26-16,10-5-27 0,-7 2 1 0,-1-1-14 15,1 3 2-15,2-5 8 0,-3 5-16 0,1-3 11 0,2 2-34 16,-2-2-9-16,-3 4 4 16,7-2-5-16,-4 1-5 0,-3 1 0 0,8-1 13 15,-8 1-5-15,10 0-16 0,-10 0 13 0,10 0-18 16,-4 0 6-16,-1-3-14 0,2 2 29 16,-2 0-28-16,3-1 4 0,0-2 6 0,0-1-5 15,-1 2-8-15,1-4 13 0,-1 2-93 16,-4-2 14-16,3 0-6 0,1 0 26 0,-4-1-3 0,-1 1-4 31,0 1 4-31,-2 0 23 0,0-1-20 0,1 2 13 0,-1-1-8 0,-1 3 15 16,1 3 24-16,0-5-37 0,0 5 16 0,0 0-18 15,0 0 3-15,0 0 25 0,-7 8-10 0,7-2 5 16,0 1 8 0,0 3-5-16,0-3 7 0,0 0-28 0,3 1-28 0,1 1-41 0,-1-2-36 15,2 0-33-15,1 0-28 0,-1-4-72 16,3 0-145-16,-1-3-12 0,4 1-475 0,3-1 80 15,-3 0 91-15,7-1 67 0,0-5 74 0</inkml:trace>
  <inkml:trace contextRef="#ctx0" brushRef="#br0" timeOffset="194413.11">11282 7355 880 0,'8'0'197'0,"-8"0"-20"0,5-3-34 0,-5 3-33 0,0 0-110 0,0 0-141 15,0 0-493-15,0 0 60 0</inkml:trace>
  <inkml:trace contextRef="#ctx0" brushRef="#br0" timeOffset="197104.6">9934 8001 1182 0,'0'0'387'0,"0"0"-21"0,-6-2-41 0,6 2-39 0,0 0-27 16,0 0-13-16,0 0-36 0,3 17-8 15,2-9-18-15,-2 1-15 0,2 2-18 0,0 3-15 16,0 1-19-16,0 0-91 0,0 3-16 15,0-1-51-15,1 1-5 0,-1-2-5 16,0 2-39-16,0-4-43 0,-2-1-36 0,1 1-84 16,-1-1-41-16,0-1-142 0,0-2-331 0,2 0 81 15,-3-2 81-15,0-3 50 0</inkml:trace>
  <inkml:trace contextRef="#ctx0" brushRef="#br0" timeOffset="197377.17">9897 7983 982 0,'3'-14'300'0,"2"2"-31"0,1 3-24 16,1-1-35-16,1 2-2 0,0-1-16 16,4 1-21-16,-2 2-15 0,3 1 3 0,0 2-31 15,-2-1-18-15,-1 3-8 0,-2 1 3 0,2 1-13 16,-3 3 1-16,-1-1-32 0,-1 2 8 15,-2 1 0-15,1 2-12 0,-4 1-11 16,-2-1 2-16,0 5-30 0,-2-1 3 0,0 0-21 16,-4 1-13-16,3 1-20 0,-5 0-26 0,2 0-36 15,0-2-25-15,0 0-75 16,1-2-58-16,-1 0-77 0,3 1-402 0,2-5 61 0,1 1 31 0,-1-4 51 16</inkml:trace>
  <inkml:trace contextRef="#ctx0" brushRef="#br0" timeOffset="198021.5">10149 7951 857 0,'0'0'292'0,"0"0"-16"0,0 0-35 0,0 0-11 16,-5 17-20-16,3-11-18 0,2 2-26 15,-4 1-9-15,4 1-22 0,-4 2-7 0,1 0-18 16,3 1-5-16,0-1 44 0,-3 1-14 15,1-2 1-15,2 1-36 0,2-3-5 0,-2 1 17 16,0-2-35-16,3-2-3 0,0 0-15 16,-1-1-8-16,0-3 6 0,-1 2-4 0,4-2 4 15,-5-2 14 1,0 0-12-16,13-6-5 0,-6 3 30 0,-2-2-14 0,1 0-1 0,1-3 5 16,-2 1-13-16,1-2-2 0,1 2 21 0,1-2-1 15,-1 1-100-15,1 0 14 0,-3 2 4 0,3 3-17 16,0-3 9-16,-3 2 4 0,2 2 2 15,1 0 2-15,-3 1 11 16,3 1-13-16,-2 3 7 0,1-1-2 0,-2 2-2 0,0-2 2 16,0 5 10-16,-2-1 56 0,0 0 1 0,-1 1 0 15,0-1-21-15,-1 0 7 0,-1 1-14 16,0-3 4-16,0 2 6 0,0-4-8 0,-1 3 20 16,1-5-2-16,0 6 3 0,0-6 12 15,-2 1 8-15,2-1 13 0,0 0-11 0,0 0-15 16,0 0-7-16,0 0 4 0,0 0-10 15,-5-12 11-15,5 9-31 0,0-2 0 0,3-1-1 16,-1-1-42-16,0-3-19 0,1 3-12 16,2-5-11-16,-2 3-23 0,2-2 11 0,2-2-21 15,1 0 5-15,0-2-15 0,2 1 15 0,-2 1 11 16,2-1-19-16,-2 1 24 0,2 0 2 0,-2 0-5 0,-1 4 33 16,1-3 1-1,0 5-11-15,-5 0 23 0,1 1-3 0,2 1 8 0,-4 1 13 16,1 1 16-16,-3 3 12 0,7 0-8 0,-7 0 24 15,6 7-8-15,-3-2 0 0,-1 1 17 16,3 1-17-16,-2 2 3 0,-1 1 30 0,3 0-41 16,-2-1 0-16,2 3-2 0,0 0-14 0,-2 0-4 15,2-1-23-15,-3-1-11 0,4 1-33 0,-4 1-28 16,1-2-25-16,2 0-55 0,-3-1-99 16,1-1-92-16,-1-3-88 0,1 2-491 0,0-4 124 15,-1 2 39-15,-2-1 119 16,2-2 95-16</inkml:trace>
  <inkml:trace contextRef="#ctx0" brushRef="#br0" timeOffset="198377.11">10482 8044 793 0,'-7'-1'407'0,"1"-3"-49"15,2 3-22-15,4 1-14 0,-6-1-109 16,6 1-16-16,-2-6-33 0,2 6-1 0,-1-5-17 0,1 5-18 16,6-6-2-16,-3 3-19 0,1-1-15 15,2-2-2-15,1 1-39 0,1 2-18 16,0-3-35-16,5 1-16 0,-3-3-3 0,0 0-27 0,8 0-26 15,-3-1-21-15,1-1 10 0,-1 1 19 16,1-1-19-16,1 0 11 0,-1 0 38 0,2-2-28 16,-5 0 23-16,2 1 13 0,-2 3 54 0,-1-4 15 15,-3 4 20-15,1-2 11 16,-2 4 30-16,-1-2 16 16,-2 2 2-16,0 0 11 0,0 0 10 0,-2 3-11 0,-1 0-2 0,3-3 10 15,-4 5-22-15,-1 1-4 0,7-1-2 16,-7 1-28-16,0 0-10 0,8 6-13 0,-5-3 7 15,1 2 3-15,2 2-17 0,-2 3 6 0,2-3-6 16,2 4-11-16,-1-1-11 16,-1 1-25-16,1-1-38 0,1-1-13 0,-3 2-44 0,0-1-40 15,3 0-52-15,0 0-76 0,-3-6-175 16,0 5-442-16,0-1 48 0,0-1 105 0,-2-1 62 16,2-1 76-16</inkml:trace>
  <inkml:trace contextRef="#ctx0" brushRef="#br0" timeOffset="198668.83">10828 7963 1034 0,'0'0'286'0,"-2"-7"-17"0,2 2-23 16,0 2-31-16,2-3 2 0,1 1-32 16,2-3 58-16,1 1-26 0,1-2-9 0,0 1-29 15,2-3-18-15,3 2-12 0,-2 0-9 0,0-1-24 0,1 0 9 16,-1 3-84-16,0 0 3 15,-2-2-14-15,0 3 14 0,-3 2-1 0,2 0 6 16,-1 0-6-16,1 2 9 0,-1 2 24 0,-6 0 47 16,10 0-15-16,-5 2 20 0,-2 2-28 15,1 0-1-15,2 0 1 0,-1 2-15 0,0 0-19 16,0 1-12-16,0-1 5 0,-2 2-26 16,2-1-12-16,-2 0-29 0,-1-1-33 0,4 1-38 0,-2 0-42 15,-1-1-83 1,0 1-119-16,-1-3-299 0,0 1-289 0,4-2 97 0,-4-1 72 0,1 1 102 15,-3-3 51-15</inkml:trace>
  <inkml:trace contextRef="#ctx0" brushRef="#br0" timeOffset="198794.31">11024 7805 837 0,'-6'-4'345'0,"3"1"-40"0,-4 0-24 0,4 1-56 0,-2 0-76 0,5 2-134 0,-5-3-194 0,0 3-522 0,5 0 109 15,-3-4-17-15</inkml:trace>
  <inkml:trace contextRef="#ctx0" brushRef="#br0" timeOffset="199527.91">11069 7765 949 0,'3'7'366'0,"0"-2"-18"0,-1 2-38 0,1 0-23 0,2 1-19 15,-3-1-32-15,4 2-13 0,1 0-21 16,-2-1-13-16,1 3-25 0,-2-3-10 16,2 2-19-1,-3-3-9-15,1 0-16 0,-1-2-18 0,2 2-5 0,-3-1 26 0,2-4-34 0,-2 3 18 16,0-1-2-16,0-1 5 0,2-2-44 0,-4-1-25 16,4 3 7-16,-4-3 6 0,0 0-8 0,11-4 10 15,-9 1-11-15,3-1 9 16,-2-2 0-16,2 0-11 0,0-1-8 0,1 2 1 15,1-1 20-15,-2-1-5 0,1 1-21 0,-1 1-9 16,2 2 17 0,-2-2 8-16,1 3-13 0,1-1-8 0,-4 2-7 0,1-1-6 0,-4 2 16 15,11 0-5-15,-11 0 5 0,10 2-5 0,-10-2 5 16,6 0-23-16,-6 0 17 0,7 2-12 0,-7-2 8 16,5 3 2-16,-2-2 18 0,-3-1 6 15,7 0-1-15,-7 0 31 0,0 0-15 0,6 2 63 16,-6-2 9-16,0 0 14 0,0 0-107 15,0 0 1-15,0 0 14 0,0 0-15 0,8-3-12 16,-8 3 25-16,2-5-36 16,-2 5 41-16,3-5-23 0,2 4 2 0,-5 1 4 0,5-2-9 15,0-1 0-15,-2 1 6 0,1 1 7 0,2-2-17 16,-1 1-11-16,0 1 0 16,0-2-10-16,3 0 2 0,-1-1-17 0,1 1 7 0,-3-1 0 15,3-2-7-15,-3 2-14 0,2 0-4 0,-1-2 25 16,-1-1-25-16,0 2 5 0,-2-1-1 15,2 0 11-15,-2 1-10 0,-1 2 7 0,0-2 16 16,1 4-3-16,-3 1-7 0,0-5-16 0,0 5 13 16,0 0 5-16,0 0 0 0,0 0 13 0,3 11 0 15,-3-11-3-15,0 8-38 16,0-2 15-16,2 0-38 0,-2 1-25 0,2-1-14 0,2 0-15 16,-2 1-30-16,0-1-24 0,4-1-20 15,-1-1 5-15,2-1-13 0,1 1-5 0,0-3-2 16,-1 0 15-16,3-1 25 0,1 0 21 15,2-2 23-15,-3-1 59 0,3 2 0 16,0-2 46-16,-1 0 38 0,2 1 16 0,-2-2 5 16,-1-1 15-16,4 2 16 0,-4-2-19 0,1 3 27 15,-2-2-4-15,-2 1-2 0,2 0-7 16,-2 1 2-16,-1-3 0 0,-1 5-21 0,-2-2-2 16,-1-1-38-16,2 2-42 0,-5 1-22 0,8-2-54 15,-8 2-116-15,3-4-130 0,-3 4-473 0,0 0 97 16,0 0 48-16,0 0 83 0</inkml:trace>
  <inkml:trace contextRef="#ctx0" brushRef="#br0" timeOffset="204704.34">10116 8736 752 0,'0'0'289'0,"0"0"-99"0,0 0-6 0,0 0-36 0,0 0 9 0,0 0 1 15,0 0-2-15,0 0-20 0,5-13 15 16,-3 9-28-16,1-3-10 0,-1 1-3 0,1 0 0 15,0-1-21-15,-1 1-12 0,0-2 5 0,2-2-15 16,-4 4-11-16,0-2 10 0,2 1-12 16,-4-1 5-16,2 1-8 0,-3 3-7 0,2-2 4 15,1 0-4-15,-2 2-3 16,0-2 0-16,2 5-10 0,0 1 4 0,0 0 6 16,0 0-15-16,0 0-8 0,0 0 5 0,-11 7-8 0,11 0 6 15,0-1 2-15,-2 1-13 0,2 0-7 16,0 3-19-16,0-3 6 0,0 3 5 15,0-1 0-15,0-3-3 0,2 3 75 0,-1-1-14 16,1-1 4 0,0-1-16-16,-2-1 5 0,3-2-16 0,0 2 6 0,1-3 13 0,-3 1-8 15,-1-3-16-15,10 1 11 0,-10-1-8 0,0 0 11 16,13-6-16-16,-8 6 5 16,2-6 5-16,-1 2 6 0,-1 1 4 0,0-3-15 0,0 1 1 15,0 2-1-15,3 0 0 0,-3-3-5 0,0 5 2 16,1-2 9-16,-2 0-9 0,2 1 1 15,-2 1 0-15,-4 1-11 0,14 0 5 0,-14 0-2 16,10 1 8-16,-8 1-80 16,3-2 8-16,0 3 0 0,-2-1 0 0,-3-2 2 0,8 4 16 15,-3 0 0-15,-2-4 8 0,-1 3 7 0,1 0 5 16,-3-3 13-16,5 3 16 0,-1-1-3 16,-4-2 17-16,4 0 109 0,-4 0-42 0,0 0 3 15,0 0-13-15,0 0-7 0,7-5-6 16,-2 5-10-16,-4-4 5 0,3 0-2 0,-1 0-16 0,2 2 3 15,-3-3-18-15,4 3 0 16,-1-2 3-16,-2 2-21 0,1-1 2 0,2 1-2 0,-3 2-5 16,4-1 0-16,-7 1-2 0,11 1-34 15,-4-1-28-15,-2 2 0 0,0 1-36 16,0-3-16-16,1 4-19 0,-2-3-11 0,2 2-34 16,-4-3-9-16,3 3-42 0,-5-3 9 0,6 3 17 15,-6-3 23-15,8 0 18 0,-8 0 23 0,7-3 21 16,-7 3 56-16,5-3 12 0,-3 0 42 15,1 0 23-15,0-2 0 0,-1 2 40 0,1-2-20 16,-1 1 11-16,3 1 2 0,-2-3 8 0,0 3-1 16,0 0-2-16,1-2 13 0,-1 3-20 15,-3-2-6-15,5 2-2 0,-5 2-6 0,5-5-4 16,0 5 17-16,-5 0 1 0,6-1-21 16,-6 1 18-16,7-1-39 0,-7 1 39 0,0 0-5 15,8 1-16-15,-8-1-10 16,0 0 6-16,0 0-6 0,10 0-23 0,-10 0 28 0,0 0-20 15,0 0 10-15,8 1-15 0,-8-1 15 0,5-2-3 16,-5 2 3-16,5-4 13 16,-2 4-33-16,-3 0 17 0,7-7-5 0,-2 5-15 0,1-2 21 15,1 1-16-15,-2 0 5 0,-2 1-7 16,4-3 4-16,-1 4 4 0,-1-1-16 0,0 0-3 16,0 1 8-16,-5 1-15 0,13 0-6 0,-10 0-2 15,-3 0 15-15,10 0-12 16,-10 0 10-16,10 0-11 0,-5 0 3 0,-5 0 8 0,8 0 0 15,-8 0 0-15,10-2 12 0,-5 1-2 16,-5 1-2-16,8-3-9 0,-3 3 9 0,0-3 4 16,0-1 37-16,-3 2-29 0,2-2-8 0,-4 4-9 15,7-5 20-15,-4 4 7 0,-3 1-15 0,3-6 39 16,-1 5-19-16,-2 1-17 0,5-2 20 16,-5 2-15-16,3-3-8 0,-3 3 8 0,0 0-8 15,0 0 5-15,8 5 16 0,-8-5-29 0,2 5-7 16,3-3 18-16,-5 3-6 0,3-4 3 15,1 3-5-15,-1-2-12 0,2 2-1 16,-2-1 3-16,2-3-6 0,0 3 14 16,1-3 2-16,-6 0 0 0,10 1 2 0,-10-1-7 0,10-2 23 15,-2 0-23-15,-4 1 13 0,-1-3 12 16,2 2-2-16,-2-4-23 0,2 4 15 0,-2-2 5 16,-1-2-9-16,-2 3-4 0,2-2-4 0,-2 1 9 15,-2-3 6-15,0 1 23 16,-1 0-26-16,3 3-10 0,-5-2 13 0,2 0-18 0,1 3-5 15,-4-1-1-15,6 3 1 0,-7-1 10 0,7 1-5 16,-10 1 5-16,10-1 8 0,-8 6-24 16,3-2-2-16,2 1-7 0,-2-2-9 0,2 2 14 15,1 0-3-15,-1-3-13 0,3 5 8 16,-2-4-5-16,2-3-3 0,2 8 31 0,1-7-29 16,-1 2 6-16,-2-3 28 0,8 2-30 15,-8-2 7-15,8-4 35 0,-1 2-32 0,-1-3 20 16,2 2-10-16,-1-4 20 0,1-2 28 0,-3 3-17 15,2-4 17-15,1 1-5 0,-2-4 3 0,-1 0 36 16,2-1-26 0,-2-2 3-16,0-3 30 0,-2 1-33 0,0-1 33 0,2-5-12 15,-3 3 7-15,1-3-28 0,2 4 13 0,-3 2-8 16,-1-2 16-16,4 3-24 0,-3 3-9 0,0 1-1 16,-1 2-5-16,2 3-2 0,-3 0 2 0,2 3 3 15,-2 1 4-15,2 2-9 0,-2 2 5 0,0 0-6 16,1 11 14-16,-1-2-19 0,0 1-10 15,0 5-30-15,-1 0-6 0,1 6 16 16,1-2-13-16,1 2-5 0,1 1 10 0,2-4 10 16,-3-1-17-16,4 1-16 0,-2-1 2 0,4-3 16 15,0-2-18-15,-3 1 41 0,3-3-15 16,2-2 2-16,0-1 6 0,-2-3 7 16,0-1-24-16,2-3 4 0,0 0 20 0,0 0-13 15,1-6 8-15,1 4 8 0,-1-5 12 0,2 0-23 0,-3-3 3 16,0-3 21-16,1 3-6 15,-4-1-3-15,1-4 11 0,-1 5 16 0,-2-2 14 0,-1-1 4 16,0 1-45-16,-2 0 32 0,2 0-4 0,-2 4 4 16,-2-1-24-16,2 0 13 15,-2 0-2-15,0 6-18 0,0-2 17 0,0 5-86 16,0 0 20-16,0 0 20 16,0 0-22-16,-10 13 10 0,8-7 2 0,0 1 8 0,-2 4-13 15,2-3-8-15,0 3 3 0,2 0 24 0,0-3-6 16,2 5-3-16,0-5-5 0,1 1 3 15,-2-1-10-15,3-1-1 0,-2-1 6 0,6-1 2 0,-2 0 18 16,-1-2-15-16,3 0-10 16,2-2 0-16,-2-1 20 0,-1-1-5 0,4-2-8 15,-1 1 8-15,0-2 20 0,0 0 6 0,-2-1-19 0,2-1 19 16,0 0-13-16,1 0-13 16,-4 1 5-16,1 2-5 0,-3-1 0 0,2 2 10 15,-1-1-13-15,-1 2 1 0,-5 1-9 0,8 1-9 16,-8-1 28-16,8 4-16 0,-4-1-5 0,2 2 18 15,-4-4-13-15,0 4 3 0,4 0-10 16,-3-1 10-16,2 0-3 0,-1-1 13 0,2-1-13 16,-3-1 8-16,4 2 3 0,-7-3 30 0,0 0-20 15,15-4 0-15,-9-1-1 0,-1 1-12 0,2-1 21 16,-1-5-8-16,1 3 2 16,-1-4 5-16,-2 2 8 0,4-2-5 0,-2-3 6 0,-2 0 22 15,-1-2 8-15,0-3 4 16,-1 0-6-16,1-1 7 0,-1-5-13 0,1 0 5 0,-3 0-10 15,2 2 21-15,-2 4-3 0,0 0-8 16,0 1 28-16,0 5-12 0,-2 1-3 0,2 0 26 16,-3 5-36-16,3 4-1 0,0 3-1 0,-2-2 2 15,2 2-21-15,0 0 3 0,-8 16 10 16,8-7 5-16,-2 4-10 0,2 3 16 0,-1 2-24 16,2 1 13-16,-1 1-20 0,5 3 7 0,-3-2-5 15,3 2-7-15,-2-2-8 0,2 3-8 0,0-5-20 16,0 0-34-16,1 0-35 15,-2-2-39-15,-1-3-33 0,4 2-108 0,-3-5-137 0,0 0-544 16,2-5 101-16,-1 1 58 0,0-4 100 0,-2-2 46 16,4-1 51-16</inkml:trace>
  <inkml:trace contextRef="#ctx0" brushRef="#br0" timeOffset="204847.28">11726 8263 1346 0,'0'0'407'0,"0"-6"-26"0,0 6-53 16,0-3-23-16,0 3-44 0,0 0-44 16,0-4-53-16,0 4-74 0,0 0-85 0,0 0-118 0,-3-4-145 15,-2 4-549-15,5 0 83 0,0 0 35 16,-11 5 154-16</inkml:trace>
  <inkml:trace contextRef="#ctx0" brushRef="#br0" timeOffset="206234.69">9564 6581 532 0,'-15'6'215'0,"10"-4"-28"0,-3 4 20 0,0-2-15 0,1 1-5 16,-3 3-23-16,-1-1-3 0,-2 5-23 16,1-1 0-16,1 2-12 0,-4 2-13 15,-3 2-16-15,5 2-2 0,-7 5-19 0,2 2-4 16,0 0 0-16,2-1-1 0,4 1-14 16,-1 3-11-16,3-3-3 0,2-5-4 0,2 3 4 15,2-1-2-15,4-3-8 0,-3 3 8 0,6-2-5 16,-1 4 0-16,6-1-18 0,-3 1 15 15,3-1-2-15,2 8-13 0,0 0 13 16,6-1 2-16,-6 0-18 16,0-5 11-16,-2-2 2 0,-1 1-5 0,1-2 3 0,-3 2-14 0,0-3 19 15,-2-4 2-15,0 1 3 0,-3-1-3 0,0-1 1 16,-3 1-6-16,0-2 0 0,1-1 8 0,-4 0-90 16,2-2 26-16,-2 0 13 0,1-1 20 15,-2-1-16 1,-1-4 14-16,0 1 7 0,-2 2-10 0,3-2 11 0,-1-1-14 15,2-2 105-15,-1 2-27 0,2-4 19 0,0 0-25 16,-1-1-15-16,1 1 10 0,2-2-23 16,3-1 10-16,-4 1-7 0,4-1-13 0,0 0-3 0,0 0 0 15,7 7-5-15,-2-4-8 0,1-1 24 16,-1 2-34-16,3-1 20 16,2 3-2-16,2 4-2 0,1-2 12 0,5 6-10 0,-2 3 3 0,-1 0 4 15,5 8-4-15,1 2-5 0,-3 8-4 16,2-1 12-16,-4 2 6 0,2 3-4 15,-5 0-5-15,-1 13-8 0,1 4 15 0,-5 2-13 16,2 3 9-16,-2 3 1 16,-3 4-7-16,0-3 6 0,0 3 19 0,-2 1-91 0,2-1 7 15,0-1-8-15,-2-3 11 0,2 1 15 16,2-4-13-16,-1-12 13 0,-2-2 3 0,4-5 5 0,-2-2-5 16,4-6-3-16,0 0-5 15,1-10 10-15,1-2 0 0,-2-4-2 0,6-2-14 0,-3 1 12 16,7-4-17-16,-2 0 1 0,3-2-23 15,1-3-11-15,-1-2 3 0,0 1-51 16,2-3-59-16,-3-1-31 0,1 1-71 16,-3-4-55-16,2 0-498 0,-2 0 84 0,-2-2 34 31,2 1 124-31</inkml:trace>
  <inkml:trace contextRef="#ctx0" brushRef="#br0" timeOffset="209133.06">13123 6237 1085 0,'0'-12'263'0,"-2"1"-12"0,2-1-2 16,2 2-22-16,1 0-24 0,2-3 63 0,2 2-51 16,3 0-10-16,1-2-6 0,2 3-20 0,5-3-10 15,-3 4-28-15,3 3-3 0,0-1-22 16,3 6-6-16,-4 0 0 0,4 2-10 16,0 0-13-16,2 8-16 0,-1 1 6 0,7 8 5 0,-3 6-3 15,-3 1-4-15,-3 5-29 0,-2 4 2 0,-3 3 44 16,-5 1-43-16,1 4-90 15,-3 2 10-15,-1-1-4 0,-2-3 9 0,1-3 3 16,-2 1 5-16,0-7 13 16,0-6-18-16,2-2 15 0,-4-3 0 0,1-1-2 0,2-1 10 15,0-4-7-15,0-1 4 0,0-2-2 0,1-1 7 16,1-3-2-16,-2-4 11 0,5 1-9 0,-2-2 1 16,2-2-3-16,0-2 2 15,1 1 19-15,-1-4-8 16,2-2-19-16,-3 0 6 0,3-3 3 0,-2-2-8 0,1 4 18 0,-1-4-8 15,-2 1-8-15,-1 2 14 0,-2-2-14 0,-1 2 3 0,2-1 0 16,-5 3 3-16,4 2-1 0,-3-2 11 16,-2 3-5-16,0 4-3 0,0 0 2 15,0 0-4-15,0 0 12 0,0 0-10 0,-2 15 1 16,0-6 22-16,-1 3-26 0,0 6 14 16,3 2 19-16,-2 6-1 0,2 3-1 0,0 2 0 15,0-1-5-15,4 11 24 0,2 2-22 0,2-1 88 16,2 1-31-16,3-4-18 0,5 11 13 15,3-5 5-15,1-1-13 0,1 0-10 16,3 0 5 0,0-1 1-16,-6-6-17 0,1-5-1 0,0-1-19 0,-4 0 8 0,4 4 13 0,0-3-19 0,-4 0 6 15,1-2-10-15,-2 1 7 0,-1-4-22 16,-2-2 7-16,-6-2 15 16,3-3-25-16,-4-1 20 0,-1-1-5 0,0 0-25 0,-3-2 20 15,1 1-8-15,-3 0 14 0,-2-2-12 0,-3 0 30 16,-3 0-22-16,0 0 11 0,-2-1-21 15,-5 2 1 1,-1-5 2-16,-4 2-11 0,1 0-17 0,-3-2-36 0,-1-2 2 0,-3 2-40 0,0-1-29 16,-9 0 19-16,1 2-32 0,-2 0-35 15,5-2-26-15,3-3-36 0,2 1-61 0,-12 2-28 16,0-1-80-16,1 3-104 31,5-3-410-31,8-2 130 0,-4 0 26 0,5-2 95 0,-3 0 138 0</inkml:trace>
  <inkml:trace contextRef="#ctx0" brushRef="#br0" timeOffset="210555.31">16520 7206 1039 0,'0'0'422'0,"-5"-1"-23"0,5 1-15 15,-8 0-110-15,8 0-25 0,-5-4-9 16,5 4-15-16,0 0-15 0,-7 0-13 0,7 0-30 16,0 0 9-16,0 0-12 0,0 0-3 0,0 0-20 15,12-6 0-15,-6 6-16 0,1-3-20 16,1 0-18-16,5 0-7 0,0-1-21 0,-1 1-16 16,-1 0 3-16,4 1-36 0,-2-3-15 15,-1 3-46-15,2-2 8 0,-2-1-50 0,-1 4-4 0,-1-1-41 16,-2 1-49-16,-1-1-20 15,1 1-80-15,-1 1-97 0,-7 0-13 0,8 3-424 16,-5 0 109-16,-3-3 26 0,0 6 120 0</inkml:trace>
  <inkml:trace contextRef="#ctx0" brushRef="#br0" timeOffset="210784.41">16503 7294 939 0,'0'0'294'0,"-8"0"-25"0,8 0-10 0,0 0-16 15,0 0-26-15,0 0-9 16,0 0-21-16,0 0-8 0,18-5-16 0,-11 4-19 0,4-1 53 16,2-1-5-16,1-3-33 0,0 4-11 15,1-3-12-15,0-1-26 0,-2-1-31 16,3 2-23-16,-3 0-32 0,-1 1-40 0,0-1-40 16,-1-1-47-16,-1 1-78 0,3 1-98 0,-8 0-162 15,5-1-357-15,-4 2 94 0,1-2 31 16,-1 0 38-16</inkml:trace>
  <inkml:trace contextRef="#ctx0" brushRef="#br0" timeOffset="211045.53">16638 7093 980 0,'0'-6'302'0,"0"6"-23"16,0 0-10-1,0 0 71-15,13-1-40 0,-8 1-6 0,5 1-41 0,-2 0-15 0,2 1-89 16,1 2-6-16,1-2-5 0,1 3 6 0,2 0-19 16,-2 2 75-1,1 0-34-15,1-1 16 0,-3 4-18 0,1-3-16 0,-2 2-7 16,-1 2-21-16,-5 2-2 0,0-1-8 0,-2 1-51 0,-3 3-33 16,-3-1-11-16,-2 4-28 15,0-3-46-15,-1-2-33 0,-1 3-156 0,-8 0-215 16,12-2-500-16,-2-4 90 0,0-1 121 0,2-5 25 15,0 2 72-15</inkml:trace>
  <inkml:trace contextRef="#ctx0" brushRef="#br0" timeOffset="211731.97">16930 6899 1366 0,'0'0'389'15,"-3"-4"-25"-15,3 4-31 0,0 0-47 0,0 0 1 16,0 0-100-16,1 11-3 0,1-4-28 16,3 0-12-16,-4 5-21 0,4-1-6 0,-2 0-7 15,-1 2-15-15,3 3 0 0,-2 1-21 16,-1 1-28-16,3-5 13 0,-4 6-33 0,3-2 2 16,-1-2 0-16,0-1-10 0,-1 1-5 0,0-3 10 15,1-2 5-15,-3 0-13 0,3-3 13 0,-3 0 11 16,0-1 12-16,2 0-2 0,0-1 4 15,-1-3 4-15,-1-2 19 0,0 4 75 16,0-4-25-16,0 0-14 0,0 0-7 0,0 0-10 16,2-16 5-16,1 13 13 0,0-4-34 0,-1-2-5 15,0 3 5-15,4-2 6 0,-1 2-44 0,-2 1 5 16,4-2-15-16,-2 1 15 0,3 4 18 16,-3-2-16-16,3 2-14 0,-1-1-1 15,1 3-5-15,-8 0 5 0,13 3-22 0,-5 0 9 0,-1 1-12 16,1 1-21-16,0-2 10 15,0 3-32-15,-1-2-47 0,-2-2-3 0,3 3-40 0,-3 0-31 16,1-3-18-16,-2 3-57 0,2-4-50 0,1 0-42 16,-2 0-143-16,3-3 18 15,-3 1-407-15,3 0 128 0,0-3-46 0,2 2 141 16,0-4 51-16,0 1 72 0</inkml:trace>
  <inkml:trace contextRef="#ctx0" brushRef="#br0" timeOffset="212198.47">17317 7026 660 0,'0'-8'368'0,"-2"1"-32"0,0 2-19 0,1 0-94 15,-4 0 10-15,3 2-21 0,-4-1-7 0,2 1-31 16,1 0-10 0,-3 1 0-16,-1 2-23 0,0 0-1 0,-1 2 6 0,0-1-8 0,0 3 24 15,1 2-4-15,-1-2-17 0,-2 1-5 0,4 3-29 16,-1 0 21-16,2-1-23 16,2-1-23-16,-2 1-5 0,3-1-16 0,-1 4 9 0,3-7-22 15,0 3-9-15,0-1 14 16,2-3-9-16,-1 2-24 0,3-2 24 0,-4-2 2 15,11 3-18-15,-11-3 3 0,13-3-11 0,-6 2 14 16,4-1 6-16,-4-1-19 0,3 1-1 0,0 1 21 16,-2 0-15-16,3-2-6 0,-3 2 34 31,2 1-18-31,-2 0-10 0,2-1 12 0,-3 2-17 0,4 0-11 0,-1 3-67 0,-3-3 17 0,1 4-1 16,2-2-8-16,-4 2 21 0,1 0 2 15,-1 2-5-15,1 0 8 0,-4-2 0 16,4 1 0-16,-4 0-5 15,-1 0 8-15,1-4 15 0,-3 5-3 0,0-4 18 0,3 0 6 0,-3 2 4 16,0-5 8-16,0 5 18 0,0-5 5 16,-3 3 16-16,3-3 15 0,0 0 43 0,0 0-30 15,0 0 23-15,0 0-26 0,0 0-8 0,-5-10-2 16,5 5-18-16,0-1-7 0,0 0 7 16,0 1-16-16,2-3-4 0,1 0 9 15,-3 0-35-15,5 0-7 0,-3 2-32 0,1-2-15 16,2 1-2-16,-2-1-49 0,0 0-21 0,2 2-38 0,0 0-30 15,0-1-42-15,0 1-109 0,0-1-165 16,1 0-434-16,1-2 45 0,0 0 80 16,1 1 46-16,1-4 97 0,0 0 51 15</inkml:trace>
  <inkml:trace contextRef="#ctx0" brushRef="#br0" timeOffset="212599.26">17638 6806 696 0,'0'7'292'0,"-2"0"-39"0,2 0-10 0,0 4 3 16,0-3-44-16,2 3-28 0,1 1 67 16,-3 0-21-16,4 2-26 0,-3-3-32 0,4 1-11 15,-2-3-5-15,1 1-34 0,2 2 9 16,-2-5-22-16,0 1-4 0,0-2 0 0,-1 0-8 16,2 1-26-16,-2-3 24 0,-1-2-16 15,1 3-3-15,0-5 3 0,-3 0-15 0,0 0 13 16,0 0 4-16,0 0 4 0,0 0-14 0,0 0 24 15,-9 5-16-15,5-4-13 0,-4 0-79 16,2 3-10-16,-4-2 20 0,0 2 15 0,0 0-4 16,0 2-3-16,2 0 15 0,-2 1 3 0,2-1-13 15,-2 4 36-15,2-4-16 16,3 2-2-16,-2-1 8 0,1 0-6 0,1-2-10 16,2 2 11-16,1-1 17 0,2-1-22 0,0 0-4 0,2 0 6 15,-2-2 64-15,3 0 0 16,2 0-5-16,1-3-28 0,-2 3-11 0,4-2 21 0,0-2-23 15,-8 1-36-15,15-3-11 0,-7 3-14 16,2-5-24-16,0 3-17 0,1-4-55 0,-1 1-42 16,2 2-81-16,-1-4-96 0,2 1-139 15,-2 0-404-15,1 0 90 16,0 0 68-16,-1-3 103 0,2 1 57 0</inkml:trace>
  <inkml:trace contextRef="#ctx0" brushRef="#br0" timeOffset="212959.51">18125 6626 1000 0,'-2'-2'395'0,"2"2"-24"0,0 0-23 0,0 0-15 0,-8 8-19 16,8-3-45-16,0 2-8 16,-2 0-12-16,2 5-32 0,0 0 1 0,0 2-60 15,0 4 6-15,2 0-20 0,-2 2-14 0,2-2-48 16,1 1-8-16,-3 1-7 0,3 1-36 15,-1-2-24-15,1 0-4 0,-1-3-49 0,-2-1-41 16,3-1-57-16,-1-1-86 0,0 0-87 0,-2-1-83 16,1-4-460-16,2 3 102 0,-1-4 21 0,0-1 136 15,-1-1 53-15</inkml:trace>
  <inkml:trace contextRef="#ctx0" brushRef="#br0" timeOffset="213473.01">18020 6932 1116 0,'-3'-6'353'16,"3"4"-69"-16,0 2-31 0,3-6-2 0,-3 1-18 16,5 0-20-16,0-1-42 0,2 2-12 0,2-4-11 15,1 0-20-15,5 2 51 0,-2-5 18 16,2 3-46-16,1 1-15 0,2-1-5 0,-3-1-21 15,-2 1-21-15,2 1 16 0,-2 2-25 16,-3-1-11-16,1 3 2 0,-4 0-4 0,1 2 10 16,0 0 0-16,-3-2-19 0,-5 3-27 15,10 4 31-15,-4-3-37 0,-2 3 14 0,2 0-1 16,0 1-12-16,-2 1-1 0,1 1 6 0,0 2-8 16,0-2 0-16,1-1-3 0,1 2-2 15,-2-2-5-15,3 1 8 0,0-1-32 0,2-1 32 16,-2 1-13-16,2-4-3 0,0 4 13 0,1-3-3 15,-1-1 0-15,0-2 6 0,0 1-14 16,0-1-1-16,-2-1 55 0,0 0-38 0,1-3 0 16,-3 4 31-16,-1-2-8 0,1-2-5 0,-2 2 20 15,-1-3-2-15,0 3 5 0,-3-2 5 16,0-1-25-16,0 5-6 0,-6-9-74 16,2 4 16-16,-2 0-31 0,1 1 12 0,-1 0 1 15,-3-1-8-15,1 3-21 0,0-2-4 0,-5 2-22 16,3 1 1-16,3-2-5 0,-3 2-34 15,-1 1-27-15,3 0-14 0,-2 1-71 0,4 2-102 16,-1-2-60-16,0-1-465 0,7 0 84 0,-8 3 56 16,5-1 91-16,3-2 52 0</inkml:trace>
  <inkml:trace contextRef="#ctx0" brushRef="#br0" timeOffset="-212017.91">18910 6576 1023 0,'-3'-5'302'0,"3"5"-12"0,0 0-42 0,0 0-7 16,0 0-21-16,0 0 2 0,0 0-27 0,6 16-8 15,-2-8-29-15,-1 1-1 0,0 0-32 0,-1 3-5 16,3 1-2-16,-5 1-26 0,5 2-2 15,-2-3-21-15,2 0 0 16,-3 0-25-16,1 0 7 0,0-1-13 0,2 1-7 0,-3-3 5 16,3-2-8-16,-4 0-3 0,1 1-7 0,0-3 5 15,1 0 11-15,0-2-9 0,-3 1 1 16,0-1-16-16,2-2 29 0,-2-2 7 16,0 0-13-16,0 0 3 0,0 0-13 0,-8 2 2 15,8-2-9-15,0 0-1 0,-14-5 11 0,8 2-1 16,-4 1-2-16,5-1-23 15,-3 1 31-15,-2 0-26 0,2-1 0 0,-2 3 0 0,0 1 0 16,1 1 16-16,-3 2-18 0,0 1-9 0,-1 0 17 31,2 1-6-31,-2 0-3 0,3 1 9 0,-1-1-6 0,2 1-3 0,1 0 6 0,1 0 5 16,3-1-11-16,-1 1-7 0,0-1 23 0,3-1-23 16,2-1-5-16,0-4 17 0,6 8 9 15,-4-7-9-15,6 0 1 0,-2 1-21 0,3-4-10 16,3 1-2-16,2 1-19 0,0-3-2 0,2-1-10 15,2-1-16-15,-3 2-12 0,3-3 9 16,-2-1-1-16,-1-1-9 0,3 0-7 16,-3 2 20-16,-2 0-12 0,-2-1 15 15,-1 1 10-15,0 0 13 0,-3 1 0 0,-1 2-13 0,-1-1 23 16,-2 3 10-16,-1-1 14 0,-2 2-22 16,0 0 11-16,0 0-2 0,0 0 7 0,0 0-5 15,0 0 25-15,0 0-14 0,-8 8 4 16,6-4 3-1,2-4-11-15,-2 7 29 0,1-5-18 0,-2 3 2 0,3-5 27 0,0 6-32 16,4-4 8-16,-4-2 8 0,2 5-6 0,3-4-10 0,0 3 24 16,0-4 4-16,-5 0-17 0,16-4 2 15,-6 2 10-15,-2-2-7 0,4 1 12 16,1-2 11-16,-3 0 13 0,3-2 12 16,-2-1-13-16,-4-1 21 0,4 2 0 0,-4-1 3 0,3-4-16 15,-4 2 29-15,1-1-14 0,-4-1 13 16,-1-3-4-16,1 1-14 0,-3 1-7 0,3-1 5 15,-3-2 7-15,-3 3 3 0,3-1-15 0,-3 2-8 16,1-1 34 0,-1 2-1-16,0 2-10 0,1 1-2 0,0 1-11 0,-1 1-5 0,-2 4-7 15,2 1-6-15,3 1-15 0,-10 1 15 0,10-1-20 16,-8 7-7-16,6 1 9 0,-1 1 6 16,3 0-11-16,-1 3 3 0,1 1-5 0,1 2 2 15,2-1-5-15,2 5 1 0,0 0 9 16,3 0-7-16,-3 4-13 0,3-3 5 0,0 2 5 0,-2 0-2 15,2-2-23-15,-2 2-1 0,-2-3-20 16,-1-3 6-16,0 2-19 0,-3-4 21 0,2 2-8 16,-4-4 13-16,2 2-15 15,-3-2-6-15,1 0 11 0,-1-1-13 0,-2-3 15 16,2-2-7-16,-1 1 9 0,0-2-14 0,0 0 5 16,1-3 7-16,-2 0 0 0,3 1 0 0,2-3 1 15,-8 0-1-15,8 0 3 0,0 0-3 0,-5-5 5 16,5 0 14-16,0 5-19 15,0-8 11-15,0 1-4 0,3 0 14 0,-1-2-3 0,4 0 6 16,-2-2-1-16,2-1 6 0,1-2-11 0,1 1 8 16,1-3 12-16,0 0-2 15,1-2-2-15,-2 1 10 0,-1 4 2 0,1-1 8 0,0 4 26 16,-1-3-1 0,-2 5 4-16,1-1 4 0,-4 1 10 0,4 3-12 0,-2 1 8 15,-1 0-11-15,0 2-5 0,-1-1 8 0,-2 3-1 16,0 0-4-16,0 0-5 0,8 9-9 0,-6-5 4 15,0 1-21-15,-2 0-5 0,0 2-24 0,1 0-27 16,-1-2-21-16,2 2-13 0,-2 0-27 16,0-2-17-16,3 1-22 15,-3 0-46-15,0-1-123 0,0-2-149 0,0 2-422 0,0-3 82 16,0-2 33-16,3 5 128 0,-3-5 90 0</inkml:trace>
  <inkml:trace contextRef="#ctx0" brushRef="#br0" timeOffset="-211335.56">19374 6726 941 0,'2'5'300'0,"0"2"-39"0,-1 0-25 16,2-1-4-16,-1 1-9 0,-2-1-26 15,2 3-15-15,-1-1-5 0,1-2-11 0,-2 0-2 16,3-3 0-16,-3 2-26 0,0 0 21 0,2-2 50 15,0 1 14-15,-1-2-3 0,-1-2-7 16,0 5-98-16,0-5 8 0,5 0-16 0,-5 0-4 16,0 0-6-16,0 0-25 0,7-6 12 0,-7 6-12 15,4-5 7-15,-2 2-25 0,3 1 0 16,-2-1-3-16,-1 1-13 0,-2 2 3 16,5-5-8-16,0 4 1 0,-5 1 17 0,5-3-36 15,1 2 11-15,-6 1-13 0,10-1 12 0,-3 0 3 16,-2 1-15-16,1-1 0 0,4-3 64 15,-2 3-11-15,2-4 3 0,1 2 16 0,-1-2-19 16,0-1-40-16,0 0-11 0,1 0 19 16,-1 1-4-16,-3-2-1 0,1-1-9 0,2-1 11 15,-5 5-21-15,-2-2-7 0,2-2 14 16,-3 3 1-16,-1 1-12 0,-1-2-6 0,0 1-6 0,0 5 14 16,-3-3-10-16,3 3-4 0,-5-3 14 15,5 3-5-15,0 0-6 0,-11 9 13 16,7-6-12-16,0 2 7 0,2 3 5 0,2-2 11 0,0 1 2 15,0 2-16-15,3-3-17 0,-3 1 28 16,7 1-31-16,-4-3 6 0,4 1-17 16,1-1-9-16,0-2-23 0,3 3-23 0,-1-1-14 15,2 0-4-15,-1-3-3 0,1-1-33 0,-1 2-18 16,-1-3-23-16,0 0-82 0,-2 0-92 0,2 0-192 16,-2 0-397-16,0 0 100 15,-3 0 72-15,-5 0 138 0,7 1 28 0,-7-1 38 0</inkml:trace>
  <inkml:trace contextRef="#ctx0" brushRef="#br0" timeOffset="-209777.39">18238 7517 609 0,'0'2'256'0,"0"-2"-75"0,0 0-30 0,0 0 44 16,0 5-24 0,0-5 11-16,0 0 64 0,0 0-11 0,-3 1-9 0,3-1 1 15,0 0 9-15,0 0-6 0,-10 0-17 0,10 0-3 16,0 0 10-16,-15-2-84 0,8-2 9 15,-1 2-24-15,2-2 14 0,-4-3 11 16,3 1-18-16,-4-1-2 0,1-4-3 0,2-2-19 0,-2-1-11 16,2-2 1-16,0 2-19 0,4-4 12 0,-2-1-3 15,4 0-22-15,1 5-22 16,1-2 9-16,-1 1 61 0,2 2-18 0,0 1-10 16,1 2-25-16,1 1 27 0,0-1-23 0,-1 4-12 0,0 4-3 15,1-3-20-15,0 4 35 0,-3 1-20 16,0 0-31-16,0 0 24 0,0 0-29 15,0 14-18-15,-3-8 18 16,-2 1-5-16,2 4-5 0,-5 2 13 0,-1 1-11 0,0 1 3 0,-1 0-23 16,-2-2 23-16,2 0-13 0,1-1 0 15,1 0 11-15,-1 0-1 16,1-5-4-16,3 3 9 0,0-5 1 0,0-1-6 0,3 2-20 0,-2-2 33 16,4-3-22-16,0-1 9 0,0 0 1 15,8 4 14-15,-8-4-17 0,13-6 26 0,0 2-24 16,2-3-38-16,3 0 31 0,5-3-34 15,3-1-32-15,7-4-22 0,1 3-25 0,4-1-30 16,-4-1-34-16,-1 2-71 0,-5 1-103 16,-5 5-121-16,0-2-454 0,-2 3 104 0,-4-1 43 0,1 1 129 15,-5 3 53-15,0-2 85 16</inkml:trace>
  <inkml:trace contextRef="#ctx0" brushRef="#br0" timeOffset="-208830">17044 7849 1098 0,'-3'-3'404'15,"3"3"-15"-15,0-4-71 0,0 4 7 0,0 0-44 0,0 0-15 16,0 0-43-16,5 10 30 0,0-2-68 15,-2 2 2-15,1 0-36 0,-1 3-8 0,2-1 0 16,1 2-30-16,-2 3-36 0,-1-2-24 16,2 3-6-16,0-1-14 0,0-2-13 0,-2-2 3 15,2 2-20-15,-2-4 28 0,-1-1-6 0,2 1-12 16,-2-3 10-16,0-1-5 0,0-1 5 0,1 0 49 16,-3-1-36-16,3 0-3 0,-1-2 5 15,-2-3 13-15,3 3-7 0,-3-3 12 16,0 0-15-16,0 0 18 0,8-9-3 0,-6 3-12 15,1 3 17-15,2-6-9 0,-3 3-19 0,4-2 10 16,-2-1 3-16,4-1-5 0,-2 2-2 16,1 1-26-16,3-1 10 0,-4 4 7 0,2 0-9 15,-1 1 4-15,0 0 4 0,1 3-35 16,0 0-1-16,-8 0 14 0,13 5-22 16,-5-4-18-16,-1 3-34 0,0-1 1 0,-1 3-57 15,2-2-13-15,-3-2-48 0,2 3-64 0,1 0-103 16,-5-3-130-16,5-1-395 0,-1 2 39 15,1-1 105-15,0-2 85 0,2-1 71 0</inkml:trace>
  <inkml:trace contextRef="#ctx0" brushRef="#br0" timeOffset="-208334.02">17489 7927 921 0,'-2'-1'294'0,"2"1"-22"0,-5-7-19 15,5 7-17-15,-8 0-16 0,8 0-36 0,-10 0-5 16,2 2-20-16,3 1-3 0,-3-1-2 15,1 4-32-15,-1-1 19 0,3 0-43 0,-1 2-4 16,2-1-12-16,-2 0 0 0,2 1-5 16,-2-1-13-16,4 2-21 0,-1-2 9 0,0 0-22 0,1-1 6 15,2 0-18-15,0-2-5 0,0 3 0 16,0-3-6-16,0-3 6 0,5 4 0 16,-5-4 0-16,5 3-1 0,-5-3-1 0,0 0-1 15,13-3-5-15,-13 3 31 16,7-6-16-16,-1 5-7 0,-1-5-8 0,3 5 3 0,-3-4 12 15,2 5-12-15,-1-4 18 0,-2 1-3 0,2 2 71 16,2 0-1-16,-1 1 12 0,-2-1-31 16,-5 1-23-16,13 2 31 15,-5-1-23-15,-1 4 2 0,-2-3-2 0,3 2-15 0,-3 1-24 0,1-2 13 16,-1 4-17-16,0-1 4 0,-3-2 3 16,1 2-74-16,-3 0-3 0,2-3 11 15,-2 2 4-15,1 0 29 0,-1-3 5 0,0 4 13 0,0-6 20 16,0 4 10-16,0-4 16 15,-3 2-8-15,3-2 10 0,0 0-4 0,0 0 6 16,0 0 6-16,0 0-23 0,0 0-5 0,0 0 8 16,-8-11-11-16,8 8 16 0,0-2-24 0,3-1-17 15,-3 2 5-15,2-1 10 0,1 0-16 16,0-1-24-16,-1 0-12 0,3 1-35 0,0-1-25 16,1 1-19-16,-2 0-50 0,-1 0-57 0,4 1-141 15,-7-2-120-15,6-1-413 0,4 1 116 16,-2 0 11-16,2-1 99 0,-2 0 87 0</inkml:trace>
  <inkml:trace contextRef="#ctx0" brushRef="#br0" timeOffset="-207944.3">17779 7801 947 0,'0'0'289'0,"0"0"-51"0,-7 12-5 0,7-6-5 0,0 0-34 0,0 1-25 0,0-1 0 16,0 5-15-16,0-3-26 0,2 2-6 15,0-1-27-15,1 0 18 0,-3 0-31 0,3-3 2 16,-1 2-10-16,1 2-12 0,2-4 2 0,-3 0-8 16,1 0-10-16,-1-3 5 0,1 3 8 15,0-3-23-15,-1-1 13 0,1-1-3 0,-3-1 20 16,3 4-35-16,-3-4 20 0,0 0 8 16,0 0-8-16,0 0 13 0,0 0 13 15,0 0-33-15,-11 1-3 0,4 0 0 0,1 3-3 16,1-1 67-16,-3 2 15 0,1-1-25 0,2-2-18 15,-3 5 25-15,3-3-33 0,-3 2-15 0,3-2 10 16,0 1 5-16,0 0-20 0,2-1 7 16,-2-1-23-16,5 2 24 0,-3-3-16 15,1 2-26-15,2-4 21 0,0 6-6 0,0-6-1 16,5 2 4-16,-2 1-13 0,-3-3-4 16,10 1 17-16,-5 0-38 0,-5-1 5 0,10-2 0 15,-2 0-44 1,-3 0-14-16,3 1-37 0,-1-3-20 0,3 1-24 15,-1 0-81-15,3-3-123 0,-6 3-107 0,6-2-436 0,1 0 93 0,0 0 71 16,0 1 84-16,-1-2 50 0</inkml:trace>
  <inkml:trace contextRef="#ctx0" brushRef="#br0" timeOffset="-207671.27">18189 7731 1011 0,'-2'-4'440'0,"2"4"-51"0,-1-3 31 0,1 3-29 0,0 0-50 16,0 0-6-16,0 0-23 0,0 0-30 15,0 0-3-15,1 14-21 0,-1-8-35 0,0 0-15 16,2 5-27-16,1 2-14 0,0-1-32 16,-1 1 4-16,0 0-19 0,1 0-31 0,0 0-19 15,2 4-27-15,-3-4-30 0,-1 0-29 0,1 0-12 16,0-1-38-16,1-1-24 0,0-1-17 15,1 1-44-15,-3-4-54 0,4 2-105 0,-3-7-148 16,0 5-481-16,-1-1 68 0,2-1 124 0,-1 0 25 16,1-2 74-16</inkml:trace>
  <inkml:trace contextRef="#ctx0" brushRef="#br0" timeOffset="-207219.83">18192 7900 714 0,'5'-5'289'0,"1"0"56"0,1 0-25 0,0 0-25 0,1 0 2 0,2-3-44 15,-2 3-10-15,2-1-12 0,-2 1-21 0,1 0-29 16,-3 2 9-16,2-2-34 0,-3 5 13 0,0-2-8 15,0-2-5-15,0 4-12 0,-5 0-11 16,0 0-8-16,11 4-23 0,-6-1 29 16,-2 2-49-16,1 0 15 0,-1 1-23 0,2 1-10 15,-2-1-18-15,2 2 18 0,-2-3-17 0,2 2-19 16,0-1-5-16,0 0 13 0,4-1 2 16,-3-2-18-16,2 2-2 0,0-4 23 0,-1 1-20 15,4-1-16-15,-4-1 26 0,4 0-3 0,-2-3 5 16,0 2 3-16,-1-4 18 0,2 4-21 0,-2-6 33 15,-1 5-14-15,1-3-6 0,-1 0 0 16,-2-1 25 0,1 0-65-16,-1 3-17 0,-3 0 29 0,-2-4-15 0,0 4-8 0,0 3-3 15,-7-9 3-15,1 7 0 16,2-1-16-16,-5 1-25 0,-1 1-23 0,0 1-20 0,0 0 7 16,0 0-51-16,1 1-54 0,-3-1-56 0,0 3-90 15,-4 1-172-15,8 0-419 16,-2-2 98-16,3 2 35 0,1-2 92 0,1-2 82 0</inkml:trace>
  <inkml:trace contextRef="#ctx0" brushRef="#br0" timeOffset="-206676.13">18699 7730 918 0,'0'0'287'0,"-10"8"-21"0,10-3-20 16,0-2-41-16,0 1 7 0,0 3-27 0,3-1-19 16,-1 2-7-16,0 0-42 15,1-1-12-15,2 0-5 0,-2 0-13 0,3-1 5 0,1-1-33 16,0 1-2-16,-1-3 4 0,2 1 3 0,-1-3-10 16,1 3-18-16,0-3 7 0,-1-2 80 0,1-3-3 15,2 4-25-15,-2-2 12 0,2-2 24 16,-2-1-82-16,-3 1-6 0,2-4 1 15,-4 2 20-15,2-1 10 0,-5 0-18 0,0 1-2 0,0-2-3 16,-2 1 8-16,-1-4-18 0,0 5 15 16,-1-2 1-16,1 2-19 0,-4 0 6 15,1 0-11-15,3 2-10 0,-4 3 8 0,2 0 7 16,5 1-5-16,-10 0-12 0,10 0 4 0,-11 1-7 16,4 0-18-16,4 3 3 0,-4-2-8 15,4 2-24-15,0-2-32 0,1 3-23 0,2-5-1 16,-3 6-33-16,3-4-25 0,0-2-54 0,5 5-64 15,-2-5-44-15,-3 0-45 16,12-5-406-16,-7 4 50 0,3 1 2 0,0-3 67 16,2-1 61-16</inkml:trace>
  <inkml:trace contextRef="#ctx0" brushRef="#br0" timeOffset="-206225.43">18933 7594 1018 0,'2'-11'279'0,"-4"4"-2"0,4-1-26 0,-2 1-3 0,0 1 8 0,0 0 46 16,0 1-15-16,0 0-37 0,0 2-1 15,0 3-29-15,-2-5-13 0,2 5-12 0,0 0-19 16,0 0-12-16,0 0-21 0,-3 12-12 0,3-6-90 16,-1 2-5-16,-1 3 2 15,0 1-12-15,0 2-6 0,-1-1-7 0,3 1-18 0,0 1 2 16,0-1-4-16,0 0-4 0,0-1 14 0,0 0 0 16,0-2-14-16,0 0 29 0,3-2-31 15,-3 0 19-15,2-1 1 0,0-2 4 0,0 0 17 16,-1-1 2-1,-1-3 14-15,5 2-3 0,-2-2 13 0,-3-2-1 0,10 0-12 0,-10 0-7 16,13-5 27-16,-6 4-30 16,1-2 5-16,0-1 15 0,2 2-23 0,0-1 3 0,-1 2 4 15,1-1 9-15,0-2 20 0,-2 3-31 0,2 0 3 16,-5 1 5-16,3-1-3 0,0 2 16 16,-4 0 13-16,2 0 74 0,-1 1 2 0,-3 1 10 15,1-2-37-15,-3-1-9 0,0 8-10 16,0-3 1-16,-3-1-6 0,1-2-26 0,-1 4-9 0,-2-1-9 15,0 0-7-15,-1-2 8 16,2 3-3-16,-2-1-31 16,1-2 1-16,0 2-57 0,0-4 0 0,0 2-36 0,0-2-36 0,1 0-22 0,-2 2-11 15,6-3-59-15,-6 2-36 0,6-2-89 16,0 0-110-16,0 0-484 0,0-6-18 16,0 6 90-16,6-6 73 0,0 1 119 15,0-2 20-15</inkml:trace>
  <inkml:trace contextRef="#ctx0" brushRef="#br0" timeOffset="-205924.18">19161 7614 826 0,'-5'3'384'0,"2"-1"-38"0,-2-2-26 0,3 5-16 15,-1-3-12-15,3 4-44 0,0-1-7 0,0 0-21 16,2 1-18-16,-1 1-4 0,1 0-12 15,1 0-9-15,0-1 33 0,1 2-41 0,0 2-16 16,-2-2 14-16,2 0-16 0,0 1 5 0,-2-1-13 16,-2-1-15-16,2 3 21 0,-2-4-113 0,0 2 2 15,0 0 23-15,-2 1-12 16,0-2-18-16,-2 0 17 0,0 0-27 0,2-1 10 0,-2-1 15 16,0 1-67-16,-2 0 6 15,4-4-11-15,-3 2-17 0,2-3-29 0,0 3-12 0,-2-2-44 16,5-2-23-16,0 0-29 0,-5 1-27 15,5-1-34-15,0 0-53 0,0 0-57 0,0 0 21 16,0 0 5-16,0 0-407 0,0 0-41 0,10-9 164 16,-7 6 30-16,2 2 55 0</inkml:trace>
  <inkml:trace contextRef="#ctx0" brushRef="#br0" timeOffset="-205396.65">19286 7731 726 0,'10'-6'336'0,"-4"1"-101"0,-1-2-4 16,1 1-11-16,-2 0 0 0,-1 1-13 15,0-1-7-15,3 2-13 0,-5 0 61 16,2-3 0-16,-3 3-12 0,2 1-31 0,0-2 17 16,-1 2-7-16,-1 3-48 0,0-5-1 0,0 5-5 15,-3-4-7-15,3 4-41 0,0 0 22 16,0 0-27-16,0 0-14 0,-12 5 1 0,9 0-13 16,-2-2-92-16,2 2-3 0,-2 0 21 0,3 1-16 15,-1-3 21-15,0 3-31 0,1-1 3 16,1 0 7-16,1-2-18 0,0 2 36 0,0 1-15 15,0-3-20-15,0 1 15 0,0-4 4 0,1 6-14 16,1-2 7-16,1-3 5 16,-3-1 14-16,7 4-6 0,-3-2 10 15,-4-2-8-15,7 2 14 0,-4 1-19 0,3-2 29 0,-6-1-3 0,6 2-5 16,-3 2 0-16,-1-3 10 0,3 5-8 16,-4-5 6-16,4 5-18 15,-3-2 35-15,-1-2-17 0,1 3-24 0,0-2 34 0,1 2-28 16,-3-1 5-16,1-2-1 0,1 2-4 15,-2-4 10-15,0 4 23 0,0-4 15 0,2 5 0 16,-2-5 19-16,2 1-29 0,-2-1 20 0,0 0-7 16,0 0-20-16,0 0 63 0,0 0 36 0,8-7 6 15,-8 1-22-15,3 1-47 16,0 0 4-16,1 0 11 16,-1-2-3-16,2 1-13 0,-2-3-79 0,4 1-16 0,-4 0 29 0,5-2-31 0,-3 4 8 15,2-1-21-15,-1 0-31 16,1 2-38-16,1-3-18 0,0 1-35 0,0 3-39 15,2-3-41-15,0 5-100 0,-2-2-174 0,2 0-499 16,1 2 140-16,1 0 45 0,-2-1 101 0,1 2 72 16,1 1 60-16</inkml:trace>
  <inkml:trace contextRef="#ctx0" brushRef="#br0" timeOffset="-204623.51">19645 7607 883 0,'0'0'401'15,"0"0"-35"-15,0 0-33 0,-5 11-23 0,5-11-18 16,3 8-49-16,0-2-15 0,-3 0-98 0,2 1-2 16,3 0-18-16,-4 1-7 0,1 0-14 15,0-1-2-15,2 0-18 0,-2-1-2 0,0 2-18 16,-2-3 33-16,2 1-31 0,1 0 10 15,0-3-12-15,-3 1-21 0,2 1 3 0,0-3-1 16,-1 2-7-16,-1-4 11 0,3 7-19 0,-3-7 16 16,2 4 7-16,-2-4-12 15,4 2-8-15,-4-2-3 0,0 0 18 0,6 0-25 0,-6 0-3 16,0 0 5-16,0 0 8 0,8-4 0 16,-5 1-5-16,-3 3 2 0,4-6 8 15,0 2-15-15,-2 1 13 0,0-5-9 0,3 4-1 16,-2-3-11-16,2 1-6 0,-2-3 9 0,1 5 25 15,-1-5-15-15,2 3-5 0,-2 2-11 16,0-1 18-16,-1 0 1 0,1 0 4 0,-1 3 3 16,1-3-10-16,-3 5 3 0,3-4 17 0,-1 1-5 15,-2 3-10-15,5 0-5 0,-5 0 10 16,5-1 0-16,-5 1 5 0,8-3-8 16,-3 1 9-16,-5 2-6 0,10-2-11 0,-4 1 6 0,2-2 3 15,0-1-14-15,0 1 34 0,-2-1-28 0,2 0-8 16,0 0 11-16,-1-1-14 15,-1 2 11-15,1-2 15 0,-2 0-20 0,-2 3 2 16,2-3-5-16,-3 3-5 0,-2 2 23 0,3-4-25 16,-3 4 2-16,0 0-5 0,0 0 23 15,0 0-13-15,0 0 7 0,-13 9 22 0,8-6-16 16,5 3-8-16,-5 0-5 0,3 1-5 0,1-1 13 16,0 0-8-16,0-1-8 0,2 2-12 0,0-1-13 15,0-4-21-15,6 4-10 16,-2-1 6-16,3-4-24 0,2 3-3 0,0-3 11 0,1-1 5 15,4 0-12-15,1 0-24 0,0 0 13 0,-2-1 12 16,2-3 11-16,-3 4-12 0,4 0 4 16,-6-1 3-16,2 0-31 15,-3 0-13-15,0-1 24 16,-2 1-39-16,0 1-5 0,-8 0-139 0,10 0-114 0,-6 3-418 0,-4-3 72 16,0 0 97-16,1 3 36 0</inkml:trace>
  <inkml:trace contextRef="#ctx0" brushRef="#br0" timeOffset="-19942.47">21099 11388 1151 0,'0'0'338'0,"0"0"-15"0,0 0-26 0,0 0-39 15,0 0-17-15,10 5-3 0,-10-5-28 0,11 0-18 16,-6 0 23-16,-5 0-123 0,13 0 13 0,-6 0-21 16,-1 0 16-16,1 0-23 15,1 0 7-15,0 0-17 0,2 1 12 0,0-1-15 16,2 0 5-16,-1 0-5 0,2 0-12 0,0 0-9 15,0 2 16-15,4-2-28 0,-2 1 81 0,-1-2-14 16,5 1 7-16,-5 0-31 0,4-2 5 16,-5 2-17-16,5 0 2 0,-5-1-18 15,2 1-3-15,-4 0 19 0,-1 0-24 16,2 0 0-16,-3 0 6 0,0-2-13 0,-1 2 10 16,-8 0-29-16,11 0 1 0,-5 0-15 0,-6 0-16 15,6-1-28-15,-6 1 0 0,8 0-16 0,-8 0-45 16,0 0-14-16,0 0-25 0,4-3-58 15,-4 3-106-15,0 0-138 0,0 0-456 0,0 0 90 16,0 0 64-16,0 0 98 0,-4-7 76 0</inkml:trace>
  <inkml:trace contextRef="#ctx0" brushRef="#br0" timeOffset="-19422.81">21420 11247 1067 0,'0'0'325'0,"0"0"-13"0,0 0-40 0,0 0-29 0,0 0-18 0,0 0-13 0,13 9-43 15,-11-8 13-15,3 3-113 0,2-3 18 16,-3 5-10-16,1-5-23 0,2 5 10 0,-2-2-16 16,3-2 4-16,-2 3-19 0,1-1 21 0,-2 0-1 15,3 1 1-15,-3-2-28 0,3 0 7 16,-2 2 0-16,-2-3-2 0,1 4-8 16,2-5 21-16,-1 4-6 0,-1-1-12 0,0-1-3 0,-2-2-5 15,2 3-11-15,-2-3 9 0,1 4-11 16,0-3 38-16,-2 2-25 0,2-2-8 15,0 1 26-15,-2 0 5 0,2 1 10 0,-4-2 8 16,0-2-20-16,1 7 66 0,-1-2 2 0,-1 0-20 16,1 1 5-16,-2-3 3 0,-2 3-26 15,0 1-2-15,-1-2 2 0,-2 1-3 16,2 4-94-16,-3-2 8 0,2 0 20 0,-2 2-11 16,-1-1 14-16,1-1-21 0,-1 1 5 15,2-2 18-15,-2 2-5 0,0-1 8 0,2 0-18 16,-1-1-26-16,1 2-23 0,-1-3-25 0,4 0-29 15,-3 0-12-15,3-2-85 0,0 3-85 0,0-4-73 16,2 1-487-16,2 0 107 0,0-4 57 16,2 5 67-16,-2-5 61 0</inkml:trace>
  <inkml:trace contextRef="#ctx0" brushRef="#br0" timeOffset="-18770.79">21766 11230 1167 0,'-2'-5'386'0,"2"5"-45"15,-1-3-19-15,1 3-2 0,-2-3-41 0,2 3-23 16,0 0-20-16,0 0-39 0,0 0-10 16,-5 13-3-16,5-7-115 0,-3 4-2 0,3-1 7 0,-3 3-28 15,1 0 18-15,1 1-16 0,-3 2 6 16,1-1-33-16,3 0-6 0,-3 0-2 0,-1 2-41 15,1-1-11-15,3-1-14 0,-3-1-1 16,1 1-3-16,0-1-17 0,1 0-5 0,-2 0 2 16,3-4-28-16,-2 1-43 0,2 1-37 15,-2-3-68-15,1-2-52 0,1-1-250 0,0 2-108 16,0-2-20-16,1-1 119 0</inkml:trace>
  <inkml:trace contextRef="#ctx0" brushRef="#br0" timeOffset="-18186.55">21750 11213 1100 0,'6'-13'412'15,"1"0"-110"-15,1 7-25 0,1-2-16 0,-3 1-28 16,4 2-34-16,1-1 9 0,-1 1-32 15,0 3-22-15,2-1 7 16,-3 2 8-16,1 2-23 0,0 3-10 0,3-1-31 0,-5 2-11 16,2 0-4-16,-2 2-8 0,0 3-3 0,-4-2-20 15,-1 2 10-15,-2-1-23 0,-1 3-23 16,-4 0 5-16,0 1 6 0,-4 1-21 0,0 1-6 16,-2 0 9-1,-1-2-34-15,-1-1 2 0,1 4 11 0,-1-3 0 0,2-4-8 16,-4 3 3-16,4-1-16 0,0-4 11 15,3 0 20-15,1 0 18 0,1-2-48 0,-2 2 27 0,4-3-4 16,-2-2-24-16,2 4 26 0,1-2 13 0,-1-1-23 31,1 0-1-31,2-3 29 0,2 6-33 0,1-4 10 0,-3-2 18 0,5 5-11 0,1-2-2 16,0 1-5-16,2-2 23 0,0 3-18 16,0-3-13-16,3 1 26 0,-1-1-3 0,0 2-12 15,0-1 2-15,3 2 18 0,-3-3 2 0,0 0-10 16,0 1-20-16,-2-1-49 0,2 0-30 0,-2 0-45 15,-3-2-132-15,3-3-169 16,-3 6-415-16,4-3 57 0,-5 4 97 0,1-3 58 16,-5-1 85-16</inkml:trace>
  <inkml:trace contextRef="#ctx0" brushRef="#br0" timeOffset="-17017.35">22092 11425 1018 0,'-3'-7'336'0,"3"4"-22"0,0 3-14 15,-3-8-8-15,1 5-34 0,-1 0-12 16,2 1-11-16,1 2-109 0,-6-5 4 15,3 4-12-15,3 1-28 0,-8-2 20 0,8 2-28 0,-10 2 20 16,10-2-12-16,-13 3-19 0,10 0 1 0,-4 2-21 16,0 0 0-16,1 2-7 15,-2 0 2-15,3 1-15 0,-2-1 10 0,4 2 0 16,-5-1-3-16,6-1 0 0,-1 0-22 0,0 3-1 16,-1-3-5-16,4 0 11 0,-1 0-11 0,1-1 5 15,-1 1-9-15,2-1 17 0,0-1-18 16,1 1 8-16,2-4-3 0,-2 3-13 0,2-3 1 15,-1 0 25-15,-3-2-16 0,8 2 16 16,-3-2 70-16,-5 0-32 0,7-3 3 0,-1 0 8 16,-2 2-13-16,0-3-8 0,0 2 2 15,2-4 1-15,-2 1-18 0,-1-1 8 0,0 2-1 0,1-3-7 16,-3 1 7-16,4 0-22 0,-3-1 10 16,-1 0-6-16,1 2-2 15,1-1 26-15,-3 1-21 0,3 0 3 0,-2 0-13 16,0 0 5-16,-1 1-13 0,0 4 16 0,2-7-6 15,-2 4 8-15,0 3-23 0,0-6 0 0,0 6 11 16,0 0-14-16,0 0 11 0,0 0 5 0,0 0-10 16,0 0 5-16,0 0 2 0,0 0-10 15,0 0-2-15,0 0-24 0,-4 11 44 16,4-11-10-16,0 7-18 0,0-2 10 0,0-5-5 0,0 7 0 16,1-1-10-16,0-3-8 0,-1 1 8 0,0 1 4 15,0-2-6-15,2 2 1 0,-2-1 17 16,3-2-19-16,-2 4 2 0,-1-6 1 15,2 5 23-15,-2-1-8 0,0-4-5 0,2 4-2 16,0-1-16-16,-2-3 25 0,3 3-9 16,-3-3-8-16,0 0 17 0,0 0 1 0,0 0-18 15,8-1 17-15,-8 1 9 0,0 0-1 16,9-5-2-16,-9 5-28 0,6-1 22 0,-3-2-7 16,-1 1-15-16,3-1 15 0,-2 0 15 15,-1 1 1-15,-2 2-11 0,8-5-8 0,-3 3 11 0,-5 2-11 16,7-4 16-16,-6 2 2 0,-1 2-12 0,8-5 0 15,-6 5 2-15,-2 0 0 16,6-2 13-16,-6 2-8 0,0 0-5 0,10 0 8 0,-10 0 15 16,6 2-36-16,-6-2 13 0,4 4-10 15,0-3 10-15,-3 1 8 0,-1-2-15 0,5 6 7 16,-5-2 20-16,2-2-25 0,-2-2 23 16,4 5 13-16,-4-1-105 0,2-1 15 0,-2-3-4 15,0 6 11-15,0-6 1 0,4 4 16 16,-4-4 9-16,1 3 3 15,-1-3-2-15,0 0 25 0,0 0 5 0,0 4 8 0,0-4-21 16,0 0 19-16,0 0 9 0,10-7-14 0,-7 3-1 0,0 2-8 16,4-2-9-16,-4-1 22 15,4 1-28-15,0 1 18 0,-3-3-2 0,3 4 0 0,1-2 2 16,-1 4-3-16,0-2-12 0,-1 2 5 16,-6 0 2-16,11 0 24 0,-4 2 10 15,-1 0-37-15,-1 2 17 0,2 1-1 0,-2-1 0 16,-1 3 8-16,-2 0-26 0,4-1 21 0,-5 2-8 15,0-2-7-15,1 1-14 0,-2 0-7 0,0 2-18 16,0-3-20-16,0 0-18 16,0-2-26-16,0 2-44 0,-2-4-50 0,2-2-88 0,0 0-166 15,2 7-481-15,-2-5 130 0,0-2 15 16,0 0 109-16,0 0 93 0</inkml:trace>
  <inkml:trace contextRef="#ctx0" brushRef="#br0" timeOffset="-16477.37">22637 11236 1379 0,'0'0'407'0,"0"0"-38"0,0 0-21 0,0 0-108 0,-4 15-30 0,4-10 0 16,-1 6-20-16,-1-3-24 0,-1 4-12 15,-1 1-8-15,3 0-1 0,-2 3-37 16,1-2-8-16,0 2 7 0,2-2-27 0,-2 0-6 16,1-2 0-16,1 1 64 15,-3 1-7-15,3-2-21 0,0-1-15 0,0-1-13 0,0-1-1 16,0 1-6-16,0-3-34 0,0 0 15 0,0-1-2 16,0 1-6-16,0-2 14 0,0-2-8 0,0 2-16 15,0-1-5-15,0-4-2 0,-2 3-8 0,2-3 13 16,0 0 2-16,0 0-28 0,0 0 8 15,0 0 13-15,0 0-16 0,0 0-17 0,0 0 20 16,-8-9-16-16,3 5-2 0,3 1-10 0,-4-2 38 16,1 1-7-16,0 2 2 0,0-2-26 15,-2 3 1-15,-2-1-1 0,1 1 11 0,1-2-6 16,-3 3 19-16,-1 4 4 0,4-2-7 16,-3 1-15-1,0 1 28-15,2 0-21 0,-2 2 28 0,2-3-17 0,0 3 9 0,0-1 4 16,5 1-1-16,-4-1-13 0,4 0 21 15,-1 1-5-15,3-1-26 0,0 0 39 0,1 1-36 16,1-1 15-16,0-1 18 0,3 0-38 0,-1 0 30 16,4-2-10-16,-1 3-12 15,2-4 27-15,-1 0-30 0,3-1-8 0,0 3-33 0,0-4-56 0,-1 1 9 16,1 0-63-16,0-2-36 16,3 0-84-16,-3 1-142 0,-4 0-122 0,4-2-443 0,4-1 51 15,-2 0 113-15,2 0 115 16,-3-3 56-16,3 4 57 0</inkml:trace>
  <inkml:trace contextRef="#ctx0" brushRef="#br0" timeOffset="-16075.49">22807 11435 1185 0,'0'0'312'0,"0"0"-31"0,-13 3-9 0,11 1-11 0,2-4-20 0,-3 7-29 0,0-3 64 15,3 2-45-15,-2-1-14 16,2 2-4-16,-3-2-44 0,3 2-5 0,3 1-24 16,-3-2-19-16,2 2 4 0,0-2-7 0,2-1-29 15,-2 2 1-15,3-3-8 0,-2 1-8 16,2 0 3-16,2-5-16 0,-2 4-20 0,1-2-2 16,1-2 30-16,-7 0-5 0,11 0 18 0,-6-2 7 15,2 0-2-15,-1 0-87 0,-2-1 34 16,-1-1-14-16,3-2 31 0,-4 1-15 0,0-3-5 15,-2 2 12-15,0-2 3 0,-2 2-12 0,2-2 2 16,-2 3 17-16,1-1-37 0,-4 0-6 16,1 1-2-16,-2-1-3 0,1 1 20 0,0 4-30 15,0-3 13-15,-1 3 0 0,1-1-6 16,-2 1-33-16,7 1-2 0,-13 0-21 0,13 0-15 0,-10 1-31 16,2 1-25-16,8-2-39 15,-8 0-41-15,3 3-56 0,2-1-48 16,3-2-83-16,-7 1-23 0,4 2-458 0,3-3 65 0,0 0 93 15,0 0 42-15,0 0 77 0</inkml:trace>
  <inkml:trace contextRef="#ctx0" brushRef="#br0" timeOffset="-15435.25">22961 11391 988 0,'0'0'435'0,"4"-3"-120"15,-4 3-11-15,0 0-33 0,0 0-30 0,0 0-5 0,0 0-11 16,11 6-54-16,-9-4-4 16,-2-2-3-16,3 7-6 0,0-4-25 15,-1 1 3-15,0 1-16 0,1-1-25 0,-3 2 5 0,1-2-5 16,-1 2-21-16,2-3 0 0,0 3-13 16,0-1-15-16,-1 1 3 0,-1-4-26 15,0 3 31-15,0 1 41 0,0-3 2 0,0-3-18 0,3 5 34 16,-3-2-3-16,0-3-15 0,0 5-19 15,0-5 22-15,4 3 9 0,-4-3-35 16,0 0 20-16,0 0 3 0,0 0-34 0,0 0 11 16,13-6-8-16,-9 6-10 0,-2-3 2 0,3-1 26 15,-2-1-46-15,3 2 30 16,-2-1-12-16,1-1-18 0,2 3 18 0,-4-3-29 0,3 3-2 16,-2-2 26-16,1 2-16 0,0 0-5 0,-2 0-7 15,4 1 4-15,-7 1-20 16,11 1 8-16,-8 1-3 0,1 0-4 0,-4-2-1 15,9 3 5-15,-7 1-20 0,4-3 35 16,-4 2 9-16,0-1-34 0,2 2 2 0,-2-1-10 0,0-1-53 16,-2-2 23-16,5 5 2 0,-5-2 0 15,0-3 3-15,0 4 10 0,0-4-21 0,5 5 26 16,-5-5 3-16,2 2 28 0,-2-2-8 0,0 0 2 16,3 2 11-16,-3-2 8 0,0 0-18 15,11-4 15-15,-7 1-31 0,3-1 21 0,-1-1-6 16,2 1-14-16,0 1 4 0,0-2 6 0,-1 1 4 15,1 1-4-15,0 0 23 0,0 0-26 0,-1 3 30 32,-2-1-27-32,-5 1 2 0,12 1 0 0,-6 2 8 0,-3-1-23 0,3-1 12 15,-2 4-12-15,1-3 105 0,-2 2-13 0,1-1-18 16,0 1-44-16,0-1-69 0,-1 0-12 16,0 2-34-16,-1-3-76 0,0 3-13 0,-1-1-111 15,1-1-143-15,-2-2-191 0,3 2-377 0,-1 0 113 0,-2-3 50 16,0 0 142-16,1 6 56 0,-1-6 113 15</inkml:trace>
  <inkml:trace contextRef="#ctx0" brushRef="#br0" timeOffset="-14241.75">20988 12134 972 0,'0'0'266'15,"14"-4"3"-15,-9 4-38 0,5-2-19 0,0 1 3 16,6-1-38-16,-1 1-11 0,3 0-25 16,3-2-11-16,2 2 6 0,0-1-21 0,0 1-12 15,5-2 2-15,0 1-11 0,-3 0-20 0,-4-1-2 16,8 0 66-16,-4 0-40 0,-4 2 30 16,0-2-41-16,-1 1 20 0,-5 1-33 0,0 0 29 15,-4 1-37-15,1-2-9 0,-2 0-1 16,-1 2-5-16,-1 0-10 0,0-1 15 0,-2 1 19 15,-6 0-40-15,10-2-14 0,-10 2 15 0,6-1-29 16,-6 1 9-16,0 0-9 0,5-1-27 0,-5 1-26 16,0 0-10-16,0 0-24 0,0 0-32 15,0 0-57-15,0-4-64 16,0 4-100-16,0 0-519 0,0 0 63 0,0 0 75 0,0 0 102 16,-7-7 93-16</inkml:trace>
  <inkml:trace contextRef="#ctx0" brushRef="#br0" timeOffset="-13871.22">21384 11947 660 0,'-2'5'289'16,"2"-5"57"-16,4 4-52 0,-1 0-7 16,0-2-39-16,4 1-5 0,1-1-30 0,0 1-9 15,2 1-30-15,4-3-97 0,-2 4 5 16,1-3-20-16,1 2 7 0,-3-1-13 0,4-1-5 16,-4 1-7-16,1 0 2 0,0-1-13 0,-3 0 18 15,-1 1-25-15,0 0 38 0,0 1-39 16,0 0 11-16,-4 0-15 0,1 2 17 15,-2-1-30-15,-1 2 28 0,-2 0-13 0,0 1 10 16,-5 1 3-16,2-1-13 0,-1 4-18 0,-4 1 18 16,0 2-18-1,-2-2 5-15,1 1 3 0,-5 3-18 16,3-2-31-16,-4 2-46 0,5-3-53 0,-1 2-121 0,-14 5-77 16,18-5-517-16,0-4 128 0,0-2 64 0,2-2 57 15</inkml:trace>
  <inkml:trace contextRef="#ctx0" brushRef="#br0" timeOffset="-13333.43">21837 11950 1052 0,'2'-4'289'0,"-2"4"74"0,0 0-22 15,0 0-37-15,6 8-30 0,-4-3-15 0,1 1-65 16,0 3-4-16,-3-1-6 0,3 4-23 16,-1 2-97-16,-2-3 3 0,3 6 7 0,-1-3-23 15,-2 1 6-15,1 0-14 0,-1 1-46 0,0-1 19 16,0-1-32-16,-1 1-24 0,1 0-7 16,-2-2-27-16,2 0-18 0,0 0-49 0,-3-2-15 15,3-2-59-15,0 1 13 0,0 0-26 16,0-2-13-16,0-2 1 0,-2 2-390 0,2-3-51 15,0 0 105-15</inkml:trace>
  <inkml:trace contextRef="#ctx0" brushRef="#br0" timeOffset="-12913.13">21815 12122 1154 0,'2'-21'345'0,"0"0"-14"0,4 2-16 16,2-1-13-16,-1-2-39 0,3 2-12 0,3 1 0 15,0 1-28-15,-3 0-29 0,6 4 6 16,-5 3-11-16,-1 2-35 0,2 2-3 0,-4 3-23 16,-1-1 5-16,4 3-92 0,-6 2-8 0,-5 0-10 15,10 5 16-15,-5-2-24 16,-4 4 18-16,-1-2-7 0,-4 4-16 0,0 1 16 16,-6 2-8-16,1 1-13 0,-3 0 2 0,-4 3 6 15,2 0 5-15,-2 0-31 0,1-2 0 16,-1 0 29-16,3 2-14 15,0-4 4-15,3-1 11 0,-1-1-29 0,4 2 17 0,1-5-3 0,-3 4-2 16,4-5-7-16,1 1 4 0,0 0-7 16,2 0 10-16,2-2 8 0,0 0-1 0,4-1 1 15,-1 0 7-15,4 0-15 16,3-1 31 0,-1 0-11-16,1-1-14 0,4-2-4 0,0 4 19 0,1-3-27 0,-1 0 37 0,1 0-28 15,0-1-16-15,-2 1 3 0,1-1 7 0,-3 0-46 0,0-1-27 16,0 0-19-16,-1 1-43 15,-3-1-123-15,3 1-85 16,-2 0-565 0,0 0 64-16,0-1 120 0,0 1 51 0,-4-4 46 0</inkml:trace>
  <inkml:trace contextRef="#ctx0" brushRef="#br0" timeOffset="-12401.54">22099 12238 783 0,'0'0'368'16,"0"0"-7"-16,10-11-56 0,-5 7-24 0,0-1 14 0,1-1-119 16,2 1-7-16,-1-3-7 0,0 1-32 0,-1 0 29 15,2-1-39-15,-1 0-2 0,1-1-11 0,-3 1-12 16,0-1 0-16,1-2 5 0,-4 3-11 15,3-1-9-15,-5 0-14 0,3 1 14 0,-1 2-16 16,0-1 10-16,-2 1-28 0,-2 3 5 0,0-1 8 16,2 4-28-16,-6-4 76 0,6 4-5 15,-7 0-12-15,7 0-11 0,-9 6 11 16,3-1-31-16,0 0 7 0,-1 4 9 0,2-1-34 0,-1 1 7 16,-1 0 1-16,4 0-16 15,-2 2 8-15,3-1-13 0,0 1 0 0,-2 0 11 16,4-2-21-16,0 0-5 0,0 1-16 15,0-1-12-15,4-1-14 0,-2-1-29 0,2-1-17 16,2 1-27-16,1-2-36 0,-1-2-108 0,3 1-94 16,-1-2-193-16,0-1-376 0,0 0 111 0,5-2 76 15,-6-1 97-15,3 0 44 0</inkml:trace>
  <inkml:trace contextRef="#ctx0" brushRef="#br0" timeOffset="-11859.61">22373 11993 647 0,'-5'-4'289'0,"5"4"-2"0,0 0-49 0,-5 0 15 15,5 0-58-15,0 0 66 0,-7 10-2 0,6-5-11 16,-1 2-61-16,-1 1 12 0,1 4-22 16,1 2-16-16,-3 3-33 0,4 1 3 0,-3 2-31 15,3 2-3-15,-1 3-2 0,-1 1-19 0,0-4 14 16,2 4-13-16,0 0-29 0,-2-3 6 15,2-2-18-15,-1 0-3 0,2-2-2 0,-2 0 20 16,1-1-15-16,1-3-13 0,-1-1-5 16,0 0 51-16,0-2-41 0,0-2-2 0,2 0-8 15,-2-1 2 1,0-2-4-16,0 0 4 0,2-2 1 0,0 1 20 0,-1-2-24 0,-1-1 4 16,0-3 20-16,3 3-8 0,-3-3-17 0,0 0 48 15,0 0 5-15,0 0-8 0,7-12 11 16,-4 4-1-16,-1-3 24 0,1-2-36 0,0-5-46 15,2-1 12-15,0-5-17 16,0 0 33-16,3-3-38 0,0-5 20 16,2 7 61-16,-3 4-20 0,3 1-8 0,-2 5 3 0,0 2 23 0,-3 2-38 15,2 2 17-15,1 1-20 0,-5 2 5 16,5 2 13-16,-2 0-21 0,-4 4 1 16,-2 0-1-16,10 0 11 0,-10 0-18 0,5 5 4 0,-5-5-9 15,3 5 25-15,-3 0-20 0,0-2 18 16,0 4-29-16,-4 0 11 0,0 0-16 15,0 1 8-15,-3-2 0 0,0 3 16 0,-3 0-39 16,2-1 20-16,-1-1-7 0,-3 0-11 0,2-1-12 16,2-1 18-16,-2 2-36 0,3-3-52 15,-1 1-25-15,0-2-12 16,4 0-34-16,-2-2-44 0,1 2-69 0,0-2-158 0,2 1-471 0,3-2-67 16,0 0 113-16,0 0 51 15,0 0 117-15,0 0 98 0,0 0 28 0</inkml:trace>
  <inkml:trace contextRef="#ctx0" brushRef="#br0" timeOffset="-11507.76">22504 12148 1039 0,'8'-4'404'0,"-8"4"-22"0,7 2-50 0,-7-2-37 0,13 3-27 0,-10 2-14 15,5-1-34-15,-3 1-28 0,0 3-15 0,0-2 2 16,2 1-36-16,-4 1-2 0,3-1 2 0,0 3-33 16,-5-1-10-16,4-2-18 0,-3 2 8 15,-1 0-21-15,2-2-10 0,-1-1-16 0,0 2 21 16,1-2-18-16,-3-1 3 0,3 0 15 16,-3-1-8-16,0-4 6 0,4 5-6 0,-4-5 36 15,1 1-13-15,-1-1-20 0,0 0 0 0,0 0 20 16,10-10-22-16,-8 4-75 0,2-1-5 15,-2-1 23-15,3-4-13 0,0 1 0 0,0-1 8 16,2-1-20-16,-1-1-6 0,2-2-31 16,-1 3-2-16,5-1-58 15,-3 0-14-15,1-1-56 0,5 3-51 0,-4 1-146 0,4-1-103 0,-2 2-383 16,0 1 56-16,2 2 163 0,-2 0 11 16,2 0 46-16</inkml:trace>
  <inkml:trace contextRef="#ctx0" brushRef="#br0" timeOffset="-10830.15">22772 12282 883 0,'0'0'273'0,"0"0"-22"16,0 0 10-16,0 0-23 0,0 0 65 0,0 0-35 15,0 0-30-15,0 0-7 0,0 0 2 16,9-9-26-16,-4 5-30 0,-2-2-75 0,0-1 3 16,3 3-33-16,-2-4 12 0,0 2-12 15,-3-3 2-15,4-1-7 0,-2 1-29 0,-1-1 18 16,0 2-20-16,2 2 87 0,-2-2-8 0,0 1-30 16,-2 1 14-16,0 1 6 0,0-1-20 15,0 3-29-15,0 3 3 0,0-4-10 0,0 4-8 16,0 0 17-16,0 0-9 0,0 0-16 0,-10 7 21 15,8-2-5-15,0-1-29 0,-2 2 24 16,1 2-24-16,1 0 34 0,0-1-34 0,-1 1-12 16,3 1 15-16,-1 0 8 0,-1-2-34 15,0 1-15-15,2-1-12 0,0-1 7 16,2 2-36-16,0-3-28 0,-1 0-8 0,2 0-25 0,-1 0-54 16,1-1-39-16,3 0-112 15,-2-2-123-15,2 0-473 0,4-1 127 0,-3-1 31 0,3 0 134 16,1-1 91-16</inkml:trace>
  <inkml:trace contextRef="#ctx0" brushRef="#br0" timeOffset="-10489.85">23076 12110 903 0,'-8'0'341'0,"8"0"-24"0,-13 0-23 0,5 1-7 16,1 0-44-16,0 0-2 0,-1 3-49 0,2-2 18 15,-1 2-39-15,1-2-22 0,-1 5-1 0,2-3-7 16,2 3-31-16,-2-1-13 0,3 1 8 16,-1 0-15-16,3 1-3 0,0 0-10 15,3 0-3-15,-1 0 49 0,2 0-65 0,0 1 24 0,0 0-5 16,0 0-5-16,0 1-26 16,-1-3 51-16,1 1-30 0,-2-2-3 0,2 2 5 0,-4-2 5 15,4 2 0-15,-4-2 1 0,0-1-11 16,-1 3-3-16,-2-2-2 0,1 1-11 15,-1-1-12-15,-2-1-8 0,0 0 16 0,0-1 10 16,-2-1-8-16,-1 1 5 0,2-1-5 16,0 0-125-16,-2-1 20 0,2-2-15 0,1 3-1 15,-1-1-47-15,6-2-9 0,-10 0-38 16,10 0-28 0,-6 0-59-16,6 0-82 0,-6-5-59 0,6 4-488 0,0 1 132 0,0 0-7 0,6-7 125 15,-4 5 100-15</inkml:trace>
  <inkml:trace contextRef="#ctx0" brushRef="#br0" timeOffset="-9749.76">23158 12255 885 0,'3'-3'369'0,"1"0"-103"0,-1-2-13 16,1 2-20-16,-2-2 8 0,0-1-18 16,3 0 56-16,-5 0-13 0,5-3-15 0,-3 0-31 15,1 1-8-15,-2 2-33 0,-1-2-28 16,2 1-58-16,-2 1-4 0,0 0-9 0,0 1-14 16,0 0-4-16,0 0-9 0,0 5 14 0,-2-5-29 15,2 5 6-15,0 0 25 0,-6 0-44 16,6 0 11-16,0 0-5 0,-8 9-5 0,4-4-6 15,1 1 1-15,0 1 17 0,1 0-46 16,0 1-2-16,1 1-36 0,1 0 2 16,0-1 6-16,2-1 0 0,-1 1-3 0,1-1 13 0,3 1-13 15,-2-2 15-15,2-1 13 0,-2 0-10 16,3-2 8-16,-2 0 10 0,1-1-21 16,0-1 34-16,0-1-8 0,-5 0 41 0,13 0-8 15,-8-1-5-15,1-1 5 0,1-1 16 0,-2 1-16 16,3-2-2-16,-3 1 10 0,2-1-23 15,0 1 5-15,-3-1 5 0,1 2 16 0,0-1-19 16,0 1-4-16,-5 2-14 0,7-2 14 0,-7 2-1 16,7 0-22-16,-7 0 25 15,0 0-5-15,7 2 0 0,-7-2-11 0,5 3-4 0,-5-3-3 16,2 4-8-16,-2-2 34 0,0-2-16 0,4 5-15 16,-4-2 2-16,0-3 19 15,2 5-11-15,-2-5-15 0,0 0 20 0,0 5 8 16,0-5-18-16,2 3-10 0,-2-3 10 0,0 0 43 15,0 0-30-15,3 2-11 0,-3-2 52 0,0 0-41 16,0 0 5-16,10-7 0 0,-5 4 12 16,-2 0-30-16,2 1 11 0,0-2 2 0,0 0-11 15,0 2 11-15,0-1-5 0,0 0 2 16,-2 2 3-16,-3 1-26 0,11 0 5 0,-11 0 8 16,10 3 3-16,-6 0-8 0,-1 0-6 0,2 2 1 15,-2-2 2-15,2 2 24 0,-2-1-34 0,-1 1-15 16,1-2-21-16,0 1-18 0,-1-1-5 15,2 1-30-15,-3-3-54 0,-1-1-67 0,3 5-166 16,-3-2-49-16,0-3-445 0,7 1 109 0,-7-1 40 16,8-4 119-16,-3 1 72 15</inkml:trace>
  <inkml:trace contextRef="#ctx0" brushRef="#br0" timeOffset="-9574.1">23602 11928 980 0,'-3'-4'302'0,"3"4"-26"16,0 0-30-16,0 0-13 0,-3 13 38 0,1-7-25 15,0 2-3-15,1 2-12 0,0 1-45 0,-3-1-14 16,2 5-21-16,2-2-20 0,-3 1-1 0,3 0-12 16,0 1-47-16,0 0-27 0,0-3-8 15,0 1-13-15,3 0-64 0,-1 1-28 16,0-4-69-16,2 0-85 0,-4-1-77 0,4-1-480 15,-1 0 50-15,-3-1 77 0,3-2 90 0,0-1 72 16</inkml:trace>
  <inkml:trace contextRef="#ctx0" brushRef="#br0" timeOffset="-9307.55">23450 12135 1026 0,'0'0'356'0,"-7"-3"-8"0,7 3-18 16,-3-2-13-16,3 2-22 0,0 0 43 0,0 0-26 16,0 0-23-16,0-5-48 0,0 5-16 15,10-2-28-15,-2-1-18 0,0 3-28 0,2-1 0 16,0-1-25-16,3-2-21 0,0 3 38 0,0 0-46 16,2-4-30-16,0 3 5 0,1 0-16 15,-3-2-38-15,2 2-21 0,0-1-15 0,-2 1-35 16,0-1-47-16,-3 2-51 0,-2-1-62 0,5 0-137 15,-3 0-188-15,1 0-371 0,1 1 101 16,0-3 96-16,2 1 77 16,-4 0 46-16</inkml:trace>
  <inkml:trace contextRef="#ctx0" brushRef="#br0" timeOffset="-8386.25">23858 12113 757 0,'0'0'305'0,"0"0"-36"0,0 0-16 0,0-3-7 16,0 3 33-16,0 0-8 0,-5-4-43 0,5 4-11 15,0 0-20-15,-10 0-2 16,10 0-6-16,-8 3-32 0,0-2-27 0,4 0-2 0,-3 1-5 16,-2 2-44-16,1-1 8 0,1 1-5 15,1 0-8-15,-2 0 3 0,3 1-15 0,-2 1-14 16,2-1 6-16,1 0 8 0,-3 0 22 15,6 0-51-15,-3-1-2 0,2 0 15 0,2 0-5 16,0 1-15-16,0-5-1 0,2 5 32 0,2-4-27 16,-4-1 1-16,8 3-21 0,-8-3 23 15,11-1-15-15,-5 1 8 0,1-2-18 0,0 1 2 16,3-3 5-16,-3 3 21 0,2-3-18 16,-1 0-31-16,0 0 34 0,-3 1 4 0,3 0-7 15,-2 0-23-15,-2 0 5 0,0 1 5 16,-4 2-15-16,8 0-3 0,-8 0 13 0,0 0-5 15,9 1-5-15,-9-1 23 0,4 6-16 0,-1-4-15 16,-2 2 8-16,0 0 5 0,0 0-18 0,1 0-16 16,0-2 19-16,2 3-3 15,-2-1-16-15,2 0-7 16,0-3 16-16,1 2 7 0,0-2 0 0,-5-1 5 0,13-1-5 0,-5-2 23 16,-1 2 23-16,3-2-5 0,-3-2-8 0,1 0 56 15,1-1-40-15,-1-1 38 0,0-2-77 16,0 1 21-16,-2-3-11 0,-1 1-4 0,3-4 17 15,-1 0 13-15,-4-2-18 16,5-1 18-16,-3-2 10 0,5-1-5 16,-3-2-2-16,0 0-21 0,-3 6 23 0,2 0-10 0,-2 3 5 0,2 1 23 15,-4 1-25-15,3 2-6 0,-4 3-5 0,-1 2-4 16,0 4-9-16,0 0 11 0,0 0 2 16,0 0-2-16,-6 15 12 0,4-6-20 15,0 1 8-15,-2 1 7 16,2 4 0-16,0-2-15 0,0 1-17 0,1 1 14 0,-2 1-10 0,3-2-15 15,-2 0-41-15,4 2 0 0,-2-1-21 16,0-3-20-16,3 2-23 0,-1-3-8 0,-1 1-40 31,1-1-58-31,0-3-119 0,1 1-28 0,0-3-487 0,3 0 141 0,-2-3 23 0,1 0 102 16,-2-3 52-16</inkml:trace>
  <inkml:trace contextRef="#ctx0" brushRef="#br0" timeOffset="-7999.51">23940 12076 993 0,'0'0'317'0,"-7"0"-30"16,7 0 74-16,0 0-49 0,0 0-18 16,0 0-10-16,0 0-20 0,0 0-34 0,0 0-4 15,0 0-42-15,0 0 0 0,17-7-30 0,-10 4-21 16,2 1 10-16,1-1-22 15,0 2-24-15,2-2-61 0,-1 1-21 0,3-3 6 0,-2 4 4 16,2-3 11-16,-2 1-21 0,0-1 11 0,-2 2 5 16,-1-3 5-16,1 4-1 15,-3-2 6-15,1 0-15 0,-2 1 10 0,0 1-6 0,0-1 1 16,-6 2 2-16,10 0 3 0,-10 0-41 16,10 2 26-16,-7 0-6 0,2 0-12 0,-2 1 20 15,2 0-8 1,-2 2-7-16,-1-1-1 0,3 1-4 0,-2 2 15 0,-1 0-8 0,3-1-15 15,-4 1 2-15,3 0 29 0,-2 0-44 0,-1 0-10 16,2-1-36-16,0 1-5 0,-1-2-21 16,0 1-7-16,1 0-46 0,-3-4 2 0,2 3-95 15,0 1-99-15,-2-3-52 0,3-1-496 0,1 1 128 16,0-1 33-16,-4-2 144 16,6 2 33-16</inkml:trace>
  <inkml:trace contextRef="#ctx0" brushRef="#br0" timeOffset="-7827.11">24188 11965 678 0,'-7'-2'248'0,"7"2"-20"0,-7 0-44 0,7 0-40 15,0 0-88 1,-6 3-133-16,6-3-15 0,-3 4-504 0,3-4 2 0</inkml:trace>
  <inkml:trace contextRef="#ctx0" brushRef="#br0" timeOffset="-7116.76">24309 12035 939 0,'7'5'284'15,"-6"-1"-10"-15,4 0-28 0,-3-2-11 0,1 5-122 0,2-2-3 0,-2 1-36 16,1 0 16-16,-3-2-8 16,4-1-13-16,-1 1-5 0,-3-1 0 0,2 1 2 0,1-2-17 15,-3 3-6-15,1-2-9 0,1 0 7 0,0-2-11 16,-3-1 6-16,5 5 10 0,-5-5 5 15,3 2-35-15,-1 1 14 0,-2-3 4 0,0 0 7 16,0 0 5-16,0 0-28 0,8 0 10 0,-8 0-5 16,0 0 0-16,0 0 20 0,0 0-4 15,4-5-11-15,-4 5 26 0,3-6-8 0,-2 3 5 16,-1-1-5-16,2 0 23 0,-2 4-15 16,0-7-8-16,0 3-10 0,0 0 10 0,0-1 23 15,2 2-13-15,-2 3 1 0,2-6 4 16,-2 6-12-16,0-5 30 0,0 5-15 0,1-5-20 15,-1 5-3-15,3-3 2 0,-3 3 47 0,0 0-1 16,0-3-12-16,0 3-5 0,0 0 7 16,0 0-15-16,0 0 0 0,12 0-10 15,-12 0 17 1,8-1 9-16,-3 0-39 0,-5 1-10 0,13-2 4 0,-6-1-9 0,1 2 0 0,1-2 9 16,0 2-22-16,0-1 3 0,0-2-6 0,-2 1 13 15,1-2-3-15,2 0 16 0,-4 2-3 16,-1-2-4-16,3 1-14 0,-3-1 0 15,-2 3 21-15,3-3-13 0,-5 2-13 0,-1 3 3 0,3-4 0 16,-3 4 10-16,0 0-3 16,0 0-17-16,0 0 5 0,0 0 7 0,0 0 11 15,-13 11-1-15,13-8 1 0,-5 4-11 0,3-2-7 0,0 1 10 16,0 0-5-16,0 0 5 16,2 0 5-16,2-1-13 0,0 1-10 0,0-2-62 15,2 1-14-15,2-1-45 0,1 1-9 0,3-2-72 16,3 2-13-16,0-3-34 0,3 1 16 0,-1-1-10 15,1 1 28-15,1-1 36 0,-1 0 30 16,2-2 42-16,0 2 38 0,-3-1 28 16,0 0 10-16,-2 0 21 0,-1-1 23 15,-1 1 5-15,2-1-13 0,-3 0 8 0,-2 2-49 16,-1-1-15-16,-1 0-60 0,1 0-93 0,-3 1-86 0,0-1-521 16,2 0 115-16,-6-1 20 0,9 1 67 15</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1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5:44:58.33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brush xml:id="br2">
      <inkml:brushProperty name="width" value="0.05292" units="cm"/>
      <inkml:brushProperty name="height" value="0.05292" units="cm"/>
      <inkml:brushProperty name="color" value="#FFC000"/>
    </inkml:brush>
  </inkml:definitions>
  <inkml:trace contextRef="#ctx0" brushRef="#br0">2170 2573 1474 0,'0'0'386'15,"-5"0"-25"-15,5 0-36 0,0 0-43 0,0 0-16 16,0 0-12-1,0 0-19-15,0 0-30 0,0 0-6 0,21 3-35 0,-9-3 8 16,4 0-29-16,2 1-17 0,0-1-11 0,2 0-3 16,4 0-19-16,1 0 78 0,-2-1-20 15,2 0-15-15,1 1-8 0,0-2 5 0,-2 1-51 16,0-1-3-16,0 2-2 0,-7 0-5 16,1-1-44-16,0 1 25 0,-5-3-9 0,-2 3-31 15,2-1 10-15,-3 1-31 16,0-1-33-16,-3 1-7 0,-1-1-16 0,1 1-39 0,-7 0-25 15,11 0-48-15,-11 0-37 0,7-2-84 0,-7 2-181 0,6-1-447 16,-4-1 94 0,-2 2 37-16,0 0 93 0,5-4 74 0,-5 4 56 0</inkml:trace>
  <inkml:trace contextRef="#ctx0" brushRef="#br0" timeOffset="417.41">2544 2419 1008 0,'-5'-3'369'0,"5"3"-24"0,0 0-25 15,0 0-26-15,0 0-2 0,0 0-41 0,0 0-8 16,26 5-25-16,-16-3-21 0,3 1-10 15,0-1-41-15,2 3 2 0,1-3-12 0,2 3-26 16,-3-1-8-16,3-1-2 0,0 1-13 16,0 1-15-16,-1 0 0 0,-1-2-8 0,-3 2 15 15,-1 1-38-15,2-3 23 0,-4 4-3 16,0-2-2-16,0 0 13 0,-5 2-18 0,1 0-29 0,-4-1 24 16,-1 5 2-16,-2-3-18 15,-1 2-7-15,-3 2 28 0,0 3-6 16,-3 1-94-16,-3 1 15 0,1 1 11 15,-2 1-18 1,-2-1-9-16,-1 1 12 0,0-2-42 0,2 1-28 0,0-3-23 0,-2 1-61 0,4-4-116 0,1 1-100 16,3-4-462-16,1 1 32 0,1-3 62 0,2 0 113 15,2-1 76-15</inkml:trace>
  <inkml:trace contextRef="#ctx0" brushRef="#br0" timeOffset="903.52">3647 2246 1090 0,'0'0'466'0,"-2"-5"-39"16,2 5-66-16,0 0 33 0,0 0-79 0,0 0-38 15,0 0 7-15,-8 13-56 0,7-5-29 0,1 3 14 16,-2 1-52-16,0 4 10 0,-1 4-30 0,3 0-18 16,-3 2 36-16,3 4-52 0,-2-1-32 15,2 1 9-15,0 0-64 0,-2 2 1 0,1-8-49 16,-1 4-18-16,1-5-41 0,1 1 5 15,0 0-46-15,0-4-97 0,1-1-75 16,-1-5-107-16,2 2-489 0,-1-3 69 0,1 1 72 16,0-4 128-16,-1-2 64 0</inkml:trace>
  <inkml:trace contextRef="#ctx0" brushRef="#br0" timeOffset="1359.65">3637 2279 1412 0,'7'-10'456'0,"2"1"-41"0,1 2-134 0,0 1-20 15,0 0-17-15,2 2-14 0,1 1 16 16,-2 0-8-16,4 1-21 0,-5 2-14 0,0 2-32 15,1-1-7-15,-6 4-29 0,2-1-1 0,-4 5-27 16,0-1-7-16,-5 3-46 0,-2 0-24 0,0 5 1 16,-2 0-31-16,-4 0-2 15,2 0 12-15,-2 2 3 0,0-4 5 0,-1 4-8 0,1-6-5 16,-2 2-8-16,2-1 31 0,1-2-20 16,2-2 2-16,0-3 19 0,1 1-17 15,1-1 14-15,0 0 7 0,2-1-30 0,-2 0 10 16,3-2 10-16,2 1 7 0,0 1-25 15,2-1 24-15,3 1-27 0,-2-1 6 0,2 2-6 16,0-3 4-16,3 3 6 0,2-2 11 0,1 2-12 16,-2-3-9-16,2 0 11 0,1 0 15 0,2 2-2 15,-4-1-21 1,1 0 2-16,-4 0-17 0,3-2-3 0,-3 1-7 0,1-1-24 16,0 0-43-16,-3 0-38 0,0 0-52 0,0-1-120 15,-5-1-107-15,8 2-528 0,-3-2 54 0,-5 0 118 0,8 2 36 16,-8-2 84-16</inkml:trace>
  <inkml:trace contextRef="#ctx0" brushRef="#br0" timeOffset="2306.23">4111 2416 1121 0,'-5'-2'297'0,"0"1"-18"0,-3 1-23 16,8 0-24-16,-13-2-24 0,6 4-21 0,-1-1 0 15,0 4-24-15,0-1-30 0,-2 3-5 16,3 0 3-16,-3 3-39 0,2-1-2 16,2 1-19-16,-1 1 9 0,-1 0 66 0,2 1-8 0,2-2-15 15,-1 2-21 1,2-1-10-16,1 0-25 0,-1-2-11 0,3 1 16 0,3-3-44 16,-3-1 13-16,2 0-21 0,1-1 11 0,2 2-13 15,-2-4-13-15,2-2 3 0,0 2 10 16,2-3 2-16,1 0-10 0,-8 0 6 0,13-3 15 15,-8 1-3-15,2-2 23 0,1-1-10 0,-3 0 5 16,3-2 26-16,-2-2-14 0,1 1 12 16,-2 0-6-1,-3-3-11-15,4 1 22 0,-3 2-32 0,-1-1-10 0,1 0 31 0,-1 1-23 0,1 1 26 16,-1-2-19-16,1 2 14 0,-1 2 4 16,-1 1 9-16,-1-1-29 15,2 0 23-15,-2 0-13 0,0 5 0 0,0-4-38 0,0 4-15 16,0-5 2-16,0 5 13 0,0 0-5 15,0 0 5-15,0 0 2 0,0 0-27 0,0 0 12 16,0 0-16-16,-3 15 19 0,1-11-31 0,2 1 0 16,0-1 13-16,0 1-34 0,0 1-4 15,0 1 12-15,2-3-8 0,-2 2-2 0,1-1 26 16,1 0-6-16,-2-1-20 0,0 1 3 16,2 0 9-16,-2-2 1 0,3 1 38 0,-3-4-33 0,1 6 23 15,0-4 23-15,-1-2-41 0,5 4 28 16,-5-4-13-16,4 3 16 0,-4-3-1 15,7 0-19-15,-7 0 17 0,0 0-5 0,0 0 5 16,13-3 3-16,-13 3 27 0,5-4-17 16,0 4 3-16,-5 0-3 0,5-3-13 15,-5 3-5-15,8-2 23 0,-3 1 3 0,-5 1 2 0,5 0-18 0,-5 0-5 16,0 0 26 0,10 0-11-16,-4-2 3 15,-6 2-5-15,5 2 5 0,-5-2 0 0,7 1 0 0,-4 1-15 0,-3-2-3 0,5 3 21 16,-5-3-16-16,7 4 18 0,-6-3-23 15,-1-1 8-15,5 2 5 0,-2 1-8 0,-3-3 26 16,0 0-74 0,7 0 22-16,-7 0 19 0,0 0 22 0,0 0 16 0,0 0 8 0,8 0-8 15,-8 0 82-15,0 0-31 0,3-3 3 0,-3 3-11 16,4-5-20-16,-4 2-2 0,0 3-9 0,5-5-12 16,-2 3 13-16,-3 2 5 0,5-6 0 15,-2 5-16-15,-3 1-15 0,5-5 8 16,0 4 8-16,-5 1-3 0,8 0 18 0,-8 0-16 15,8 2-38-15,-3 2 18 0,2-1-5 16,-4 3-36-16,2-2 3 0,0 2-39 0,0-2-12 16,-2 1-24-16,2 1-48 0,-2-1-46 0,-1 0-52 15,0-2-20 1,1 2-77-16,0-3-168 0,-1 1-508 0,-2 0 106 0,2 0 35 0,-2-3 67 0,0 0 102 16,0 0 49-16</inkml:trace>
  <inkml:trace contextRef="#ctx0" brushRef="#br0" timeOffset="2747.21">4470 2275 967 0,'0'-4'369'0,"0"4"-37"16,0 0 4-16,0 0-37 0,7 14-43 15,-6-5-23-15,1 0-15 0,3 0-16 0,-3 5-33 16,4-1-16-16,-3 3-4 0,2 0-13 15,0 1-29-15,0-2 6 0,-2 2-16 0,2-3-36 0,0 3 8 16,0-4-15-16,0-1-13 16,0-2-18-16,-2-1 0 0,1 0 5 0,-1-1-12 15,2-1 2-15,-2-3 10 0,2 1 8 0,-2-2-3 16,-1 0-20-16,1-1 17 0,-3-2-1 16,0 0-17-16,0 0 11 0,0 0-12 0,0 0 25 15,0 0-11-15,0 0-4 0,-8-10 22 0,3 6-12 16,1 2-3-16,-2 1-2 0,1-1 2 15,-3 0-15-15,8 2 10 16,-15 2 2-16,7 1-2 0,0-1-2 0,0 4-11 0,-2-2-2 0,0 2 15 16,2 0 2-16,-2 1 1 0,2 0-21 15,3 1 15-15,-2-2-7 0,4 0 3 0,-2 0 25 16,2-1-26-16,3 0 13 0,-2 2-18 0,0-2-2 16,4-2 92-1,-2 2-44-15,2-2 3 0,1 0-28 0,2-1-31 0,-5-2-8 16,12-1-41-16,-4 0-22 0,1-2-42 0,1 0-76 15,0 0-106-15,2-7-96 0,1 6-541 0,-2-3 49 16,4 2 153-16,0 0 16 0,1-3 133 16,-1 1 23-16</inkml:trace>
  <inkml:trace contextRef="#ctx0" brushRef="#br0" timeOffset="3125.25">4752 2419 867 0,'-8'2'356'0,"3"4"-31"15,0 1-36-15,0-1-20 0,2 1-15 0,1-1-24 16,-1 2-30-16,1 0-21 0,1 0-5 16,1 1-28-16,1-1-29 0,1-1 86 15,1 0-19-15,-1-1-28 0,1 1-25 0,2-2 9 0,3 0-19 16,-4-2-19-16,3 1 6 15,2-3 12-15,-4 1-41 0,3-2 8 0,0-2 0 16,0 1 0-16,2-3 11 0,-5 1-16 0,3 0 22 16,-3-3-4-16,0 1 21 0,0-2-103 15,0 2 22-15,-5 0-6 0,2-1-6 0,-2-2 26 32,-2 0-13-32,0 2 5 0,-1 0-16 0,-2-1-12 0,-1 2 5 0,-1 2 0 0,0-3-17 15,-1 3-6-15,0 0-26 0,0 2-23 0,1 0-20 16,-1 1-5-16,0 0-21 0,0 1-35 0,1 1-26 15,1 0-24-15,2 2-65 16,-2-3-116-16,1 3-67 0,-2-4-96 0,6 2-306 0,1-2 21 16,0 0 105-16,0 0 93 0,0 0 53 0</inkml:trace>
  <inkml:trace contextRef="#ctx0" brushRef="#br0" timeOffset="3710.32">4842 2410 1172 0,'7'-2'338'0,"-7"2"-77"0,11 2-28 0,-11-2-41 0,10 1 7 16,-5 1-14-16,0 1-47 16,1 1 21-16,1-1-24 0,-2 2-9 0,0 0-14 0,0 0-20 15,1 1-10 1,-2 1 5-16,2-2-2 0,-1 2 2 0,-2-3-33 0,-1 1-1 0,1 1-7 16,-1-1 16-16,1 0 51 0,0-2 2 15,-2 1-13-15,2-1 8 0,-3 0-5 0,0-3 18 0,4 6 5 16,-3-4 0-16,-1-2-31 15,3 3 36-15,-3-3-87 0,0 0 6 0,0 0-9 16,0 0 8-16,0 0-7 0,13-7 45 0,-10 3-30 16,-1 0-18-16,3 1 23 0,0-3 0 15,-3 1-7-15,4 0 4 0,-3 2-10 0,4-2 13 16,-4 1-8-16,2 1 8 0,0-1-15 16,-3 2 7-16,4 1-2 0,-4-2-18 15,-2 3 8-15,10-2 2 0,-7 2 25 0,-3 0 27 16,7 0 14-16,-7 0-4 0,0 0-19 0,9 0-30 0,-9 0 23 15,7 0-18-15,-7 0 0 0,0 0 13 16,8 0-29-16,-8 0-25 0,0 0 49 16,5 0-67-16,-5 0-43 0,0 0 51 15,0 0-21-15,10-3 49 0,-10 3-8 0,6-3 11 0,-4 2-16 16,3-3 54-16,0 2 25 0,-2-1-27 16,2 2 27-16,0-1 3 0,-3-1-46 0,-2 3 69 15,8-3-64-15,-5 2 21 0,2-1-69 16,-5 2-21-16,10-1 0 0,-10 1 0 0,10 3 0 15,-4-2 0-15,-3 2 0 0,1 0 0 0,2-1 0 16,-2 1 0-16,-1 0 0 0,2 2 0 0,-3-2 0 16,4 2 0-16,-4-2 0 0,1 0 0 0,2 1 0 15,-2-1 0-15,-1 0-152 16,1 0-96-16,-1 1-46 0,-1-2-88 0,-1-2-155 16,2 7-507-16,0-4 12 0,-2-1 67 0,3 2 102 15,-3-4 83-15,-3 6 81 0,3-2 79 16,-2 0 55-16</inkml:trace>
  <inkml:trace contextRef="#ctx0" brushRef="#br0" timeOffset="42666.68">5570 2316 1356 0,'-3'1'451'0,"3"-1"-49"16,0 0-1-16,0 0-81 0,0 0 8 16,0 0-52-16,0 0-25 0,8 4 39 0,-8-4-52 15,10 1-57-15,-4-1 14 0,-6 0-16 16,13 0-92-16,-4 0-18 0,0 0-10 0,1 0 15 16,0 0-23-16,2 0 11 0,-1-1-6 0,1 1-28 15,2 0 21-15,-2-1 7 16,1 0-40-16,0 1 7 0,-3-1-8 0,0 0 18 15,1 1-10-15,-1-1-12 0,-3 1-17 0,1 0-4 16,-8 0-18-16,11-2-5 0,-4 2-23 0,-2-2-32 16,-5 2-22-16,10 0-28 0,-6-1 3 0,-4 1-50 15,7-2-53-15,-7 2-125 16,0 0-65-16,5-3-447 0,-2 1 153 16,-3 2-13-16,5-3 80 0,-5 3 105 0</inkml:trace>
  <inkml:trace contextRef="#ctx0" brushRef="#br0" timeOffset="43032.37">5726 2200 1218 0,'0'0'386'0,"0"0"-7"16,0 0-38-16,0 0-39 0,19 7-33 0,-12-5-24 0,1 1 11 16,2-1-43-16,-3 1-14 0,3 1-9 0,-1-1 17 15,1 1-46-15,2 2 42 0,-1-1-27 16,-3-1-27-16,1 3 4 0,0-1-20 0,1 3 11 16,-5-1-27-16,0 1-24 0,-3 1 22 0,1 1-28 15,-3 0-90-15,-3 3 3 16,-2 2 3-16,0-1-3 0,-2 2-36 0,-1-2-41 0,0 0-20 15,0-1-21-15,1 0-33 16,-1-1-38-16,-2 1-39 0,4-5-154 0,-6 2-89 16,6-3-450-16,2-1 92 0,-2-2 125 0,4 1 48 0,-3-4 60 15</inkml:trace>
  <inkml:trace contextRef="#ctx0" brushRef="#br0" timeOffset="44237.61">6495 1900 980 0,'0'0'304'0,"0"0"-37"0,0 0-6 0,0 0-26 0,1 19-25 15,1-10-10-15,-2 2-39 0,3 2-5 0,-1 1 5 16,-2 0-35-16,2 3 56 0,1 2-24 16,0 0-35-16,-1-2-28 0,-1 1-39 15,1-1-25-15,0 0 2 0,1-1-7 0,-3-2-31 0,1-1 7 16,1 1-12-16,-2-4-13 0,2 0 5 16,0-1 21-16,-1-2 2 0,-1 1-10 0,3-3 12 15,-3 0 1-15,2 0-3 0,-2-3 5 0,0-2 11 16,0 4 12-16,0-4-2 0,0 0 5 15,0 0-3-15,0 0 0 0,-5-11-2 0,4 6 20 16,-1-1 11-16,0-3-9 0,-4-1-4 16,4-3 20-16,-1 0 28 0,-4-4-25 0,4 0 10 15,-2-2-21-15,0-3 29 0,-1-1 12 16,2 4-4-16,1 2-11 0,-2-2-3 0,5 3 1 16,-2 3 7-16,1 0-21 0,1 0-12 0,1 3 3 15,1 0-21-15,-2 1-6 16,5 1 22-16,-2 1 9 0,1 3-38 0,-1 1 29 0,5 3-16 15,-8 0 7-15,15 4 1 0,-7 1-18 16,0 3 7-16,2 3-17 0,3 2 9 0,-3 0-17 16,3 4-3-16,-3 0-5 0,1 0 24 0,-2-1-4 15,0-1-15-15,-1 2-10 0,-2-1-28 0,2-1 44 16,-2 1-55-16,-2-1 11 16,2-1 2-16,-1-3-25 15,0 2-41-15,-2-2 20 0,2 0-22 0,-3-4-32 0,1 2 3 0,-1-3-12 16,1 0-6-16,0-2-46 0,-3-2-79 15,0-2-131-15,4 3-488 0,-4-3 42 0,0 0 124 16,0 0 46-16,0 0 97 16</inkml:trace>
  <inkml:trace contextRef="#ctx0" brushRef="#br0" timeOffset="44463.99">6508 2178 1195 0,'0'0'333'16,"0"0"-24"-16,0 0-19 0,-5 3 9 0,5-3-30 16,0 0-6-16,0 0-17 0,0 0-26 0,0 0-5 15,18 0-30-15,-18 0-29 0,13-2-15 16,-5 1-3-16,2 0-13 0,0-1-38 0,0-1-36 16,1 2-7-16,-1-1-54 0,2-1-11 15,1-1-76-15,-2 1-77 0,4-2-118 0,-2 0-609 16,0 1 103-16,0-1 19 0,-1 0 119 15,1 0 105-15</inkml:trace>
  <inkml:trace contextRef="#ctx0" brushRef="#br0" timeOffset="45879.82">7064 1947 732 0,'0'0'294'16,"6"0"-20"-16,-6 0-13 0,0 0 0 0,10 3-59 15,-5 0 13-15,0 1-13 0,2 1-38 0,1 0 3 16,0 4-19-16,0-1-7 0,-1 2-28 16,1 0 14-16,0 0-37 0,-3 2-28 15,0-1 9-15,3 0-14 16,-5 1 55-16,2 0-4 0,-3 0-19 0,1-1-22 0,-3 0-16 16,2-2 39-16,-2-1-47 0,0-1-10 0,3 1-2 15,-3-2-13-15,0-1 8 0,0 0 9 0,0 0 4 16,0-5 17-16,0 5-7 0,0-5-16 15,-3 2 16-15,3-2-1 0,0 0-12 0,0 0 13 16,0 0-24-16,-10-7 29 0,8 2-10 0,0-1-14 16,1 0 16-16,-2-2-10 0,3 0 26 0,0-1-29 15,0-1 0-15,3 0 18 0,-2-1-12 16,1 1-6-16,3-1-15 0,-2 0-3 16,1-1 6-16,2 3-8 0,-1-2-6 0,2 3 22 15,-1-1-6-15,1 1-29 0,1-1 19 16,0 1-28-16,-1 3-31 0,1-1-39 0,2-1-53 15,3 2-41-15,-3 1-121 0,-2 0-104 16,5 1-523-16,-1-1 103 0,1 3 95 16,0-1 40-16,0 0 90 0</inkml:trace>
  <inkml:trace contextRef="#ctx0" brushRef="#br0" timeOffset="46907.37">7601 1960 1000 0,'-3'-4'377'0,"3"4"-37"0,-2-3-40 0,2 3-16 0,0 0-49 15,-6 0-30-15,6 0-18 0,0 0-8 0,-10 7-20 16,7-3-6-16,1 2 3 16,-1-1-33-16,-2 3-84 0,3-1 7 0,-1 1-10 15,0 1-19-15,1-2 4 0,-1 1-1 0,3 1 3 16,-2-2-35-16,2 0-1 0,0 1 3 0,0-1 10 16,2-2-5-16,-2 2-8 0,0-3-3 15,3 1 34-15,-1-2-18 0,-2 0 13 0,4 1-8 16,0-3 8-16,-4-1 15 0,5 1-56 15,-5-1 36-15,0 0 15 0,11-2-16 0,-7 0 4 16,-1-1 12-16,2-2 7 0,-3 0 11 0,2 0 5 16,0-1 8-16,-1 0-3 0,0 1-12 15,0-2 25-15,-1 1-39 0,0 0 27 0,1-1 6 16,-3 1-1-16,3 1-1 0,-3-1-12 0,2 1 14 16,-2 0 4-16,0 1-6 0,0 1 3 15,0 3-18-15,2-7 54 0,-2 4 7 0,0 3-10 16,0-5-20-16,0 5-6 0,0 0 4 15,0 0-22-15,0 0 3 0,0 0-20 16,0 0 2-16,0 0 6 0,0 0-1 0,0 0-2 16,0 0-28-16,0 0-1 0,0 0 27 0,0 15-16 15,0-15-26-15,0 5 8 16,3-1-39-16,-3 0 27 0,0-4-9 0,3 5 14 0,-3-1 24 16,2-2-37-16,-2-2 12 0,3 7 6 0,-3-5-16 15,0-2 13-15,3 5-11 0,-3-5 16 16,2 4 8-16,-2-1 0 0,0-3-16 0,2 3 21 15,-1 0-11 1,-1-3-2-16,0 0 3 0,2 5-6 0,-2-5 6 0,3 2 12 16,-3-2-20-16,0 0 33 0,0 0-43 0,0 0 12 15,0 0 9-15,2 3 1 0,-2-3 1 16,0 0 10-16,0 0-21 0,3 3 19 0,-3-3-4 16,0 0 22-16,0 0 7 0,0 0-8 15,0 0-20-15,5-8 10 0,-5 8 23 0,2-4-38 0,-2 4 12 16,6-5-5-16,-4 4 3 15,-2 1 16-15,1-4-11 0,-1 4-13 0,4-1 15 0,-4 1-19 16,3-4 27-16,-3 4-36 0,0 0 6 0,7 0 20 16,-7 0-18-16,0 0-13 15,10 4 19-15,-6-2-70 0,0 0-10 0,-1 0 25 0,2 1-5 16,-2-1 26-16,2 2-5 0,-2-2-23 16,-1 1 36-16,3 0-34 0,-2-1 26 0,-1 1 15 15,1-1-20-15,0 2 23 0,-3-4-8 16,4 2 18-16,-4-2-7 0,6 2 7 0,-6-2 10 15,3 1 39 1,-3-1-13-16,0 0-3 0,0 0 3 0,10-4 5 0,-8 3 0 0,3-3 3 16,-2 2 5-16,-1-1 7 0,-2 3-33 0,6-5 3 15,-4 4-5-15,0-2-3 0,-2 3 13 0,8-1 10 16,-8 1-8-16,8 0-5 16,-8 0-25-1,11 2 28-15,-4 1-13 0,0 0 5 0,-1 0 0 0,-1 1-38 0,2 0-21 0,-1-1-12 16,-1 1-11-16,-3 0-64 0,3 0-20 15,-2-1-23-15,2 1-18 0,-2-1-77 0,-1 0-92 16,1 0-187-16,0-1-443 0,-3-2 100 0,7 1 95 16,-7-1 79-16,0 0 76 0,13-6 129 15</inkml:trace>
  <inkml:trace contextRef="#ctx0" brushRef="#br0" timeOffset="47302.71">8054 1797 1085 0,'0'0'343'0,"0"0"-28"0,0 0-24 0,1 15-29 16,-1-7-19-16,2 2-21 0,0 4-9 15,1-1-8-15,-1 1-44 0,1 2-8 16,2 1-17-16,-2-1-28 0,2 0-19 0,0-1 9 16,-2-1-27-16,2-3 9 0,0 1-19 0,0-2 3 15,0 0-31-15,-2-2-25 0,2 0 0 16,-3-1-8-16,1-3 7 0,0 0 14 0,-1-1-11 15,0 0-7-15,-2-3-1 0,3 5 24 0,-3-5-11 16,0 0 13-16,0 0 8 0,0 0 15 16,0 0-33-16,0 0 26 0,-18-5 7 15,10 4-15-15,8 1-3 0,-12 0 10 0,4 0-12 0,0 1 20 16,1 0-20-16,-1 3-3 0,0-1 0 16,0 1 85-16,1-1-5 0,-1 2-34 15,1 0-10-15,1-1 10 0,1 1-5 0,0 0-13 16,2 0 26-16,1-2-18 15,2 2 0-15,0 0-5 0,0-1-18 0,0-4-2 0,2 6-6 16,1-3 15-16,2-1-24 0,0 1-32 0,1-3-18 16,-6 0-12-16,12 0-62 15,-4-1-46-15,2-2 13 16,0 1-87-16,1-2-169 0,1 0-589 0,-1 1 110 16,2-3 39-16,-3 2 122 0,3 0 108 0,-1-2 67 15</inkml:trace>
  <inkml:trace contextRef="#ctx0" brushRef="#br0" timeOffset="48158.2">8295 1987 906 0,'-5'3'368'0,"3"2"-40"15,1-1-108-15,1 2-20 0,-2-2-31 16,4 3-3-16,-2-2-12 0,3 2-29 0,0-2 21 15,1 1-33-15,0-1-9 0,0 1 68 0,2-2-18 16,-1 0-29-16,2-2 26 0,-2 0-36 0,3 0-18 16,0-1 1-16,-3-1-16 0,-5 0 10 15,15-4 5-15,-7 2-2 0,-3-2-3 16,1 1 5-16,-2-3 23 0,2 1 11 0,-4-1-39 16,-2 0 3-16,0-1-3 0,-2 1-25 0,-1-3-6 15,0 0 6-15,-1 1 7 0,-2 2-10 16,1-1 15-16,-2 2 0 0,1-1-25 0,1 2-10 15,-3 2-6-15,1-2 1 0,2 2 4 0,-3 2-40 16,8 0 15-16,-12 2-8 0,6 0-8 16,1 1 14-16,-1-1 2 0,2 0-13 0,-1 0-3 15,2 2-9-15,1 0 1 0,2-1-4 16,0-3 15-16,0 4-35 0,0-4 40 0,2 3-20 0,-2-3 2 16,8 3 0-16,-4-2 6 15,-4-1 17-15,11 1-35 0,-6-1 40 0,3 0-20 16,-8 0-2-16,13 0 4 0,-8 0-2 0,2 0-10 15,1 0 5 1,-3 2-13-16,3 0-8 0,0-1 21 0,0 1-5 0,-1 2 18 0,1-2-6 16,-1 1 16-16,1 0-13 0,-3 0-7 0,3 1 7 15,-3-2 36-15,0 1-36 0,1 0 5 16,-2 0-2-16,-1-2-13 0,2 2 12 0,-3 1 1 16,1-3-8-16,2 2 2 15,-5-3 11-15,6 2 3 0,-4 1 17 0,-2-3 5 16,5 2 1-16,-5-2-1 0,3 2 13 0,-3-2 8 0,0 0-38 15,5 2 27-15,-5-2-99 0,0 0 2 16,5-5 6-16,-2 1 15 0,-3 4 5 16,4-6 0-16,0 3 20 0,0-1-7 15,-1-2 10-15,2 2 10 0,0-2-18 0,0 3-7 0,-2-1 43 16,2 0-38-16,0 1-3 0,1 1 34 16,-1 0-29-16,2 0 18 0,-2 0-7 0,-5 2 20 15,13 2-10-15,-8 0 25 0,3-1-28 0,-3 0 21 16,2 0-16-16,-1 1-4 15,-3 0-4-15,4 0 6 0,-4 0-21 0,2 1 39 0,0-2-26 16,0 1-5-16,-5-2 18 0,7 3-2 0,-3-3-4 16,0 2 24-16,-4-2 5 0,8 0-20 15,-8 0 50-15,11 0-2 16,-3-4 0-16,-1 1-5 0,3-1-5 0,-3 0 5 16,2-2-2-16,1 1 71 0,-2 1-18 0,2 1-25 0,-2 0-6 15,-1 1 1-15,3 1 17 0,-2-1-5 16,0 3-56-16,0 0 28 0,2 0-23 0,-5 1 21 15,3 1-36-15,0 0-24 16,-1 1-30-16,-2 0-2 0,0 0-80 0,-2 1-36 0,1-2-56 16,0 2-72-16,-2 0-105 0,1-2-424 0,-1 0-293 15,1 1 93-15,-1-2 100 0,-2-2 86 16,2 3 113-16,-2-3 57 0</inkml:trace>
  <inkml:trace contextRef="#ctx0" brushRef="#br0" timeOffset="48781.57">9624 1690 888 0,'0'0'381'0,"0"0"-33"0,-11 7-28 16,4-1-38-16,1-1-21 0,-1 1-23 0,-1 2-28 15,-2 1-16-15,-1 1-27 0,1 0 4 16,0 0-7-16,0 1-39 0,2 1-4 16,0-2-9-16,3 0-22 0,-2-1-18 0,4-1 2 15,0 0-2-15,1-1 15 0,4 1-29 16,-2-1-1-16,5-1 12 0,-2 1 0 0,2-2-26 15,3 0 11-15,-1 0-8 0,3 1-20 0,1 0 5 16,-1-1-6-16,3 0 11 0,-3 1-13 0,1-2-2 16,-1 2-9-16,0-1 17 15,0 1 1 1,-2-1-2-16,-3-1-2 0,1 0 5 0,-2 0 33 0,-1 2-64 0,0-1-3 0,-1 0 1 16,-2 0 2-16,0 0 12 0,-5 2 1 15,0-1-10-15,-1 0 17 0,-1 1-7 0,-3 0 2 16,0 0 11-16,-1-2-3 0,1 1-23 0,-3 0-5 15,0-1-18-15,3 0-5 0,-2-2 0 16,1 1-62 0,3-3-33-16,-2 1-54 0,3 0-66 0,-2-10-176 0,5 8-513 0,1-1 102 0,3 1 65 15,-5-3 105-15,5 3 56 0</inkml:trace>
  <inkml:trace contextRef="#ctx0" brushRef="#br0" timeOffset="50089.54">9967 1857 911 0,'-5'-4'379'0,"5"4"-36"0,-6-4-13 15,2 3-105-15,4 1-28 0,-8-2-5 16,2 1-10-16,-1 0-34 0,7 1 14 0,-13 1-37 0,8 1-15 16,-3 0 10-16,0 2-22 15,1 1 1-15,-1 1-6 0,1 0-22 0,-1 2-7 16,0-1 5-16,3 2 3 0,-3-1-34 0,4 1 26 15,-2 0-12-15,1-3-42 0,0 2-8 16,3-1 21-16,-1 1-5 0,3-1-25 0,-3-1 12 16,6-2 15-16,-3 2-32 0,2-1-6 15,1 0 10-15,-1-3 10 0,1 0-2 0,4 0 0 16,-7-2 26-16,11 0-26 0,-4-2 5 0,-1 0-5 16,1-2 13-16,-1 1 5 0,1-1-18 0,-2-2 33 15,1 1-17-15,-2-1 32 16,2 0-38-16,-3-2 31 0,2 2-10 0,-3-1-5 15,0 0 7-15,1 2 3 0,-3 0 15 0,0 1 5 16,3-1-15-16,-1 2 18 0,-2-1-28 16,0 4-6-16,0-5 22 0,0 5-19 0,0 0 23 15,0 0-31-15,0 0 19 0,0 0-16 0,0 0-10 16,-5 13-11-16,5-8 11 0,0-2 23 16,0 2-39-16,0-5 13 0,3 6-10 0,-3-1-7 15,2-1-19-15,-2-2 16 0,3 3-23 0,-1-2 17 16,1 0 3-16,-3-3-12 0,3 6 7 15,1-4 10-15,0-1-15 16,-4-1 8-16,7 2 0 0,-7-2 7 0,7 0 10 0,-7 0 11 16,9-2-5-16,-5 1 15 0,0-2-15 15,3 0-6-15,-4 0 3 0,4 0 6 0,-2 1 4 16,0-1-7-16,0 0 9 0,1 0 12 0,-2 1-19 16,-1 0 8-16,2-1-13 15,0 2 3-15,-5 1 7 0,8-3 8 0,-5 3-8 0,-3 0-2 16,10 0-21-16,-10 0 21 0,8 0-13 0,-3 2 28 15,-2-1-28-15,1 1 18 0,2 2-18 16,-4-2-5-16,3 1 5 0,-2-2 8 0,-1 4 15 16,1-3-13-16,0 2-25 0,-1-2 23 15,0 3-19-15,-1-3 27 0,1 1 9 0,-2-3-25 16,5 6 5-16,-5-3 3 0,1 1 10 16,-1-4-13-16,2 5 16 0,-2-5 7 0,3 5 56 15,-3-3-4-15,0-2-34 0,0 0 33 16,2 5-41-16,-2-5 19 0,0 0-11 0,0 0-18 15,0 3 26-15,0-3 5 16,0 0 10-16,2 4-3 0,-2-4-10 0,0 0-17 0,0 0 22 16,0 0-25-16,0 0-10 0,0 0 2 0,0 0 15 15,0 0-9-15,0 0 2 0,0 0-6 0,8-9 1 16,-5 7-11-16,-1-1 9 0,1 0 24 16,0-1-27-16,1 1-8 0,0 0 15 15,0 0-35-15,-1 0-11 16,2 0 8-16,0 1 5 0,0 0 7 0,0 1 14 0,-5 1-16 0,11 0-20 15,-11 0 9-15,10 1 17 0,-3 1 4 16,-1 0-28-16,-1 0 11 0,0 0 32 16,0 2 1-16,1-1-36 0,1 0 13 0,-4 0-6 15,-1 1 1-15,4-1-19 0,-4-1 24 16,3 1 13-16,-2 0-93 0,-1 1 11 0,-2-4 25 16,5 3 33-16,-2-2 18 0,-3-1-32 0,5 3 19 0,-5-3 3 15,0 0 29-15,7-5-17 16,-6 1-4-16,4-1 0 15,-2 0 0-15,1-1-8 0,-1 0 23 0,2 0 5 0,0 0-15 16,0 1-7-16,1 1 6 0,-1-1-14 0,0 2 2 16,0 1-15-16,0 2 51 0,2-2-18 0,-7 2-13 0,14 2 13 15,-7 1-2-15,-1 0-1 16,1-1-38-16,-2 4-41 16,1-3-7-16,1 3-24 0,-4-2-58 0,1 0-31 0,-1 2-36 0,0 0-80 15,-1-3-84 1,-4 1-158-16,6 1-454 0,0-2 121 0,-4 1 56 0,0-4 79 0,4 3 77 0,-4-3 44 15</inkml:trace>
  <inkml:trace contextRef="#ctx0" brushRef="#br0" timeOffset="50617.21">10475 1754 854 0,'0'0'305'15,"0"0"-34"-15,0 0-10 0,2 18-28 16,-2-12-2-16,3 3-21 0,-3 3-21 16,2 2-25-16,1 2-16 0,2 2 1 0,-2 5-24 0,1-3 6 15,2 3-11-15,-1 1-18 0,2 1-38 16,-1-2 13-16,1 1 28 0,1-2 13 0,-2 0-31 16,-2-3-5-16,2 0-16 0,-2-3-22 0,-1 0 5 15,2-2 7-15,-2 0-28 0,-1-3 10 16,1-1 1-16,0 0-1 0,-1-1 6 15,1-3-14-15,-1 1-9 0,-1-2 7 0,1-2-2 32,0 0 4-32,-2-3 24 0,3 4-15 0,-3-4-6 0,0 0 18 0,0 0 13 15,7-10 28-15,-7 5 13 0,0-2-77 0,0-1 29 0,-2-4 9 16,2-3-4-16,0-3 12 0,0-4-13 0,0 3-7 16,0-2 25-1,2 1-40-15,1 2 20 0,2 0 5 0,-2 1-21 0,2 4-17 0,-2 1-1 16,4 3 21-16,-2 0 3 0,1 3-16 0,1 2 1 15,-2 0-11-15,1 2 30 0,-1 1-17 16,-5 1-13-16,12 2 16 16,-7 0-29-16,-2 1 10 0,2 1-7 0,-2-1 15 0,-3 3 8 15,2 0 15-15,1 1-7 0,-3-2-31 16,-3 3 5-16,1 0 20 0,-1-2-41 0,-2 2 16 16,2-1 0-16,-4 0-26 0,4 0-18 0,-4-1 3 15,2 0-8-15,2-1-63 0,-4 0-37 16,1-1-30-16,1-1-67 0,0 0-31 0,2-1-105 15,-7-1-122-15,8 0-464 0,2-1 146 0,0 0 18 16,-8-3 90-16,5-1 77 0,3 4 68 0</inkml:trace>
  <inkml:trace contextRef="#ctx0" brushRef="#br0" timeOffset="50837.27">10700 1741 1164 0,'0'0'476'0,"0"0"-33"0,3-3-31 16,-3 3 8-16,0 0-28 16,0 0-21-16,8 12-49 0,-4-5-25 0,-1 1-18 0,3 3-5 15,-2 2-54-15,2-2-20 0,-2 2-23 0,2 2 17 16,-1-1-79-16,-2 2-12 0,1 0-50 0,-1 0-53 16,0-2-64-16,0 1-18 0,1-2-46 15,-1 1-33-15,0-2-79 0,2 0-108 16,-2 0-551-16,1 0 19 0,-1-3 81 0,2 0 72 15,-3-2 64-15,1 1 74 0</inkml:trace>
  <inkml:trace contextRef="#ctx0" brushRef="#br0" timeOffset="51177.78">10980 1960 860 0,'2'-13'302'0,"1"2"2"0,-1 1-35 0,-2-1-3 0,0 4-30 0,0 0 91 16,-2 1-2-16,2 0-51 0,-2 2-25 15,-1 0-9-15,-2 1-40 0,5 3 10 0,0 0-31 16,0 0-18-16,-18 5-25 0,13 0 10 16,-3 1-16-16,2 0 14 0,2 2 2 0,-2-1-13 15,2 1-5-15,1 2-26 0,0-2-12 0,1 0 25 16,2 1 5-16,2-1-25 0,-2 1-1 15,5-1-96-15,-2-1 25 0,2 0-28 0,2 2-3 16,-1-4 11-16,2 0-34 0,-1-1-15 0,3-2-13 16,1 2-20-16,-1-2-3 0,0-2-36 15,1 0-33-15,-1 0-18 0,0-2-100 16,1-8-184 0,1 8-491-16,-4-1 84 0,2 0 87 0,0-1 71 0,-2 1 106 0,2-1-11 0</inkml:trace>
  <inkml:trace contextRef="#ctx0" brushRef="#br0" timeOffset="51682.56">11590 1834 1177 0,'0'0'353'0,"0"0"-33"16,-3 13-23-16,3-5 0 0,3-1-44 0,-3 2-91 16,0-1-34-16,0 2-18 0,0-1-21 15,3 2-7-15,-3-3-38 0,0 1-21 0,0-1-59 16,2 2-74-16,-2-1-54 31,0-2-56-31,0-2-274 0,0 0-225 0,2 0 40 0,-2-1 106 0</inkml:trace>
  <inkml:trace contextRef="#ctx0" brushRef="#br0" timeOffset="51868.73">11549 1761 76 0</inkml:trace>
  <inkml:trace contextRef="#ctx0" brushRef="#br0" timeOffset="52168.73">11764 1745 1013 0,'-5'5'310'0,"0"-1"-31"15,-1 1 0-15,2 1-39 16,-2 1-22-16,4-1-23 0,-1 2-14 0,1-1-27 0,-1 1-1 16,6 1-1-16,-3-2-27 0,3 2-5 0,-1 0-15 15,3 0-2-15,0 0-34 16,1 0-5-16,-1 0 23 16,2-1-21-16,1 1 26 0,-1-2-2 0,-1 2-13 0,-1-3 0 0,2-1 28 15,-4 2-34-15,2-1 1 16,-2-2 81-16,-1 1-4 0,1 0-6 0,-3 0-28 0,0 1-12 15,-3-1 9-15,1 2-17 0,-1-2-46 0,-2 0-39 16,0 2-28 0,-3-2-38-16,0 0-59 0,1-1-34 0,1 1-89 15,-3-3-289-15,4 1-425 0,-3 0 104 0,2-3 60 0,1 2 92 16,5-2 71-16</inkml:trace>
  <inkml:trace contextRef="#ctx0" brushRef="#br0" timeOffset="55375.21">12559 1683 872 0,'0'0'320'0,"-11"1"-25"0,11-1-42 16,-12 2-12-16,4 3-13 0,1 1-26 0,-4 2-10 0,-2 1-23 15,1 3-31-15,1 1-5 0,-1 2-26 0,-2 3 4 16,4-1-4-16,-2 0-25 0,2-2-3 16,2-1-2-16,0 2-5 0,5-5 10 0,-1 2-6 15,1-3-12-15,-2 2-17 0,5-4-14 16,0 2 33-16,0-3-22 0,2 0-21 15,3 0 10-15,-2-4-20 0,5 1 10 0,-1-2-23 0,1 0-49 16,2-2-17-16,0-1-34 0,4-2-23 0,-2-1-56 16,1-1-41-16,3-1-67 15,-2-2 41-15,2-1-7 0,-3 2-105 16,0-2-6-16,0-1 39 0,-1-1 125 0,-4 1 52 0,2 2 51 16,-2-1 35-16,-3 0 62 0,0 3 34 15,0 1 71 1,-2-1 20-16,0 2 18 0,-1 0 3 0,-2 1-15 0,0 3-16 0,0 0 3 0,0 0 2 15,0 0 0-15,0 0-5 16,0 0 3-16,-10 9-26 0,10-3 0 0,-3-2-7 16,1 4-8-16,2 0 5 0,2 0-3 0,-2 0 13 0,3-2-23 15,-1 1 8 1,4 0-10-16,-2 0-9 0,2-1-19 0,1-2 2 0,1-1 5 16,2 0 5-16,0-2-2 0,1-2 15 0,-1 1-3 15,3-4 1-15,0 1 2 16,0-3-3-1,-3 0-7-15,0 2 17 0,0-5 14 0,-2 3 7 0,0-2-5 0,-3-1 85 0,0 0-16 0,-3 3-8 16,-2-3-15-16,0 0 3 0,-2 3-36 16,-1-2 2-16,1 0 6 0,-3 3-21 15,-1-1-23-15,2 1 0 0,-4 3-13 16,0-1-2-16,0 4-9 0,1-1-1 0,-3 4-16 0,-1-2-26 16,1 2 6-1,0 3-57-15,2 1 6 0,0-1-34 0,0 1-5 0,1-1-16 0,2 0-30 16,0-1-20-16,4 0-22 0,-1-1-70 0,2-3-73 15,0-2-132-15,3 6-403 0,-3-6 27 16,10-2 135-16,-10 2 56 0,15-5 59 0</inkml:trace>
  <inkml:trace contextRef="#ctx0" brushRef="#br0" timeOffset="55594.37">12926 1549 1080 0,'0'0'307'16,"0"0"3"-16,0 0-47 0,0 0 55 0,0 15 2 16,0-7-62-16,-1 3-10 0,1 2-30 0,-2 1 0 15,2 2-39-15,0 3-31 0,0 1 1 16,0 0-50-16,-2 2-6 0,2-1-27 0,-3 1-25 16,3-2-18-16,0-1-23 0,-1 0-31 0,1-2-63 15,0-4-70-15,1 0-107 0,-1-2-610 16,3-3 103-16,-3 0 20 0,2-4 141 0,1 1 72 15</inkml:trace>
  <inkml:trace contextRef="#ctx0" brushRef="#br0" timeOffset="55865.68">13038 1526 872 0,'3'-3'387'0,"-3"3"-123"0,0 0-21 15,0 0-21-15,0 0-4 0,-3 13 48 0,3-5-28 16,-2 1-10-16,2 0 2 0,0 6-22 16,0-1-34-16,0 0-16 0,-2 3 1 0,4 2 15 15,-4 0-36-15,1 1-30 0,1 1-16 0,0-2-2 16,0 1 10-16,1-1 7 16,-1 0-35-16,0-5-24 0,0 0-12 0,0-3-33 0,0 0-37 15,2-1-17-15,0-1-59 0,1-2-97 0,-10 0-203 16,11-4-470-16,-1 0 56 15,4-2 120-15,-1-1 30 0,-6 0 124 0</inkml:trace>
  <inkml:trace contextRef="#ctx0" brushRef="#br0" timeOffset="56308.83">13318 1817 965 0,'0'-4'381'0,"3"1"-46"0,-1-3-12 0,-2 2-8 0,2-2-24 15,-1 1-35-15,-1-1-84 0,0 1-13 16,0-1-14-16,0-1-4 0,-1 2 0 16,-1-1-3-16,2 2-7 0,-2-1 51 0,-1 1 2 0,0 0-15 15,1 2-28-15,2 2 10 16,-6-4-16-16,6 4-35 0,0 0 8 0,-12 4-11 16,10 0 8-16,-1 1-16 0,-2 1-12 0,2-1-5 15,-2 2-31-15,3 0 5 0,1 0-8 16,-1 1-10-16,2 0 6 0,0-1-11 0,0 0-3 15,0 2 21-15,2-3-56 0,1 2-11 16,2-2 11-16,-2-1-39 0,4 2-12 16,-2-3-6-16,1 0-38 0,1-1-41 0,0-2-21 0,1 2-96 15,0-6-142-15,0 5-524 0,-1-4 45 0,1 1 165 16,2-2 92-16,-1 1 12 0,3-3 60 16</inkml:trace>
  <inkml:trace contextRef="#ctx0" brushRef="#br0" timeOffset="56763.3">13517 1705 1059 0,'0'0'379'0,"-10"3"-44"0,8 0-20 0,-3 2-26 16,2-3-22-16,-1 5-29 0,-2-1-31 0,3 1-5 16,-2 1-40-1,1 1-6-15,3 1-18 0,-1-1 8 0,2 1-18 0,-3 0-10 0,3-1-19 16,3 0 19-16,-3-1-39 0,3 0-9 15,1-2-17-15,1 0-2 0,1 0-79 0,-1-1-33 16,3-3 10-16,-1 1-3 0,1-2-2 16,0-1 12-16,0-3 16 0,2 0-3 0,0-2 8 15,0-2-5-15,0 1 5 0,0-5-8 16,-1-1 6-16,1 1 20 16,0-1-26-16,-2-3 26 0,-1-2 41 0,1 2 69 0,-3-3-1 0,0-1 27 15,1 1-52-15,-4-1 14 0,0-1 40 16,1 2-41-16,-3-1 23 0,5 2 21 0,-3 4-34 15,-2 3 31-15,3 1-84 0,-3 0-16 16,0 0 26-16,3 2 10 0,-3 2-23 0,-3 3 8 16,3 2-8-16,0 0-28 0,0 0 18 0,0 0 5 15,-7 14 18-15,4-5 56 0,3 4-23 0,-1 1-15 16,1-1-1-16,0 4-22 0,1-1-3 16,-1 2-15-16,3 2 0 0,-1 1 2 15,0-3-53-15,1-1-34 0,2 0 6 0,-2 0-34 16,2-2-53-16,0-3-11 0,0 0-13 0,0-3-20 15,-2-2-64-15,2 0-51 0,0-2-210 16,0-2-448-16,1 0 84 0,-2-2 59 0,-4-1 111 16,9 0 65-16,-9 0 65 0</inkml:trace>
  <inkml:trace contextRef="#ctx0" brushRef="#br0" timeOffset="56999.09">13628 1691 1067 0,'0'0'297'16,"0"0"-5"-16,-7 0-11 0,7 0-15 0,0 0 52 15,0 0 4-15,0 0-35 0,0 0-110 0,0 0-14 16,17-4-17 15,-11 3-5-31,2-1 2 0,-1 0-43 0,0-1 3 0,1 1 12 0,0 0-26 0,0-1-22 0,-1 1-31 0,1-2-39 0,-3 1-27 16,3 0-11-16,0-1-80 0,0 2-43 15,2 0-158-15,-2 2-123 0,2-2-387 16,-3 2 107 0,1 0 44-16,-1 0 44 0</inkml:trace>
  <inkml:trace contextRef="#ctx0" brushRef="#br0" timeOffset="57425.86">13925 1773 1092 0,'3'-4'328'0,"2"-1"-23"0,-2-1-21 0,-1-1-20 0,1 1-3 0,-1 0-23 0,-1-2-13 0,-1 1 56 16,0 1-7-16,-1 0 8 0,-1 1-54 0,-1 1-44 16,1-1 5-16,-1 3 1 0,1-2-95 0,-3 2-19 15,5 2 1-15,-11-1-8 0,6 1-10 16,-2 3 13-16,1 0-13 0,1 0-3 0,-2 2-18 16,1 0 8-16,1 1-20 0,0 0 7 15,0 2-2-15,3-1-3 0,-1 2 13 16,2-1-8-16,1 0-7 0,1 1-3 0,2-2-2 15,-1 1-37-15,3-1-4 0,3-1-31 0,-1 0-11 16,2-2-7-16,-2-1-13 0,3 1-36 0,1-3-10 16,1-2-64-16,-1 0-56 0,1-2-169 15,-1 0-492-15,1-1 80 0,2-2 99 16,-2 1 78-16,1-4 42 0</inkml:trace>
  <inkml:trace contextRef="#ctx0" brushRef="#br0" timeOffset="57829.75">14172 1538 931 0,'0'0'364'0,"0"-4"-55"0,0 4 9 0,0 0-29 0,0 0 46 0,0 0-33 15,-6 11 3-15,4-5-21 0,2 3-125 0,-2 0 5 16,2 1 5-16,0 2-16 0,0 1-40 0,-3 0 7 16,3 0-23-16,3 0-4 0,-3 0-6 0,2 0 0 15,0-3-16-15,-1 0 6 0,1-1-3 16,1-1-46-16,-1 0 8 0,-2-2 8 15,3 0-26-15,-1-3 15 0,1 0-7 0,0 0-14 0,-3-3 6 16,2 3 0-16,-2-3-13 0,0 0-7 16,0 0 4-16,0 0 3 15,0 0-22-15,-5-13 6 0,0 10 9 0,2 1-6 0,-2 0 18 0,5 2-10 16,-13 0 26-16,8 0-29 16,-5 3 6-16,2 0 7 0,-2 1-2 0,2 0-6 15,-2 2 14-15,2 1-19 0,0-1 8 0,1 2 8 16,2-2 18-16,2 1-16 0,-2 0-12 15,3 1 25-15,1-3-23 0,1 0 8 16,1 1-6-16,1-3 11 0,3 1 3 16,0-1 2-16,3-1-28 0,0-1-3 0,2-2-30 0,-2 0-34 15,4-3-18-15,-1 4-12 0,1-4-46 0,2 0-29 16,-2-1-84-16,1 1-164 0,0 0-466 0,0-1 62 16,-3 2 122-16,1-2 75 0,-2 1 10 15</inkml:trace>
  <inkml:trace contextRef="#ctx0" brushRef="#br0" timeOffset="60262.28">14656 1644 1082 0,'0'-5'323'0,"0"5"-26"0,0 0-29 0,0 0-14 0,0 0-11 16,0 0-36-16,0 0-35 0,0 0-11 0,0 0 0 15,0 0 1-15,0 0-24 0,0 0-33 0,6 13 0 16,-4-9-8-16,-2 0-2 0,2 2 7 16,-2-2-20-16,3 2-8 0,-3-2-2 0,0 2-26 15,3 0 3-15,-1-1-19 0,0 1 4 0,-1-2-6 16,1 0 3-16,1-1-1 0,0 1 4 15,-1-1-14-15,3 0 6 0,-2-2 12 16,-3-1 0-16,8 0 1 0,-8 0-3 0,10-4-6 0,-5 1 11 16,0-1-5-16,-2 1-5 15,4-1 66-15,-4 0 8 0,2 2-3 0,-2-2-2 16,1 2-15-16,-1-1-6 0,0 0-12 0,-3 3-32 16,8-1 42-16,-8 1-49 0,0 0 8 15,12 4-8-15,-9-2-10 0,4 1 16 16,-4-2-11-16,2 2-34 0,-2-1 24 0,4 1 5 0,-4-1 18 15,2-1-8-15,-5-1-18 0,8 2 26 16,-8-2 20-16,10-2-22 0,-5-2-55 16,-2 0 42-1,2 0 20-15,-2-1-5 0,1-3 7 0,-1 1-2 0,0 0 74 0,1 0 11 16,-4-2-44-16,4 2 40 0,-4-1-45 16,0-2-18-16,0 1 20 0,0 0-2 0,0 0-38 0,0 1 9 15,0-1-12-15,0 3 23 0,0-1-46 0,0 2-36 16,-3 0-34-16,6 0-32 15,-3 1-31-15,0-1-37 0,0 5-12 0,0-3-23 0,0 3-40 16,0 0-91-16,0 0-127 0,4-1-144 0,-4 1-387 16,0 0 114-16,6-2 76 0,-6 2 48 15,7-2 106-15,-4 0 53 0</inkml:trace>
  <inkml:trace contextRef="#ctx0" brushRef="#br0" timeOffset="60690.32">14987 1386 1067 0,'0'0'340'15,"0"0"-22"-15,0 0-96 0,0 0-22 0,2 12-5 16,1-6-37-16,-3 1-9 0,0 2-21 16,0 2 5-16,3 2-15 0,-3 1 76 0,2 0-30 15,-2 1-5-15,0 2-21 0,3-1-23 0,-3 1-10 16,2-1 0-16,-2-2-18 15,1 0-23-15,-1-3 8 0,0 0-19 0,0-1 9 0,0-1 15 16,2-1-1-16,-2-1 24 0,0-2 8 0,0 0-14 16,0-1 45-16,2-1-57 15,-2-3 12-15,0 0-7 0,3 2-5 0,-3-2-64 16,0 0-15-16,10-9 10 0,-5 6-8 0,1 0 15 16,-1-2 3-16,0 1-2 0,2 0 22 15,1-1-20-15,-2 2 0 0,4 0 21 0,-3 1-29 16,1 1 18-16,0 0-2 0,2 3 5 15,-2 2 2-15,2-3 3 0,0 2-10 16,-2 2-3-16,-1-2 13 0,3 1-20 0,-2 0-16 16,0 2 5-16,-3-1-20 0,3-1-11 0,-2 2 8 0,-2-3-38 15,2 1-33-15,-2-1-3 0,-1 0-59 0,2 0-31 16,-2-1-12-16,-3-2-103 16,7 5-97-16,-7-5-5 0,0 4-500 0,3-3 47 15,2 1 128-15,-5-2 61 0,5 2 72 0</inkml:trace>
  <inkml:trace contextRef="#ctx0" brushRef="#br0" timeOffset="61324.7">15336 1621 1064 0,'2'-10'338'0,"3"3"-8"0,-2-1-30 0,-3 2-24 16,2-1-9-16,-2 1-1 0,0 0 38 15,0-1 4-15,-2 3-42 0,2-2-3 16,0 3-17-16,-2-1-21 0,2 4-22 0,0-7-29 16,-3 5-46-16,3 2 10 0,-5-2-31 0,5 2-2 15,0 0-13-15,-8 6-12 0,5-2-1 16,1 1 6-16,-1 2-21 16,1 1-16-16,-1-2-27 0,3 3-24 0,-2-2 21 0,2 1-33 0,0 0-1 15,2-1 19-15,-2 1-24 16,2-1-4-16,-1-3-14 0,1 2 24 0,1-1-21 0,1-3 18 15,-3 2-5-15,-1-4 16 0,8 4-6 0,-6-3 13 16,-2-1 69-16,10 0-61 16,-10 0-1-16,8-3 27 0,-3 1-6 0,-2-1-8 15,2 0 13-15,0-2-7 0,0 1 12 0,1 0 1 16,-2-2-16-16,1 3 10 0,1-2 23 16,-3 2-45-16,-1 1 4 0,0-2 8 0,1 2 0 15,-3 2-13-15,8-3 19 0,-6 1-12 0,-2 2 1 16,8 0-12-16,-8 0-4 0,8 2 16 0,-8-2 5 15,7 3-84-15,-4-2-1 0,2 2 31 32,-2-1 6-32,-3-2-3 0,4 3 2 0,-4-3 11 0,6 3-8 0,-6-3-8 0,5 4 16 0,-5-4-14 15,5 2 40-15,-5-2 4 16,0 0 16-16,5 1-8 0,-5-1-5 0,0 0 25 0,0 0-15 16,13-3 8-16,-10 0 92 0,2-1-23 0,0 1 10 15,0-2-35-15,0 2 30 16,0 0-23-16,0-1-10 0,1 1 7 15,-2 1-46-15,2 0 6 0,-1 0-13 0,0 2 28 0,2-2-13 16,-7 2-11-16,11 2-1 0,-4-2-9 0,-1 3 14 16,-1 0-26-16,2 1 7 0,-1 1-2 31,-1-1-33-15,0 2-24-16,0-1-40 0,-2 0-47 0,2-1-40 0,-3 2-26 0,1-1-82 0,0-1-158 0,-1 1-531 0,1-2-43 0,-1-1 90 15,4 0 115-15,-6-2 89 0,7 2 77 0,-7-2 31 16</inkml:trace>
  <inkml:trace contextRef="#ctx0" brushRef="#br0" timeOffset="62064.28">16127 1632 988 0,'0'0'353'15,"0"0"-100"-15,0 0-22 0,0 0-34 16,0 0-10-16,0 0 2 0,14-9-20 0,-11 6 74 16,4-2-7-16,-2-1-19 0,3-1-7 0,0 0-15 15,-1-1-24-15,3 0-20 0,-2-1 26 0,0 1-29 16,0-1-7-16,-1 0 2 15,-2-2-20-15,1 1-3 0,-2 0 24 0,-1 1-39 16,0 0-8-16,-3 1-28 0,2-1 8 0,-2 3 2 16,0 0-12-16,-2 0-21 0,2 0 10 0,-3 3 0 15,0 0-7-15,3 3-18 0,-8-2 15 16,8 2 10-16,-12 2-15 0,7 1-18 16,-2 0 3-16,1 2 12 0,1 2-38 0,-3 1 8 0,3 0-8 15,0 2 33-15,0 0 3 16,2 0-21-16,1-1-102 0,0 3 31 0,1-3-3 0,-2 2 8 15,7-2 28-15,-4-1-31 0,4 1 16 16,-1 1-1-16,0-3-9 0,2 1 4 0,2-2-30 16,1 1-13-16,0-2-33 0,-1-1-24 15,1-2-17-15,0 1-69 0,2-2-88 0,0-1-94 16,0 0-120-16,1-1-328 0,-1-1 148 0,0 1 21 16,1-1 51-16</inkml:trace>
  <inkml:trace contextRef="#ctx0" brushRef="#br0" timeOffset="62470.33">16487 1487 1034 0,'0'0'358'0,"-3"-5"-36"0,1 2-32 15,-3 2-14-15,5 1-20 0,-5-4-10 0,5 4-49 16,-11 0-15-16,11 0-26 0,-15 4 0 0,10-2-5 15,-3 2 38-15,0 1 32 16,0-2-50-16,-2 2-15 0,3 2-12 0,-1-1-22 0,0 1-17 16,1 1-12-16,-1 0-22 0,3-1-78 0,3 0 17 15,-4-1-5-15,4 0-8 0,1-3 1 16,-1 2-1-16,2-1 8 0,0-4 0 0,5 5-15 16,-5-5-5-16,8 2 12 0,-8-2 21 15,10-2-13-15,-10 2 31 0,15-4-31 0,-7 1-15 0,0 0 41 16,2-1-21-16,-2 1-5 15,0-2 13-15,-1 2-3 0,1-1 26 0,-1-1 3 16,-2 2 2-16,1 1-26 0,-1 0 11 0,0 1 5 16,-5 1-13-16,8-4-18 0,-6 3 33 15,-2 1 3-15,0 0 0 0,0 0-38 0,13 5 23 16,-11-3-29-16,2 2-5 0,-2 2-17 0,0-1-32 16,1 0-22-16,-3 1-41 0,0 0-47 15,3 1-43-15,-1 0-140 0,-2 0-52 16,2-1-494-16,1-1 97 15,0-3 57-15,1 0 89 0,0 1 72 0</inkml:trace>
  <inkml:trace contextRef="#ctx0" brushRef="#br0" timeOffset="63153.25">16707 1437 1318 0,'-4'-2'332'0,"4"2"-22"0,-6-4-26 0,6 4-40 0,-10 0-29 15,10 0 2-15,-11 4-38 0,4 0 16 16,2-1-34-16,-3 3-15 0,3 0-15 0,-2 2 9 16,1 2-25-16,-1 0-25 0,1 0-26 15,1-1 10-15,2 2 70 0,-1 0-34 0,1-2 23 16,3 0-23-16,0-1-38 0,0 1 7 16,0-1 3-16,5-2-36 0,-3 1 18 0,4-1-5 0,-2 0-26 15,2-2 11-15,-1-1-9 0,3-1 6 0,0-1-33 16,-1 0 7-16,-2-1 19 15,5-2-16-15,-2 0-18 0,0-1 0 0,-1-1 15 16,1 0 3-16,-2-1-16 16,1 1 24-16,1-2 2 0,0 1 0 0,-1 0-15 0,-2-1 5 15,1-2 8-15,1 2-14 0,-4-2 14 0,2 1 20 16,-2-1 0-16,1-3 0 16,-3 0 8-16,4 0 0 0,-3-1-8 0,0-1 23 0,-1 2-10 15,1-4-13-15,-2 0 41 0,3 1 0 0,-3-1-18 31,2 2 8-31,-1 1-3 0,-1 0-7 0,0 1 15 0,0 2-70 0,0-1 9 0,0 2-11 16,0 1 16-16,0 0-6 0,0 1-17 16,0 1 17-16,0-1-28 0,0 1-7 15,0 5 10-15,0-5-15 0,0 5 7 0,0 0 28 0,0 0-17 16,0 0-9-16,0 0 22 0,0 16-22 16,0-9 4-16,0 0 4 0,0 2 8 0,2 1-5 15,-2 0 0-15,2 0 18 0,-2 2-18 0,4-1 3 16,-4 1-14-16,2 0-4 15,0-1 2-15,1-2 0 0,-3 1-4 0,3-2 14 0,-1 0-7 16,3 0 10-16,-5-2-21 0,3 1 14 0,-1-3-22 16,1 1 19-16,2-1 5 0,-2-1 5 15,2 1 8-15,-2-3-36 0,1 1 43 0,2 0-12 16,-2-1-24-16,2 0 13 0,-1 1 6 16,2-2-1-16,1 4 6 0,-3-1-13 0,3 0 12 15,0 1-7-15,0 1-21 0,-1-1 16 16,-2 2 8-16,0 1-9 0,3-1-14 0,-3-1-49 15,-2 2-13-15,4-1-16 0,-4 0-48 0,-1-1-20 16,2-1-32-16,-2 0-101 0,2-1-213 0,0 0-448 16,-2 0 84-16,2 0 93 0,-4-3 63 0,4 1 96 15,-4-1 27-15</inkml:trace>
  <inkml:trace contextRef="#ctx0" brushRef="#br0" timeOffset="64788.6">17305 1448 614 0,'0'0'266'0,"0"0"-28"0,0 0 3 16,0 0-37-16,0 0 68 0,0 0-42 15,7 9-17-15,-6-6 2 0,1 1-31 0,-2 1-30 0,2 0-29 16,1 1-5-16,-3 0-17 0,3 0-14 15,-3 1 1-15,2 0-44 0,-2-3-3 16,0 3 44-16,2-1-28 0,-2-1-13 0,0 0-10 16,1-1-8-16,-1 0-2 0,0 0 2 0,0-4 0 15,2 6 13-15,-2-4 16 0,0-2-1 16,3 5-23-16,-3-5-2 0,0 0 23 0,0 0-19 16,0 0-1-16,0 0 7 0,0 0 15 15,5-10 18-15,-2 7-41 0,-3-1 11 0,2 0 0 16,1 1-14-16,2-2 9 0,-2 1-6 15,-1 2-13-15,3-2 11 0,-2 1 2 0,1-1-7 0,0 2-6 16,0-1-12-16,-4 3 38 16,6-1-43-16,-6 1-75 0,7 0 23 0,-7 0 9 15,8 1 19-15,-3 2-22 0,-5-3 19 0,8 4-6 16,-5-2 12-16,-1 2-5 0,3-1 20 16,-2-1-2-16,-1 1 5 15,1 1-10-15,-3-4 7 16,5 3-2-16,-3-1 31 0,-2-2-8 0,1 4 23 0,-1-4 82 0,5 3-13 0,-5-3-3 15,2 2 8-15,-2-2 3 0,0 0 13 0,0 0-24 16,0 0-5-16,0 0 3 0,11-6-110 16,-9 3 21-16,3 0 22 0,-2-2-7 15,1 2-21-15,0 0 31 0,0 0 0 0,2-1-23 16,-1 1 13-16,0 0 2 16,-2 3-8-16,4-2-7 0,-7 2 5 0,8 0 3 0,-8 0-26 15,10 2 33-15,-5-2-15 0,0 4 0 0,1-2 23 16,-1 3-38-16,0-1 15 0,2 0-11 0,-4 0-7 15,2-1 0-15,0 0-5 0,-2 2-28 16,2-2-23-16,-3 1-26 0,1-1-26 0,0 0 6 16,1 0-47-16,-3 1-48 0,1-2-61 15,-2-2-165-15,6 3-508 0,-2-2 58 0,-4-1 97 16,8 1 52-16,-2 0 112 0,-6-1 28 16</inkml:trace>
  <inkml:trace contextRef="#ctx0" brushRef="#br0" timeOffset="65940.92">17789 1576 908 0,'0'0'359'0,"0"0"-34"16,10-12-18-16,-5 10-31 0,-2-3-27 16,2 1-24-16,-2-2 36 0,2 1-113 0,-2-2 6 15,2 1-36-15,-3 0 10 0,1-1-13 0,1-1-3 16,-3 1-4-16,-1 0 20 0,3 0-28 15,-3 1-6-15,-3 1-19 0,3 0-9 0,0-1-15 16,-1 2-4-16,1 1 4 0,-4-1 15 0,4 4-22 16,-5-2-11-16,5 2 18 0,0 0-10 15,0 0-36-15,-13 5 29 0,10-3-6 16,-2 1-15-16,3 1-1 0,0 0 11 0,-2-1-5 16,2 2-15-16,2-1-6 0,-2 0 11 0,2-1-11 15,0-3-12-15,0 6 13 0,0-6-1 16,0 6-10-16,0-6-7 0,4 3 17 0,-4-3 8 15,6 2-28-15,-6-2 28 0,7 0 0 16,-7 0-10-16,0 0 13 0,13-3 7 0,-8 1-7 16,2 0 7-16,-3 0 3 0,1 0 0 0,0 0 8 15,0 1-8-15,0 0-5 16,2-1 17-16,-7 2-14 0,11 0 17 0,-11 0-38 0,8 0 10 16,-3 2 3-16,0 0-3 0,1 0-10 0,-2 0 12 15,1 0-4-15,-2 2-3 0,2-1-3 16,-2-1 8-16,-1 2 8 0,1 0-3 15,-1-1-10-15,1 1 8 0,1-2 59 0,-4 1 9 16,4-1 11-16,-4-2-33 0,2 5 0 0,1-3 5 16,-3-2-21-16,2 4 26 0,-2-4 13 15,3 3-31-15,-3-3 21 16,0 0 4-16,0 0-7 0,5 0-15 0,-5 0 23 0,0 0-26 0,0 0 28 16,0 0-43-16,5-6 2 15,-5 6 28-15,3-4-32 0,-1 2-4 0,-2 2-10 0,4-5 24 16,-2 3-3-16,0 0-8 0,-2 2-18 15,5-4 11-15,-2 1-16 0,-3 3 25 0,5-3-12 16,-3 0-7 0,-2 3 17-16,6-2-31 0,-6 2 31 0,7-1-40 0,-7 1 12 0,0 0-8 0,10 3 18 15,-10-3 0-15,5 0-7 16,-5 0 12-16,6 3-7 0,-2-2-13 0,-4-1-3 0,3 2 16 16,-3-2-1-16,7 3 19 0,-7-3-44 15,0 0 31-15,6 2 5 0,-6-2 18 16,3 2 10-16,-3-2-31 0,2 2 26 0,-2-2-95 15,0 0 44-15,0 0 5 0,6 2 8 0,-6-2-11 16,0 0 5-16,0 0 3 0,0 0 34 16,7-4-40-16,-7 4 27 0,3-7 2 0,1 6-3 15,-1-2-2-15,0 1 5 0,-3 2-2 0,5-3-1 16,-5 3-9-16,5-3-14 0,-5 3 8 0,5-2 5 16,-5 2 1-16,0 0-19 0,10 1 39 15,-10-1-21-15,8 1-10 0,-2 1 25 0,-2 0-9 16,2 0 2-16,-2 1 97 15,-1 0-59-15,2-2-30 0,-2 2-8 0,0 0-23 16,1 0-6-16,-1 0-58 0,0 2-51 0,-3-2-23 16,2 1-60-16,-1 0-40 0,1 0-136 0,-2 1-179 15,2-2-496-15,-2 2 140 0,0-5 85 16,3 4 38-16,0-2 87 0,-3-2 87 16</inkml:trace>
  <inkml:trace contextRef="#ctx0" brushRef="#br0" timeOffset="66393.25">18212 1344 1034 0,'0'-3'491'0,"0"-2"-71"0,0 5-54 0,0 0-10 16,1-3-54-16,-1 3-33 0,0 0 20 15,0 0-69-15,7 10 10 16,-7-6-33-16,3 3-20 0,-1 1 15 0,0 0-44 0,-1 0-99 0,1 1 2 15,1 1-10-15,1 0-2 16,-3-1 32-16,2 2-25 0,-1-3-18 0,0 2 11 0,-1-3-19 16,-1 0-7-16,0-1-10 0,0-1 22 15,2 1-12-15,-2-3 38 0,3 2 8 0,-3-2 21 16,0-3-22-16,0 0-4 0,3 4 41 0,-3-4-6 16,0 0-14-16,0 0 1 0,14-8 12 15,-10 5-1-15,3-1-23 0,-2 0 30 16,0 1-22-16,1-2 0 0,2 1-14 0,-4 2-1 15,4-2-19-15,-3 2 3 0,0 0-18 0,0 2 13 16,-5 0 18-16,11 0-18 0,-11 0-1 0,10 1 4 16,-10-1-11-16,7 3 0 0,-4 2 28 15,0-2-7-15,-1 1-3 0,-2 1 3 0,0 0 56 16,0 0-16-16,-2 1-37 0,-1-1 22 16,-2 2 15-16,0-2-99 0,2 1-8 15,-2-2-20-15,-1 1-16 0,-1-1 16 16,2-1-57-16,0 0-13 0,0-2-35 0,-3 2-8 0,3-2-26 15,-2 1-53-15,1 0-44 0,1-1-77 0,5-1-281 16,-8-1-379-16,8 1 95 0,-4-3 71 16,4 3 118-16,0 0 59 0,0-6 100 0</inkml:trace>
  <inkml:trace contextRef="#ctx0" brushRef="#br0" timeOffset="66868.87">18527 1499 1005 0,'0'0'390'0,"6"-6"-88"0,-2 2 15 0,-3 0-56 16,4-1 0-16,-3 1-23 0,1-1-5 15,0-2-8-15,-1 2-7 16,-1 0-8-16,1-1-3 0,-2 0-33 0,0 1-18 0,0-1-23 15,0 2-20-15,0-1-8 0,-2 2-3 0,2 3-30 16,-1-5 18-16,1 5-24 16,-5-3 3-16,5 3-23 0,0 0-7 0,0 0 4 0,-10 6-7 15,9-2 0-15,-1 0 0 0,0 0 61 0,2 2 11 16,-3-2-49-16,3 2 10 0,0-1-41 16,3-1-54-16,1 2-30 0,-3-1-16 15,4 1-53-15,-2-1-21 0,4-2-110 0,-2 2-77 0,-2-3-71 16,2-1-159-16,1 1-254 15,-2 0 100-15,4-2 67 0,-8 0-10 0,11 0 79 16</inkml:trace>
  <inkml:trace contextRef="#ctx0" brushRef="#br0" timeOffset="67132.25">18664 1461 765 0,'2'-3'243'0,"0"-1"-20"0,0 0-11 16,0 0 65-16,0 2-6 0,0-1 11 16,-2 3-29-16,3-6-7 0,-3 6-16 0,5-3-28 15,-5 3-17-15,0 0-6 0,5 0-79 16,-5 0-47-16,0 0 24 0,7 5-3 0,-7-5 3 15,3 5-13-15,-3-2 5 0,3 0-23 0,-3 1 16 32,2 1-19-32,-2-5 3 0,1 6 16 0,-1-3 2 0,2 0 13 0,-2-3-1 0,0 4 101 15,0-4 5-15,3 5-13 0,-3-5 17 16,0 0-4-16,2 2 0 0,-2-2-113 0,0 0-10 16,0 0 5-16,0 0-8 0,5-9 24 0,-2 7-45 15,-3-4 6-15,3 2-23 0,1-2 13 16,-1-1-39-16,0 1-25 0,2-1-36 0,0 1-18 15,0 0-21-15,1 1-45 0,1-2-42 16,-2 1-61-16,3 1-123 0,-3 0-117 16,3 0-454-16,2 1 149 0,-2-2 61 0,2 1 70 15,0 2 22-15</inkml:trace>
  <inkml:trace contextRef="#ctx0" brushRef="#br0" timeOffset="68538.85">19338 1303 1172 0,'0'0'338'0,"0"0"-26"0,0 0-25 0,0 0-26 16,0 0-31-16,0 0-15 0,-8 11-23 0,8-6-23 15,-1 0-8-15,-3 3-20 0,4 1-10 16,0-1-19-16,-2 0-9 0,2 1-24 0,2 2 23 16,-2-2-27-16,2 2-16 15,0-2-3-15,-1 1 8 0,2 0-8 0,1-1 0 0,-1-2-4 16,2 1-86-16,-2-1-9 0,5-2 12 16,-2-1 0-16,0 1-7 0,2-4 25 0,0 1-5 15,0-2-20-15,2-2 23 0,-3 1-1 0,1-1 26 16,2-3-7-16,-2 0 10 0,0 0 23 15,0-1 10-15,-1-1-8 0,-1-1 3 0,-2-1-3 16,0-1 80-16,0 0 0 16,-4 1-11-16,0-1-9 0,0 1-9 0,0-1-22 0,-2 2-1 15,-1 1-9-15,-2 0-21 0,1 2 15 0,-2 2 5 16,-2 0-30-16,3 1 4 0,-3 2 1 0,2 0 15 16,-3 1-23-16,2 0-5 0,-1 1 36 15,2-1-36-15,1 2-11 0,-2-1 27 16,4 1-37-16,-2-1-10 0,2 1 8 0,3-3 0 15,-4 4-5-15,4-4 0 0,0 0-3 0,0 0 36 16,0 0-21-16,0 0-4 0,12 1 4 16,-12-1 1-16,13-2-8 0,-5 1 10 15,2 0 0-15,-2 0-5 0,-1 1-10 0,3 0 12 0,1 2-7 16,-1 1 23-16,0 0 3 16,1 3 2-16,-4 0-21 0,3 2 3 0,-2 1 18 0,2 2-5 15,-2 3-18-15,-3 1 8 0,3 0 7 0,-3 2 1 16,-2-1-11-16,-1 4 15 0,-2-1-2 15,0 1-30 1,-2 0 24-16,1-1 1 0,-1 0 5 0,-3-1 5 0,2-1-8 16,-2-1-2-16,4-2 3 0,-3-3 32 0,2-1-27 15,2-2 20-15,-2 1-3 0,1-5 11 0,-2 1-13 16,3-2-65-16,0-3 4 0,0 0-1 16,0 0-7-16,0 0 20 0,8-12 0 0,-4 5-5 15,-3-1 24-15,6-4 50 16,-1 1 28-16,2-4-38 0,2 0-12 0,0-2 14 0,3-1-4 0,-1 1-29 15,-1-1 1-15,3 1-9 16,-5 3-9-16,1 1-34 0,1-2-31 0,-4 2-20 16,1 0-56-16,0 1-39 0,0-2-92 0,-1 2-143 15,1 1-187 1,0 0-282-16,0-3 13 0,0 4 126 0,-2-1 71 0,0-3 64 0,1 2 70 16</inkml:trace>
  <inkml:trace contextRef="#ctx0" brushRef="#br0" timeOffset="69038.98">20168 1141 1397 0,'0'-6'407'16,"0"6"-54"-16,0 0-7 0,0 0-42 15,0 0 4-15,0 0-22 0,0 19-30 0,0-10-30 16,0 0-34-16,0 5-13 0,0 0-10 0,0 2-3 16,3 3-10-16,-6 1-38 0,3 1 10 15,0 1-33-15,-2-1-29 16,0-1-2-16,2 1 5 0,-2-2-5 0,1 0-18 0,-2-1-35 0,3-3-45 15,0 0-22-15,0-2 10 0,0-2 0 0,0-3-51 16,0 0-16-16,0-2-69 16,4-1-74-16,-2 1-84 0,-3-3-90 0,2 1-441 15,3-4 101-15,-4 0 38 0,6 3 110 0,-6-3 20 16</inkml:trace>
  <inkml:trace contextRef="#ctx0" brushRef="#br0" timeOffset="69654.83">20307 1187 883 0,'0'0'371'0,"0"0"-56"16,0 0-13-16,0 0-18 0,0 0-21 15,0 0-14-15,0 19-4 0,0-11-30 0,2 1 3 16,-2 0-29-16,0 1-32 0,0 0-1 16,3 0-82-16,-6 2-23 0,6-1 5 0,-6-1 19 15,6 0-14-15,-3 0-2 0,-3-1-3 0,3 1 1 16,0-2 17-16,0 0 0 0,0-2-12 15,3 0 14-15,-3-1-12 0,0 1 98 0,1-3-17 16,1 0 9-16,-2 1 10 0,2-2-8 0,-2-2-8 16,8 3-32-16,-6-2 17 0,-2-1-13 15,8 1-28-15,-8-1 5 0,8 2-30 0,-4-1 10 16,-4-1-13-16,9 1-10 0,-4 0-1 0,0 0-19 16,-5-1 4-16,12 1-10 0,-6-1 13 15,-1 0-5-15,2 0-26 0,-7 0-10 0,13-1 28 16,-7-1-30-1,2 0 12-15,-4-1 8 16,4 0-16-16,-3 0 32 0,2-1-29 0,0 0 3 0,-3 0 7 0,2-1 5 0,-4 1-27 16,0-1 43-1,1 2-3-15,0-1-46 0,-1 0 51 0,0 1-15 0,-2 3-7 0,2-4-6 0,-2 4 11 16,0 0-19-16,0 0 24 0,0 0-29 16,0 0 24-16,-6 15-3 0,3-9-1 15,3 0 6-15,0 4-2 0,-3-2-29 0,3 1-5 0,3-1-7 16,-3 1-11-16,3-2-30 0,1 0 2 15,0 0-49-15,2-3-25 0,0 2 11 0,-1-2-50 16,3-1-20-16,0-1-26 0,0-2-71 0,-1 0-143 16,1-2-569-16,1-1 56 15,-1 0 147-15,0 0 94 0,-3-3 31 0,-2 2 61 16,4-3 120-16</inkml:trace>
  <inkml:trace contextRef="#ctx0" brushRef="#br0" timeOffset="69938.11">20076 1322 1008 0,'0'0'453'0,"0"0"-5"16,0 0-141-16,0 0-30 0,0 0 25 0,0 0-64 0,28-3 66 15,-15 1-14-15,3-1-50 0,5 1-20 16,1-2-17-16,6 0-4 0,-2-1-25 15,5 1-12-15,0-1-9 0,-1 0-45 0,-4-1 2 0,2 1-21 16,-5 2-22-16,0-2-47 0,-5 1-33 16,0 2-58-16,-5-1-60 0,4 1-137 15,-6-6-124-15,2 8-535 0,-3 0 67 0,-2-1 113 16,0 0 89-16,1-1 33 0,0 1 47 16</inkml:trace>
  <inkml:trace contextRef="#ctx0" brushRef="#br0" timeOffset="70582.38">21520 1213 901 0,'-5'-3'376'0,"5"3"-41"0,0 0-15 0,0 0-41 15,-13 4-18-15,7-1 0 0,-1 1-36 0,0 2 6 16,-1 0-34-16,-2 0 3 0,1 0-34 0,-3 0 3 16,2 0 2-16,2 1-7 0,0-3-36 0,0 0 21 15,3 3-44 1,-2-3-16-16,2 1-4 0,1-1-6 0,2 2 8 0,0-2-2 0,2 1-42 15,2-1 24-15,1 2-24 0,0-1-2 16,2 1-54-16,5 1-20 0,-2-1-5 16,2 0 30-16,0 1-2 0,2 1-3 0,-1-1-2 15,-1-1-8-15,4 3 12 0,-4-2-9 16,0 0 7-16,-3 0 0 0,1-1 26 0,-2 1-18 16,-2 0 2-16,2-1 24 15,-4-2-16-15,-2 2 79 0,0-1 39 0,-2 1-10 0,-1 0-11 0,-4-2 1 16,-1 3-21-16,-3-4-8 0,-1 3 3 15,-2-1-24-15,0-1 6 16,-3 2 3-16,3-2-16 0,-4 1 2 0,0-1-48 0,3 0 5 0,-1-1 8 16,3-1-28-16,0-1-21 0,3 0-2 15,-3 1-24-15,5-1-15 0,1-1-45 0,-1 1-40 16,3 1-7-16,5-2-61 0,0 0-49 16,0 0-87-16,-7-3-141 0,7 3-391 0,0 0 43 15,15-6 174-15,-5 2 28 0,0 0 118 16</inkml:trace>
  <inkml:trace contextRef="#ctx0" brushRef="#br0" timeOffset="71608.72">21681 1311 837 0,'0'0'376'0,"0"0"-5"31,-13 5-64-31,9-1-23 0,-2-1 3 0,-1 2-49 0,3-1 15 0,-3 3-38 0,-3-1-33 0,5 0-10 16,-3 0-19-16,0 2-79 15,5 0 1-15,-4-2-19 0,4 0-2 0,-1 1 2 0,1-1-5 16,2 0-25-16,-1 0 12 0,2-2-22 16,2 0 22-16,-1 0-18 0,2-1-4 0,-1 0 25 15,3-2-21 1,2-1-2-16,-7 0 18 0,11 0-10 0,-3-1-6 0,0-2 8 0,-1 0-15 15,0-1 15-15,1 0 13 0,-2 0 0 0,-1-2 13 16,2 0 20-16,-2 1-30 0,-1-1 30 16,0 1 10-16,2-1-12 0,-4 0-16 0,1 2 26 15,-1-2-28-15,-2 3-11 0,3 0 1 0,-3 3-3 16,0-4-5-16,0 4-13 0,0 0 13 16,0 0-13-16,0 0 5 0,0 0-3 0,0 0-14 15,0 0-1-15,0 0-2 0,-13 10 12 16,12-8-2-16,-1 2-10 0,0-1-8 15,2-3 7-15,0 6-22 0,-2-3 15 0,2 1 5 0,0-4 0 16,0 6-7-16,0-6-1 0,0 6-15 16,0-6 16-16,2 4-14 0,-2-4 19 0,2 4-3 15,-2-4 31-15,3 2-42 0,-3-2 1 16,7 2 23-16,-7-2-5 0,0 0 4 0,11-1-14 16,-11 1-3-16,8-1-3 0,-8 1 3 15,8-2 5-15,-1 1 15 0,-2-1-2 16,0 0 8-16,0 2-9 0,0-2 19 0,1 1-18 0,-6 1-6 15,8-2-14-15,-4 1 22 0,-4 1-23 16,10 0 11-16,-10 0-11 0,8 0 3 0,-2 1 18 16,-2 1-10-16,-4-2 22 0,10 3-20 0,-9-2 8 15,4 2-5-15,-2-1 7 16,1 1-5-16,0 0 11 0,-2-1 4 0,0 1 11 16,1 1 3-16,2-1-19 0,-5-3-12 15,5 6 41-15,-5-4-26 0,0-2 12 0,5 3 4 0,-3 0 4 16,-2-3 3-16,0 0 11 0,3 4 55 0,-3-4 34 15,5 2 0-15,-5-2-28 0,0 0-6 16,0 0-9-16,0 0 9 0,9-1-7 16,-9 1-105-16,4-5 31 0,1 5-13 0,-2-4-20 0,1 1 27 15,0-1-2-15,0 0 3 0,0 0-26 16,1 0 7-16,0 2 4 0,0-2-27 0,0 1 29 16,-2 1-33-16,1-1 27 0,2 1-27 0,-6 2 15 15,8-3 0-15,-4 2 25 0,-1-1-40 16,-3 2 22-16,8 0 6 0,-8 0-18 15,8 0 10-15,-8 0-26 0,0 0 39 0,10 2-8 16,-10-2-10-16,7 2 18 0,-4-1-21 0,-3-1 13 16,6 2-5-16,-6-2-8 0,4 1 13 15,-4-1 16-15,0 0-3 0,6 1 7 0,-6-1-40 16,0 0 18-16,5 2 7 0,-5-2-8 0,0 0 16 16,0 0-23-16,9 0 10 0,-9 0 18 0,6-4-33 15,-6 4 41-15,5-3-52 0,1 1 29 16,-4 0 15-16,4 0-15 0,-6 2-13 15,9-3 17-15,-4 2-6 0,0 0-14 0,-5 1-15 0,11-3 10 16,-7 3 5-16,-4 0 26 0,11 2 10 16,-6-1-45-16,0 0 9 0,1 1-2 0,-2 1-8 15,-1 0-39-15,4 1-4 16,-4-2-16-16,1 2-46 0,-2-1-38 0,2 1 0 0,-1-2-47 16,-3-2-19-16,3 7-19 0,-1-3-128 15,-2-4-168-15,5 2-449 0,-4 0 77 0,-1-2 95 16,6 3 95-16,-6-3 135 0,4 2-2 0</inkml:trace>
  <inkml:trace contextRef="#ctx0" brushRef="#br0" timeOffset="72120.35">22239 1170 1031 0,'-2'-4'384'0,"2"4"-23"0,0 0-39 0,0 0-27 16,0 0-16-16,0 0-31 0,0 0-28 16,-2 12 8-16,2-4-33 0,0 0 4 0,2 3-17 15,0 3-26-15,-1 1-13 0,-1 3 24 16,0 2 32-16,0 2-32 0,0-1-8 0,0 3 2 16,0-3-25-16,0 6-9 0,0-3-22 15,0 2-102-15,-1 0-13 0,-1-4-16 16,0-1 16-16,2 0 5 0,0-1-34 0,0-3 11 15,0-2 23-15,0-2-3 0,-2 0-25 0,2-3 33 16,0-1-15-16,0 0 28 0,2-3 28 16,-2-1 7-16,4 0 6 0,-3-3 28 0,-1-2-5 0,0 0-16 15,0 0 49-15,10-8-28 0,-5 2-5 0,1-3 25 16,1-2 1-16,-1-3-27 0,4-4 4 16,2-3 14-16,-1 1 22 0,7-9-19 0,0 1-18 15,0 3 1-15,-3 4 4 0,-2 5-15 16,0-1-53-16,-3 5 30 15,0 0 2-15,-1 3-12 0,0 1 5 0,-2 3-5 0,-1 0 10 16,-1 2-13-16,2 3-7 0,-4-1-18 0,-3 1 32 0,0 0-34 16,10 7 27-16,-7-3-13 0,-3 2-17 15,-1 0 10-15,-1 2 5 0,-2 1-11 32,1 1 4-32,-3 1-11 0,-1-1 41 0,2 1-41 0,-3-1-3 0,-2 3 0 0,0-2-35 15,2-2-23-15,-2 0-24 0,2 1-12 0,1-3-57 0,-4-1-22 16,4 1-4-16,-1-1-42 0,0-1-39 15,0-4-34-15,1 2-112 0,1-2-125 16,1-1-482-16,5 0 141 0,-10-4 49 0,5 2 131 16,3-2 45-16,1-2 90 0</inkml:trace>
  <inkml:trace contextRef="#ctx0" brushRef="#br0" timeOffset="72385.48">22481 1129 1208 0,'0'0'463'0,"3"-4"-53"0,-3 4-11 0,0 0-23 16,0 0 69-16,0 0-30 0,5 10-46 0,-2-5-26 15,-1 3-28-15,2 3 2 16,-3 1-25-16,4 1-46 0,-3 0-6 0,-1 2-25 16,1 2-2-16,2 1-29 0,-2 1-38 0,-2-5-34 0,0 2-35 15,2-1 0-15,-2 0-82 0,-2 0-64 16,4-1-31-16,-2 1-36 0,0-3-51 0,0 2-66 15,0-4-157 1,2 2-183-16,1-1-398 0,-2-3 62 0,1 1 133 0,0-1 53 0,1-1 88 16,-1-1 84-16</inkml:trace>
  <inkml:trace contextRef="#ctx0" brushRef="#br0" timeOffset="72687.14">22681 1390 1377 0,'3'-12'419'16,"1"1"-55"-16,-3 2-19 0,-1 2-2 0,3 0-23 0,-3 2-97 15,2 1-10-15,-2-1-19 16,-2 1-15-16,2 4-20 0,-4-5-26 0,4 5-15 16,-7 1 0-16,7-1 4 0,-9 4-42 0,3-1 14 15,-2 2-9-15,3 0-16 0,-1 1 10 16,2 1 3-16,-4 1-15 0,6-1-6 15,-4 1-20-15,4 0 5 0,0 0 8 0,-2 0-18 0,4 0-10 16,0-1 7-16,3 0 23 0,-2 0-43 0,3-2 10 16,1 2-15-16,0-2-34 15,1 0-28-15,-1-2-38 0,3-1-26 0,1 0-51 16,0 0-89-16,1-4-147 0,0-1-529 0,3 2 36 0,2-2 207 16,-2-2 25-1,5 1 44-15,3-2 74 16</inkml:trace>
  <inkml:trace contextRef="#ctx0" brushRef="#br0" timeOffset="73115.8">23445 1266 980 0,'0'0'312'0,"0"0"46"0,0 0-12 0,0 0-11 16,-2 13-61-16,2-9 3 0,0 2-26 0,0 0-29 16,0 1-4-16,0 1-19 0,2 1-9 15,-2-1-34-15,2 1-31 0,-1 1-9 0,-1-2-22 16,0 1-27-16,0-1-3 0,0 0-49 15,0-1-30-15,2 0-34 0,-2-1-112 0,0 0-185 16,0 0-560-16,3-3 108 0,-3 1 73 0,4 0 60 16,-4-4 50-16</inkml:trace>
  <inkml:trace contextRef="#ctx0" brushRef="#br0" timeOffset="73268.32">23435 1276 890 0,'0'0'213'0,"-3"-4"-70"0,3 4-64 0,0 0-96 0,0-6-119 0,0 6-445 15,0 0 18-15</inkml:trace>
  <inkml:trace contextRef="#ctx0" brushRef="#br0" timeOffset="73628.48">23658 1224 985 0,'-5'3'333'0,"0"-1"-70"16,0 3-9-16,2-2-39 0,-2 1-26 0,1 0-7 0,0 0-21 15,1 0-10-15,2 1 0 0,0-1-18 0,1 1-10 16,0 0-10-16,2 2-24 15,-1-1-12-15,4 1 18 0,-2 1-18 0,1 0-3 0,-1 0-10 16,4 2 15-16,-4-4 11 0,4 3-1 0,-3-3-1 16,-1 2 4-16,-1 0 82 15,0-1-13 1,1 0 3-16,-2 0 5 0,-2 0 18 0,-2-1-39 0,0 1-69 0,-1 0-4 0,0-1-16 16,-5 1-16-16,4-2 3 0,-5 1-61 15,1 1-16-15,0-1-36 0,-4 0-45 0,3-1-29 16,-1 0-43-16,2 0-116 0,-5-2-178 0,3 1-426 15,-3 0 62-15,-4 1 110 16,2 1 66-16,-5-2 52 0</inkml:trace>
  <inkml:trace contextRef="#ctx0" brushRef="#br0" timeOffset="75523.67">6985 2669 1085 0,'2'-4'412'0,"-2"4"-8"0,0 0-35 0,-2-6-18 16,2 6-47-16,0 0-27 0,0 0-24 16,-10 0-23-16,10 0-32 0,-10 1-35 15,4 1-9-15,-1 1-6 0,-1 3 3 0,-2-2-12 16,0 2-4-16,0-1-19 0,1 3-14 0,-1-2 13 15,-2 1-41-15,2 1 16 0,1-2-26 16,0 3 10-16,1-2 18 0,3-2-48 0,-3 1-6 16,3 0 31-16,2-1-41 0,-2 0-17 0,2 0 32 15,3-2-25-15,0-3 15 16,0 6 8-16,3-3-12 0,-3-3 6 0,7 4-9 0,-1-4-3 16,-1 0 3-16,2 0-16 0,2 0-8 15,0 0 14-15,4 0 4 0,-3 0 3 0,4-2-10 16,-2 4-8-16,3-2 5 0,1 0-94 15,-3 3-6-15,2-2 39 0,-2 0-13 16,-3 0 3-16,0 3 22 0,1-3 1 0,-3 1 12 16,0 1-4-16,-1 0 14 0,-4 0 21 15,1-1-15-15,-3 2 31 16,1 2-6-16,-2-3-10 0,0 3 8 0,-3 0 7 0,-1 1-2 0,-4 2-5 16,0-3-10-16,0 2 22 0,-4-1-20 0,2-1 3 15,-1 1-8-15,-1-1-10 0,1 1-11 0,-2-1-9 16,3 0-4-16,-1-1-19 15,1 0-45-15,0 1-17 0,3-4-15 0,-1 2-16 0,0-2-41 16,3 2-90-16,0-3-124 0,5-1-14 0,-8 0-422 16,8 0 13-16,0 0 168 0,0-9 47 15,0 5 59-15</inkml:trace>
  <inkml:trace contextRef="#ctx0" brushRef="#br0" timeOffset="75818.06">7105 2588 816 0,'0'0'371'0,"0"0"-30"0,3-4-11 0,-3 4 61 0,0 0-58 15,0 0-8-15,0 0-56 0,3 11-18 0,-1-5 10 16,-1 1-59-16,1 2 13 0,0 2-100 16,-2 2-12-16,3 1-19 0,-3 3 26 0,3 2-5 0,-1-2-28 15,0 2-10-15,-1 0-6 16,2-1 3-16,-1 1-28 0,3-2 10 0,-2 0-3 15,1-1 4-15,-1-2-14 0,2-3-18 0,0 1 18 16,0-2-38-16,3-2 8 16,-3-1 5-16,1-2-21 0,1 1-26 0,0-5-22 15,2 1 10-15,1-2-72 0,0-1-31 16,0 0-84-16,0-3-171 0,-1 1-451 0,0 0 76 16,2-4 32-16,-6 4 76 0,2-2 92 15</inkml:trace>
  <inkml:trace contextRef="#ctx0" brushRef="#br0" timeOffset="76052.75">7052 2800 1026 0,'0'0'335'0,"0"0"70"0,0 0-21 15,0 0-44-15,0 0-17 0,0 0-37 0,15-9-27 16,-7 6-29-16,2-2-7 0,2 0-31 15,4-1-23-15,-1 0-21 0,1-1-12 16,2 2-31-16,0 1-21 0,-3-2-45 0,3 0-80 16,-3 1-82-16,-1 2-123 0,1-1-117 0,-2 0-487 15,0 2 62-15,-3 1 38 0,2 1 84 16,-1-3 49-16</inkml:trace>
  <inkml:trace contextRef="#ctx0" brushRef="#br0" timeOffset="76754.27">7475 2788 1287 0,'0'0'389'0,"0"0"-51"0,0 0-21 15,0 0-17-15,0 0-93 0,8 12-10 0,-6-7-33 0,3 0-5 16,0 4 0 0,1 0-16-16,-2 2-10 0,2 0-18 0,-3 1-20 0,1-1 10 15,-1 1-26-15,2 0-25 0,-3-1 2 0,1 0-7 16,0-2 2-16,-1 1 10 0,1-2-45 16,-3-1 12-16,0-1 54 0,0 0-39 0,3-2 14 15,-3-1 7-15,0-3-8 0,0 3-2 0,0-3 15 16,0 0-5-16,0 0 2 0,0 0-4 15,0 0-19-15,0 0 21 0,-6-15-23 0,6 10 13 16,-2-3-26-16,2 1 11 0,2-1 2 0,-2 1 0 16,3-2 61-16,0 1-10 15,-1 0-13-15,0 2-4 0,4-1 9 0,-3 0-35 0,1 2-11 16,2-1 18-16,1 2-17 16,-2 1-39-16,1-1-8 0,-1 2-12 15,3 0-55-15,-1 1-37 0,-2 0-34 16,3 0-74-16,-8 1-126 0,10-1-204 0,-2-2-379 0,-3 3 74 0,2 0 28 15,-1-2 115-15,1 1 52 0,-2-2 107 16</inkml:trace>
  <inkml:trace contextRef="#ctx0" brushRef="#br0" timeOffset="76938.2">7718 2805 826 0,'0'0'351'0,"0"0"61"0,0 0-48 0,0 0-21 0,0 12-26 16,0-7-7-16,0-1-65 0,0 3-35 15,3-1 0-15,-3 2-26 0,0 1-9 0,3 0-14 0,-1-1-20 16,0 3-21-16,-2-1-64 16,3-1-51-16,-2 1-51 0,1-2-128 0,-2 0-179 15,5 1-546-15,-5-1 101 0,3-3 43 0,-1-1 97 16,0 0 108-16</inkml:trace>
  <inkml:trace contextRef="#ctx0" brushRef="#br0" timeOffset="77346.89">7877 2716 975 0,'-10'11'338'0,"8"-5"-31"0,1 0-10 0,-1 2-3 16,-1 1-17-16,1-1-16 15,0 0-34-15,1 2 4 0,-1 2-55 0,2-2 1 16,0 1-36-16,0 0 18 0,0 1-44 0,0-3 5 15,2 4-25-15,-1-3 2 16,1-2-7-16,3 1-16 0,-2-1-18 0,2-2-2 0,0 1 5 16,0-1-6-16,0-1 11 0,3-2-2 15,-3 2-19-15,3-3-12 16,-1 0 5-16,1-2-41 0,-1 0-18 0,4 0-36 16,-4-2-15-16,2 0-31 0,0 0-67 0,0-3-71 0,1 3-100 0,-5-2-153 15,5-1-324-15,0 2 40 0,-2-2 137 16,2 1 55-16,-4-1 76 0</inkml:trace>
  <inkml:trace contextRef="#ctx0" brushRef="#br0" timeOffset="77633.59">8131 2613 1049 0,'-3'-4'407'0,"3"4"-38"15,0 0-37-15,0 0-27 0,0 0-6 0,-4 10 39 16,4-3-5-16,0 0-31 0,2 4-25 16,0 0-32-16,1 3-17 0,0 0-49 0,-1 0-12 15,1 4 9-15,0 0-20 0,1-1-17 0,-1 2-29 16,0-2-26-16,2 1-45 0,-3-1-42 15,3-4-30-15,-2 0-44 0,0 0-54 0,-1-4-7 16,-1 2-82-16,3-4-141 16,-4 0-79-16,3-1-443 0,-3-2 41 0,3 0 120 0,-1-3 69 15,0 3 121-15</inkml:trace>
  <inkml:trace contextRef="#ctx0" brushRef="#br0" timeOffset="77862.42">8055 2836 1154 0,'-3'-2'348'0,"3"2"-28"0,0 0-26 15,0 0-30-15,0 0-26 0,0 0-23 16,0 0-13-16,0 0-5 0,0 0-25 16,18-5-19-16,-11 4-12 0,1-1-20 0,2-1-11 15,0 1-31-15,-1 0-38 0,1-2-23 0,0 3-62 16,0-1-12-16,0-3-95 0,1 0-87 0,-1-2-108 15,0 2-462-15,0 1 50 0,-2-3 120 16,2 3 47 0</inkml:trace>
  <inkml:trace contextRef="#ctx0" brushRef="#br0" timeOffset="78108.64">8290 2603 1318 0,'0'0'386'0,"0"-6"-58"15,0 6-39-15,-3-3-10 0,3 3-18 0,0 0-7 16,0 0 60-16,0 0 9 0,0 0-26 0,6 15-92 16,-4-8 2-16,1 2-35 15,2 1 81-15,-3 2-33 0,4 3-2 0,-3 1-47 0,1 0 11 0,2 1-5 16,-2 0-55-16,2 1 17 16,-1-1-34-16,-2-1-39 0,1 0-48 15,-3-2-23-15,4-1-31 0,-1-1-23 0,-1 0-36 16,2-2-48-16,-4 0-33 0,4-3-73 0,-3 2-78 15,1-7-126-15,2 2-507 0,-2 2 79 0,1-4 100 16,2-1 47-16,-4 2 61 0,4-3 84 0</inkml:trace>
  <inkml:trace contextRef="#ctx0" brushRef="#br0" timeOffset="78601.56">8521 2754 934 0,'-3'5'317'0,"1"-1"-33"0,0 0 3 0,1 1-34 16,1 1-38-16,0 1-7 0,0-2-29 0,0 1-31 0,1 1-4 16,1-2-14-16,0 0-9 0,1 1-16 15,0-3-6-15,1 1-17 0,-1-1-2 16,2 0-16-16,-2-1-11 0,4 0 14 0,-4 0 5 15,-3-2-1-15,13 0-17 0,-5 0 0 0,-1-4 7 16,-1 2-2-16,1 1-21 0,-2-4 11 16,3 2-3-16,-3 2 39 0,1 0-19 0,-2-1-2 15,-4 2 3-15,10-2-1 0,-10 2-12 0,8 3 43 16,-2-1-2-16,-2 4 5 0,2 0 0 16,-1 5 2-16,3 1 6 0,-1 3-11 0,1 3-2 31,2 1-26-31,-5 3 5 0,5-1 0 0,-2 2 75 15,-3-2-19-15,3 2 1 0,-6-5-21 0,1 1-95 0,0-3 36 0,-3 1-28 0,0-4 13 16,0 0-26-16,-2 0-7 0,1-3-3 0,-2-2-26 16,3-1-9-16,-2 2-32 0,-1-5-10 15,1 1-25-15,-1-1-8 16,1-3-11-16,2-1 4 0,0 0-14 0,0 0-20 0,0 0-23 16,0 0-28-16,0 0-18 0,0-13-31 0,2 6-26 15,3-2-45-15,-4 1 79 0,3-3-141 16,-1 0 31-16,2-1-397 0,-2 2 20 15,4-2 100-15,-1 0 54 0</inkml:trace>
  <inkml:trace contextRef="#ctx0" brushRef="#br0" timeOffset="83101.16">9728 2659 1126 0,'-5'-2'343'0,"-2"-3"-31"0,2 3-18 0,-3 2-12 0,0 0-23 0,-4 2-4 16,-2 3 45-16,1 1-24 0,-4 3-15 0,1 3 1 15,-2 1-37-15,0 3-13 0,-7 4-15 16,7-3-20-16,-3 8-34 0,3-6-33 0,6-3 3 15,-1 2-13-15,5-2-21 0,1-2 8 16,1 1-13-16,4-1 3 0,1-1 5 0,-1 0-10 16,4-1-13-16,-1 0 7 0,4-3-17 0,-2 0-18 15,4-1-6-15,-2-2-20 0,3 0-10 16,0-2 5-16,2-1 8 0,0-1-31 16,-2-2-16-16,2-1-32 0,3-1-34 0,-1-1 0 15,1-3-49-15,0 3-50 0,-2-4-78 0,4-1-128 16,0 0-488-16,-2 0 69 15,0-2 10-15,0 1 168 0,0-3 34 0,-3 2 62 16</inkml:trace>
  <inkml:trace contextRef="#ctx0" brushRef="#br0" timeOffset="83788.63">9800 2592 982 0,'0'0'402'0,"0"0"-43"15,-2-3-27-15,2 3-24 0,0 0-91 0,0 0-30 16,-3 15-21-16,3-6-7 0,0 0-16 16,2 1 1-16,-2 4-1 0,0 0-20 0,1 1-16 15,-1 1-14-15,0 1-6 0,0 0-11 0,-1-2-14 16,2 1 22-16,1-1-15 0,-2 0-20 0,0-1 0 16,3-2-3-16,-1-1-5 0,-2-1 2 15,0-2 16-15,0 1 20 0,0-3-20 16,1 0 21-16,-1-2 7 0,2 0-5 0,-2-2 2 15,0-2-7-15,5 3-23 0,-5-3 5 0,0 0-3 16,8-6-15-16,-6 3 2 0,3 0-9 16,-2 0 4-16,2-1-23 0,1 0 6 0,-2 2-16 15,2-2 5-15,-2 2-10 0,2 2 5 0,-1-2 13 16,-5 2-15-16,10 2 2 0,-4 0-3 16,1-1-32-16,-2 2-11 0,3 0 0 15,-3-2-18-15,2 2-2 16,-1 0-37-16,-1 0-12 0,0-2 15 0,0 0-7 0,1 0 13 0,1 2-16 15,-2-3 5-15,-5 0 5 0,11-3 28 0,-11 3 47 16,10-2-21-16,-3 0-2 0,-4-2-4 16,2 2 32-16,0-1 2 0,-3 0 11 15,4-2 15-15,-4 2-8 0,1 0 28 0,0-2-2 16,-3 5 2-16,4-3-13 0,-4 3-2 0,1-3-13 16,-1 3 31-16,5-3-10 0,-5 3-16 15,0 0 3-15,0 0 13 0,0 0 7 0,10 7-20 16,-10-7-6-16,3 4 1 0,1-2-11 0,-4-2-17 15,8 3 17-15,-2-3-12 0,-6 0 38 16,10 0-13-16,-10 0-2 0,13-3 7 0,-6-2-4 16,-2 3 29-16,3-4 35 0,-3 1-1 0,3-1-5 15,-3 1 28-15,0 0 65 0,0 1 19 16,-2-2 24 0,-1 1-95-16,1-1 3 0,-3 1-11 0,0-1-10 15,-3 0-20-15,1-1-28 0,0 4 9 0,-1 0-12 0,0-2-5 16,-2 2 0-16,0 2 7 0,0-1-50 0,5 2 14 15,-13-2-40-15,8 2-3 0,5 0-23 0,-12 5-28 16,6-3-18-16,1 2-35 0,-1-1 4 16,2 1-30-16,1 1-29 0,0-1-63 15,1 0-129-15,2 0-15 0,0-1-156 0,2 0-302 0,1 1 44 16,-3-4 171-16,7 3 28 0,-1-3 89 16</inkml:trace>
  <inkml:trace contextRef="#ctx0" brushRef="#br0" timeOffset="84115.1">10257 2686 972 0,'-8'8'284'16,"8"-8"-38"-16,-5 3-5 0,5 1-14 0,0-4-19 16,0 6 4-16,2 0 1 0,1 0-29 15,2 0-18-15,-2 2-12 0,2-1-6 16,0 1-9-16,3 0-22 0,-3 2 6 0,2-4-28 0,-4 3 74 15,4-2 0-15,-1 0 0 0,-2 0 2 16,0 0 1-16,-2-1 4 0,1 1-37 16,-3-1 12-16,2 0-41 0,-4-1-3 0,1 1 14 0,-1 1-1 15,0-1-31-15,-4 1 6 16,1-1-8-16,0-1-18 0,0 1-5 0,0-1-23 16,2-2 3-16,-2 1-42 15,3-2-38-15,-4 1-22 0,6-3-55 0,-5 1-38 0,5-1-36 16,0 0-79-16,-7 1-72 0,7-1-59 0,0 0-445 15,0 0-5-15,0 0 112 0,0 0 52 16,10-7 76-16,-10 7 39 0</inkml:trace>
  <inkml:trace contextRef="#ctx0" brushRef="#br0" timeOffset="84676.01">10405 2808 926 0,'8'-8'320'0,"0"-1"-5"0,-3 3-39 16,0-1-2-16,0 1-18 0,0 0-33 0,-2-1-18 15,-1 1 86-15,1-1-29 0,-3 1 1 0,3 0-4 16,-1 1-29-16,-2 1 3 0,0-1-44 0,0 1-14 16,0 4-7-16,-2-6-42 0,2 6 22 15,-3-4-32-15,3 4-1 0,0 0-8 0,0 0 19 16,0 0-47-16,-13 10-12 0,11-4-14 0,-1 1-14 16,-2 1-3-16,2 0-19 15,1 0-14-15,-1 2 20 0,1-3-31 0,1 1-27 16,1 0 22-16,0-3-18 15,0 2 5-15,1-1 9 0,1-1-4 0,1-1 13 16,-1 0 13-16,1 1-20 0,2-4 25 0,-2 1-15 16,1-1-2-16,2 1 22 0,-6-2 18 0,12-2-20 0,-6 1-3 15,1 1 29-15,1-3-16 0,-2 2 18 16,1 0 10-16,0 0-15 0,-1-3 2 0,2 3-5 16,-4-1 3-16,-4 2-15 0,11 0 12 0,-3 0-18 15,-8 0 24-15,10 0-24 0,-5 1 16 16,-5-1-18-16,10 1 2 0,-5 0 16 15,0 3 10-15,0-4-6 0,-5 0-24 16,8 3-4-16,-5-2 29 0,-1 1-13 0,-2-2 10 0,8 3-20 16,-8-3-15-16,5 1 4 15,-2 1 6-15,-3-2 18 0,0 0 27 0,8 0-17 0,-8 0 26 16,0 0-4-16,10-2-4 0,-5 1 2 0,0-1 34 16,-5 2-26-16,7-3-15 0,-1 1-39 15,-1 0-33-15,0 0 2 0,-2 0 19 0,2 0-6 16,0 1 13-16,0-2-23 0,-5 3 0 15,8-2 18-15,-8 2-20 0,10 0 7 0,-10 0 23 16,10 2-22-16,-5-2-29 0,1 3-21 0,-2-3-22 16,-4 0-39-16,8 3-2 0,-3 1-57 15,-2-1-61-15,0-2-26 0,1 1-138 0,0 1-215 16,0-2-325-16,2 1 76 0,-6-2 40 0,12 0 132 16,-4-2 64-16,0 1 108 15</inkml:trace>
  <inkml:trace contextRef="#ctx0" brushRef="#br0" timeOffset="85339.95">11469 2733 696 0,'0'0'396'0,"0"0"-24"0,0 0-52 0,0 0-6 16,0 0-68-16,16-8-44 0,-11 3-10 15,2-4-2-15,1 1 4 0,2-4-22 0,-1-1-24 16,1 0 11-16,2 1 0 0,-4-2-29 0,0 0-22 15,-1-3-8-15,-1-1 5 16,1 1-11-16,-2 0 6 0,-2-3-5 0,2-1 7 16,-5 1-23-16,2 1 78 0,-2-1-4 0,0 1-12 15,-2 5 10-15,0 1 13 0,2 0 10 0,-3 4-41 16,3-1-2 0,-3 4 2-16,-1 3-36 0,0-1-7 0,4 4 4 0,0 0 3 15,-10 7-30-15,7 0 15 0,-1 3-13 0,1 4-15 16,0 3-8-16,-1 7-5 0,0 2 0 15,2 4-18-15,0 8-67 0,0 3 14 0,1-1-6 0,1 0-31 16,0-7 39-16,1-5-10 0,1 0-21 0,-2-1-21 16,2-1 9-1,0-2-16-15,2-3-21 0,-2-2-20 0,0-1 5 0,1-4-23 16,0-2-35-16,1-1 9 0,-3-2-56 0,4 0-51 0,-3-3-148 16,-1-3-21-16,3 0-433 0,-1-1 83 15,-3-2 79-15,0 0 68 0,0 0 99 0</inkml:trace>
  <inkml:trace contextRef="#ctx0" brushRef="#br0" timeOffset="86065.65">11524 2909 785 0,'0'0'428'0,"-3"-5"-54"0,0 2-8 0,3 3-44 0,-3-5-7 0,3 1 5 0,0 4-46 15,0-8-116-15,1 2-4 0,1 0 5 0,3-1-18 16,0-2-6-16,1 0-17 0,1-2 76 0,1 0-17 15,0-2-3-15,2-1 13 16,0 1-108 0,3 0 11-16,-3 2-3 0,0-2-10 0,1 3 10 0,1-1-23 0,-4 3 18 0,-1-1 7 15,1 1-32-15,0 0-4 16,0 3 9-16,-3 0-11 0,3 3 28 0,0 1-10 0,-4-1 1 16,4 2-17-16,-8 0-7 0,13 5-10 0,-8-1-5 15,3 2-5-15,-3 0-24 16,0 2-7-16,0 0-16 0,1 1 39 0,-1-1-15 15,0-2 0-15,-3 2-11 0,1-2 8 0,-1 0-13 0,3-1 36 16,-4 0 0-16,3-2 3 0,-1 1 2 16,-2-1 13-16,1 0 41 0,-2-3-13 0,5 4 5 15,-5-4 16-15,0 0-26 0,0 0 7 16,0 0-30-16,5-10 8 0,-5 5 5 0,2 0 5 16,1-2 79-16,-3 1-44 0,3-2-14 15,-1 0 30-15,3-1-23 0,-2 1-3 0,2 1-9 16,0 0-32-16,-2 1-28 0,2-2-17 0,0 4-59 15,0-2 12-15,0 2-38 0,-2-2-64 0,4 3-5 16,-1-1-52-16,-1 1 1 16,2 0-39-16,-2-1-38 15,3 0-10-15,0 0-3 0,0 1-82 0,2-2 36 0,-5 1 23 0,3 0 21 16,0 0 35-16,-1-1 51 0,0 2 39 0,-1 0 90 16,-1 1 35-16,0 1 24 0,-2-3 20 0,-3 4 5 15,7 0 2-15,-7 0 42 0,0 0-16 16,5 4-8-16,-5 0 37 0,3 0-14 15,-3 2-12-15,1-1 17 16,-1 1 9-16,2 1 2 0,-2 2-11 0,2-1-7 0,1 0 0 0,0 0 0 16,-1 0-2-16,3 0-4 0,-2-2 6 0,1 0-10 15,2-1 13-15,-1 0 4 0,2-2-4 16,-1-1 25-16,-1-1-10 0,3-1 5 0,-8 0 13 16,12-3 12-16,-4-1 13 15,0 0 26-15,-5-1-10 0,4 0-5 0,-4-2 23 0,-1 2-14 16,3-2 14-16,-5 0-23 0,0 1-21 0,-5-1 5 15,3-1-10-15,-1 1 8 0,-2 1-39 16,0 3 0-16,0-3-2 0,0 3-23 0,-1 2-23 16,-2-2-16-16,1 3-25 0,0 0-21 15,7 0-2-15,-16 2-14 0,11-1-32 0,-3 2-13 16,3 1-16-16,0-1-22 0,0-1-62 0,0 2-57 16,3-2-94-16,2-2-61 0,-4 2-472 15,4 0 85 1,0-2 57-16,0 0 145 0,0 0 3 0</inkml:trace>
  <inkml:trace contextRef="#ctx0" brushRef="#br0" timeOffset="86618.58">12156 2587 977 0,'8'2'331'0,"-8"-2"-45"0,5 3 16 15,-2 0-33-15,0-1-18 0,-1 2-31 0,3-2-97 16,-4 2 7-16,1 0-9 0,0 1-4 0,3-2-22 15,-4 0-5-15,-1 2-6 16,2-1 3-16,-2 0 16 0,2 0 4 0,1-2 60 0,-3 2-1 16,0-4-2-16,0 6 2 0,0-6-10 0,3 3 11 15,-3-3-9-15,0 0 14 0,2 3-3 16,-2-3-77-16,0 0-15 0,0 0-21 16,0 0 18-16,0 0 0 0,0 0-10 0,0 0-20 15,13-5 23-15,-13 5-9 0,5-4-12 0,-2 2 16 16,-3 2-31-16,5-2 7 0,-5 2 13 15,5-4-23-15,-5 4-5 0,5-1 31 0,-5 1-15 16,5-1-34-16,-5 1 23 0,6-2-18 0,-6 2 16 16,0 0 15-16,7 0 0 0,-7 0-26 15,0 0 8-15,8 2 3 0,-8-2 7 0,0 0 18 16,7 0 85-16,-7 0-19 0,0 0-4 0,0 0-5 16,0 0-3-16,8 0 2 15,-8 0-25-15,0 0-8 0,0 0 3 0,0 0-31 16,0 0 23-16,8-2-13 0,-8 2-17 0,0 0 15 15,0 0-24-15,5-1-2 0,-5 1 36 0,0 0-28 0,8 0 8 16,-8 0-1-16,5 0 24 16,-5 0-39-16,8-2-7 0,-8 2 9 0,10 0-4 15,-10 0-8-15,8 0 12 0,-8 0-37 0,10 0 50 16,-10 0-27-16,8 0-44 0,-4 2 33 16,-4-2-21-16,8 0-4 0,-8 0 7 15,8 0-71-15,-8 0-34 0,5 3-28 0,-5-3-51 0,6 0-31 16,-2 2-36-16,-4-2-51 0,6 1-58 0,-6-1-185 31,10-1-522-31,-3 0 92 0,1 0 120 0,2-2 69 0,0 1 85 0,4-2 56 0,1 1 103 16</inkml:trace>
  <inkml:trace contextRef="#ctx0" brushRef="#br0" timeOffset="87237.58">13128 2403 1044 0,'0'0'340'0,"0"0"-33"0,0 0-28 16,0 0-17-16,-3 11-30 0,4-5-19 0,-1 3-21 15,2 1-8-15,1 4-40 0,-1-1-1 0,1 6 16 16,2-1-34-16,-2 5-2 0,1 2-28 16,0-1 4-16,0 2-32 0,-1-1-47 0,0 0 3 15,1-1-20-15,-1-4 0 0,0 0 7 0,-1-2-8 16,1-1-4-16,-1-3 4 0,1-1 19 15,-1-2-11-15,-1-1 11 0,1-1 12 16,1-1 13-16,-3-2 8 0,0-1 33 0,0 0-28 16,0-2-6-16,0-3 22 0,0 5-11 15,0-5 15-15,0 0 13 0,0 0-10 0,0 0-8 16,0 0 108-16,-5-18-16 0,4 9-17 16,-1-3-29-16,2-3 18 0,0-1-38 0,0-5 10 0,2 3-13 15,-1-2-12 1,4 1-6-16,0 0 6 0,3 2 12 0,-3 1-23 0,4 2-12 0,-3 2-6 15,2 0 0-15,-1 3 3 0,1 1-10 0,0 2 12 16,0 1-22 0,-1 3 4-16,-2 1 26 0,0 0-30 0,-5 1-14 0,11 2 14 0,-9 2 9 15,-2 0-2-15,0 1-25 0,-5 1-3 16,3 2-82-16,-4 2 5 0,1 1-38 16,-3-2-16-16,1 4-10 0,-1-3-18 0,-2-1-20 15,3 1-8-15,1-2-18 16,-1 2 0-16,1-6-25 0,1 1-31 0,2 0-57 0,-1-4-32 15,4-1-63-15,0 0 88 0,0 0-10 0,0 0-70 16,2-9-396-16,3 4 56 0,0-3 41 0,1-1 72 16</inkml:trace>
  <inkml:trace contextRef="#ctx0" brushRef="#br0" timeOffset="87566.99">13333 2539 808 0,'3'-5'290'0,"2"3"-29"0,-2 1 18 0,-3 1-90 15,0 0 8-15,7 0-10 0,-7 0-38 0,5 3 14 16,-2 1 65-16,0-1-28 0,-1 1-21 0,0 2-15 15,4-1-31-15,-1 2 8 0,0 0-1 16,0 0-24-16,1 0-27 16,-2-1 9-16,2 1-4 0,-1-1-9 0,2 0-80 0,-1-1 23 15,-1 0-5-15,2-3 13 0,-2 2 15 0,1-3-2 16,2-1 10-16,-8 0-3 0,12-4 28 0,-7 2 70 16,1-2 28-16,1 1-16 0,-2-3 6 0,0 0-14 15,-2 0 21-15,-1 0 8 16,1 0-25-16,-3 0-32 0,0-1-17 0,-3 0 4 15,1 2-19-15,-3 0-14 0,0-1-27 0,-1 3 6 16,2 0 14-16,-2 0-66 0,1 3 1 0,-3-4-24 16,0 6-35-16,1-2-19 15,-1 2-8-15,0-1-39 0,0 1-25 0,-1 2 0 0,4-2-42 16,-3 1-29-16,3 0-45 0,0 0-66 16,2-3-138-16,0 2-471 0,3-2 51 0,0 0 125 15,0 0 6-15,0 0 76 0,0 0 82 0</inkml:trace>
  <inkml:trace contextRef="#ctx0" brushRef="#br0" timeOffset="88054.95">13538 2404 1331 0,'3'-3'417'0,"-3"3"-46"16,0 0-46-16,0 0-10 0,0 0-8 0,0 0-115 15,0 0-28-15,7 14 0 0,-3-6-11 0,0 3-9 16,-1 2-6-16,0-1 82 0,-1 6-23 15,1 0-36-15,2 0-38 0,0 5 0 0,2 1-79 16,-4 0 9-16,3 0-12 0,-2 0-10 0,-1 1-11 16,2-7-7-16,-3 2 10 15,1-2-13-15,0-1 3 0,-1-3-18 0,0-1 0 16,-1-1 13-16,-1-2 25 0,3 0 5 0,-3-2 8 16,0 0 41-16,0-3 8 0,0 0-3 0,2-1 0 0,-2-1 24 15,0-3-4-15,0 0 6 0,0 0-10 16,0 0-21-16,0 0 7 0,-2-13-9 15,2 6 86-15,0-4-17 0,2-2 15 0,-2-6-16 16,2-1-50-16,-1 0-21 0,4-5 0 16,-2 0-11-1,4 2 6-15,-2 4 0 0,0 1-34 0,0 1 3 0,1 2 8 0,-2 3-26 0,2 0 3 16,-1 4 5-16,2 2-11 0,-1 0 34 0,-1 2-5 16,0 3-59-16,0 1 43 15,-5 0-9-15,0 0-14 0,12 4 0 0,-8 0 1 0,-2 1 22 16,-2-1-23-16,0 2-20 0,0 0 33 15,-2 2 16-15,-1 0-18 0,0 1-14 16,-2-1-27-16,-2 5-52 0,1-3-15 0,1-2-61 0,-3 0-33 16,1 1-32-16,2-2-50 0,-1-2-42 15,-1 0-66-15,2-1-148 16,2-1-559-16,-2-1 67 0,2 1 156 0,3-3 95 0,-7 3 18 16,7-3 95-16,0 0 43 0</inkml:trace>
  <inkml:trace contextRef="#ctx0" brushRef="#br0" timeOffset="88660.89">13854 2496 1315 0,'0'0'389'16,"0"0"-46"-16,-6 6-33 0,6-6-16 16,-2 5-30-16,2-5-39 0,2 5-5 0,-2-5-112 15,3 7 15-15,-2-4-23 0,-1 1-24 0,2-2 19 16,0 2-13-16,0-2-15 0,-1 2 4 15,4-1-2-15,-5-3-5 16,2 4-10-16,1-2-8 0,-3-2-5 0,5 3-8 0,-5-3 19 16,5 1-17-16,-5-1 29 0,0 0-7 15,14-5-6-15,-10 3-8 0,-1-1 21 0,2 0 3 0,-3-1 5 16,1 1-31-16,2 0-3 0,-2 1 23 16,-3 2-9-16,5-5 24 0,-5 5-40 15,3-2 10-15,-3 2 21 0,0 0-11 0,0 0 11 16,7 7-16-16,-4-5-20 0,-1 2-24 15,1-2-9-15,0 3-29 0,-1-2-5 0,3 0-25 16,-2 2-26-16,-1-4-13 0,4 1-46 16,-2 1-56-16,2-3-67 15,-1 2-87-15,3-2-545 0,-1 0 41 0,-7 0 126 0,13-4 101 0,-3 3 45 16</inkml:trace>
  <inkml:trace contextRef="#ctx0" brushRef="#br0" timeOffset="89349.69">14144 2317 1190 0,'-3'-3'386'0,"3"3"-50"0,-3-5-45 15,3 5-6-15,0 0-30 0,0 0-9 0,0 0-13 16,0 0-23-16,-4 13-15 0,4-7-26 16,0 1-13-16,0 2-18 0,0-1-15 0,0 2 5 15,2 1-28-15,-2 0 15 0,0 5-33 0,0-3-16 16,0 1-17-16,0-1-41 0,0 3-37 16,0-3-9-16,-2 0-41 0,4-1-54 0,-2 1-47 15,0-1-114-15,0-3-100 16,0-1-451-16,2 0 54 0,-2-1 213 0,3-2-44 15,-1-1 51-15</inkml:trace>
  <inkml:trace contextRef="#ctx0" brushRef="#br0" timeOffset="90267.47">14359 2448 757 0,'0'0'356'16,"0"0"-41"-16,0 0-3 0,5-4 13 0,-5 4-48 15,2-2 9-15,-2 2-50 0,0 0-78 16,0 0-1-16,0 0 9 0,0 0-12 0,-4-7-1 16,4 7-4-16,0 0-24 0,-6-2-20 15,6 2-5-15,0 0 71 0,-12 2-38 0,6 0-10 16,2 1 18-16,-2 1-33 0,1-1-9 16,0 1 6-16,-3 1-23 0,3 0 33 0,0 0-38 15,0-1 0-15,2 1 2 0,-2-2-2 0,2 1-46 16,1 2 15-16,-3-3-10 0,4 1-21 15,-1-2 18-15,0 1-17 0,2-3 9 0,0 7-2 16,0-7-7-16,0 0 17 0,2 2-33 16,-2-2-2-16,0 0 32 0,8 0-35 0,-8 0 20 0,0 0 19 15,11-4-1-15,-7 2-28 0,-4 2 8 16,8-3-5-16,-6 1-6 0,-2 2 6 16,0 0 0-16,10 0 4 0,-10 0-12 0,6 3-15 0,-3 0 7 15,-1 2-20-15,3-2-18 16,-2 0-13-16,-1 1-46 0,3 0 0 0,-4-1-41 15,3 2-51-15,0-4-56 0,0 1-100 0,-2 0-170 16,-2-2-383-16,11 2 100 16,-11-2 53-16,13-4 106 0,-6 1 48 15</inkml:trace>
  <inkml:trace contextRef="#ctx0" brushRef="#br0" timeOffset="90465.28">14479 2420 711 0,'3'-12'300'0,"-3"1"86"15,2 2-35-15,-1-3-8 0,-1 5-16 16,2-3-9-16,0 2-88 0,-2 1 8 0,3-1-25 15,-3 3 7-15,0-1-10 0,0 2-41 0,0 0-3 16,0 4-23-16,0 0-4 0,0 0-11 16,0 0 10-16,0 0-41 0,0 0-18 0,0 0-12 15,-3 19 5-15,1-10 4 0,2 1-4 0,0 0-41 16,0 3-13-16,0 1-28 16,2 0-26-16,-2-1-51 0,3 0-34 0,-2-1-25 15,1-3-71-15,0 1-70 0,1-3-127 0,0 1-462 0,1-1 83 16,-1-1 84-16,2-2 58 15,0 1 93-15</inkml:trace>
  <inkml:trace contextRef="#ctx0" brushRef="#br0" timeOffset="90824.56">14438 2427 1251 0,'0'0'384'0,"0"0"-20"0,0 0-24 0,0 0-30 16,0 0-52-16,0 0-27 0,13-4 2 15,-6 2-62-15,-1 1-10 0,-1-3-28 16,5 2-17-16,-2-1-14 0,2-1-35 0,0 0-11 0,-2 1-18 16,3-1-15-16,1 0 0 15,-2 0 0-15,0 0-2 0,1 1 28 0,-4-2-24 16,2 2-2-16,-2 1 8 0,-2 0 0 0,1 0 2 15,-2 0-10-15,-4 2 10 0,10 0 23 16,-10 0-9-16,8 4 4 0,-8-4-3 0,6 4-2 16,-4 1-2-16,0-2-11 0,1 4 13 0,0-3-25 15,-1 4-3-15,-1-1 7 16,1 1-9-16,0 0 2 0,-2 1-29 0,3-1-42 0,0 0-19 16,-3 0-64-16,2-1-81 0,-2-4-160 15,2 3-524-15,-2-1 98 0,4-1 68 16,-2-2 75-16,0 1 99 0</inkml:trace>
  <inkml:trace contextRef="#ctx0" brushRef="#br0" timeOffset="90979.3">14636 2325 1090 0,'-1'-4'389'0,"-3"1"-56"15,1 1-67-15,3 2-59 0,0 0-20 16,0 0-95-16,0 0-135 0,-5-2-190 0,5 2-497 15,0 0 167-15,0 0-20 0</inkml:trace>
  <inkml:trace contextRef="#ctx0" brushRef="#br0" timeOffset="91632.36">14754 2355 742 0,'2'7'394'0,"-2"-4"-23"0,0 4-43 16,2-1-3-16,-2 0-36 16,0 1-41-16,1-1-15 0,2 3-28 0,-1-2-5 0,0 0-16 15,1 0-30-15,-3 0-8 0,5-2-16 16,-3 1 1-16,1 0-16 0,2-3 13 0,-2 0-13 16,2-1-71-16,-2 0 4 0,4-2-2 15,-7 0-18-15,13-2 29 0,-5 0-11 16,0-1 13-16,-3 0-6 0,3-1 80 0,-4-1 13 15,4 0-20-15,-5 0 2 0,2-2 2 16,-3 1-25-16,1-2 3 0,-3 1-16 16,3 0 10-16,-3 2-4 0,0 1-11 0,-3-3-23 0,3 2-3 0,-3 0-5 15,-1 1 6-15,0-1-44 0,2 2 25 16,-3-1-27-16,2 2-1 0,3 2 11 0,-7-3-29 16,2 0 0-16,5 3-2 0,-5-2 21 0,5 2-24 15,-8 0 5-15,8 0-7 0,0 0 3 16,-5-1-24-16,5 1 5 0,0 0 16 0,0 0-5 15,0 0 15-15,0 0 0 0,0 0 10 0,0 0-13 16,0 0 21-16,0 0-33 16,0 0 5-16,20 0-1 0,-20 0 32 0,10 1-13 15,-4 0-24-15,-2 0 6 0,2 2 7 16,2-1 14-16,-3 1-9 0,2 1 34 0,-2-1-31 16,-1 0 3-16,3 1 33 0,-2-1-31 0,0 1-23 15,0-1 21-15,-2 1-18 16,-1 1 12-16,1-4 29 0,0 2-13 0,2 0-18 0,-5-3 28 15,2 5-5-15,1-3 10 0,-3-2 11 0,5 2-80 16,-5-2 18-16,3 2 59 0,-3-2-8 16,0 0-15-16,12 0 23 0,-12 0-18 0,10-4-15 15,-4 3 33-15,-1 0 20 16,0-2-4-16,0 2-1 0,3 0 16 0,-8 1-26 0,10-1-21 16,-5-1-7-16,-5 2 13 15,13 2-6-15,-8-2-1 0,-5 0-42 0,10 2 30 0,-4-1 11 16,1 2-64-16,-4-3-15 0,1 2-21 0,-4-2-58 15,8 4-42-15,-2-3-23 16,-6-1-56-16,5 3-58 0,-3 0-209 0,1-1-439 0,0-1 30 16,-3-1 90-16,4 4 51 0,-4-4 110 15,11 0 103-15,-11 0 66 0</inkml:trace>
  <inkml:trace contextRef="#ctx0" brushRef="#br0" timeOffset="92278.72">15754 2191 977 0,'0'0'297'0,"-3"13"-28"15,3-8-13-15,3 3 0 0,-3 1-46 16,2 1-8-16,0 1-46 0,1 2-10 15,-2 2-13-15,3-3 3 0,-1 2-26 0,2 1-28 0,-2 0 13 16,2-2-16-16,-2-2-18 0,1 3-4 16,-1-4 17-16,0 0-15 0,-1-2-13 15,1-2 33-15,0 2 8 0,-1-3 33 0,-2 0 8 16,2-1 8-16,-2-4 13 0,0 4-16 0,0-4 0 16,0 0 33-16,0 0 62 0,0 0-31 15,8-9-31-15,-6 3 6 0,4-1-39 0,-1 0-7 16,3-2-1-16,0 2-23 0,2-1 39 0,0 1-36 15,2-2-10-15,-1 3-34 16,-1-1 11-16,3 4 0 0,0-1-29 0,-1 0 16 0,-3 3-10 16,1 1 2-16,0 0 15 0,0 1-7 0,-2 1-8 15,-1 1-7-15,-1 1 2 16,-1-1-10-16,-2 2-13 0,-3 0 38 0,2 0-20 16,-4 2 21-16,1-1 2 0,-6 2-23 0,1-1-6 15,-1 2-19-15,-1-2 4 16,-2 0-4-16,0-1-1 0,0 1-25 0,1 0-18 0,-1-2-34 15,-2 0-45-15,4-2-32 0,-2 1 1 0,2-1-18 16,3 1-56-16,-3-3-26 0,3 3-126 16,0-3-135-16,2-1-533 0,3 0 73 0,0 0 119 15,0 0 59-15,0 0 126 0,0 0 41 16,8-11 58-16</inkml:trace>
  <inkml:trace contextRef="#ctx0" brushRef="#br0" timeOffset="92693.23">16085 2326 732 0,'-1'11'360'0,"1"-11"-24"0,0 7-39 0,0-4-34 0,-2 1-7 16,2 0-20-16,2 0-42 0,-2 0-27 0,0 0 12 16,1 0-10-16,-1-4-23 0,4 5-8 15,-4-5-15-15,5 3 5 0,-5-3 13 0,6 2 7 16,-6-2 29-16,7-2-93 0,-7 2 1 0,8-3 2 15,-3 0 20-15,0 2 75 0,-2-2-13 16,-3 3 2-16,8-2-38 0,-6 0 34 16,-2 2-29-16,0 0-10 0,10 0-10 0,-10 0 7 0,6 5 16 15,-2-2-23-15,0 5-26 0,0-1 13 16,-1 5-105-16,4 2 51 0,-4 4-7 16,4-3 9-16,-4 5-9 0,2 3-11 0,1-1 100 15,-1 2-56-15,-3-4 28 16,1 1-18-16,-3-1 0 0,0-1 15 0,0 0-20 0,0-1 21 15,-3-2-39-15,1-3-11 0,0 0-12 0,-1-1-56 16,0 0 18-16,1-4-73 0,1-1-32 0,-1-1-26 16,2 0-66-1,-3-2-55-15,3-4-19 0,0 3-147 0,0-3-105 0,0 0-545 16,0 0 103 0,0 0 117-16,14-8 93 0,-7 3 55 0,0 0 60 0,1-2 133 0</inkml:trace>
  <inkml:trace contextRef="#ctx0" brushRef="#br0" timeOffset="93262.5">16756 2256 1279 0,'-2'-3'402'0,"2"3"28"0,-6-6-33 16,2 4-44-16,4 2-33 0,-8-1-8 0,8 1-68 15,-11 3-22-15,3 1 1 0,1-1-21 0,-4 4-40 16,1 1-1-16,3-2-20 0,-1 2-16 0,0 1 11 15,0 0-34-15,1 2 11 0,2-2-26 16,3 1 13-16,-1-1-11 0,3-1-27 0,-3 1 2 16,3-3 7-16,3 2-25 0,0-1-10 0,-1-1 15 15,5 1-5-15,-2-3-5 16,1 1-5-16,4-4-8 0,-2 1-61 0,2-1 18 16,1-1-13-16,-1-1-49 15,0 1-18-15,2-2-12 0,-1-2-27 0,4 1-88 0,-4-2-98 16,1 0-110-16,1 0-507 0,-3-1 97 0,3 2 26 15,-5-5 133-15,0 4 75 16,0-3 45 0</inkml:trace>
  <inkml:trace contextRef="#ctx0" brushRef="#br0" timeOffset="93635.88">16887 2153 918 0,'-1'-6'313'0,"1"6"-27"16,-2-2-19-16,2 2-24 0,0 0-8 16,0 0-7-16,-7 8 56 0,4-3-10 0,3-1-18 15,0 2-20-15,-2 2-14 0,2-1 1 16,-3 1-34-16,3 1-35 0,-1-1 10 0,-1 1-26 16,2 0-25-16,0 2 22 0,0-2-22 0,0 1-3 15,-2-2-23-15,2 0 0 0,2 0 0 0,-4-1-5 16,4 0 8-16,-4-2-19 15,4 0 26-15,-2 0 3 0,0 0 21 0,0-2 14 0,2 0-43 16,-2-3-71-16,1 5 33 0,-1-5-29 0,5 1-7 16,-5-1-2-16,0 0-4 0,10-1-1 15,-10 1 24-15,8 0-19 0,-8 0-3 16,7 0-1-16,-7 0 11 0,11 2-2 0,-8-1 12 16,1 2-10-16,2-2-23 0,-2 2 16 0,-1 1-9 15,3 1-12-15,1-3 8 0,-4 3-39 16,2-1-26-16,-2-1-25 0,1 1-20 0,0-2-57 15,0 3-23-15,-1-4-25 0,2 0-29 16,0 0-35-16,-5-1-113 0,10 0-100 0,-4 0-412 16,1-1 94-16,-2-1 22 0,5-2 119 0,-2 1 80 15,0-1 120-15</inkml:trace>
  <inkml:trace contextRef="#ctx0" brushRef="#br0" timeOffset="94366.29">17233 2222 977 0,'0'0'356'0,"-8"-1"-44"16,3 0-30-16,5 1-31 0,0 0 0 15,-13 2-41-15,5 0-6 0,1 0 6 0,-1 1-36 16,2 2-12-16,-6 0 9 0,2 0-2 16,0 2-44-16,0-1 1 0,1 1-6 0,-1 0 18 15,4 1-58-15,-2 0 14 0,0-1-24 16,2-3 4-16,1 1-21 0,3 1-19 0,-1-1-9 15,2-2 21-15,1 1 18 0,0-4-20 16,0 6-11-16,0-6-15 0,4 2 18 0,0 0-13 16,-4-2-3-16,9-2-9 0,-9 2 7 0,10-3 7 15,-3-1 6-15,-2 2-3 0,1-2-25 16,-1 0 27-16,2-1-4 0,-1 1-11 0,-1-1 6 16,-3 2 2-16,4-3 31 0,-4 4 45 0,3-2 1 15,-5 1 26-15,5-1-21 0,-5 1-34 16,0 3 14-16,3-3-19 0,-3 3-7 0,0 0-23 15,0 0 0-15,0 0-3 0,0 0 3 16,0 0 13-16,0 0 7 0,0 0-25 0,0 0-6 16,0 0 19-16,-3 12-34 0,3-12-2 0,0 3 20 15,0-3-10-15,-2 5-23 0,2-5-3 16,0 0 0-16,0 5-2 0,0-5 20 16,0 0-10-16,2 3 11 0,-2-3 1 0,0 0 27 15,6 1-21-15,-6-1-13 16,7 2-3-16,-7-2 11 0,0 0-21 0,10-2 37 0,-10 2-22 15,8-1-12-15,-8 1 33 0,10 0-5 0,-5 1-20 16,-5-1 15-16,8 2-3 0,-8-2 3 16,8 2 5-16,-3-1 5 0,-2 1-28 0,2 0 3 15,-1-1 22-15,-1 2-4 0,-3-3-11 0,6 2 16 16,-4 1-1-16,3-1-7 0,-5-2-31 16,0 0 26-16,5 3 18 0,-5-3-11 0,3 3 27 15,-3-3-4-15,5 2-10 0,-5-2 57 16,0 0-21-16,5 1-23 0,-5-1 23 15,0 0-74-15,10-3 23 0,-10 3-10 0,8-3 7 0,-3 2-20 16,-5 1 33-16,8-3 0 0,-3 2-18 16,-5 1 34-16,8-1 2 0,-4-1-36 15,-4 2 42 1,0 0-47-16,11 2 18 0,-11-2 2 0,8 1-12 0,-3 1-10 0,-2 0 12 0,-1 2-18 16,3-2 16-1,-2 0 10-15,-1 1-36 0,1 0-25 0,0 0-8 0,-1 0-26 0,0 0-61 0,-2-3-36 16,3 4-59-16,-3-1-48 15,0-3-110-15,5 3-142 0,-2-2-526 0,-1-1 135 16,-2 0 33-16,0 0 162 0,14-2 27 0,-10-1 47 16,4 0 85-16</inkml:trace>
  <inkml:trace contextRef="#ctx0" brushRef="#br0" timeOffset="95112.63">17672 2148 972 0,'0'0'407'0,"0"0"-41"0,-6-1-7 0,6 1-16 0,0 0-54 0,-10 1-10 0,10-1-82 0,-10 5-41 16,2 0-2-16,3-1 7 0,-1 1 3 0,-4 3-31 16,5-2 23-16,-2 4-20 0,-1-1 2 0,3-1 5 15,0 1-7-15,0 0-13 16,-1 1-16-16,4-1 21 0,0-1-23 0,-1 2 23 15,3-3-23-15,0 1-33 0,3-1 33 0,-1 0-11 0,0-1-32 16,4 0 4-16,-1-2 6 0,3 0-11 16,0-2 14-16,2 0-11 0,0-2-31 15,0 0 11-15,3-2-4 0,-1 0-6 0,2-1-11 16,-2 0-16-16,1-2-19 0,0 0-9 0,-3-1 16 16,0 0 5-16,-2-1-15 15,0 0-19-15,-1 1 24 0,-4 0-28 0,2 0 12 16,-2 1-10-16,-1 1 1 0,-2 0 1 0,0 4 11 15,0-3 8-15,0 3-16 0,0 0 13 0,0 0 26 16,-12 9 5-16,11-2-6 0,-4-1-7 16,5 5 18-16,-2-3 18 0,2 2 20 0,0 0-30 0,2 2 5 15,3-1-6-15,-2 0 11 0,2-1-5 16,3-1-5-16,-1 0-14 0,3-3-24 16,-1 1 19-16,1-1-48 0,0-3-43 0,2-1 10 15,-1-2-34-15,2 1-28 0,-3-2-35 0,5-1-8 16,-2-1-62-16,3 1-135 15,-4-1-118-15,1-1-453 0,0 0 105 16,-2-1 81-16,-1 0 106 0,2 0 13 0</inkml:trace>
  <inkml:trace contextRef="#ctx0" brushRef="#br1" timeOffset="107736.49">1934 4716 977 0,'-5'3'387'0,"5"-3"-47"0,-5 1-30 0,5-1-11 0,0 0-35 15,0 0-5-15,0 0 40 0,0 0-7 16,0 0-11-16,0 0-35 0,0 0-5 15,26-6-29-15,-16 5-33 0,3 0-15 0,5-4 18 0,-1 0-8 16,7 3-48-16,-3-3 4 0,4 0-10 16,1-1-33-16,2 3 3 0,-7-3-6 0,1 2-25 0,-2 0 39 15,1 0-40-15,-2 1-29 0,0-1 14 16,-3 1-30-16,-1 1 7 16,1-2-30-16,-5 2-28 0,-1 1-16 15,2-2-36-15,-4 1-2 0,0 1-23 0,-1 1-44 0,1-4-33 0,-3 4-107 16,0-3-118-16,-2 2-525 0,-3 1 82 15,7-3 66-15,-4 1 152 0,-3 2 30 0,5-4 54 16</inkml:trace>
  <inkml:trace contextRef="#ctx0" brushRef="#br1" timeOffset="108021.43">2276 4543 1264 0,'-6'-3'384'0,"6"3"-5"0,0 0-31 0,0 0-51 0,0 0 2 16,0 0-114-16,13-6 14 0,-5 6-7 15,-1 0 0-15,3 3-46 0,4-2-3 0,-1 4 67 16,2-2-25-16,2 2 7 0,1 2-49 0,-2 1 44 31,2 2-39-31,-1 2-2 0,-1-1 21 0,-3-1-60 0,-3 6 8 0,0-3 21 0,-2 5-77 16,0-2 33-16,-8 2-100 15,2 4-10-15,-4-1-15 0,2-2-5 0,-3 0-39 16,-2 1-26-16,0 1-32 0,0 0-37 16,-1-4-27-16,2-1-60 0,-2 1-112 0,-9-1-95 0,10-4-445 15,2-4 107-15,1-1 105 0,-1-2 11 16,0-1 76-16</inkml:trace>
  <inkml:trace contextRef="#ctx0" brushRef="#br1" timeOffset="110096.59">3150 4371 1274 0,'0'-6'440'16,"0"6"-127"-16,0 0-24 0,0 0-5 0,0 0-41 16,7 18-10-16,-4-7-33 0,-1 1-16 31,1 4-10-31,2 3-7 0,-2 2-14 0,1 5-12 0,0-1-39 0,0 2 19 0,-1 1-24 16,0-2-28-16,-1 1-31 0,1-1-17 0,2-1-24 15,-5-3-40-15,3-2-26 0,1-1-44 0,-1-5-30 16,-3 1-113-16,3-2-56 15,-3-7-121-15,2 2-350 0,1-2 40 0,-3 1 121 0,3-3 0 16</inkml:trace>
  <inkml:trace contextRef="#ctx0" brushRef="#br1" timeOffset="110490.99">3132 4408 1359 0,'5'-12'422'0,"3"2"-25"0,1 1-44 0,2 1-5 16,-3 3-48-16,4 0-42 0,-2 2 3 0,1-1-18 15,2 3-30-15,-5 1-3 0,1 1-34 16,-1 3-7-16,0-1-30 0,-3 7 4 0,0-2-25 16,-2 2-24-16,-3 4-35 0,-2 1 0 0,-1 3-15 15,0 0-11-15,-2 5-20 0,-3-2 48 16,-1 2-69-16,-2-4 37 0,3 2-14 15,-4-3-2-15,1 1 12 0,3-6-25 16,-2 0 5-16,2-1 11 0,1-2 9 0,2-1-7 0,2 0-2 0,-2-2-29 16,3 0 26-16,1 0 5 15,1 0 5-15,1 3-11 0,4-4-6 16,-2 2-1-16,4-2 25 0,0 1 29 16,1 0-38-16,0-2-3 0,2 2 23 0,0-3-13 15,1 2-33-15,-1-3-11 0,1 1 9 0,-1 1-9 0,0-3-48 16,0-1-7-16,0 0-68 0,0 2-78 15,0-3-121-15,1-3-361 0,-1 2-222 0,0 1 76 16,1-2 128 0,2-1 47-16,-3-1 66 0,3 0 53 0</inkml:trace>
  <inkml:trace contextRef="#ctx0" brushRef="#br1" timeOffset="111012.45">3521 4757 724 0,'11'-13'261'0,"-7"8"8"16,-1-1 56-16,2-1-18 0,1-3-20 0,-2 1-13 16,-1-2-24-16,0 2-24 15,2-3-6-15,-3 1-13 0,1-1-17 0,-3 3-9 0,0-2-2 16,0 0-71-16,-3 2 17 0,1-1-27 15,0 2 19-15,-1 2 19 0,0 1-23 0,-1-1 79 16,1 3-44-16,-2-1-5 0,5 4-17 16,-8 2-21-16,8-2 31 0,-8 9-47 0,5-2 8 15,-1 1-4-15,1 0-22 0,2 3 9 0,1-1-4 16,0-1-32-16,0 4 15 16,1-1 5-1,4 0-26-15,-3 0-5 0,4-1 3 0,-2 0-46 0,4-2 5 0,-2 1-39 0,1-3-12 16,1-3-18-16,0 0-54 0,2 1-46 0,0-5-46 15,0 0-149-15,-2-3-235 0,3 0-348 0,3-2 120 16,-3-1 54-16,2-2 71 0,-3 1 34 0,3-5 133 16</inkml:trace>
  <inkml:trace contextRef="#ctx0" brushRef="#br1" timeOffset="111730.7">3718 4450 998 0,'0'0'466'0,"-4"-1"-49"0,4 1-41 0,0 0-46 0,-6 7-17 0,4-2-19 16,2 3-30-16,0 1-29 0,0 2-12 0,0 6-11 16,2-1-10-16,4 5-40 0,-2 0-24 0,2 4 10 0,4 7-20 15,-5-2-87-15,3 3-15 16,0-3-11-16,2 3-20 0,0-5-28 0,-4-3-5 16,-1-4-11-16,2 2-2 0,1-3 23 0,-3-3 7 15,0 1-10-15,0-6 19 0,-2-1 4 16,2 0 10-16,-3-3 19 0,-1-2 5 15,1-1-9-15,-2-1 4 0,0-1 33 0,0-3 2 0,0 0-5 16,0 0 3-16,0 0 10 0,-10-9 8 16,7 0 81-16,-1-2-33 0,0-3 16 0,-1-2 2 15,0-7-2-15,0 2-36 0,0-1 7 0,3 2-14 16,1 0-29 0,2 4 10-16,0 1 0 0,3 2-13 0,-1 1 1 0,1 1 27 0,1 3-27 15,-2 2 4-15,2-1 42 16,0 4-29-16,-2 1-17 0,-3 2 14 0,0 0 1 0,15 6-2 0,-13 0-17 15,1 0 1-15,-3 2-33 16,0 2-18 0,0-1-32-16,0 2-4 0,0 0-66 0,-3-1-11 0,1 2-13 0,2-2-46 0,-5 0-7 15,3-1 2-15,1-1-49 16,-1-3-66-16,2 0-74 0,-2-2-62 0,2-3-5 0,0 0-36 16,0 0 31-16,0 0 0 0,0 0-5 0,4-13 107 15,-3 5 67-15,1-1 77 0,-2-2 64 16,0-3 66-16,3 0 69 15,-1 1 36-15,0-1 29 0,-1 1 22 0,1-2 11 0,1 4 7 16,-1 0 29-16,1 0 4 0,2 3-2 0,-3-1-23 0,4 2 44 16,-3 1-21-16,4 3-13 0,-2-2 13 15,1 4-18-15,0 1-10 0,-6 0-3 16,14 1-5-16,-7 4-15 0,1-2 3 0,-2 3-29 16,1-1 21-16,0 3-26 0,-1 2-13 15,-1-2 0-15,1-1 1 0,-2 2-6 0,1-2-3 16,-2-1 6-16,2 1-5 0,-2 0 28 15,-1-2 10-15,0-2 30 0,1 0-22 0,0-1 31 0,-3-2-9 16,0 0-17-16,4 0-10 16,-4 0-8-16,0 0-13 0,4-8 13 0,-2 1-36 0,0 1 7 15,-1-4-4-15,1 2-16 0,1-3 24 0,-1 1-27 16,1-1-14-16,-1-1-32 0,2-1-17 16,2 2-41-16,-2-2-41 0,1 5-39 0,2-3-17 15,1 1-62-15,-1 1-44 16,1 2-94-16,-3 0-95 15,6-1-430-15,1 1 57 0,-1 3 71 0,1-1 69 0,2-1 51 16,-2 2 88-16</inkml:trace>
  <inkml:trace contextRef="#ctx0" brushRef="#br1" timeOffset="112277.78">4218 4731 1085 0,'0'0'350'0,"0"0"-4"16,0 0-23-16,0 0-27 0,9-11-24 0,-4 5-11 15,-1 0-79-15,-1-1-19 0,2 1 17 0,-2-2-14 16,2-2-7-16,-3 4-6 0,1-3 14 15,2-1-29-15,-5 2 90 0,3 1-18 0,-3-2-8 16,0 2 3-16,0 1-13 0,0-1-11 16,-2 1-14-16,1 1-27 0,1 2-4 15,0-2-16-15,0 5-22 0,-2-6 4 0,2 6-2 0,0 0-31 16,0 0 23-16,0 0-38 0,-8 11 7 16,8-8 14-16,0 2-27 0,0 2 6 15,0 3-34-15,0-3-7 0,2 1-26 0,-1 2-40 16,1-2-37-16,1-1-10 0,0 1-17 0,1 0-27 15,-1-1 37-15,4-2-42 0,-1-2-17 16,-2 1-34-16,4-2-74 0,-2-1-66 0,4-2-80 16,-3 0-204-1,1-4-283-15,5 1 119 0,0-1 25 0,0-5 131 0,-1 2 0 0</inkml:trace>
  <inkml:trace contextRef="#ctx0" brushRef="#br1" timeOffset="112562.01">4493 4494 1011 0,'-2'-3'289'0,"-3"1"3"0,5 2 28 0,-9-1-29 0,9 1-9 0,-10 1-16 16,5 0-35-16,0 3-22 16,0-3-9-16,-1 4-26 0,2-3-23 0,-1 2-5 0,2 3-15 15,-2-3 20-15,5 1-34 0,-3 4-22 0,3-3 15 16,3 2-28-16,-3 0 33 0,5 2-38 16,-3-3 10-16,4 4-18 0,1-3 11 15,-1 2 9-15,1-1 1 0,-2-2-24 0,3 3 19 0,-5-4-1 16,2 2 1-16,-1-2 14 0,0 2-11 15,-2 1-14-15,-2-2-69 0,0 1 15 16,-2 2 11-16,-4-2-21 0,1 2-5 0,-2-2 8 0,-1-1-15 16,-2 1 9-16,2 1-32 15,0-2 7-15,-2-1-46 16,5-4-26-16,-3 3-22 0,0-1-55 0,1-3-32 0,1 0-111 0,2 1-130 16,-2-2-507-16,6 0 140 15,0 0 42-15,0 0 53 0,-2-7 62 0</inkml:trace>
  <inkml:trace contextRef="#ctx0" brushRef="#br1" timeOffset="113502.15">4595 4727 1159 0,'0'0'335'15,"0"0"-17"-15,0 0 17 0,11-7-58 0,-6 3-4 0,-2 0-35 16,1-2 21-16,2 0-39 16,-1-4-89-16,0 2 12 0,0-3-30 0,0 3 4 15,-2-3-9-15,2 2-1 0,-3-1 9 0,-1 2-27 16,1-2-7-16,-2-1 3 0,0 3-14 16,0 0-17-16,0-2 28 0,-2 2 56 0,1 2-12 15,1 1 4-15,-2-1-22 0,2 3-9 0,0-2-1 16,0 5-34-16,-5-5 0 0,5 5 18 15,0 0-34-15,0 0 26 0,0 0-43 32,-5 10 23-32,2-4-21 0,3-3-7 0,-2 4 2 0,2 1 5 0,-1-1-7 0,2-1 17 0,-1 1-27 15,2-1 9-15,1 2-22 0,-3-1 15 16,3-1-16-16,-1-1-2 0,3 1 0 0,-4 0 13 0,3-1-21 16,-1-3 24-16,0 3 2 15,1-3-21-15,-1 2 19 0,-3-4-11 0,7 2-3 16,-1-2 8-16,-6 0 8 0,10 0-10 0,-5-2 25 15,0-2-17-15,0 2-21 0,1-3 30 16,1 1-2-16,-2 1-10 0,3-3 5 0,-3 2-8 16,2 1 23-16,-1-1-35 0,-1 2-8 0,1-2 22 15,1 1-19-15,-4 3 14 0,-3 0 27 16,10-3-14-16,-6 3-20 0,-4 0 3 16,11 3 17-16,-11-3-2 0,8 3-13 0,-3-3-5 15,-3 4 39-15,1-2-24 0,-3-2 18 0,5 5-2 16,-2-3 51-16,-1 1-49 0,-2-3 0 0,3 6 8 15,0-5-15-15,-3-1 5 0,4 1-11 16,-4-1 16-16,3 4 31 0,-3-4-52 16,3 1 31-16,-3-1 18 0,0 0-18 0,0 0-54 15,10-5 11-15,-8 4-36 0,1-3 28 0,2 1-34 16,-2 2 26-16,2-3-2 0,-2 3 15 0,1-3 13 16,2 2-6-16,-2 2-24 31,2-4 11-31,-6 4 4 0,13 0-19 0,-8 3-4 0,2-2-52 0,-1 0-33 0,-1 0-13 0,0 0-59 15,0 2-43-15,0-2-49 0,-2 1-56 16,-3-2-269-16,10-1-384 0,-5 1 85 0,-5 0 66 16,0 0 100-16,11-2 79 0,-6-1 46 0</inkml:trace>
  <inkml:trace contextRef="#ctx0" brushRef="#br1" timeOffset="113712.5">5029 4376 1284 0,'0'0'446'0,"0"0"-21"0,-3-2-95 0,3 2-28 0,0 0-3 16,0 12-30-16,0-4-26 0,3-1-20 15,-3 5-33-15,3 2 2 0,1 0-29 0,-1 4-24 0,2-1-29 16,-3 2-52-16,4 1-42 0,-1 2-34 31,1-1-46-31,1-4-69 0,-2 0-69 0,0-1-126 0,0-3-87 0,1-2-419 0,-2-2 76 16,-1 0 59-16,0-3 80 0,-1-2 140 15</inkml:trace>
  <inkml:trace contextRef="#ctx0" brushRef="#br1" timeOffset="113914.57">4973 4515 1164 0,'0'0'330'0,"0"0"-12"15,0 0-14-15,0 0-35 0,0 0-31 0,0 0 18 16,13-3-46-16,-6 1 51 16,1 0-36-16,-1 0-48 0,1-2-44 0,5-1-25 0,-3 2-67 15,0-3-85-15,3 2-127 0,-8 1-131 16,8-3-541-16,2 2 83 0,-2-2 59 16,0 4 79-16,0-2 61 0</inkml:trace>
  <inkml:trace contextRef="#ctx0" brushRef="#br1" timeOffset="114817.14">5342 4563 1274 0,'-3'-4'361'15,"0"1"5"-15,1 0-41 0,2 3-2 16,-5-3-65-16,5 3 6 0,0 0 35 0,-11 0-12 16,11 0-39-16,-7 5-30 0,0-2 5 0,1 3-52 15,1-1-35-15,-3 2 5 16,0 0-19-16,1 1 22 0,0 1-34 0,-1-1-10 0,2-1-39 16,1-1 3-16,3 1-10 0,-1-1 0 15,0-1-21-15,1 0-23 0,2-2 13 0,0-3 10 16,2 5 19-16,-2-5-47 0,6 0 2 15,-6 0 37-15,12-2-39 0,-6-3 0 0,1 1 8 0,-1 1-3 16,1-2 8-16,0 2 0 0,1-2-8 16,-2 1 29-16,1 2-47 0,1-2 11 15,-3 4 7 1,0 0-10-16,-5 0-5 0,13 0-11 0,-5 3-17 0,-1-1-10 16,1 0-32-16,0 2-1 0,-3 0-14 0,3-1-43 0,0 1-16 15,-3-2-37-15,2 0-14 0,1 0-54 0,-1-2-4 16,-7 0-11-16,14-3-30 0,-7 1 30 15,-1-3-28-15,3 0 18 16,-1-2 41-16,0 1-3 0,-3-2 85 0,0 0 72 0,2-2 112 16,-1-1 23-16,-4 2 11 0,4-4 27 15,-4 1 21-15,-1 0 21 0,1-3 12 0,0 0-7 0,-2 1 10 16,0-4 10-16,0 0-8 0,0 3-2 0,-2-1 3 16,1 1 20-16,1 2-13 15,-1 2-31-15,1 0 18 0,-1 3-22 16,1 1 68-16,0 3-28 0,0 4 3 0,0 0-20 0,0 0-6 15,0 0-23-15,2 13-7 0,-1-3-11 16,1 3 10-16,1 2-32 0,-3 2-24 0,5 4-26 16,-3 0 6-16,2 1-44 0,0 2-25 0,-1-3-29 15,0-3-7-15,1 1-33 16,-1-1-37-16,2 0-45 0,0-5-111 0,-2-3-171 16,0 3-463-16,2-4 84 0,-3 0 108 0,1-2 71 15,-1-1 75-15,1-4 71 0</inkml:trace>
  <inkml:trace contextRef="#ctx0" brushRef="#br1" timeOffset="115149.59">5483 4581 1075 0,'0'0'373'15,"-5"0"-19"1,5 0-29-16,0 0-23 0,0 0-26 0,9-11-33 0,-3 9-25 0,-1-3-24 15,1-1-12-15,1-1-87 0,3 0-11 0,-2-2-12 16,2 0 7-16,-2 1-2 0,2-1-10 16,-2 2 107-1,2 0-41-15,-2 1-8 0,0 0-12 0,-3 0 15 0,2 2-23 0,-2 1 7 0,1 3-9 16,1-4 45-16,-7 4-66 0,11 4 8 16,-7-2 22-16,2 2-25 0,-2 2-15 15,2 1-10-15,-3 0-19 0,4 4-7 0,-4-1 7 16,2 0-14-16,-2 1-12 0,1 2-50 0,-1-1-8 15,0-2-53-15,-1 1-14 0,0 0-61 16,2-1-105-16,-8-2-210 0,8 1-481 0,-2-4 126 16,0 0 56-16,1 1 74 15,0-4 69-15,-3-2 56 0</inkml:trace>
  <inkml:trace contextRef="#ctx0" brushRef="#br1" timeOffset="115262.37">5657 4395 824 0,'-3'-2'256'0,"3"2"-67"0,0 0-138 0,0 0-158 15,0 0-528-15,0 0 67 0</inkml:trace>
  <inkml:trace contextRef="#ctx0" brushRef="#br1" timeOffset="115629.18">5813 4457 1133 0,'0'0'461'0,"0"0"8"0,0 0-44 0,0 0-139 0,-2 11 1 16,4-8-23-16,1 4-47 0,-3-1-2 16,5 3-36-16,-4-1-7 0,3 1-39 0,-1 2 3 0,2 0-24 15,-2-3-25 1,2 2-2-16,-1-1-6 0,2 1-56 0,-4-3-8 0,4-2-4 0,-4 2-45 15,1-1-37-15,2-3-70 0,-3 1-51 0,1-1-61 16,2 0-90-16,-5-3-49 0,5 4-432 16,1-3 61-16,-6-1 59 0,7 0 128 0</inkml:trace>
  <inkml:trace contextRef="#ctx0" brushRef="#br1" timeOffset="116098.19">5924 4625 903 0,'0'0'335'0,"0"0"8"16,0 0-5-16,0 0-28 0,2-10 10 15,-2 10-77-15,3-7-23 0,-3 3-18 0,3 0-2 16,-1-2-8-16,0 1 3 0,1-1 61 0,0 0-36 0,-3-2-18 16,2 2-15-16,0-1-16 15,1-3-12-15,-3 4-26 0,3-1-25 0,-1-1-3 16,1 2-59-16,-3 0-28 0,3-1-21 0,-3 3-71 16,2-1-11-1,-2-1-81-15,1 3-75 0,1-1-102 0,-2 4-117 0,0-6-441 0,5 6 104 16,-5 0 91-16,0 0 25 0,0 0 62 15</inkml:trace>
  <inkml:trace contextRef="#ctx0" brushRef="#br1" timeOffset="116483.24">6034 4525 1031 0,'3'-6'381'0,"2"0"3"16,-3 1-102-16,-2-1-11 0,2 1-28 0,-2-1-12 16,0 3-1-16,1-3-7 0,-1 2 56 15,-1 1-31-15,1 3-28 0,-2-5-23 16,2 5 11-16,0 0-16 0,0 0-57 0,0 0 60 0,-12 6-72 15,8-1 2-15,0-2-15 0,1 3-20 16,0 3-16-16,1-2 34 0,-1 0-29 16,3 1-18-16,0-2 19 31,0 4-32-31,0-3 21 0,3 1-33 0,-1-1 0 0,4 0-13 0,-2 1-13 0,2-1-15 0,2-4 5 16,-3 1-33-16,5 0-31 0,-2-2-46 0,4-2-28 0,-2-2-44 15,1-1-79-15,2 1-97 0,-3-2-134 0,5-2-463 16,4-1 159-16,-1 2 69 15,4-3 21-15,-1 1 58 16</inkml:trace>
  <inkml:trace contextRef="#ctx0" brushRef="#br1" timeOffset="116842.27">6672 4369 1208 0,'0'0'366'0,"0"0"-36"0,0 0-33 15,0 0-28-15,0 0 45 0,0 0 4 0,0 0-29 0,24-4-41 16,-12 2-25-16,-2 1-18 0,3-1-6 16,2 1-40-16,-2-2 8 0,3 0-11 15,-1 1 0-15,1 0-33 0,2-3-16 0,0 0-40 0,-5 4-34 16,4-5-7-16,-4 2-34 0,-1 1-56 16,4-3-38-16,-5 2-67 0,1-2-75 0,-2 4-163 15,1-4-506-15,-1 1 81 0,-2 1 64 16,-3 0 64-16,2-1 77 0</inkml:trace>
  <inkml:trace contextRef="#ctx0" brushRef="#br1" timeOffset="117205.74">6883 4118 926 0,'0'0'392'0,"0"5"-26"0,0-5-46 16,7 4 0-16,0 0-36 0,1-2-100 15,5 3-12-15,-3-2-6 16,4 2 0-16,1 0 62 0,1 2-28 0,1 0 15 0,4 3-21 0,-3 2 24 15,2-2-54-15,-2 2 7 0,0 0-25 16,-5 1 0-16,2 0-67 0,-7 3-30 16,0-1 25-16,-3 3-15 0,-3 1-20 0,-4 0 4 0,0 3-20 31,-4 4-18-31,-4 5-30 0,2-3-73 0,-5 2 1 0,-2 1-85 0,0-1-112 16,2-6-118-16,3-4-507 0,-8 6 97 0,-1 0 44 0,4-4 143 15,2-6 39-15</inkml:trace>
  <inkml:trace contextRef="#ctx0" brushRef="#br1" timeOffset="125358.2">7995 4288 977 0,'-5'14'343'0,"5"-5"-25"0,0 1-55 0,0 2 1 15,3 2-39-15,-1 2-23 16,-2 3-17-16,2-1 2 0,-1 4-44 0,2 2-12 16,-1-1-21-16,0-3-18 0,-2 1-18 0,1 1-48 15,1-4 2-15,1 0 8 16,-1-3-11-16,-1-2 14 0,1-1-47 0,-2 0 26 0,2-4 28 15,1 2-8-15,-3-5 3 0,0-3 10 0,0 3-12 32,0-5 35-32,0 0 18 0,0 0-23 0,0 0 29 0,0 0-14 0,0-16 21 15,0 7 31-15,0-4-37 0,-3-2-22 0,1-5-43 16,-1-1-17-16,3-3 6 16,-5-2 1-16,3-2 24 0,1 1 3 0,1 1-12 0,0 1-11 15,3 2 0-15,0 4 28 0,0 0 3 16,1 1-20-16,-1 4 9 0,4 3-2 0,-1 2-7 15,-1 3-19-15,2 2-2 0,-1 3 18 0,4 2-23 16,-2 3 23-16,-1 3 7 0,3 1 65 0,-2 5-60 16,2 3 57-1,-2-2-33-15,0 6-11 0,-1 2-12 0,1-2-21 0,-2 3-2 16,1-3-11-16,-2-2-10 0,-2 1-20 0,2-3-26 16,0 1 2-16,-2-4-12 0,0 0-46 15,-1 0-3-15,3-2-12 0,-2-3-24 0,-3 1-54 16,4-2-73-16,-4-1-131 0,3-3-538 0,0 1 33 0,-3-1 144 15,0-3 131-15,4 3-1 16,-4-3 106-16</inkml:trace>
  <inkml:trace contextRef="#ctx0" brushRef="#br1" timeOffset="125604.45">7895 4559 901 0,'-8'0'412'0,"8"0"-59"0,0 0-10 16,0 0-5-16,0 0-29 0,0 0-32 16,0 0-21-16,0 0-26 0,19 4-30 0,-7-8 10 15,-2 4-13-15,4-2-36 0,1 1 16 16,0-2-29-16,1 0-4 0,2-1-37 0,0 1-40 16,0-3-19-16,-1 2-30 0,1-2-28 0,0 1-67 15,-2 0-135-15,-1 0-231 0,3-1-486 16,0 0 115-16,-3 0 89 0,3 1 101 0,0-2 73 15</inkml:trace>
  <inkml:trace contextRef="#ctx0" brushRef="#br1" timeOffset="126154.2">8849 4269 1192 0,'0'0'387'0,"0"0"-34"0,0 0-36 0,7 12-12 16,-1-4-108-16,-1 2-25 15,3 3-24-15,-3 0 1 0,2 2-21 0,-1 3-23 0,-1 3-13 16,2 0-5-16,-4 0-8 0,2 2-5 0,-2-2-12 15,-1-2-19-15,1-1 1 0,-1-1-1 0,-2-2-12 16,0 1 23-16,0-3 10 0,0-4 18 16,0 0-3-16,0-1 11 0,-2 0-1 15,2-3 8-15,-3 0-12 0,1-3 33 0,2-2-34 16,0 0 21-16,0 0-23 0,0 0-13 0,-5-9-5 16,5 3 13-16,0-1-36 0,0-3 20 15,0-1 1-15,0-2 107 0,2 0-62 16,-1 0-15-16,1 3 23 0,3-4-43 0,-2 1-3 0,1 1 8 15,2 2-123-15,-1-2-10 16,2 0-42-16,1 3-14 0,-3 5-42 0,3-2-43 16,0 1-31-16,0 3-58 0,2-1-121 0,0 4-190 15,-2 1-258-15,2-1-2 0,-5 4 148 0,3-2 125 16,0 3-12-16</inkml:trace>
  <inkml:trace contextRef="#ctx0" brushRef="#br1" timeOffset="126439.11">9118 4533 1236 0,'3'-6'374'0,"-1"1"-85"0,-1-1-38 0,1-2-3 0,0-1-20 16,1-1-3-16,-3 1-18 0,1-1 65 0,-1 1-6 16,0 0-43-16,2 1 12 0,-4 2-23 15,2-1-20-15,-1 3-20 0,1-1 5 0,-3 2-32 16,3 3-17-16,0 0-35 0,0 0 17 0,0 0-39 15,0 0 4-15,-10 12-17 0,6-6 35 16,3 1-65-16,1 1 20 0,0-1-12 0,-2 3 3 16,4-3-37-16,-2 4 8 0,0-4-2 15,3 0-57-15,-1 0-7 0,3 0-10 0,-2-1-27 16,2-2-27-16,0 0-18 0,1-1-64 16,1-2-134-16,0 0-109 15,4-2-471-15,-3 1 61 0,2-2 115 0,-2-2 87 0,4-2 95 16</inkml:trace>
  <inkml:trace contextRef="#ctx0" brushRef="#br1" timeOffset="127241.27">9295 4297 1100 0,'-2'-3'417'0,"-1"0"-51"0,3 3-23 16,-5-3-51-16,5 3-13 0,0 0-18 15,-8 6-117-15,4 0 12 0,3 1-46 0,-4 1 13 16,3 5-23-16,1-2 7 0,-1 6-38 15,-1 1 11-15,3 2-9 0,0 1 16 0,0 5-25 16,0 2-11-16,5-1-8 0,-5 1 47 0,1-1-57 16,3 3 8-16,-1-4 0 0,-2 0-10 0,1-1 18 15,0-4-29-15,1 2 0 16,2-5 3-16,-5 1-2 0,2-4-24 0,1-3 21 0,-3-1-18 16,3 1 23-1,-3-4-20 1,2 1 5-16,-2-5 50 0,0 0-22 0,0 1 21 0,0-5 14 0,2 2 24 0,-2-2 48 15,0 0 1-15,3-13-14 0,-3 5 24 0,3-4-31 0,-1-4 5 16,-2-4-31-16,6-1 49 0,-4-4-16 16,3 1-32-16,0 0-19 15,3 3-2-15,-3-1-8 0,3 4-26 0,0 4 14 0,-3 0 2 16,3 4 5-16,-1 1-23 16,1 3-26-16,-1-1 46 0,-1 3-7 0,-2 3-21 0,2 0 8 0,-6 1-33 15,0 0 7-15,12 3 8 0,-11 1-5 0,1 2 3 16,-2 0 15-16,0 0 7 0,-2 2 3 15,1 0-15-15,-3 1-26 0,-1-1-13 0,-1 2-30 16,-1-1-13-16,1-2-36 16,-1 3-8-16,-1-2-30 0,0-1-11 0,1-2-43 0,-1 2 15 15,3-3-64-15,-3-1-41 0,3 1-20 16,0-3-56-16,0-1-34 16,5 0-36-16,0 0-5 0,-10-6 29 0,5-1 89 0,4 0 38 0,1-3-23 15,0 1 131-15,0-1 13 16,0-3 38-16,3 0 41 0,0 1 46 15,-1 0 69-15,3-1 21 0,0 4 2 0,-2-2 44 0,2 0 28 16,2 2-26-16,-1-1 11 0,2 1 2 16,-4 3-10-16,4-1 10 0,0-1-3 0,0 5-17 15,-1-1-8-15,1 1 2 0,0 0-17 0,0 3 15 16,-1 2-21-16,3-1 3 0,-2 2-23 16,-2 1 13-16,1-2-13 0,-2 5-13 0,0-2-12 15,0 2-4-15,-2 2 4 0,-1-2-11 0,1 0-2 16,-2-1-11-16,1 2 36 0,0-2-28 15,-2 1 18-15,3-2 18 16,-3 0-10-16,0-2-13 0,2 0 38 0,-2-3-8 0,1 6 3 0,-1-6 3 16,0 0 15-16,0 0-23 15,0 0 31-15,0 0-24 0,0 0 50 0,10-12-9 0,-8 7-2 16,0 0 6-16,1-2-14 0,0-1-35 0,-1 2 12 16,1-1-15-16,2-2-54 15,0 2-5-15,0 0-46 16,0-1-38-16,1-2-41 0,2 2-36 0,-1 2-85 0,0-1-166 15,2-1-133-15,-1 0-423 0,2 2 88 0,-3 3 81 0,6-3 116 16,-1 1 74-16,-1-1 18 16</inkml:trace>
  <inkml:trace contextRef="#ctx0" brushRef="#br1" timeOffset="127737.33">9731 4557 936 0,'3'-7'305'0,"-1"1"15"0,1-1-39 0,2 1 4 0,-3-3-12 0,4 2 6 16,-4 0-51-16,1-4-23 0,2 2 77 0,-3 1-14 15,-1-1-12-15,1 1-30 0,-2 2 7 16,0 0-34-16,2 1 3 0,-4-1-130 15,2 1 18-15,0 1-1 0,0 4-17 0,0-4-16 0,0 4 8 16,0 0-20-16,0 0 12 0,-10 8-12 16,7-3-11-1,1 1-5-15,-1 0 21 0,3 3-1 0,-3-1-37 0,3-1 4 0,0 1 5 0,-2 1-4 16,2-1-1 0,2 0-15-16,-2 0 15 0,3-1-12 0,-3 1 23 0,3-3-34 0,1 1-38 15,-3-3-16-15,4 1-25 0,0-1-23 16,1 0-36-16,1-3-12 0,0 0-142 15,3-1-122-15,-2-3 30 0,3 3-455 0,4-3 25 16,-2 1 111-16,-1-4 79 0,4 0 58 0</inkml:trace>
  <inkml:trace contextRef="#ctx0" brushRef="#br1" timeOffset="128079.09">10042 4339 1154 0,'-11'0'345'0,"3"0"-9"0,1 2-29 15,-1 1-28-15,0-1-31 0,1 2-69 0,-3-1-40 16,4 2-6 0,-2-1 10-16,1 0-46 0,1 1 16 0,2 0-36 0,-2 1 17 0,4-1-6 15,0-2-12-15,-1 3-4 0,3-1-11 16,3 3 11-16,-1-3 2 0,3 2-15 0,0 0-13 16,3 0 34-16,-3 2-4 0,5-3-19 15,-4 0 25-15,1 0-13 0,-2 0 31 0,0-2-26 16,0 2 26-16,-2-1-6 0,2 1 19 0,-5 0-26 15,0 1 26 1,-2 0 73-16,-1 1 1 0,0 0-33 16,-4 0-11-16,-1-1-5 0,0 3-25 0,-1-2-39 15,0-1 8-15,-1 0-38 16,-2-2-29-16,1 1-58 0,3-1-60 0,0 1-9 0,1-4-68 0,2-1-175 0,-8 2-147 16,13-3-491-16,0 0 79 0,0 0 151 0,0 0 52 15,0 0 53-15,5-11 82 0</inkml:trace>
  <inkml:trace contextRef="#ctx0" brushRef="#br1" timeOffset="129034.79">10169 4558 872 0,'0'0'310'0,"0"0"48"0,13-8-17 0,-10 4-44 0,2-2-5 15,0 0-13-15,-2 1-23 0,2 0-90 16,0-2-15-16,0 0-10 0,0-1-34 0,-2 2 11 16,2-1-10-16,-3-1 20 0,1 2-18 0,-3-4-29 15,0 6 4-15,0-5 76 0,3 3-10 16,-3 1-30-16,-3 1-1 0,3-2-20 15,0 2 12-15,0 4-53 0,-3-6-8 0,3 6 34 0,-5 0-6 16,5 0-20-16,0 0-28 0,-7 6 12 16,6-2 6-16,-1 3-6 0,0-3-17 15,-1 4-8-15,3-1-10 0,-1-1 7 0,-1 2 13 0,2-1-5 16,0-1-23-16,0 0 18 16,2 0-28-16,-2 0-11 0,1 0 16 0,-1-1 33 15,3-2-30-15,-1 0 7 16,0 2-10-16,1-3 41 0,0-1-18 0,-3-1 0 0,7 2 12 15,-7-2 16-15,8 0-15 0,-8 0 5 16,8-2 18-16,-8 2-6 0,8-2-9 0,-4 1-4 0,2-2-4 16,-1 3-10-16,-5 0 20 15,8-2 15-15,-3 2 0 0,-5 0-45 0,10 0 29 0,-10 0 7 16,10 2-37-16,-5-2 33 16,1 3-2-16,-6-3-23 0,7 1-23 0,-2 1 8 0,-5-2 32 15,5 4-47-15,-2-3 12 0,-3-1 18 0,7 2 20 16,-7-2-15-16,6 3 26 0,-6-3 17 15,5 3-66-15,-5-3 33 0,5 4-10 0,-3-4 6 16,-2 0-34 0,0 0 22-16,0 0 40 0,0 0-32 0,0 0 32 0,8-6-9 0,-7 4-4 15,1-2-11-15,0 1 0 0,1 0-2 0,0-1-3 16,2 1-12-16,-5 3 2 16,5-4 12-1,-3 2-4-15,-2 2-18 0,8-1-3 0,-8 1 38 0,10 0-17 0,-10 0-24 0,10 4 3 0,-4-1 3 16,-1 0-39-1,0 1-22-15,0 2-47 0,1-4-54 0,-4 2-45 0,3 1-32 0,-2-3-40 16,1 3-85-16,-1-5-161 0,2 3-502 0,0-1 103 16,1-4 66-16,-6 2 108 15,8-2 71-15,-1-2 82 0,-2 2 49 0</inkml:trace>
  <inkml:trace contextRef="#ctx0" brushRef="#br1" timeOffset="129256.65">10567 4222 1290 0,'-2'-3'422'0,"1"-3"0"0,-1 2-71 0,2 4-36 0,0 0-31 0,0 0-15 15,0 0-24-15,0 0 70 0,0 15-46 16,0-7-26-16,0 3-38 0,2 2-10 0,-1 1-14 0,1 4 6 16,0 1-41-16,-2 0-3 0,3 1-48 15,0 0-23-15,-1 0-54 0,1 0-39 0,-1-1 6 16,1-3-54-16,-1-1-18 0,1-2-80 15,0-1-81-15,-1-2-115 16,-2 0-80-16,3-2-438 0,2-1 21 0,-3-2 133 0,1-1 110 0,0-2 54 16,-3-2 5-16</inkml:trace>
  <inkml:trace contextRef="#ctx0" brushRef="#br1" timeOffset="129477.25">10464 4403 1005 0,'0'0'351'0,"-7"-3"48"0,7 3-25 16,-1-3-36-16,1 3-21 0,0 0-25 0,0 0-31 16,0 0-7-16,0 0-16 0,0 0-26 15,8-3 3-15,-8 3-28 0,13-4-8 0,-5 4-17 16,2-2-9-16,0 0-12 0,0 0-34 0,1 0-17 16,4-1-49-16,-2-1-23 0,0 0-33 15,2 2-32-15,-2-2-50 0,3 1-95 0,1 0-97 16,1 0-110-1,0-1-533-15,-2 4 131 0,1-1 33 16,1 1 77-16,-2 1 46 0</inkml:trace>
  <inkml:trace contextRef="#ctx0" brushRef="#br1" timeOffset="130165.9">10895 4400 1034 0,'-2'-6'348'0,"-1"2"2"15,3 4 39-15,-3-3-40 0,1 0-9 0,2 3-25 16,-5-2-57-16,5 2-12 16,0 0-21-16,-11 1-28 0,11-1 8 0,-7 3-59 0,1 1 8 15,2-1-11-15,-2 0-20 0,2 1-3 0,-2 2-28 16,4 0 16-16,-4-2 2 0,2 2-41 16,1-1 21-16,-2 1-16 0,2 0-23 0,3-1 16 15,-2 0-44-15,2-2-13 0,0 3 8 0,0-2-10 16,0-4-3-16,2 7 15 0,0-6-5 15,-2-1 16-15,6 1-15 0,-6-1-27 0,0 0 27 16,13-2-21-16,-9-2-6 0,0 4 27 16,3-3-14-16,-4 0-9 0,1 2 7 0,-4 1 7 15,9-2 29-15,-5 0-31 0,-4 2-28 16,11 0 49-16,-6 0-34 0,-5 0-35 0,10 0 7 16,-10 0-31-16,10-2 6 0,-2 2 10 0,-3 0-3 15,3-3 18-15,0-2-13 0,0 1 16 16,-1-2 30-16,3-1-22 0,0-1 17 0,3-2 8 15,-5 1 18-15,-1-1 36 16,-1 2-3-16,-1-5 13 0,2 2 15 0,-4-1-9 0,2-1 24 16,-2-1-2-16,-1 1-20 0,1-3 38 15,-3 1 3-15,2-3-90 0,-1 4-3 0,-1-2 3 32,2 4 44-32,-4 0 12 15,2 3-30-15,0 3-8 0,0-1-5 0,0 1 23 0,-3 6-21 0,3 0-5 0,0 0 23 0,0 0-30 0,-3 14-5 16,3-3-4-16,0 2 71 0,-2 1-32 0,2 4-49 15,0 1-45-15,0 1-23 16,2 2-21 0,1-3-54-16,0 0-15 0,1-1-33 0,0-3-57 0,0 3-99 0,2-4-83 0,-2-1-360 15,4-2-161-15,-3-2 127 0,0-1 90 0,1-2 18 0,-1-3 59 16,0 0 87-16</inkml:trace>
  <inkml:trace contextRef="#ctx0" brushRef="#br1" timeOffset="130496.26">10980 4331 1092 0,'0'0'336'0,"0"0"-21"16,-3-3 53-16,3 3-4 0,0 0-49 0,8-7-34 15,-3 5-40-15,2-2 30 16,-1 1-64-16,2-2-15 0,2 0-28 0,2-1 3 15,-1 0-37-15,-1 0 13 0,0 0-25 16,1 1-8-16,-1 1-10 0,-2-1-28 0,2 3 10 0,-2-2 0 16,-1 2-6-16,-1 0-17 0,1 1 31 15,-7 1-52 1,11 3 24-16,-5 0-19 0,0 1 13 0,-1 2-32 0,0 0 27 0,-2 0-26 16,2 2-14-16,0 3 17 0,0-2 18 15,-4 1-21-15,3-1-22 0,-1 1 5 0,-3-2-29 16,3 2-22-16,-1-2-14 0,0 0-43 0,1 1-45 15,-3-3-99-15,3-3-165 0,-1 3-561 0,0-2 99 16,2-1 78-16,-4-3 53 0,4 2 80 16,-4-2 74-16</inkml:trace>
  <inkml:trace contextRef="#ctx0" brushRef="#br1" timeOffset="130643.02">11193 4157 1162 0,'0'0'391'0,"-3"-5"-48"0,3 5-69 16,0 0-54-16,0 0-48 0,0 0-118 16,0 0-229-16,0 0-585 15,0 0 115-15,0 0 62 0</inkml:trace>
  <inkml:trace contextRef="#ctx0" brushRef="#br1" timeOffset="131240.09">11356 4250 1159 0,'0'0'404'0,"0"0"-22"0,0 0-95 0,0 8-29 0,0-3-10 0,3-2-4 15,0 2-45 1,-1 1-27-16,0 1-14 0,1 1-4 0,0 0-6 0,0-1-32 0,1 1-14 16,-1-1-5-16,2 2-35 0,-2-1 4 0,0-2 6 15,1 0-23-15,-1-1 7 16,0 1-23-16,-1-3 11 0,0 1 12 0,2-2-10 15,-2 2 3-15,-2-4-34 0,5 1 6 0,-5-1-4 16,0 0-1-16,0 0 89 0,13-5-23 16,-10 3-6-16,-3 2-9 0,7-5-8 0,-4 3-8 15,1-2-7 1,0 2 17-16,0-4-33 0,2 2 3 0,-1-1 5 0,0 2-3 0,2-4-30 16,-1 1-9-16,2-1-22 0,-1-2 10 0,1 0 0 15,0 3 1-15,-1-4-9 0,1 2 0 0,-1 0 19 16,-3 2-9-16,0 0 1 0,2 0-11 15,-4 2 21-15,0 2-13 0,-2 2 16 0,1-4 17 16,-1 4-15-16,0 0 15 0,0 0 19 16,-8 11-19-16,5-4 31 0,1 0 0 0,0 3-2 15,-2-4 15-15,2 3-36 0,2 0 25 0,-2 0 14 16,2 1-19-16,2-3-15 0,0 1-7 0,1-1 22 16,0-1 9-16,1 0-50 15,2-2 14-15,-1 0-9 16,3-1-58-16,-1-1 2 0,1-1-53 0,0-1-82 0,2-3-203 0,3 0-611 15,-2 1 105-15,3-3 150 16,0-1 32-16,1-1 48 0,3-1 71 0</inkml:trace>
  <inkml:trace contextRef="#ctx0" brushRef="#br1" timeOffset="131810.22">12590 4159 1453 0,'0'0'418'0,"-11"1"-40"0,4 1-42 0,-3 4-24 15,0-3-115-15,-1 4 0 0,1-1-20 0,-3 0-16 16,2 2-35-16,1 0 81 0,0-1-38 0,0-1 0 15,2 2-26-15,1-1 39 16,-3 2-80-16,6-2 11 16,0-1 7-16,1 2-40 0,0-1-22 0,3-1 29 0,3 2-28 0,0-1-18 0,1 0-13 15,2 2 1-15,2-2 14 0,-1 0-20 16,3 2 28-16,1-2-25 0,-1-1-8 16,-3 2 5-16,2-1 33 0,0 0-12 0,-3-1-6 0,1-1 13 31,-4 2-20-31,2-1 0 0,-5-1 28 0,0 0-24 0,0 1 40 0,-5 1-16 15,0 0 5-15,-3 0-24 0,1 0 14 0,-6 1-13 16,2-1 23-16,-1 1-43 0,-4-3-1 0,1 4 16 16,2-2-108-16,-5 2-7 15,3-2-26-15,2-2-8 0,0-1-30 0,3 1-8 0,-3 0-15 16,3-3-37 0,2 0-73-16,3 0-98 0,0-2-66 0,0 0-461 0,5 0 61 0,0 0 108 15,0 0 51-15,0 0 59 0</inkml:trace>
  <inkml:trace contextRef="#ctx0" brushRef="#br1" timeOffset="132713.76">12713 4281 1180 0,'0'0'378'0,"0"0"-22"0,-6-5-36 0,6 5-49 16,-7 1-12-16,7-1-24 0,-15 4-45 0,9-1-11 15,-4 3-13 1,3 0-9-16,-3 0-6 0,-1 3 56 0,4-1-10 0,-4 4-25 16,3-3-34-16,-2 3 23 0,2-1-36 0,3-2-20 15,-2 2 0-15,1-4-10 0,4 3-34 16,-1-3 9-16,1 0-4 0,2-1 29 0,2 0-47 16,-2-1 4-16,3-3 1 0,3 2 9 0,1-3-21 15,-2-1-18-15,-5 0 2 0,18-5 39 16,-8-1-30-1,1 3-9-15,-1-3 29 0,0 0-8 0,0 0 18 0,0-3 18 0,-2 2-18 0,0-1-18 16,-3 1 21-16,0-2-1 0,0 1-40 16,-2 2 15-16,2 0-3 0,-3 1 1 0,1 2-4 15,0-1-4 1,-3 1-3-16,0 3 11 0,2-3-14 16,-2 3-2-16,0 0-5 0,0 0 8 0,0 0 12 0,0 0-25 0,-2 15-13 15,2-12 18-15,-3 2-16 16,3 0 14-16,0-2-3 0,0 2-24 0,-1 0 4 0,1-5 22 0,0 5-23 15,1-2 1-15,-1-3 14 16,0 5-25-16,0-5 36 0,3 2-23 0,-3-2 23 0,0 0-2 16,10 0-14-16,-10 0 16 0,7-2 10 15,-1-1-23-15,-2 1-2 0,2 0 22 0,-1 2-19 16,2-3-12-16,-1 2 19 0,-1-1-26 0,2 2 3 16,-7 0 5-16,11-2-59 0,-3 2 3 15,-3 0-14 1,2 2 14-16,1-2 10 0,-3 2 10 0,1 2-10 0,1-3 35 0,-2 4-27 15,1-3 27-15,-2 2-1 0,-1-1-7 0,2 1-6 16,-3-2 4-16,1 2 31 0,2 1 11 31,-4-2-21-31,1 1-6 0,0-2 27 0,-2-2-19 0,5 5 13 0,-4-3 8 0,-1-2-2 0,2 4 9 16,-2-4 16-16,0 0 26 0,6 2-24 0,-6-2 21 16,0 0-5-16,0 0 79 15,0 0 8-15,10-6-36 16,-8 4 11-16,1-2-16 0,2 2-34 0,-3-2 3 0,4 2 13 0,-2 0-5 15,-1 0-41-15,2-1-7 0,-2 0-9 0,2 2 26 16,-5 1-10-16,7-2-7 0,-7 2-29 16,11 0 10-16,-11 0 31 0,10 0-7 0,-10 0-9 0,8 1 4 15,-3-1 4 1,-5 0-20-16,8 1 28 0,-8-1-8 0,7 1-30 0,-7-1 13 16,3 3-21-1,-3-3 0-15,7 0 0 0,-7 0 0 0,0 0 0 0,0 0 0 0,0 0 0 0,10 0 0 16,-10 0 0-16,0 0 0 0,6-4 0 0,-6 4 0 15,5-1 0-15,-5 1 0 16,5-1 0-16,-5 1 0 0,5-1 0 0,-5 1 0 0,8 0 0 16,-8 0 0-16,8 0 0 0,-8 0 0 15,8 0 0-15,-8 0 0 0,7-3 0 0,-1 3 0 0,1-3-154 16,-2 0-207-16,5 1-92 0,-2-3-279 16,2 0-440-16,0 0 153 15,-1-2 59-15,1 0 159 0,2 1 58 0,-2-2 55 16,1 1 114-16,2-3 60 0</inkml:trace>
  <inkml:trace contextRef="#ctx0" brushRef="#br1" timeOffset="133113.31">13313 4031 1274 0,'-6'0'400'0,"6"0"-17"0,-4 7-9 0,-2-2-28 0,2 2-37 15,1 2-6-15,-2 3-7 0,4 4-34 16,-1 0 65-16,-1 3-38 0,1 3-91 0,2 5-17 15,0 3-25-15,0 1-17 0,0 10 17 16,0 1-23-16,0-1-10 0,0-3-34 0,0-5-27 16,0-3-6-16,0-3-23 0,0 2 8 15,-3-2 3-15,3-8-8 0,0 3 2 0,-2-7-17 16,2-3 19-16,-3 1-4 0,3-3 5 0,0-2 10 16,-2-2 11-16,1-1-24 0,1-4 26 0,0-1-15 15,0 0 5-15,0 0 25 0,0-13-2 16,1 3-3-16,1-3-2 15,1-6-19-15,-1-1-12 0,3-5-28 0,3 1 15 0,0 0 11 16,2 3-3-16,0 1 10 0,1 2-5 0,-3 5-21 16,2 1 3-16,-2 2-13 0,-1 6-12 15,-2-1 38-15,3 5-11 0,-5 0 6 0,-3 0 2 16,7 6 13-16,-5 0-5 0,-1 1-30 16,-1 2 35-16,-1 1-41 0,-4 3 8 0,3-1 2 0,-3 3-13 15,-1 0-35-15,-1 0-56 16,0-2-42-16,1-1-56 0,1-1-43 15,0-3-72-15,0 2-139 0,0-4-316 16,2-4-252-16,1 3 95 0,2-5 62 0,0 0 92 0,0 0 84 16,0 0 46-16</inkml:trace>
  <inkml:trace contextRef="#ctx0" brushRef="#br1" timeOffset="133344.7">13503 4019 1282 0,'0'0'601'0,"-8"15"-48"16,6-6-13-16,1 0-25 0,-1 4-72 0,2 1-87 16,0 2-19-16,0 1-22 15,-3 2-43-15,3 1-37 0,0 4-35 0,0 2-29 0,0 0-27 16,0 0-88-16,0-1-56 0,0-1-72 16,0-1-89-16,0-2-54 0,3 0-26 15,0-2-127-15,-1-2-75 0,-4-5-138 0,6 0-325 0,2-4 97 16,-2 1 64-1,2-4 138-15,-1-2 31 0</inkml:trace>
  <inkml:trace contextRef="#ctx0" brushRef="#br1" timeOffset="133623.01">13662 4388 803 0,'4'-7'394'0,"2"-3"11"0,-4 1-19 0,0-1-7 0,-1 2 8 0,-1 1-47 0,2-2 13 0,-2 1-92 15,0 0 13-15,-2 0-38 0,1 1-19 16,-1 1 1-16,0 2-8 0,-3 1-41 0,2 2 18 15,3 1-49-15,-12 1 18 0,6 3-33 0,1 2 7 16,-2 1 6-16,1 1 84 0,1 3-18 0,0 0 6 16,0 1-47-16,2-2 0 15,3 2-40-15,-3-2 4 0,3 1-10 0,3-2-7 16,0 1-14-16,1-1-17 0,0-2-20 0,1-1-34 16,2 0-49-16,1-2-17 0,-1-2-42 15,3 0-22-15,-2 1-42 0,0-3-25 16,3-2-44-16,-1 1-38 0,0 0-66 0,2 0-141 15,-1 0-566-15,-3 0 30 0,2-1 152 0,-2 0 43 0,2 0 67 16,-2 2 105-16,-1-4 66 16</inkml:trace>
  <inkml:trace contextRef="#ctx0" brushRef="#br1" timeOffset="138191.37">14674 4263 1241 0,'0'-7'440'0,"0"7"-135"0,0 0 2 0,0 0-54 0,0 0-4 16,0 0-50-16,0 0 16 0,0 0-33 16,3 17-23-16,-3-12-39 0,2 1 0 0,-2 4-43 15,3-2-23-15,-3 2-21 0,0-2-43 0,0 2-39 16,0-1-30 0,0-1-72-16,0 1-102 0,0 1-83 0,0-4-442 0,-3 3 26 15,3-6 140-15,0 3 36 0</inkml:trace>
  <inkml:trace contextRef="#ctx0" brushRef="#br1" timeOffset="138356.18">14635 4196 762 0,'0'0'256'0,"-4"-5"-10"0,4 5-62 0,0-2-20 0,0 2-36 0,0 0-64 0,7-1-54 15,-7 1-115-15,10-1-81 0,-7-2-50 0,8 3-360 16,-1-2 7-16</inkml:trace>
  <inkml:trace contextRef="#ctx0" brushRef="#br1" timeOffset="138638.31">14858 4127 844 0,'0'0'356'16,"0"0"-5"-16,0 0-47 0,0 0 9 15,0 0-47-15,0 0-13 0,-7 12-20 16,4-7-3-16,-1 0-27 0,1 0-16 0,0 1-21 0,1 2-10 15,1-1-13-15,1-1-22 0,1 1 4 16,-1 0-99-16,2 1 2 0,1 1 5 0,2 0-20 16,0 1 20-16,0-1-20 0,1 1 0 31,-2-2 5-31,4 0 61 0,-3 1 11 0,-2-3-31 0,2 2-8 0,-3-1 31 16,1-1 0-16,-2 1-24 0,1-1 45 0,-5 1-24 0,3 1-25 15,-3-1 33 1,-1-1-44-16,-2-2 19 0,1 1-19 0,0 1-14 0,0 0-14 0,-1-1-28 15,-1 0-10-15,0-2-36 16,1 2-51-16,1-3-13 0,0 1-61 0,5-3-200 0,-5 0-581 16,5 0 177-16,-5 3-6 0,5-3 116 15,0 0 74-15,0 0 30 0</inkml:trace>
  <inkml:trace contextRef="#ctx0" brushRef="#br1" timeOffset="139456.06">15654 4063 1254 0,'0'-7'384'0,"0"7"-23"16,-3-3-118-16,3 3 0 0,-8-1-23 0,8 1-36 15,-10 1-2-15,4 2-13 0,-3 1-5 0,1 1 0 16,0 1-21-16,0 0 3 16,-2 2-5-16,0 1-3 0,2-3-20 0,0 2 2 0,1 0-33 15,0-1 3-15,-1 1-16 0,5-1 5 16,-2-1-15-16,2 0 8 0,3 1-26 16,-2-2-13-16,2-2 11 0,0 2 2 0,0-5-10 15,5 5-13-15,-2-2 5 0,2-3 61 0,-5 0 39 16,10-2-33-16,0 1-28 0,-2-2 30 15,0 0-46-15,-1-1 0 16,1 1 18-16,0 0-33 0,0 1 23 0,-1-3-8 0,-2 4-28 0,0 0 31 16,2 0-15-16,-7 1-29 0,9 0 46 15,-9 0-48-15,10 1 20 0,-5 1-31 0,-2 3-15 16,1-3-12-16,0 1-29 0,0 0-69 0,-1 3-18 16,0-2-43-16,-1 0-160 0,1 1-137 15,2 0-469-15,-2 0 72 0,1-3 115 0,1 2 128 16,-2-3 21-16,3 0 40 0</inkml:trace>
  <inkml:trace contextRef="#ctx0" brushRef="#br1" timeOffset="140158.59">16497 3914 1169 0,'0'0'389'0,"0"0"-43"16,-15 2-29-16,7 1-30 0,-2-1-28 15,2 2-11-15,-4 3-20 0,1-2-90 0,1 2-15 16,-3 0 0-16,3 0-24 0,-1-1-6 16,-1 2-14-16,7-3-2 0,-5 1-6 0,4 0 14 15,1-1-13-15,0 0-24 0,2 0 6 0,1 0-16 16,2-1 6-16,0 1-1 0,0-2-9 15,2 1 4-15,1-1-7 0,2 0-3 0,0 0-10 16,3 2-5-16,2-1 10 0,0 0 10 0,1 0-15 16,-1 1 7-16,0-2 6 0,-2 1-23 15,2-1 12-15,-2 0 26 0,-3 2-30 16,3-2 25-16,-4 3 18 0,0-2 2 0,-2 3-12 16,-2-4 15-16,0 3-21 0,-3 0-7 0,-2 1 2 15,-3-1 3-15,1 3-7 16,-1-2-17-16,-5-1 45 0,3 2 10 0,-5-1 20 0,4-1-41 15,-1 0-25-15,-2 1 9 0,2-2-55 16,-1 1-6-16,0-2-63 0,3-1 4 16,0 1-50-16,2-2-60 0,0 2-112 0,-4-3-133 15,6 0-500-15,6-1 129 0,-5 0 30 0,5 0 77 16,0 0 59-16</inkml:trace>
  <inkml:trace contextRef="#ctx0" brushRef="#br1" timeOffset="140914.43">16692 3957 1149 0,'0'0'376'0,"0"0"-23"16,0 0-63-16,0 0-22 16,-5 8-22-16,4-4-31 0,-1 2-10 0,2 0-3 0,0-2-38 15,0 2-36-15,0 0 5 0,0 1 10 16,2 1-38-16,-1-1-5 16,1 0-10-16,3 0-6 15,-2-1-28-15,-1-1 19 0,2 1-22 0,0-4-1 0,2 2-6 0,-2-2 13 16,-1 0-21-16,4 0 0 0,-7-2 1 15,14-2-3-15,-9 0 2 0,3 0 16 0,-1-2-16 0,-2-1 44 16,3-1-77-16,-3 2 8 0,2-4 5 16,-1 4 2-16,-1-2 106 0,1-1-8 15,-2 1 4-15,2-1-29 0,-4-1 9 0,3 4-25 0,-2-2 23 16,-1 2-19-16,1 0-4 0,2 1-5 16,-3 1 0-16,-2 2-14 0,0 0-17 0,0 0 13 15,0 0-13-15,0 0 21 0,11 8-9 0,-9-3-19 16,-2 1-16-16,3-2 10 15,0 5-44-15,-1-2 9 0,0 1-24 0,1-2-43 16,-2 1-1-16,1-1-24 0,0 1-34 0,0-1-36 16,-1-1-64-16,2 0-113 0,-1 0-545 0,3-1-33 15,-2-1 57-15,-1-1 101 16,-2-2 73-16,5 4 78 0</inkml:trace>
  <inkml:trace contextRef="#ctx0" brushRef="#br1" timeOffset="141372.76">16954 3765 988 0,'0'0'463'0,"-3"-5"-61"0,3 5-39 16,0 0-30-16,0 0-28 0,0 0-32 0,0 0-17 15,-3 15-25 1,3-8-29-16,3 1-20 0,-3 2-18 0,0-1-29 0,2 1 1 0,-4 2-13 15,4-2-26-15,-1 1-7 16,-1 2 4-16,0-3-4 0,0-1-8 0,0 1-11 0,0-2-1 16,0-2-9-16,2 1 26 0,-2-2-2 0,2 0 2 15,-2-3-3-15,4 3-15 0,-4-5 16 16,4 2 4-16,-4-2-35 0,10 0 18 0,-4 0 4 0,-6 0-6 16,12-1-4-16,-7 0 24 15,3 1-60-15,-8 0 27 0,13 0-6 0,-5 1 3 16,2 0-13-16,-3 2 17 0,-1-2-32 0,1 4-13 15,-1-2 12-15,-1 1-4 0,-2 2-1 0,3-3 9 16,-5 3 9-16,-1 0-5 0,0 0 8 16,-1 2-10-16,-3 1 5 0,-1 1-3 0,0-2 5 15,-3 1 8-15,0 1-17 0,1-2-98 0,-1 1-13 32,0-1-23-32,0-1-23 0,1-4-16 0,0 2-30 0,-1 0-10 0,2-2-26 15,4 0-87-15,-3-1-117 0,5-2-104 0,0 0-449 0,0 0 91 16,0 0 109-16,0 0 65 0,10-13 70 15,-3 8 33 1</inkml:trace>
  <inkml:trace contextRef="#ctx0" brushRef="#br1" timeOffset="141630.57">17272 3847 1103 0,'-6'3'368'0,"1"-1"-25"0,2 2-33 0,-1-1-16 16,1 3-12-16,-2 0-21 0,4 1-13 0,-1 2-45 16,2-2-1-16,0 1-15 15,-2 3-1-15,2 0 1 0,0-1 0 0,-3 0-69 16,3 0-21-16,-2 0-5 0,1 1-15 0,-4 1 33 16,3-3-25-16,-3 2-19 0,-1-3 37 15,2 2-34-15,-2-1 8 0,2-3-21 0,-2 1-23 16,3-2-38-16,-2 0-41 0,0 1-10 0,3-3-16 15,-1 0-33-15,-2-1-54 0,3 1-51 16,2-3-84-16,-4 3-62 0,4-3-48 0,0 0-405 16,0 0 23-16,0 0 113 0,6 5 51 15,-6-5 82-15</inkml:trace>
  <inkml:trace contextRef="#ctx0" brushRef="#br1" timeOffset="142107.34">17279 4038 929 0,'8'-7'414'15,"0"-2"-40"-15,0 2-21 0,-1 1-40 0,-2 1-9 0,0-3 11 0,0 3-28 16,0-2-90-16,1 0-8 0,-1 0-2 16,-3 1-5-16,1-1-13 0,-1 0 10 15,1 3-2-15,-1-2 89 0,-1 3-56 0,-1 0-16 16,0 3-10-16,0 0-12 0,0 0-44 0,-6-2 3 16,6 2-39-16,0 0-3 0,0 0-9 0,-12 8-4 15,9-2 17-15,-2-1-32 0,2 2 0 16,1 0-2-16,-1 1-20 0,3 0-6 0,-3-1-20 15,3 1 10-15,0-3-3 0,3 1-38 16,0-1-12-16,1 2-37 0,2-5-5 0,2 2 14 16,2-4-58-16,-3 0-1 0,4-4 24 15,2 2-14-15,0-4 10 16,2 0 33-16,-2-4-11 0,-1 2-1 0,1-3 12 0,0 2 36 0,0-3 2 16,0 0 8-16,-3 0 26 0,-2-1 58 15,2-1-22-15,-2 1-11 0,-1-2 51 0,-1-1-78 16,-1 3 4-16,-3-1 13 15,1 4 31-15,-1-1 5 0,1 1 2 0,0 2 5 0,-3 2-32 16,2 0 37 0,-2 2-17-16,0 4-21 0,0 0 8 0,0 0-7 0,0 0 7 0,0 0 64 15,-10 13-23-15,7-6-11 0,1 2 21 16,-3 3-20-16,2 0-39 0,3 2-40 0,-3-1-1 16,3 2-74-16,0-1-18 0,0-1-20 0,0 1-13 15,0-1-28-15,3-2-37 0,0 2-73 16,-1-3-121-16,-5-4-119 0,6 2-434 0,2-3 72 0,-2 0 69 15,2-2 77-15,-2-2 75 16,1 2 73-16</inkml:trace>
  <inkml:trace contextRef="#ctx0" brushRef="#br1" timeOffset="142313.09">17476 3890 1118 0,'-4'-2'356'0,"4"2"-31"15,-3-4-28-15,3 4-18 0,0-3-51 16,0 3 0-16,7-6-26 0,-4 3-26 0,5 0 55 16,0-1-21-16,2-1-34 0,0 1-20 15,2-2-56-15,-1 1-59 0,5-1-51 0,-2 1-44 16,2 2-99-16,-1-3-137 0,6 2-570 16,-3 1 110-16,-2-1 23 0,4-1 93 0,0 3 45 15</inkml:trace>
  <inkml:trace contextRef="#ctx0" brushRef="#br1" timeOffset="143075.6">18043 3838 1228 0,'0'0'310'0,"0"0"-39"0,0 0-20 16,0 0-15-16,-13 7-29 0,10-2-18 15,1 1 6-15,0 0-29 0,-1 2-33 0,0 0 13 16,3 1-28-16,-2-1-18 0,2 0-3 15,0 2-2-15,0-3-8 0,0 0-31 0,2 0-2 16,1-1 2-16,0 0 13 0,2-2-18 0,0-1-7 16,-1 0 0-16,2-3-1 0,-6 0 8 0,13-2-28 15,-5 1 16-15,0-2-9 0,-1-3 11 16,0 2-18-16,-1-2 21 16,-1 1-8-16,0-2-8 0,-2 1 23 0,-1-1 46 0,1 0-20 15,-3 1 10-15,0-1-15 0,-3 2-24 16,1-1 19-16,1 3-34 0,-4-1 44 0,1 2-51 15,1-2 30-15,-3 4-28 0,6 0 21 0,-10 0-29 16,10 0 29-16,-12 4-31 0,9-3-18 16,-2 0 13-16,0 3 2 0,5-4-30 0,-6 3 30 15,4-2-12-15,2-1-1 0,-5 4 26 0,5-4-20 16,0 0 5-16,0 0 20 0,0 0-46 16,0 0 26-16,0 0-13 0,20-2-10 15,-14-1 20-15,-6 3-18 0,10 0 31 0,-5-2-33 0,2 2 15 16,-7 0 3-16,11 2 17 15,-3-1 6-15,0 3-44 0,-1 1 29 0,1 2-14 0,1 4 11 16,-3-1 5-16,5 7-41 0,-4 0 41 16,-2 4-21-16,1 2 19 15,-2-2 4-15,-1 5-20 0,-3-4 23 0,-3 0 0 0,1 5-25 16,-2-2 2-16,-2-3 2 0,0 2-2 0,-1-1-2 16,1-3 7-16,-1-3 18 0,2-2 13 0,-1-3 15 15,2-1 0 1,-2-1 8-16,2-2-85 0,1-3 8 0,0 0 21 0,3-2 20 0,0-3-10 15,0 0-3-15,0 0-2 0,0 0-3 0,0-16 18 16,5 8-21-16,-2-3 6 0,2-2-8 16,0-1-2-16,3-5 17 0,2-2-20 15,1 1-16-15,1 0-12 0,1-1-31 16,2-7-25-16,-2 7-27 0,0 3-24 0,0-1-50 16,-1 1-71-16,1 1-133 0,1 1-90 0,0 0-473 15,3 2 145-15,0 1 90 0,1-2 34 0,0 1 74 16</inkml:trace>
  <inkml:trace contextRef="#ctx0" brushRef="#br1" timeOffset="143419.91">18889 3629 1151 0,'0'0'395'0,"-10"5"-14"15,9 1-120-15,-1 0-10 0,0 4-41 0,0 2-26 16,-2 1-20-16,2 6 66 15,0 1-25-15,1 0-5 0,-1 6-21 0,-1 4-23 16,-1 6 8-16,1 2-52 0,-2 0-42 0,4-6-14 16,-1-6-28-1,0 2-46-15,2-3-36 0,0-3-48 0,-3 0-54 0,6-3-92 16,-6-6-72-16,3 4-505 0,0-4 65 0,3 0 51 16,-3-2 82-16,0-2 66 0</inkml:trace>
  <inkml:trace contextRef="#ctx0" brushRef="#br1" timeOffset="144027.03">18841 3964 1287 0,'2'-18'358'0,"1"4"-12"0,-1 1 71 0,4 0-66 16,1 4-13-16,-2 0-34 0,3 0-9 15,0 1-27-15,2 2-17 0,-3 1-31 0,4 3 3 16,-1 0-33-16,-1 0-9 0,-3 2-17 0,2 3-31 15,0-1 8-15,-1 1 0 0,-1 3-31 0,-2-2-10 16,0 5-8-16,-4-2-18 0,0 0 41 16,-1 4-69-16,-4-3 36 0,0 3-38 15,-2 1 9-15,-1-3-37 0,0 2-39 0,0 0 15 0,-2-2-41 16,3 1-14-16,-2-3-32 0,1 1-13 16,1-2 16-16,2-1-18 15,-1 1-10-15,0-4-34 0,0 2-45 0,4-1-55 0,2-3-27 16,0 0-24-16,0 0-20 15,0 0-5-15,-6-9 30 0,10 3-4 0,-2 0 4 0,2-1 26 16,2-2 36-16,2-1 36 0,-1 1 64 0,1 0 84 16,0-3 33-16,0 5 50 0,-1-2 37 15,0 1 37-15,-1 2 17 0,-1 1 23 16,0 2-20 0,0-1 15-16,0 2-5 0,-5 2-5 0,5-1-25 0,-5 1-6 0,0 0-12 0,10 4 14 0,-6-1 1 15,0 0-36-15,2 2 13 16,-2-1-10-16,2 2-19 0,-1-3 29 15,2 3-39-15,1-2 21 0,0-2 0 0,1 2 0 0,0-4-13 16,1 0 51-16,0 0-20 16,0 0 28-16,1-3 15 0,4 2-10 0,-4-2 18 0,-1-3 18 15,2 2-18-15,-2-2 21 0,-1 0 17 0,-1 1 11 16,-4-1-26-16,2 2-21 0,-4-4 14 0,-2 4-39 16,0-2-13-16,-2 0-15 0,0 0-11 15,-4 2 3-15,1 1-36 16,0 2-4-16,-3-2-34 0,0 3-52 0,-2 0-4 0,3 0-29 0,-4 4-40 15,1-3-9-15,0 0-37 16,-4 3-62-16,8-1-139 0,-3 0-221 0,-1-1-327 16,4-1 104-16,2 2 43 15,4-3 66-15,0 0 75 16,0 0 68-16</inkml:trace>
  <inkml:trace contextRef="#ctx0" brushRef="#br1" timeOffset="144455.51">19212 3712 1389 0,'0'0'389'0,"0"0"-46"16,0 0-7-16,8 9-44 0,-5-1-11 0,-1 1-125 15,-2 0 23-15,4 3-45 0,-3 3 9 0,2 1-15 16,1 3-13-16,-3 3-13 0,4 1-22 16,-2 4 2-16,-1-2 7 0,1 1-17 15,0-1-16-15,-1 0-30 0,-2-3-3 0,2-1 8 16,-2-2-11-16,3 0-15 0,-3-5 34 15,1 2-24-15,-1-3-15 32,0-3 31-32,0 0-11 0,1-2 37 0,-1-1-22 0,-1 1 19 0,0-5-3 0,1 2 11 0,-3-3 12 15,3-2 21-15,0 0-24 0,0 0 11 0,0 0 33 0,0 0-40 16,0-18 1-16,3 8 14 0,-2-2-11 0,1-1 19 16,0-3 68-16,4-2-15 15,-2 2-31-15,2-2-15 0,-1 2-20 0,4 2 7 0,-3 0-15 16,-1 5-8-16,3-1 15 0,-3 1-17 15,2 2-8-15,-1 2-5 0,-1 1-1 16,0 0-12-16,-2 3 0 0,2 0-10 0,-5 1 10 16,0 0-3-16,10 2-17 0,-10-2 22 0,2 7-40 15,-4-2 10-15,-1 1-39 0,-1 2-48 16,1 1-3-16,-5-2-33 0,2 1-5 0,-1 2-59 16,0-3-34-16,-1 1-109 0,0-4-210 15,3 0-515-15,0 1 77 16,2 0 166-16,-2-3 80 0,3 0 30 0,2-2 113 0,0 0 29 15</inkml:trace>
  <inkml:trace contextRef="#ctx0" brushRef="#br1" timeOffset="145363.73">19448 3881 867 0,'-2'-3'382'0,"2"3"-14"15,0 0-55-15,0 0-29 0,0 0-36 16,0 0 5-16,0 0-33 0,0 0-10 0,0 0-36 16,0 0 6-16,0 0-17 0,0 0-40 0,-3 11 16 15,3-11-17-15,0 5-35 0,0-5 26 16,3 6-31-16,-3-6 0 0,2 6-8 0,-2-5 5 15,0-1 11-15,3 3-21 0,-3-3-51 16,3 3 18-16,-3-3-8 0,0 0 10 0,9-1 16 16,-9 1 0-16,8-4-5 0,-8 4-8 15,7-2 28-15,-3-2 41 0,-2 2 7 0,3-1 24 16,-2 1-38-16,1-2-16 0,-4 4-21 16,6-3-20-16,-4 2 18 0,-2 1-28 0,5-3 13 31,-5 3 2-31,0 0 5 0,0 0-15 0,12 4-33 0,-10-3 48 0,4 3-48 0,-5-2-8 15,4 1 5-15,-2 1 10 0,2 0-22 0,0-4 12 16,3 2 18-16,0-1-3 0,-1-1-15 16,-7 0 11-16,15-3 2 15,-5 0-8-15,-2 0 10 0,1-3 14 0,1 0 14 0,-3-3 29 16,3 1-69-16,1-4 35 0,-4 0-20 0,-1 2 13 0,1-4 0 16,-2-1 10-1,1 1 13-15,0-3 10 16,-2 2-31-16,0-3 19 0,-1-1-21 0,0 1-11 0,0-2 26 0,-1 1-25 0,0 1 33 15,-2 3-13-15,4 2 13 0,-4 1 0 0,2 3-39 16,-2 2-17 0,0 2 17-16,0 4 11 0,0 1-16 0,0 0 6 0,0 0 7 0,-6 15-2 15,4-3 2 1,0 0 2-16,1 4-24 0,-1 3-12 0,-1 0-6 0,3 0 9 0,0 1-64 16,0 0 1-16,0 0-26 0,3 0-39 15,-1 0-17-15,1-1-26 0,3-3-3 0,-2-1-23 16,2-3-40-16,1-2-24 0,0-1-48 0,2-1-159 0,0-3-387 15,0-1-48-15,1-2 62 16,2-2 137-16,-1 0 39 0,4-2 69 0</inkml:trace>
  <inkml:trace contextRef="#ctx0" brushRef="#br1" timeOffset="145926.97">20029 3745 1080 0,'0'0'399'15,"-12"-1"-33"-15,7 1-10 0,5 0-44 0,-15 3-94 0,7 0-29 0,1-2 44 16,-4 1-59-16,4 3-8 0,-1-1-30 0,-2-1-13 16,2 2 0-16,0 0 0 0,1 2-26 15,-1-2-2-15,2 1-1 0,1-2-35 0,-2 3-8 16,4-2-20-16,-2 0 0 0,4 0 5 0,-3-1-34 15,4 0 19-15,-2 0 27 0,2-4-27 16,0 0 10-16,4 6-8 0,-4-6-5 0,3 1-6 16,-3-1-1-16,8 0 9 0,-8 0-10 15,7 0 6-15,-7 0-14 0,5 1 3 0,-5-1 39 16,11 2-42-16,-8 1-7 0,4-2 10 16,-2 0 8-16,0 0-10 0,1 1-1 0,1-2 21 15,-7 0 11-15,15-3-37 0,-7 1 3 0,0-2-20 16,4-1 22-16,-3 1 8 0,1-2-4 15,0 0 1-15,2-4 9 0,-3 2 42 16,1 0 91-16,-2-2-29 0,2-2 62 0,-2 1-34 16,-1 1 32-16,1-6-104 0,-1 3 9 0,-2-1-31 15,1-4 63-15,0 4-17 0,-4-5 15 0,4 3-12 16,-5 2 20-16,2 3-16 0,-1-1 19 0,1 3-29 16,-3 2 21-16,2 1-39 0,-2 0-13 15,0 6 19-15,0 0-24 0,0 0-22 0,0 0-3 16,0 0-18-16,-5 23 15 0,0-12-15 0,5 2-16 15,-1 2-66-15,-1 1-13 0,0-3-15 16,2 2-71 0,2 1-19-16,0-1-15 15,-1-2-54-15,2 1-38 0,2-2-36 0,0 0-164 0,-2-1-210 0,2-3-258 16,-1-2 96-16,2 0 73 0,-3-3 105 0,4 1 38 0,-2-2 61 0</inkml:trace>
  <inkml:trace contextRef="#ctx0" brushRef="#br1" timeOffset="146237.6">20046 3707 1128 0,'-6'-2'395'0,"6"2"-17"0,0 0-32 0,0 0-47 0,6-6-32 0,-1 2 6 15,2 0-132-15,1 1-5 0,2-3-26 0,3 1 8 16,0-1-11-16,2 0-25 0,1-1 5 0,-1 0-5 15,3 0 0-15,-2 0-8 0,1 2 26 16,-3 0 0-16,-2 0-3 0,1 3-23 16,-3-2 13-16,-2 3-17 0,2 0 32 0,-2 2-23 0,-3-1 13 15,4 4-22-15,-5-2 11 0,1 2-9 16,0 3 13-16,-2-2-9 0,1 4-32 16,0-2 99-16,-4 3-43 0,4 2 13 0,-4-3-67 15,0 3-33-15,3-1-26 0,-6-3-51 16,3 3-21-16,0 1-109 0,0-3-154 0,-2 0-653 15,2 0 90-15,0-2 117 0,0 0 44 16,0-2 62-16,0-2 99 0</inkml:trace>
  <inkml:trace contextRef="#ctx0" brushRef="#br1" timeOffset="146362.74">20322 3603 857 0,'-2'-3'230'0,"2"3"-171"0,0-6-133 0,0 6-510 16</inkml:trace>
  <inkml:trace contextRef="#ctx0" brushRef="#br1" timeOffset="146959.41">20443 3591 1200 0,'-5'7'463'0,"2"1"-63"0,1-1-75 16,-1 0-49-16,0 0-15 0,1 3-41 0,2-1 0 16,0 1-30-16,2-1-11 0,1 1-15 0,-3-2-11 15,5 0-19-15,0 0-4 0,2 0-4 16,-1-3-4-16,-1 2-24 16,3-4 68-16,0 1-2 0,2-2-5 0,-2 1-21 0,-1-3 8 0,3-2-46 15,1 1 12-15,-4-2-7 16,1 0 10-16,0 0-28 0,-3-3-18 0,2 1 8 0,-4-1-23 15,0 0-13-15,-1 0-18 0,-1 0 3 16,-4 0-6-16,3 1-2 0,-5 0 0 0,0 0-36 16,1 0 18-1,-3 0 8-15,0 2-21 0,1-1-13 0,1 3-2 0,-2 0-3 0,4-3 6 16,-4 2-14-16,4 1-7 0,3 1 10 16,-8-3-7-16,8 3 20 0,-5-1-28 0,5 1 51 15,0 0-8-15,0 0 0 0,0 0-15 0,0 0 36 16,0 0-15-16,0 0-21 0,0 0 25 15,26 2-15-15,-18 1 8 0,-1-1 13 0,3 2-36 16,-2-2 28-16,0 2-16 0,0 0 21 0,-1 1 3 16,3-1-21-16,-3 1 6 0,-1-2-1 0,-1 1 16 15,1-1 2 1,1 1-5-16,-4 1 23 0,3-3-20 0,-2 0 43 0,1 2-18 0,-2-2 26 16,2 1 15-1,2-3 6-15,-1 2-26 0,1-2 40 0,1 0-9 0,2 0-29 0,0 0 23 16,0 0 44-16,1 0-115 0,-1 0 12 15,3 0 9-15,-3 3-12 0,1-1-9 0,2 0 33 16,-1 1-31 0,1 3 1-16,0-2-4 0,-2 2-2 0,-2 0-5 0,-1 1-23 0,2 0-38 15,-2-2-21-15,-1 0-46 0,-1 0-26 16,-1 1-22-16,0-1-49 0,0-2-44 0,0 3-97 16,-2-1-138-16,2 1-490 0,-2-3 127 0,2 0 76 15,-3 1 59-15,4-2 81 16,-2-1 32-16</inkml:trace>
  <inkml:trace contextRef="#ctx0" brushRef="#br1" timeOffset="156861.1">21782 3507 1126 0,'0'11'414'0,"-1"0"-35"16,-2 4-25-16,1 1-60 0,0 2-18 0,-1 1-40 16,-2 0-31-16,2 2-16 0,-2 1-41 15,0-3-37-15,0-1-53 0,2-1-24 0,-2 1-60 0,2-2-74 16,1-1-184-16,-6-2-118 15,4-1-386-15,4-3 38 0,-4 1 118 0,2-3 61 16</inkml:trace>
  <inkml:trace contextRef="#ctx0" brushRef="#br1" timeOffset="157274.67">21933 3516 1226 0,'0'9'463'0,"-3"-2"-56"0,3 2-36 0,0 1-28 16,-5 1-15-16,3 2-24 0,-2 0-58 0,2-1-28 15,-2 1 4-15,-2 0-30 16,3-1-102-16,-2 0-11 0,2 1 6 0,1-3-29 0,0-1 5 15,-1 0 9-15,0-1-22 0,1-2-2 0,2-1 23 16,0 0 3-16,0-1 12 0,0-4-4 16,2 6-8-16,1-6 27 0,-3 0-9 0,10 0 12 15,-10 0-20 1,10 0 82-16,-4 0-39 0,2 0 11 0,-1 0 2 0,3 3-35 16,-3 0-19-16,2 0-7 0,-1 1 10 0,-1 1-38 15,-2 0-1-15,3 0-35 0,-3 1-46 0,2-1-18 16,-4 0-54-16,4 0-41 0,-4-2-59 15,3 2-59-15,-4-3-148 0,3 1-274 0,-4 0-292 16,-1-3 70-16,4 4 135 0,-4-4 115 0,0 0 44 16,0 2 53-16</inkml:trace>
  <inkml:trace contextRef="#ctx0" brushRef="#br1" timeOffset="157464.97">21633 3704 1338 0,'0'0'412'0,"0"0"-43"0,0 0 2 0,0 0-54 15,0 0-7-15,0 0-51 0,23 3-14 16,-11-1-19-16,4-1-39 0,6 2-93 0,-3-1-27 16,4 1-67-16,3-1-72 0,2 0-58 0,-5 1-80 15,2-3-138-15,6 3-466 16,-6-2 25-16,-1 1 157 0,1-2 28 0,0 1 97 15</inkml:trace>
  <inkml:trace contextRef="#ctx0" brushRef="#br1" timeOffset="157985.22">22317 3702 1059 0,'0'0'458'0,"-8"-2"-43"0,5 2-31 0,3 0-105 0,-12 0-28 0,12 0-8 0,-10 2-25 0,4 0 17 16,0 1-51-16,-1-3 11 15,3 2-39-15,-4-1-2 0,3 1-39 0,0 1-28 0,2 1 8 16,-2-2-1-16,3 1-30 0,0-1 13 0,2-2-8 16,-4 6-51-16,4-6 18 15,0 6-26-15,0-6 23 0,4 2-27 0,-4-2 22 0,4 3-21 16,-4-3 16-16,5 1-15 0,-5-1 10 0,0 0 13 15,13-1-16-15,-13 1-30 0,8-2 40 16,-3 4-14-16,-5-2-9 0,8 1 11 0,-8-1-8 16,10 1 3-16,-5-1 10 0,0 1-13 15,-5-1 10-15,13-1 3 0,-5 0-23 16,2-2 25-16,-2 0-9 0,2-2 14 0,2 0-2 16,-1-2 44-16,1-1 15 0,-2 2 25 0,1-5 8 0,-1 2 11 15,4-2 25-15,-4-1 18 16,-3 1 61-16,3-2-20 15,-4-2-28-15,3-1 38 0,-3 1-95 0,-3 3-17 0,4 0 40 0,-4 1-61 16,1 2 29-16,-3 0-11 0,4 2-21 16,-3 1 85-16,1 4-36 0,-3 2-46 0,0 0 39 15,0 0-126-15,0 0 0 0,-3 20 0 0,1-9 0 16,0 1 0-16,2 0 0 0,-3 1 0 16,3 0 0-16,0 0 0 0,3-1 0 0,-1 0 0 15,3-3-52-15,-2 2-170 16,2-3-39-16,2 1-39 15,1-1-69-15,0-1-119 0,1-1-506 0,-1-1-53 0,1-3 121 0,0 1 117 16,-1-3 10-16,-1 0 101 0,-1-2 119 0,0 1 21 0</inkml:trace>
  <inkml:trace contextRef="#ctx0" brushRef="#br1" timeOffset="158261.5">22286 3567 1346 0,'0'0'404'16,"0"0"-20"-16,0 0-30 0,16 4-32 0,-4-4-5 16,6 0-27-16,5 1-34 0,8-1 15 0,2 0-36 15,14-1-35-15,1 0-13 0,3 0 77 16,-1-3-21-16,0 2-51 0,0-1-8 0,-1 1-28 16,-4 1-28-1,-1-5-28-15,-5 3-23 0,-8 1-52 0,-4 0-32 0,-3-1-37 0,0 1-30 16,-7 1-10-16,1 0-32 0,-4-2-24 0,0 1-52 15,-3 1-134 1,-2 1-88-16,-4-2-500 0,1 1 44 0,-6 1 107 16,2-2 51-16,-2 2 80 0,-13-4 72 0</inkml:trace>
  <inkml:trace contextRef="#ctx0" brushRef="#br1" timeOffset="159866.59">8283 5385 1459 0,'-3'-4'455'0,"-2"0"-79"15,0 2-2-15,-1 2-44 0,-3 0-15 16,9 0-61-16,-19 6-4 0,4-2-9 0,-1 5-110 15,-4 3 7-15,-1 1-26 0,-7 4 11 0,0 2 5 16,0 0-20-16,2 1-3 0,6-5-31 0,4 1 13 16,1-3 0-16,2-1-36 0,3 0 11 15,2-3-24-15,1 1-15 0,4-3 5 0,3 0 16 16,0-2-34-16,2 1-2 0,1-4 43 0,5-1-43 16,0-1 17-16,4-2 3 15,1-2-10-15,3-3-2 0,-1 1-11 0,3-7 15 16,2 5-10-16,-2-8 16 0,-2 2-11 0,-1 0 19 15,1-3-1-15,-4 2 0 0,1-2 41 16,-3 5-15 0,-2 1 21-1,0 2 7-15,-3 1-11 0,0-1 1 0,0 4-18 0,0 2 5 0,-2 0-15 0,-1 1-6 0,-2 2 16 0,0 0-15 0,3 10 48 16,-1-4 33-16,-1 0-30 16,-1 2 2-16,2 1-17 0,-4 1-27 15,2 2-48-15,0-3-17 0,2 1-57 0,-2 2 12 0,0-3-68 16,2 1-36-16,1-1-26 0,-3 0-33 15,3-1-77-15,2-1-146 0,-2 1-504 0,1-3-29 16,2 0 127-16,-1-1 109 0,3-2 18 16,-1-2 59-16</inkml:trace>
  <inkml:trace contextRef="#ctx0" brushRef="#br1" timeOffset="160109.29">8534 5390 1433 0,'0'0'420'0,"-8"-1"7"0,8 1-155 16,-13 5-14-16,5-2-28 0,-2 3-9 16,0 2-1-16,0 0-46 0,-1 5-23 0,-1-1-13 15,2 0-2-15,-1 2-13 0,1 2-13 0,2-2-18 16,0-1-5-16,0 1-26 0,1 1 11 16,2-2-11-16,3 1 11 0,-1-1-18 0,0-2-21 15,3-3-20-15,0 4-34 0,0-6-15 0,3 2-58 16,2-4-24-16,0 2-43 0,3-4-93 15,2 3-114-15,0-5-410 0,3-1 17 0,0-3 1 16,2 2 115-16,3-4 108 0</inkml:trace>
  <inkml:trace contextRef="#ctx0" brushRef="#br1" timeOffset="160927.23">8808 5395 1011 0,'-5'-1'325'0,"5"1"-8"15,0 0-2-15,-16 3-31 0,9 1 33 0,-1 1-30 16,-5 2-39-16,1 1-4 0,-1 3-22 0,-5 2-17 16,3 1-23-16,-1 2-6 0,1-2-4 15,1 4-36-15,0 0-1 0,0-4-25 0,7 2-20 16,-3-2-1-16,4-1-2 0,2-1-17 16,0 0 14-16,2-4-51 0,2 3 8 0,0-5-7 15,3 2-9-15,2-3 8 0,0 0-12 0,5-3-21 16,0-1-3-16,0-2 34 0,4 0-31 15,1-3-2-15,3-1 9 0,-2-2 9 16,1 0-6-16,1-2 13 0,-2 0 8 0,-3 0 25 16,2-4-2-16,-2 2-3 0,-1 1-46 15,-3 0 0-15,0 3 28 0,-1-2 149 0,-3 4-28 0,1 0-6 16,-2 0-28-16,-1 0-25 0,0 1 18 16,-3 3-16-16,0 1-10 0,0 0-20 15,0 0-16-15,0 0 15 0,0 0-32 0,0 0 14 0,-8 12-7 16,3-5-18-16,2-2 5 0,1 3-10 15,-1-2-23-15,0 2-2 0,1-1-19 0,0-1-18 16,2 0-12-16,0-2 36 0,2 2-29 16,0-2 11-16,2-2 22 0,0 2-17 0,2-3 12 15,-1-1 16-15,4 0-7 0,-9 0-35 0,16-1 19 16,-8-3 0-16,-1 1 26 0,3-2 9 16,-2 0 24-16,0 2-8 0,0-3 23 0,-3 1 5 15,3-1 8-15,-4 1-28 0,2-1 56 16,-1 4-46-16,0-3 8 0,-3 4-32 0,1-1 6 15,-3 2-5-15,5-3-12 0,-5 3 6 16,0 0-7-16,0 0 31 0,5 6-20 0,-2-2-6 0,-3-4-46 16,0 4-10-16,0-4-10 0,1 8-8 15,-1-5-5-15,2 2 15 0,-2-3-36 16,2 2 26-16,-2-4-25 0,3 5 68 0,-3-5-25 16,3 2 49-16,-3-2-32 0,4 1 17 15,-4-1 27-15,0 0-12 0,11-2 25 0,-4-2-10 16,-7 4 10-16,8-2 8 0,-3 1-1 15,0-1 9-15,-5 2-18 0,8-1 9 0,-8 1-12 0,7 0-2 16,-7 0 15-16,8 4-16 0,-7-2 24 16,4 2-29-16,-3-2-12 0,1 2-8 15,-1 2 38 1,1-3-31-16,-1 2 37 0,1 0-29 0,-3 2 13 0,2-3-2 0,1-1 9 0,-2 2-14 16,1-2 4-16,0 0-5 0,-2-3 75 15,0 5-5-15,0-5-21 0,0 0 7 0,6 2-12 16,-6-2 36-16,0 0 5 0,0 0-31 0,0 0 31 0,7-8-57 31,-4 5 13-31,-1-2-97 0,3 1 3 0,-2-1 2 0,2-1-41 0,0 1 6 16,0-1-52-16,1 1-46 0,2 1-36 0,-2 0-41 15,2 1-76-15,0-1-62 0,2-1-169 16,-2 3-519-16,3 2 109 0,-1 0 83 0,0 0 124 16,0 0 68-16,0 0 120 0,3 2-6 15</inkml:trace>
  <inkml:trace contextRef="#ctx0" brushRef="#br1" timeOffset="161548.84">9490 5539 1315 0,'0'0'458'0,"-3"-4"-40"0,1 2-50 15,2 2-12-15,0 0-57 0,-13 0-12 16,13 0-31-16,-10 4-5 0,2-3-54 0,3 1-8 16,-5 2-14-16,5-1 11 0,-1 0-35 0,-1-1-15 15,2 2-16-15,0-2-38 0,0 2 3 16,4-2-19-16,-4 2 6 0,2-3-46 0,3-1-1 15,0 5-7-15,0-5 31 0,0 0-29 0,0 0-7 16,11 2 2-16,-11-2 14 0,8 1-27 16,-1-1 29-16,-7 0-34 0,8 0 16 0,-1 3-21 15,-1-1 19-15,-1-1 7 0,0 0-8 16,0 2-15-16,1 0 10 0,1 0-26 16,-2-1-2-16,1-1-5 0,1-1-26 0,-2 3 18 0,3-3 19 15,0 0-12-15,-1-4 4 0,3-1 25 0,0-1 18 16,1-1 5-1,2 1 31-15,-2-3-49 0,1-3 23 16,-2 1 118-16,1-3-23 0,1-2 48 0,1 0 16 0,-2-7-16 16,-1 3 11-16,0-3-18 0,0 2-23 0,-2 0-21 15,-1 1 11-15,-4 1 30 0,4 6-28 0,-1 0 10 16,-1 3-104-16,-2 2 4 0,-1 5-15 0,0 0-12 16,-2 3 17-16,0 0 16 0,-2 12-3 0,0-1-8 15,-3 3 1-15,2 3-22 0,-3 2 45 16,-1 2-49-16,2 2-36 0,0 0 33 0,2-3-49 15,-1-2-42-15,0-1-32 0,2 0-41 0,-1-1-43 16,1-2-41 0,2-2-38-16,-3-3-34 0,3 1-99 0,0-5-196 0,3 2-441 15,-3-4 70-15,2 1 103 0,-1-2 95 0,-1-2 90 16,0 0 76-16,0 0 39 0</inkml:trace>
  <inkml:trace contextRef="#ctx0" brushRef="#br1" timeOffset="161758.16">9534 5443 1057 0,'0'0'463'0,"0"0"-15"0,-8-2-33 0,8 2-116 15,0 0 13-15,0 0-30 0,0 0-41 16,0 0-14-16,23 0-7 16,-16-1-48-16,1 1-18 0,3-2-16 0,-1 1-33 0,0 0-44 15,3-2-20-15,-3 3-54 0,6-1-43 0,-1-1-36 16,-5-1-62-16,6 3-135 0,-6 0-108 15,3 0-483-15,4 0 91 0,-1 3 129 0,-5-2 7 16,1 0 77-16</inkml:trace>
  <inkml:trace contextRef="#ctx0" brushRef="#br1" timeOffset="162111.53">9844 5606 972 0,'5'-5'379'0,"0"0"-13"16,3-1 59-16,-3-2-54 0,0-2-23 0,3 2 8 15,-5 0-59-15,4-3-23 0,-4 4 2 16,1-3-86-1,2 3-14-15,-4 1-7 0,-1-1-13 0,1 4-12 0,-2-2-21 0,0 5 17 0,-2-4-35 16,2 4 5-16,0 0-20 0,0 0 25 16,-16 6-38-16,11 0 7 0,0-1-7 0,0 2-15 0,-3 1 12 15,3 1-20-15,0-2-13 16,4 0-6-16,-1 0-9 0,0 3 2 0,4-4 11 16,0 1-16-16,1-4-26 0,3 3-53 0,2-2 7 15,1-2-35-15,2-2-60 0,1 0-22 0,4 0-23 16,-3-2-42-16,2-1-79 15,3-2-74-15,10-13-51 0,-8 11-471 0,-4-3 102 0,2 1 67 16,-2-3 64-16,1-3 41 0</inkml:trace>
  <inkml:trace contextRef="#ctx0" brushRef="#br1" timeOffset="162342.54">10234 5264 852 0,'8'-14'389'0,"-6"3"13"0,0 3-64 16,1 2-46-16,-3 0 17 0,0 3-68 15,0 3 12-15,0 0 8 0,0 0-15 0,0 0-26 16,0 0 92-16,-11 18-20 0,4-7-23 0,4 2 18 15,-2 4-18-15,-5 4-116 0,2 2-27 16,-2 8 7-16,0 1-26 0,0 0-12 0,2-5 7 16,-3 7-22-16,1-2-19 0,0-6-17 0,5-3 12 15,-2 1-38-15,1-5-52 0,3-4-22 16,-1 2-51-16,-1-4-9 0,4 0-60 16,-1-5-60-16,2 2-30 0,0-4-110 0,2-3-67 15,1 2-491 1,0-1 122-16,1-2 60 0,2 0 94 15,-6-2 62-15,10 0 30 0</inkml:trace>
  <inkml:trace contextRef="#ctx0" brushRef="#br1" timeOffset="162766.74">10282 5576 1139 0,'0'0'343'0,"0"0"-36"15,-17 7-13-15,14-3-7 0,0 0-29 0,0 1-45 16,-1 1-8-16,1 0-24 0,-2 0-4 15,3 0-39-15,2 0-12 0,-1-2-19 0,-2 2-40 16,6-4 20 0,0 3-29-16,-1-4 12 0,-2-1-14 0,11 2 3 0,-3-4 20 15,1 2 108-15,0-3-28 0,1 1 17 0,2-1 27 16,-2 0-11-16,-2 0-75 0,-3 0 4 0,3 1-14 16,0 2-2-16,-8 0 28 0,10 3-5 0,-5 2-8 15,0 1 6-15,0 1-1 0,-2 4-30 16,-3 1-18-16,2 3 7 0,-4 3-10 0,-1 1 62 15,-4 5-3-15,-1 1-2 0,0-2-42 16,0-1-25-16,-2 1 0 16,0-5-10-16,3-1-8 0,-1-3-2 15,2 0-3-15,2-5 10 0,-2 1-15 0,2-5-6 0,3 0-14 0,-1-2-3 16,2-3 33-16,0 0-16 0,0 0-7 0,0 0 18 16,7-18-13-16,-1 9 1 0,1-4-19 15,6-5-25-15,-2-1-49 0,3 1-36 0,4-8-67 16,0 0-25-16,1 0-46 0,-4 6-69 15,-2 1-192-15,0 3-558 0,2 0 33 0,-5 2 177 16,0 1 7-16,3 2 95 0,0 3 52 0,0-4 114 16</inkml:trace>
  <inkml:trace contextRef="#ctx0" brushRef="#br1" timeOffset="163237.43">11200 5477 1126 0,'0'0'514'0,"0"0"-45"0,0 0-29 16,0 0-54-16,5 12-12 0,-3-5-44 0,2 3 3 16,-4-1-74-16,2 1-3 0,-2 3-31 15,0 0-38-15,-2 0 10 0,2 4-38 16,-3-4-14-16,0 3-14 0,1-1 2 0,-1-2-31 15,0-1-2-15,-1-3-15 0,1 1 15 0,0-4 17 0,3 0 19 16,-2 0 25-16,0-4-92 16,2-2-15-16,0 0 33 0,0 0-48 0,0 0 27 0,0 0 11 15,4-14-26-15,-1 4 18 0,4 0-5 16,1-6-7-16,0 3-4 0,5-4-27 16,-1 1 10-16,4-2-57 0,-1 1 8 0,-1 3-53 15,0 1-39-15,2 2-38 0,-3 3-24 16,-1-2-45-16,-1 7-54 0,-1 0-83 0,3 3-160 0,-3 0-482 15,-2 1 42-15,2 2 112 0,-3 2 71 16,-1-2 57-16,-1 4 113 0</inkml:trace>
  <inkml:trace contextRef="#ctx0" brushRef="#br1" timeOffset="163977.41">11466 5637 1139 0,'11'-3'455'0,"-11"3"-117"0,8-6-10 0,-3 3-21 0,0-3 0 15,0 1-43-15,0-1 81 0,-2 0-43 16,2-1-30-16,-2-1-11 0,2 3-21 0,-3-2 3 16,1 1-51-16,-1 1-74 0,1 3-36 0,-3-2-10 15,0 4-3-15,0 0 8 0,0 0-36 16,0 0 28-16,0 0-8 0,-10 10 3 0,5-6-25 16,2 4-14-16,-3-1 1 0,4 0-29 15,0-1-12-15,-1 2 10 0,0-3-23 0,3 1-6 0,0-1-7 16,3-2-30-16,2 0-6 0,1-2 18 15,-6-1 31-15,15-3-3 0,-3 1-20 16,-1-4 0-16,7 0 15 0,-2-2 33 0,1-2 37 16,1 0-1-1,0-4 28-15,0 1 19 0,-3-2 14 0,-1-4-19 0,0 1 19 0,-4 0 29 0,1-2 3 16,-1 4 30-16,-2 0-18 16,-2 0 8-16,0 6-18 0,0-1-5 15,-3 1-18-15,2 4-36 0,-3 3 46 0,-2 0-25 0,0 3-34 16,0 0 77-16,-2 14 3 0,-4 0-90 15,2 1-31-15,-4 7 26 0,0 2-31 0,-2 11-5 0,0 2 16 16,1 1-1-16,-1 2-35 0,0 0-26 16,0-3-28-16,2 2-33 0,-2 0-19 15,3-3-7-15,-4-1-20 0,1-3-24 0,2-6 39 16,1-7 13-16,1-3 0 0,1-4 15 0,-3-2 46 16,4-3-13-16,-4-1 3 0,2-1 15 15,1-4 6-15,0-1 40 0,5 0-10 0,-10-1 3 16,7-4-19-16,1 3 32 0,0-5 2 15,-1 3 25-15,2-4 1 0,1 2-11 0,0-2-7 16,0-1 0-16,4-1 4 0,0-1-1 16,-1-1 2-16,4-5-13 0,1 3 5 0,5-4-10 0,-3-1-6 15,9-6 24-15,1 0-21 0,-2-1 29 0,3-3-8 16,-1 2-13-16,1 2 30 0,-1-1 1 16,0 1 8-16,-2 7 1 15,-2 0 14-15,-3 5 13 0,0-1 4 0,-3 4-27 0,0 3-1 16,-2-3 1-16,-3 7 0 0,2-1 2 0,-1 2 20 15,-4 2-30-15,-2 0 10 0,0 0-8 16,8 6 21-16,-6-4-18 0,-2 5 0 0,0 1 5 16,-2 0-18-16,2 3 13 0,-3 0-35 15,0 4-6-15,-1 0 33 0,-2 2-23 0,2-2-7 16,-2 1-11-16,1 2-38 0,0-4-13 16,0 1-46-16,-2 0-2 0,4-3-65 0,-3-3-43 0,1 2-38 15,2-2-62-15,3 0-187 0,-2-3-527 0,2-4 95 16,2 4 122-1,1-5 83-15,0 3 30 0,-3-4 98 0</inkml:trace>
  <inkml:trace contextRef="#ctx0" brushRef="#br1" timeOffset="164860.25">11992 5734 1313 0,'11'-9'404'0,"-4"2"-25"0,1 0-16 15,0-2-84-15,0 2-5 0,-1 2-15 0,-4-1 2 0,1-2-15 16,2 1 79-16,-4 0 5 0,1 1-43 15,2-1-26-15,-3 1-21 0,-1 1-17 16,-1 0 12-16,0-1-53 0,0 6-10 0,-3-5-24 16,3 5 3-16,-5 0-13 0,5 0-5 15,0 0-20-15,-18 9-26 0,13-4-5 0,-3 3 5 16,1 0-28-16,1 1-23 0,1 0-31 0,0-2 21 16,3 3-57-16,-1-3-26 0,3 0-1 15,0 0-37-15,3-2-41 0,2 1-5 0,2-1-25 16,1-3 15-16,3-1-36 0,-1-1 39 15,5 0-14-15,-2-1 11 0,2-1 36 0,-2-3-5 16,5 0 12-16,0-1 19 16,-5-2 20-16,2 1 23 0,-2 1 23 0,-3-3 12 0,3 2 17 15,-5 1 11-15,0 2 40 0,-1 0-19 16,-2 2 1-16,1-2 42 0,-4 3-42 16,-2 1-24-16,0 0 39 0,0 0-34 0,5 8 21 0,-5-3-15 15,0 1 0-15,0 1 2 0,-3 0-13 0,3 0-2 16,0 2-18-16,0-2 2 0,0 1 1 15,3-1 2 1,0-2-54-16,1 1 10 0,0-2 6 0,3 0 10 0,-2-2 7 0,3-2 19 0,2-2-19 16,-2 0 16-16,2-3 23 15,3-1 23-15,-1 0-3 0,1-3 55 0,-2-2 4 0,4-1 31 16,-5-2 5-16,1 0 5 0,-1-3-17 0,0-5-6 16,0 0-77-16,-2-1 21 15,0 1 0 1,-1-2 0-16,-1 1 12 0,-1 3-2 0,0 2-7 0,0 5 30 0,-2 0-15 0,-1 2 2 15,1 3-30-15,-3 4 30 0,0 2-25 0,0 2-34 16,0 0 121-16,0 0-18 0,-11 15-118 16,4-4 26-16,2 3 0 15,-1 3-16 1,-1 3-30-16,-1 2-16 0,1-1 18 0,1 1-59 0,1-2-17 0,0-1-24 0,2-1-51 0,-1 0-20 16,1-2-13-1,0 0-38-15,1-3-47 0,0-1-87 0,2-6-96 0,0 1-511 0,2 0 70 16,0-1 72-16,1-2 63 0,-1-2 83 0,-2-2 71 0</inkml:trace>
  <inkml:trace contextRef="#ctx0" brushRef="#br1" timeOffset="165194.78">12397 5562 1059 0,'6'-4'292'0,"-1"2"-39"0,3-3-12 0,2 3-34 15,2-3-12-15,2 0-57 0,-2 0 11 16,3-1-16-16,-1 2-46 16,-2-1 23-16,1-1-33 0,-3 4 17 0,0-1 4 0,-2 2-29 15,0-4 15-15,-3 3 1 0,2 2-34 0,-4-1 13 16,-3 1 10-16,0 0-13 0,13 3 3 16,-10 1-25-16,-1 1 9 0,3 0 40 0,-2 3-24 15,-1-1 38-15,4 1-2 0,-4 2 17 16,1-1 19-16,2 2 10 0,-2 1 0 0,2-5 97 15,-3 1-2-15,0 2-24 0,-1-2 21 0,1 0-28 16,-2-2-10-16,-2 0-34 0,1-1-17 0,-1 2-1 16,-3-2-33-16,0 0-46 15,-1-3-99 1,-1 2-57-16,2 2-87 0,-3-3-118 0,0 1-317 0,1-1-436 0,-1 0 98 0,0 0 67 16,-2 0 104-16,0-2 139 0,2 0 7 15</inkml:trace>
  <inkml:trace contextRef="#ctx0" brushRef="#br1" timeOffset="168669.81">13403 5211 1290 0,'0'0'501'0,"0"0"-48"16,0 0-30-16,0 0-91 0,-10 10-4 15,9-1-49-15,-4 1-33 0,3 3-18 0,-1 3 56 16,-2 2-49-16,2 2-15 0,-4 4-15 0,2 0-38 15,-1-2-27-15,2 3-27 0,-2-2-41 16,1-2-44-16,0 2-21 0,0-4-9 0,0 0-67 16,2-1-23-16,1-5-16 0,-1 0-81 0,2 0-88 15,-1 0-117-15,2-3-525 16,-2-1 49-16,2-2 135 0,0 0 85 0,0-3 54 0,2 0 27 16</inkml:trace>
  <inkml:trace contextRef="#ctx0" brushRef="#br1" timeOffset="169186.37">13490 5252 1359 0,'0'-1'466'0,"0"1"-98"0,0 0-27 31,0 0-16-31,0 0-28 0,3 13 7 0,-3-6-45 0,0-1 66 0,0 4-49 0,0-1 13 15,-1 3-68-15,1-1-17 0,-2 3-9 0,-1-1-21 16,3-1-23-16,-2 4 8 0,1-2-24 0,-1-2-19 16,-1 1-6-16,1-1-3 0,2 0-40 15,-2-3 40-15,1 1-40 0,1-2-8 0,-2 0-6 16,2-3 11-16,0 1-12 0,0-1 6 0,0 0 12 16,0-5-12-16,2 3-6 0,-2-3 12 15,3 3-113-15,2-2 23 0,-5-1 6 16,5 1-8-16,-5-1-6 0,8 1-1 0,-8-1 32 15,10 0-20-15,-5 3 5 0,2-3 5 0,-1 2-12 16,-6-2 25-16,11 0-8 0,-4 0 3 0,-7 0-10 16,13-1-6-16,-8-3-10 0,2 2 31 15,1-1 69-15,2 0-7 0,-4-2 28 16,1 0-62-16,-1-1 18 0,1 0 20 16,-2 1-35-16,1-2 13 0,-2 2 12 0,-1 0-13 0,2 0 32 15,-2 0-17-15,-1 2 14 16,1 0-18-16,-3 3-11 0,0 0 6 0,0 0-3 0,0 0-33 15,0 0 23-15,2 15-6 0,-2-9-12 0,-2 2 36 16,2-2-44-16,0 2-17 0,-3-1-1 16,3 0-15-16,0-1-54 0,0 2-38 0,0-2-49 15,3-2-41-15,-3 2-38 0,2-2-38 16,-1 2-149-16,-1-2-218 0,2-1-414 0,-2-3 122 16,6 1 80-16,-6-1 110 0,0 0 77 0,0 0 61 0,0 0 49 15</inkml:trace>
  <inkml:trace contextRef="#ctx0" brushRef="#br1" timeOffset="169435.26">13228 5384 1218 0,'0'0'407'0,"-7"-1"-28"15,7 1-34-15,0 0-9 0,0 0-19 0,0 0-28 16,0 0 44-16,0 0-13 15,23 0-59-15,-8-1-5 0,3 0-31 0,5 0 13 16,-2-3-33-16,6 3-39 0,4-4 3 0,-3 0-25 16,1 2-103-16,-1-1 10 0,-5 1-41 15,0-1-2-15,0 2-72 0,-4-1-23 0,1 1-44 16,-2-1-40-16,-3 1-65 0,-2 1-148 0,2 2-202 16,-4-1-315-16,4 2 92 0,0 1 52 15,-2-3 104-15,0 0 26 16</inkml:trace>
  <inkml:trace contextRef="#ctx0" brushRef="#br1" timeOffset="170184.09">14215 5300 1016 0,'0'0'414'0,"0"0"6"0,0 0-82 0,0 0-64 0,0 13-57 15,0-7-1-15,0 1-45 0,0 3-12 16,0-2-8-16,0 5 0 0,0-1 51 16,-2 0-64-16,2-1 29 0,0 3-62 0,0-1-3 15,-3-2-2-15,3-3-29 0,0 4-7 16,0-6 31-16,0 1-23 0,0-1 5 0,0 0 25 0,0 0-18 15,0-4 3-15,0-2 21 16,0 5 12-16,0-5 8 0,0 0-5 0,0 0-38 0,0 0 35 16,5-11-87-16,-2 6-12 0,-1-2 12 15,3 1-13-15,-2-1 16 0,2 1 28 0,-2 0-43 16,4-1 9-16,-2 1 19 0,1 1-16 0,2 2-15 16,-4 2 13-16,2-3 0 0,-1 3 2 15,2 1-2-15,-7 0-13 0,9 1 10 16,-2 3 5-16,-4-3-13 0,1 1 11 0,-1 2 26 15,0-2-17-15,-1 2 101 16,0-2-46-16,-1 1 48 16,-1-3-25-16,2 5-26 0,1-2 36 0,-3 2-36 0,0-5 41 0,2 2-81 0,-2-2 32 15,3 4-38-15,-3-4 39 0,0 0 81 0,0 0 3 16,0 0-64-16,8-9 0 0,-3 7-56 16,-2-2-49-16,1 0 0 0,2 0 0 15,-1-2 0-15,2 2 0 0,3 1 0 0,-4 0 0 0,1 1 0 16,4 1 0-16,-4 1 0 0,1 0 0 0,2 1 0 15,-2 1 0-15,0 1 0 16,-1 0 0-16,1 1 0 0,-2 2 0 0,-2-4 0 16,2 4 0-16,-2-1 0 0,-1 0 0 0,0 1 0 0,-3-2 0 15,2 3-210-15,-1-2-123 0,-1 1-41 0,0 2-256 16,0-1-514-16,2-1 92 16,-2 0 95-16,0-2 117 0,2 2 72 0,-2-2 108 0,3 1 41 15,-2-4 63-15</inkml:trace>
  <inkml:trace contextRef="#ctx0" brushRef="#br1" timeOffset="170533.76">14674 5440 1377 0,'2'-9'535'0,"-1"-1"-18"0,-1 2-49 0,0-3-51 0,0 3 8 15,0 2-51-15,0-2-54 16,-3-1 13-16,3 1-39 16,-2 3-5-16,-1-1-20 0,3 1-18 0,-3 2-31 0,-1 2-28 0,4 1-18 15,-8 0-13-15,8 0-17 0,-10 3-16 16,4 1-34-16,1 3 9 0,-2-2-1 0,4 2-2 16,-2-1-110-16,2 2 7 0,-2-1 6 0,2 3-6 15,3-2-28-15,0 0 16 0,0-2-13 16,0 3-16-16,3-3 9 0,0 1-24 0,2-1-18 15,0-1-59-15,0-1-12 0,3 0-47 16,-1 0-22-16,1-2-19 0,-1-2-40 0,1 1-80 0,0-1-151 16,2 0-407-16,-2 0 3 15,0-1 143-15,2 1 23 16,-3-2 67-16,1-1 89 0</inkml:trace>
  <inkml:trace contextRef="#ctx0" brushRef="#br1" timeOffset="171101.08">14815 5327 1254 0,'0'0'417'0,"-2"-5"-31"0,2 5-55 16,-3-3-22-16,3 3-27 0,0 0-44 0,0 0 10 0,0 0-33 16,0 0-12-16,0 0-11 0,-3 14-26 15,3-9 92-15,0 1-53 0,3 0-38 16,-3 1 2-16,0 1 7 0,0-2-40 0,0 4-8 15,3-3-16-15,-3 0-27 0,2 0 12 0,-2-1-20 16,0-1 18-16,0 1-21 0,0-1 8 16,0-2-3-16,2 2-74 0,-2-1 16 15,0-4 25-15,1 5-3 0,-1-5 29 0,0 0 5 0,0 0-8 16,0 0 5-16,0 0-28 0,0 0 18 16,13-8-10-16,-11 5-16 0,1-2-2 0,2 1 8 15,0 2-8-15,-3-3 10 0,4 3-8 0,-2-2-15 16,2 2 8-16,-1 2-1 0,-2-4-4 15,-3 4-23-15,7 0 15 0,-7 0-8 16,0 0 15-16,13 1-2 0,-10 2 3 0,2-1-39 16,-5-2 31-16,5 4 5 0,0-3-18 0,-5-1 13 15,3 5-8-15,-1-4-15 0,-2-1 49 16,3 2 89-16,-3-2-13 16,0 0-28-16,5 4 49 0,-5-4-31 0,3 1-38 0,-3-1-72 0,0 0 8 15,0 0 10-15,0 0-1 0,10-5 1 0,-10 5-23 16,7-2 15-16,-4-3-12 15,2 4 4-15,-2-3 9 0,1 3-27 0,2-1 6 16,-1-2 15-16,0 3-2 0,-5 1 17 0,11-1-20 16,-11 1 3-16,12 2-19 0,-6-1 47 0,1 2-54 15,-2 0 26-15,0 1-1 0,1 2-71 16,1-3 8-16,-2 2 10 0,0 1-47 0,-2-2-48 16,2 0-33-16,-2 0-38 0,1 1-42 0,0-3-22 15,-2 1-57-15,3-1-167 0,0-1-552 16,-2 0 82-16,4-1 102 0,-7 0 118 0,11-3 31 15,-3-1 91-15,-1-2 83 0</inkml:trace>
  <inkml:trace contextRef="#ctx0" brushRef="#br1" timeOffset="171545.45">15287 5092 1208 0,'0'-8'458'15,"0"4"31"-15,0-1-16 0,0 5-63 0,0 0-47 16,0 0 8-16,0 0-43 0,-5 14-41 15,2-4 2-15,1 3-20 0,-1 2-26 0,-2 3-15 16,0 1-29-16,-1 5-12 0,2-1-38 0,-2 0 7 16,2 1-26-16,-2 1-127 0,1 0 23 0,0 0-29 15,2-1-33-15,-2-6 39 16,3 1-13-16,-1-5-6 0,1-1 14 0,-1-1 14 0,3 0 17 16,-3-2 17-16,3-2 25 0,0-3-9 0,0-1 17 15,-2-1 41-15,2-3-43 0,0 0 33 16,5 2-7-16,-5-2 66 0,7-8-34 0,-1 2 11 15,-1-1-20-15,3-3-9 0,0 1-7 16,-1-1-7-16,4 2 30 0,-1-3-33 16,0 3-23-16,0 2-16 0,0 0-58 0,-2 1-3 15,0 3 0-15,2-1 0 16,-3 3 0-16,1 3 0 0,-3-1 0 0,1 3 0 0,-4 0 0 0,0 2 0 16,2-1 0-16,-4 1 0 15,-1 1 0-15,-4 3 0 0,0 0 0 0,-2-2 0 0,-1 2 0 16,0 1 0-16,-2-1 0 0,2-3 0 15,-2 0 0-15,2 1 0 0,-2-2 0 0,2-4 0 0,3 2 0 16,-2 0-216-16,1-3-88 16,1 2-67-16,5-4-59 15,0 0-174-15,-7-6-505 0,7 3 103 0,0 3 90 0,4-7 145 0,2 1 62 16,-2 0 44-16,4 2 71 0</inkml:trace>
  <inkml:trace contextRef="#ctx0" brushRef="#br1" timeOffset="172292.28">15548 5488 924 0,'0'0'427'0,"0"0"-15"16,0 0-33-16,10-11-92 0,-6 9-13 16,0-4-8-16,2 1-3 0,-2 0-7 15,-1-1-36-15,3-1 6 0,-4-1-14 0,3 2-22 0,-2-4 2 16,-1 1-21-16,1-2 3 0,0 1-41 0,-3-1-25 15,0 1 30 1,0 1-28-16,0 2-10 0,-1-2 12 0,-1 1-40 0,2 3 18 16,-3 0-13-16,1 2-11 0,2 3-25 0,-6-1-3 15,6 1 14-15,0 0-1 0,-7 7-13 16,4-1-4-16,0 0 22 0,1 1-13 0,0 1-15 16,2 2 8-1,-3-2-28-15,6 3-23 0,-3-3-21 0,2 3-10 0,1-3-34 0,-1 0-22 16,1 2 20-16,2-2-61 0,-3-2-8 15,4-1-36-15,1 0-18 0,-2-1-25 16,3-1-49-16,-3-1-54 0,3 1-13 0,2-2 34 0,-4-1 31 16,1-1 14-16,0-3 42 0,-1 3 38 0,-1-2 77 15,2-1 41-15,-1-2 82 16,-1 1 7-16,0 0 52 0,0-2 12 0,1-1 4 0,-2 2 9 16,2-1 23-16,-2 1-12 0,2-1 27 15,-2 1-27-15,0 1 17 0,1-1-5 16,-3 5-9-16,4-2 4 0,-6 3 41 0,7-1-46 0,-7 1 0 15,5 5-2-15,-3-2 14 16,2 1-24-16,-2 2-9 0,0 1 19 0,1 3-6 0,-3-3-2 16,3 1-13-16,-3 1-28 0,2 0 18 0,-2-1-18 15,0 1-1-15,0-2-12 16,0 0 3-16,0 0-16 0,0-2 36 0,0 1 36 0,0-3-12 16,0-3 14-16,0 5-20 0,0-5 0 15,0 0-13-15,0 0 19 0,0 0 24 0,0 0-7 16,0 0-10-16,8-9-49 15,-6 2 34-15,1-2-19 0,2 2-20 0,0-3 1 16,1 0-35-16,-2 1-24 0,4 0-40 0,0 2-40 0,0-2-20 16,2 1-52-16,-3 1-18 0,3 1-53 0,1 0-60 15,-1 1-148-15,3 1-56 0,0-1-481 16,-3 1 107-16,3-1 56 16,0 1 124-16,-3 0 32 0,1 1 55 0</inkml:trace>
  <inkml:trace contextRef="#ctx0" brushRef="#br1" timeOffset="172537.22">16036 5338 1054 0,'0'5'466'0,"0"-2"-105"0,2 2 5 0,1 1-41 15,-3 2 59-15,3 1-3 0,-1-2-94 0,0 2-8 16,1 1-23-16,-3 3-21 0,0-4 24 16,0 2-31-16,0 1-31 0,-3 0-10 15,-1 0-36-15,-2 0 38 0,1-2-94 0,-3 0-23 16,0 1-31-16,-2-2-52 0,3 1-65 15,-4-3-70-15,1-1-34 0,0 0-152 0,2-3-180 0,-2 2-448 16,3-1 105-16,-1-3 49 0,0 0 104 0,3-1 62 16,-1 2 64-16</inkml:trace>
  <inkml:trace contextRef="#ctx0" brushRef="#br1" timeOffset="175338.48">16884 5259 1049 0,'-5'5'315'0,"3"2"-13"16,2 2-21-16,-1-1-37 16,-1 0-24-16,0 3-39 0,2 0-19 0,0-2 9 0,2 2-63 15,-2-3-16-15,2 3 23 0,-1-2-43 0,4-1-6 16,0-1 6-16,0-1 53 15,0-3-12-15,3 1 0 0,-3-4 2 0,2 0 10 16,3 0-12-16,-2-4 5 0,0 2 25 0,0-4-10 16,-3 0-5-16,1 0 26 15,-2-2-14-15,-1-2-1 0,2 2-1 0,-5-2-20 0,2 1-11 16,0 1 13-16,-2-2 11 0,0 3-18 0,0 1-1 16,-2 0-32-16,0 1 25 15,2 3-34-15,-5-2-2 16,5 4-2-16,-7-1-44 0,7 1-3 0,-9 6 29 0,4-5-36 0,1 3 10 15,-2 0-33-15,1 0 22 0,2 0-14 0,0-2 4 32,1 2-43-32,0-1 39 0,2-3-29 0,0 6 26 0,0-6 10 0,5 0-15 0,-5 0-11 15,10-1 24-15,-2-2 17 0,2-1-17 16,0-2 30-16,2 1 1 0,-1-3 12 0,3 1 5 16,0-2-10-16,-3 2 18 0,2-1 28 0,-1 2-34 15,-1-1 6-15,-1 2-10 0,-2 2 15 0,-1 1-23 16,1 2 25-16,2 2-27 15,-2 2 2-15,2 2-5 0,-2 5-3 0,0 2 13 16,-3 5-23-16,0 1 38 0,-2 6-109 0,-1 2 2 16,0 3-3-16,-4 9 21 0,-1 2-26 0,-4-1 8 15,2 2-13-15,-6-2-5 0,4 1-2 0,-3-3 9 16,-1-2 11-16,-2-4 13 16,3-6 0-16,3-5-3 0,-1-3 15 0,0-1-7 15,3-4 21-15,-2-2 19 0,1-3-4 16,1-3-8-16,0 0 0 0,2-3-2 0,3-2 7 0,0 0-16 15,0 0 40-15,-5-14-11 0,5 4-18 16,3-3 28-16,2-4-3 0,0 1-12 16,3-7 10-16,-1 2-20 0,6-9 15 0,0-1-8 0,2 2 23 15,1 3-33-15,2 0 5 0,-3 5-15 16,1 4-10-16,-1-1-9 0,0 0-35 0,0 4-18 16,1-3-28-16,-1 3-33 0,1 1-41 0,-1 2-42 15,-2 2-86 1,2-2-195-16,-1 4-519 0,3 0 115 0,-1 1 58 0,1 0 106 0,-1-1 43 15,2 2 118-15</inkml:trace>
  <inkml:trace contextRef="#ctx0" brushRef="#br1" timeOffset="176166.87">18161 5381 918 0,'3'-4'392'0,"3"-2"-31"0,0 0-97 16,0-1-19-16,1 0 9 0,1 0 4 15,-2-4-9-15,-2 3-16 0,2-3 2 16,-2 3-20-16,2-2-5 0,-2-2-28 0,-1 3-8 15,0-2 69-15,-1 3-15 0,0-3-13 16,-1 4-3-16,-1-1-17 0,0 2-55 0,0-2 17 16,0 3-29-16,0 1-29 0,0 4 6 0,-3-2-15 15,3 2 33-15,0 0-49 0,0 0 5 16,-10 8-40-16,8-3 4 0,-1 2-20 16,0-1 3-16,1 1-36 0,0-1-8 0,-1 2-3 0,3-1 16 15,0 0-38-15,-3-2 35 0,6 1-15 16,-3 0 10-16,0-1-23 0,3 1 11 15,-1-4 15-15,0 2-8 0,4-1 5 16,-2 0 44-16,-1-2-29 0,4 0 3 0,-7-1 26 16,11-1-11-16,-3 0 21 0,-3 0-2 0,4-3-14 15,-3 3 9-15,2-3-1 0,0 2 5 0,-1-2 1 16,1 1 25-16,-2 2-41 0,1-2 7 16,0 2 19-1,-1 1-18-15,-1-1-8 0,-5 1 25 0,13 1-17 0,-8-1 0 0,0 1-11 0,2 0-12 16,-3 2 30-16,3 0-15 0,-4 1 26 0,1-2 0 15,-1 2-31-15,2-1 15 16,-4 0-2-16,1 0-11 0,3 1 6 0,-3 0 25 0,-1-2-2 16,1 1-24-16,1 0 29 0,-3-3-11 15,3 6-2-15,-3-6 18 0,2 2-66 16,-2-2-9-16,5 3 44 0,-5-3-2 0,0 0-3 16,0 0 23-16,10-5-15 0,-3 5 5 0,-3-3-42 15,1 1 27-15,2 1-1 0,1-2-2 16,-3 1-15-16,3 4-1 15,0 0-17-15,2-1 36 0,-3 0-16 0,4 0-44 0,-4 3-35 0,-1-2-33 16,1 3-34-16,1-4-20 0,-3 4-24 16,0-3-40-16,1 1-41 0,-2-1-18 0,2-1-82 15,1-1-139-15,-7 0-9 0,8 0-418 16,0-2 18-16,0-1 162 0,0 0 89 0,1-3 36 16,-1-1 28-16</inkml:trace>
  <inkml:trace contextRef="#ctx0" brushRef="#br1" timeOffset="176387.2">18687 5250 583 0,'5'-20'315'16,"-1"2"-26"-16,-1 0 21 0,2 1 82 0,-2 2-24 0,0-3-15 15,0 1-84-15,1 4-5 16,-1 2-8 0,-3 2-8-16,3 2 52 0,-1 0-29 0,0 2-20 0,0 1 2 0,-2 4-10 0,0 0-17 15,0 0-27-15,1 14-27 16,-1-5-14-16,0 3-9 0,0 1-57 0,0 4 8 0,-1 0 10 16,-3 4-64-16,4-3-18 0,0 1-41 0,0 1-40 15,0-1-6 1,0 0-49-16,0-4-66 0,2 1-90 0,0-2-214 0,-1-2-495 15,-1-1 105-15,0-4 34 16,3 1 84-16,-3-2 67 0,0-2 48 0</inkml:trace>
  <inkml:trace contextRef="#ctx0" brushRef="#br1" timeOffset="176671.14">18617 5275 1382 0,'0'0'466'0,"-7"-3"-26"0,7 3-72 0,-5-1-27 0,5 1-29 0,0 0-20 16,0 0-10-16,7-8-29 0,-2 4-12 16,3 1-19-16,0-1-43 0,4-3-10 15,-1 2-64-15,4 0 23 0,-2-3 85 0,2 5-14 16,-1-6-30-16,-2 5 16 0,4-1-9 0,-4 0-4 16,-1 1-3-16,1 3 2 0,-1 1-97 15,-2-2 1-15,0 4-14 0,-1-1-10 0,-1 2 24 16,3 3-37-16,-3-1 18 0,1 2-5 0,-2 0-10 15,-3 1-41-15,1-1-5 0,1 3-46 16,-4-2-44-16,1 0-48 0,-2 1-62 0,2-1-51 16,-2 2-71-16,0-4-219 15,0 1-472-15,0-1 63 0,3-3 95 0,-2 1 84 0,1-1 113 16,-2-3 44-16,4 3 51 0</inkml:trace>
  <inkml:trace contextRef="#ctx0" brushRef="#br1" timeOffset="176780.36">18887 5155 1105 0,'0'-6'336'0,"-3"-2"-34"0,3 4-16 16,-2 0-35-16,2 4-59 0,0-6-82 15,0 6-79-15,-3-2-121 0,3 2-135 0,0 0-497 0,0 0 59 16,0 0 44-16</inkml:trace>
  <inkml:trace contextRef="#ctx0" brushRef="#br1" timeOffset="177097.68">19009 5119 1412 0,'4'7'502'15,"0"0"-128"-15,-1 4-46 0,2-2 12 0,0 3-43 0,-2 0-8 16,1 0-28-16,-3 0 3 0,4 2 17 16,-2-2-9-16,-3 0-21 0,2-1-24 15,1-3-47-15,-3 3 4 0,2-4-8 0,-1 0 19 0,1 0-70 16,0-3 29-16,-2 2-26 0,0-6 26 0,0 0-11 15,0 0-7-15,5 2-8 0,-5-2 2 16,0 0 24-16,5-8-42 0,1 1 4 0,-4 1-42 16,4-4-8-16,-1 1 24 0,2-3-13 15,-2 1-3-15,3 2-36 0,0-1-7 32,0 1-26-32,-1 0-25 0,1 3-39 0,-1-1-31 0,-1 5-25 0,1-2-54 0,-1 2-36 0,-2 2-33 15,-4 0-28-15,11 3-28 0,-8 1-70 0,2 2-102 16,-3-3-30-16,1 5-428 0,2-2 25 15,-3-1 93-15,3 0 82 0,-2 0 79 0,3 1 56 16</inkml:trace>
  <inkml:trace contextRef="#ctx0" brushRef="#br1" timeOffset="177317.75">19282 5240 790 0,'4'-2'418'0,"-1"-4"-6"0,0 1-39 0,-1-1 4 0,0 0-39 16,-1-1-70-16,-1 4-4 15,2-3-3-15,-2 1-43 0,0 2 2 0,0 3-36 16,-2-4-12-16,2 4 9 0,0 0-14 0,0 0-34 15,0 0-8-15,-10 7 6 16,9-1-11-16,-1 1 3 0,0-2-13 0,2 1-13 0,-3 1-17 16,6-1-14-16,-3 0-15 0,0-1-43 0,2-2-16 15,1 4-9-15,2-1-32 16,-1-1-84-16,2-2-72 0,-1 0-141 0,1 2-96 0,1-4-490 16,6 1 82-16,0 2 108 0,2-3 110 0,2 0 33 15,7-1 43-15</inkml:trace>
  <inkml:trace contextRef="#ctx0" brushRef="#br1" timeOffset="178194.45">20089 5009 1259 0,'0'0'374'0,"0"0"-19"0,0 0-24 0,0 0-14 15,0 16-20-15,0-8-26 0,0 5-46 0,0 2 1 16,0 1-24-1,0 4-13-15,-3 4-4 0,1 1-27 0,-3 3-35 0,2-2-20 0,-2 11-4 16,0-6-27-16,2-5-23 0,-2 0-31 0,1 1-8 16,1 0-15-16,0-7-23 0,1-1 7 0,-1-1 8 15,3-5-7-15,-3-1-6 16,3 0 8-16,-2-3 16 0,2 0 7 0,0-2 0 0,0-4 10 16,0 0 47-1,0-3-1-15,0 0 34 0,0 0 15 0,0 0 74 0,0 0-17 0,5-21 12 16,-5 8 28-16,2-2-40 0,-1-3 9 15,1-8-27-15,5 1 15 0,1-10-21 0,0 7-13 16,-1 4 14-16,1 1-34 16,0 3-67-16,0 4-27 0,-1 2 14 0,1 1 1 0,-2 4-16 15,1 1 9-15,1 4 22 0,-1 0-36 0,-1 4 46 16,-1 0-12-16,-5 0 4 0,10 5-27 0,-8 1-3 16,1-1 20-16,-3 2-20 15,3-1 8-15,-6 3-14 16,0 0-6-16,1 0-19 0,-3 2-8 0,-1 0-40 0,-3-3-34 0,3 3-28 0,-1-4-23 15,-1 2-7-15,0-2-37 0,4-1-12 16,-2-1-15-16,1 0-34 0,2-4-23 16,0 4-72-16,3-5-74 0,0 0 26 15,0 0-5-15,0 0-77 0,0 0-113 0,9-12-169 0,-1 5 26 16,9 1 141-16,-9-1 407 16,2-3 143-16,-2 1 10 0,4-1 57 0,-1 2 102 15,-1-3 18-15,0 5 40 0,-2-1 27 31,0 2 20-31,-2-1 92 0,-2 4-56 0,1-2-1 0,0 2 1 0,-2 1-10 0,-3 1-31 16,0 0-19-16,0 0-22 0,8 6-18 0,-6-3-77 16,1 1-10-16,-1 1 5 0,0-1-12 0,-1 1-4 15,4 0-17-15,-2 1-10 0,1-4 7 0,2 2-8 16,2 1-2-16,-1-3 33 16,1-1-7-16,2-1 23 0,0 0 2 0,-2 0-18 0,2-2 31 15,-2-1 5-15,0 0 13 0,-1-1-11 16,-1-3 4-16,-2 4 14 0,2-4-10 0,-4 2-32 0,0-1-1 15,0 1 7-15,-1-1-4 0,-1 2-16 16,0 1-48-16,-3-2 20 0,3 5-18 16,-4-5-33-16,1 3-29 0,3 2-27 0,-8-3-29 0,8 3-17 15,-8-2-41-15,8 2-44 0,-7 0-3 16,7 0-120-16,0 0-115 0,-11 0-41 16,11 0-435-16,0 0 49 0,0 0 160 0,0 0 34 15,11-8 75-15</inkml:trace>
  <inkml:trace contextRef="#ctx0" brushRef="#br1" timeOffset="178600.37">20497 4997 924 0,'2'-7'453'0,"3"0"-67"0,-4 5-33 15,1-3-28-15,-2 3-35 0,0 2-34 0,0 0-16 0,0 0 6 16,0 0-28-16,5 9-21 0,-5 1-44 16,-3-1 3-16,3 6 1 0,-2 1-12 15,0 3-35-15,1 4 3 0,-4 3-26 0,3 0 0 16,-1 3 10-16,-2 7-22 0,2 2-4 15,-2-2-30-15,0 0-2 0,0-5 2 0,2-5-8 16,1 0-20-16,0-5 7 0,1-3 3 0,-1-2-28 0,2-3 15 16,-3 1 59-16,3-4 19 15,-2-1-4-15,1-1 59 0,0-5 72 16,0 1-38 0,1-4-11-16,0 0 34 0,0 0-110 0,0 0-3 0,0 0 23 0,1-13-21 15,1 2-4-15,3-1-1 0,0-3-15 0,0-5-10 16,5-2 18-16,-2 1-5 0,2-3 4 0,0 5-19 0,3 0 2 15,-5 0-24-15,2 6-1 0,1 1-19 16,-4 2 21-16,1 2-10 16,0 3-14-16,-1 0 6 0,-2 4 0 0,1 0 8 0,-6 1 17 15,0 0-4-15,10 5-34 0,-10-3-3 0,0 3 29 16,0 0-13-16,-3-2-13 0,0 3-15 16,-1 0-29-16,-4 2-25 0,0 1-66 0,0-3-80 15,1 1-23-15,-1-1-59 0,2 0-51 16,-1 0-228-16,2-3-519 0,0 1 110 0,2-3 94 15,1 3 62-15,2-4 92 0,0 0 84 16,0 0 59-16</inkml:trace>
  <inkml:trace contextRef="#ctx0" brushRef="#br1" timeOffset="179976.11">20758 5209 1254 0,'0'0'412'0,"0"0"-15"0,0 0-36 0,0 0-47 0,0-2-22 0,0 2-36 0,0 0-25 0,0 0-6 16,0 0-26-16,0 0-7 0,0 0-20 16,-4 12-29-16,4-7-10 0,0-5-12 0,-1 7-1 15,1-4-5-15,0 1-23 0,0-4-7 16,1 7-1-16,-1-3-30 0,1-2 10 16,0 3-13-16,-1-5 21 0,2 5-11 0,1-3-12 0,-3-2 20 15,3 3-28-15,-3-3 31 0,7 2 66 16,-7-2-8-16,7-2 6 0,-7 2-36 15,8-3 30-15,-5 2-9 0,2-2-19 0,-5 3-17 16,5-3-27-16,-5 3 30 0,6 0-19 0,-6 0-39 16,4-3 39-16,-4 3 1 15,0 0-27-15,8 5-5 0,-8-5 6 0,6 4-21 16,-4-3-8-16,0 2-15 0,1 0 21 0,2-3 7 16,-5 0-18-16,8 2-20 0,-3-2 25 0,-5 0-4 15,10-2 4-15,-2-1 0 0,-3 0 16 16,5-2 7-16,-3-1 1 15,-1-1 25-15,2 0 13 0,-1-5-6 0,-1 2-50 0,1 0 22 0,-2-5-22 16,1 0 12-16,-1 1 0 16,2-4 11-16,-4 1-11 0,4 1 31 0,-4-1-20 0,3 0-11 15,-2 2 33-15,-1 3 4 0,0 0-29 0,-1 1-41 16,-2 2 0-16,2 1 0 0,0 4 0 16,-2 0 0-16,0 4 0 0,0 0 0 15,0 0 0-15,0 0 0 0,-4 13 0 0,2-3 0 16,-1-1 0-16,3 3 0 0,0 3 0 0,-3-1 0 0,1 0 0 15,2 3 0 1,2-2 0-16,-2-2 0 0,3 3 0 0,0-3-162 0,4 1-76 16,0-3 3-16,-1-3-37 0,2 3 4 0,3-6-9 15,-1 2-20 1,2-5 21-16,1 2-49 0,3-4 5 0,-2 1 36 0,2-2 51 0,-1 0 18 16,-1-3 33-16,-2-1 36 0,1 1 46 0,0-2 21 15,-2 0 48-15,-1-1 36 0,-3-1 26 0,1 2 28 16,-3 2 10-16,0-1 8 0,0-1 5 15,-3 1 0-15,-1 0 20 16,-1 2-7-16,0 3-19 0,0-6-12 0,0 6 21 0,-6-3-36 0,6 3-6 16,-7 0 24-16,7 0-24 0,0 0 3 15,-13 3 0-15,8-1-20 0,3 2 2 0,-4-3-5 16,4 3 5-16,-1-2-28 0,-2 1-36 0,3 1 24 16,-1 0-19-16,0-2-10 0,3 3-15 15,-2-2-11 1,2-3 13-16,5 6 21 0,-3-2-5 0,1-3 2 0,5 2 5 0,-2-1-5 15,2 0 11-15,-2-2 7 0,4 1 2 0,-1-1-2 16,1-1 16-16,-3-1-1 0,3 2-2 16,-2-5 5-16,2 4 18 0,0-4 26 0,0-1 22 15,1 1 11-15,-3-2 18 0,2 1 20 0,0-2 26 16,-2 1-16-16,0-3 29 16,-1 1 12-16,0-2-5 0,0 3-7 0,-3-5-8 15,2 1-16-15,1-4-9 0,-2 0-29 0,1-2 18 16,-4 1-21-16,3-1 6 0,0 3 54 0,-2 1-57 15,-1 3-5-15,3-1 5 16,-3 2-18-16,-1 1 0 0,-1 3-15 16,2 0 23-16,-2 4-13 0,0 2-5 0,0 0-23 0,0 0 10 0,0 0-40 15,-7 15-4-15,4-7 52 0,3 2-69 16,-2 2-18-16,2 1 5 16,0 0-36-1,2 0-46-15,-2 0-38 0,3 1-47 0,-1 1-35 0,0-2-39 0,-1-1-53 0,4 1-44 0,-3 0-169 16,-1-6-512-16,4 1 88 0,-3 1 68 0,-1-5 126 15,1 1 104-15,0-1 34 0,1-2 59 0</inkml:trace>
  <inkml:trace contextRef="#ctx0" brushRef="#br1" timeOffset="180286.34">21330 5039 1213 0,'0'-2'417'0,"0"2"-51"0,-3-6-15 16,3 6-59-16,3-6-13 0,0 1-39 15,3 4-2-15,0-4-30 0,2 1 22 0,3 0 28 16,-1-2-40-16,5 2 41 0,-2-1-70 0,5 2-28 16,-1-1 31-16,0 3-8 0,0-1-2 0,0-2-8 15,-3 4 8-15,-1 0-21 16,2 0-35-16,-2 4 76 0,0-2-61 0,-1 3 30 16,1 1-30-16,-5 0-28 0,2 3 17 0,0 0-33 15,-2 0 8-15,-2 2-12 0,-2-2-12 16,2 2-42-16,-4 0-19 0,2 0-53 0,-3-2-16 15,-1 1-61-15,0-1-36 0,0 0-35 16,0-1-55-16,-1 0-150 0,1-1-413 0,-2-2-245 16,4 0 102-16,-2-3 135 0,1 2 70 0,-1-4 51 15,0 0 100-15,0 0 36 0</inkml:trace>
  <inkml:trace contextRef="#ctx0" brushRef="#br1" timeOffset="180393.86">21673 4925 1182 0,'0'-9'364'0,"0"4"-39"16,0 1-41-16,-1-1-49 0,1 5-104 0,1-5-152 16,-6 4-219-16,5 1-505 0,0 0 110 15,8-2 69-15</inkml:trace>
  <inkml:trace contextRef="#ctx0" brushRef="#br1" timeOffset="180989.41">21806 4902 1069 0,'-4'10'405'0,"1"-6"-37"0,1 1-1 0,1 2-76 0,-1 3 6 0,0-3-10 0,-1 4-16 0,3-3-38 15,-1 3-33-15,1 1-13 0,1 1-34 16,2-1 11 0,-1-2-33-16,3 1 4 0,2 0-9 0,-4-3-42 0,5 2-4 0,0-3-4 0,0-1 24 15,2 0-13-15,-3-3-30 0,4-2 30 16,-1 1-36-16,0-2 18 0,-2-3-18 0,2 0 8 15,-2-1-23-15,0 1 2 0,-4-5-2 16,2 0 5-16,-1 0-18 0,-2 0 20 16,-3-1-2-16,0-2-15 0,0 2 7 0,-3-1-30 0,3 0 22 15,-5 0 57-15,-1 2-18 0,2 2-5 16,-2-4 5-16,1 3-30 0,-2 4-19 16,2-5 26-16,-1 5-21 0,1-2-2 15,0 3-31-15,1-1 8 0,0 1 23 0,4 2-8 0,-7-1-35 16,7 1 15-1,0 0 15-15,0 0 8 0,-5 6 7 0,5-6-7 0,0 0-11 0,8 8 3 16,-4-3 6-16,2 0-11 0,1-2 23 0,-2 4-13 16,3-2 10-16,0 2 37 0,-3-1-34 15,2 0-15-15,-2 1 7 0,1-2 10 0,-1 0 6 16,0 1 13-16,-1 1-16 0,0-3 23 16,0-1-30-16,-1 3 27 0,0-1 1 0,0-3 5 15,2 2-8-15,-2-2-8 0,1 0 31 16,1 1 5-16,0-3-5 0,1 2 24 0,2-2-17 15,-1 0 6-15,1 1 0 0,0 1-66 0,0-1-11 16,1 1 18-16,-1 2-8 0,0-3 8 16,0 1-15-16,-1 1 7 15,1 0 8-15,-1 0 10 0,-1-1-40 0,-1-1 7 0,2 3-31 0,-1-4-51 16,-2 0-59-16,-4 0-43 0,9 2-82 16,-2-2-39-16,1 0-132 0,-8 0-152 0,10-1-479 15,-2 1 147-15,0-1 56 0,2 1 117 16,0-4 85-16,0 4 52 0,0-1 83 15</inkml:trace>
  <inkml:trace contextRef="#ctx0" brushRef="#br1" timeOffset="181036.17">22315 5050 373 0,'0'0'3'0</inkml:trace>
  <inkml:trace contextRef="#ctx0" brushRef="#br2" timeOffset="192073.2">2037 7951 1540 0,'0'0'464'0,"0"0"-21"0,-10 0-44 15,10 0-36-15,0 0 19 0,0 0-52 16,0 0-31-16,30 0-17 0,-12 0-29 0,1 3 8 16,6-3-48-16,0 1-34 0,7-1-10 15,0 1-3-15,3-1-12 0,0 1-113 0,13 0 13 16,-9 1-21-16,-3-1 23 0,-1-2-28 0,-1 1-10 15,2 0 13-15,-5 0 0 0,-5-2-8 16,-3 2-15-16,-3 0-3 0,-2 0 2 0,-3 0 11 16,-2 0-15-16,0 0-13 15,-3 0-8-15,0 0-36 0,-1 0-38 0,-2 0-8 0,-2-1-31 16,-5 1-35-16,8-1-44 0,-8 1-77 0,5-1-189 16,-3 1-486-16,1-4 110 15,-3 4 45-15,2-3 116 0,-2 3 115 0,0-7 16 0</inkml:trace>
  <inkml:trace contextRef="#ctx0" brushRef="#br2" timeOffset="192421.09">2532 7776 1348 0,'0'0'433'15,"0"0"-31"-15,0 0-41 0,0 0-13 0,10 6-33 16,1-1-13-16,1-1-51 0,6 3 43 16,0 0-74-16,0 0-30 0,5 0 4 0,-2 4-27 15,2-3-11-15,-1 3-18 0,2 0 5 0,-4-1-15 16,1 0-10-16,-3 3-18 16,-3-6 38-16,-2 6 5 0,-3 0-43 0,0-2 18 0,-2 0 0 15,-5 1 17-15,-3 0-27 16,0 2-3-16,-6 1 13 0,-2 4-29 0,-2-1-7 47,-5 1 10-47,-5 6-112 0,-4-1-1 0,-1-1-10 0,2-1-35 0,-1-3-19 0,6-2-32 0,3-4-39 15,0 1-54-15,2-2-67 0,3-1-148 0,0-3-117 0,2-3-480 16,3 1 126-16,5-4 83 0,0-2 83 0,0 0 67 0,0 0 49 0</inkml:trace>
  <inkml:trace contextRef="#ctx0" brushRef="#br2" timeOffset="193113.52">3514 7815 1208 0,'10'-7'396'0,"-8"5"-19"16,-2 2-32-16,8-5-22 0,-3 5-39 0,1-5-100 15,-1 4-7-15,0-1 7 0,0-2-18 16,0 3 1-16,-5 1-1 0,8-4 1 0,-6 2-21 16,-2 2-21-16,0 0 6 0,0 0-27 15,0 0-14-15,0 0-11 0,0 0-2 0,0 0 8 16,-25 6-6-16,14-3-53 0,1 1 38 15,-1 0-6-15,-3 2-24 0,3-1 4 16,-1 0 6-16,1-1-6 0,-2 2-25 0,3 1 2 16,2-3-12-16,1 0 30 0,1 0-12 0,1 3-4 15,3-2-24-15,-1 1 25 0,6-1-6 0,-3 1-17 16,7 0 3-16,-4 0 7 16,4 1 0-16,2 0-15 0,0 1 5 0,2-2 7 15,-1 0-9-15,0 2-1 0,-1 1 5 0,3-3 3 16,-4 1 8-16,2-1 2 0,-2 1 8 0,-4-1 49 15,2-1-16-15,-3 1 10 0,2-3 19 0,-3 3 73 16,-2-1 16-16,0-1-15 0,-2 0 2 16,-1 1-18-16,-2 1-28 0,-3-4 18 15,-2 4-41-15,-2-2 26 0,-2-2-52 0,1 3 26 16,-2-3-15 0,-1 1-62-16,-1-1 3 0,1 2-21 0,-4-2-33 0,2-2-30 0,2 3-32 15,-1-1 42-15,1-1-72 0,1-1-16 0,4 2-43 16,1 0-82-16,3-1-58 0,1-1-83 15,6 0-115-15,-8-3-437 0,8 3 101 16,0 0 50-16,4-7 68 0,2 5 65 0,1-3 102 16</inkml:trace>
  <inkml:trace contextRef="#ctx0" brushRef="#br2" timeOffset="193459.61">3701 7873 1023 0,'2'6'369'0,"-2"1"-39"0,0 1 21 16,1 2-93-16,1-1-17 0,-2 2-6 16,2 1-25-16,1-2-33 0,2 1-23 0,-2 1-24 0,4-1-66 15,-1-3-33-15,1 1-6 16,3-2-2-16,-2-1 16 0,5-3 20 0,-2 2 2 0,1-3 24 16,1-2 45-16,-3-2 11 0,6 0 13 0,-4-1 22 15,1-3 98-15,0 0 20 16,-2-1-12-16,-1 1-95 0,-3-3 0 0,-1-1-3 15,-2-1-10-15,0 1-8 0,-3 0-35 16,-2-2 25-16,-3 0-38 0,0 0-34 0,1 3 21 0,-5-3-41 16,1 4 85-16,-2-2-47 15,-3 3-43-15,0 2-10 0,1-2-70 0,-2 5-20 0,2-1-61 16,1 2-88-16,-2 1-43 0,3 2-135 0,-1 0-203 16,3 0-435-16,0 3 49 0,1-3 148 15,3 3 44-15,2-4 53 0,1-1 87 0,2 6 73 16</inkml:trace>
  <inkml:trace contextRef="#ctx0" brushRef="#br2" timeOffset="193987.36">4539 7763 1238 0,'-13'1'453'0,"1"3"-20"16,2-3-80-16,1 2 11 0,-1 1-62 15,2-1-8-15,-2 0-46 0,3 1-15 0,0-2 0 16,0 3-23-16,0 0-28 0,4-2-46 0,-4 2 12 16,4 2-20-16,1-1-26 0,2 0-4 15,0 0-16-15,0 1 12 0,5-1-22 0,-2 1-11 16,4 2 14-16,0-1-19 0,1 0-13 0,1-1-2 16,1 4-10-16,-3-5-3 0,4 5 34 15,-4-4-21-15,3 1-26 0,-4-2 18 16,-1 0 16-16,2 1 23 0,-1-1 25 0,-6-1-15 0,2 1 41 15,-2-1-100-15,-2-2 20 0,-1 2 19 16,-2 2-19-16,-3-1 11 16,0-3-26-16,-2 0 8 0,-2 2-8 15,1 0 8-15,-1-2-8 0,-2 2-25 0,2-4 17 0,-1 3-20 16,0-1-33-16,-2-3-23 0,4 3-31 16,-1-2-31-16,1 0-15 0,-2-1-23 0,3 0-39 15,0 0-64-15,3 0-84 0,1-1-171 0,1 0-231 0,0-2-97 16,5 3 7-16,-3-7 116 15,3 5 61-15,1-5 108 0</inkml:trace>
  <inkml:trace contextRef="#ctx0" brushRef="#br2" timeOffset="194214.22">4716 7651 1267 0,'2'-3'407'0,"1"0"-6"0,0 1-27 0,-3 2-33 0,0 0 60 0,0 0-47 0,5 8-6 0,-5-3 18 15,0 4-49-15,0 1-43 0,0 1 0 16,0 2-59-16,-3 1-18 0,1 4-13 16,0 0-2-16,-1 1-31 0,2 1 16 0,-3-1-24 0,1 1-28 15,0-1-20-15,1-1-31 16,-1 0-21-16,1 0-35 0,-1-4-46 0,1 1-6 0,-1-2-46 16,1 0-58-16,2-3-34 0,-3 0-12 15,3-3-108-15,0 2-139 16,0-4-582-16,3 0 155 0,-1 0 3 0,-2-4 145 0,0-1 75 15,5 4 75-15,-5-4 45 0</inkml:trace>
  <inkml:trace contextRef="#ctx0" brushRef="#br2" timeOffset="194729.87">4619 7861 1425 0,'0'0'346'0,"-5"0"-19"15,5 0-37-15,0 0 12 0,0 0-36 16,0 0-20-16,0 0-24 0,0 0-4 16,0 0-36-16,20 2 7 0,-10-2-40 0,0 0 32 15,3-1-45-15,0-1-13 0,2-1-11 0,-2 1-12 16,1-2 18-16,0 2 10 0,-1-1 74 16,0 0 34-16,-2-1-49 0,-1 1 20 15,-2 0 23-15,-1 2-104 0,1 0-24 0,-3 0 3 0,0-2-13 16,1 1-7-16,-6 2 2 0,7 0-3 15,-7 0-45-15,0 0 1 0,5 7-4 16,-3-3 13-16,-2-2 2 0,0 4 5 0,0-1-2 16,0-2-41-16,0 2-3 0,0 1 11 0,-2 1-14 15,2-3-14-15,2 1 12 0,-2-2 13 16,1 3-18-16,1-1 0 0,3-1 20 0,-3-1-38 16,1-1 6-16,3 1-1 0,1-1 20 0,1-2-19 15,-1 0 27-15,1-2-30 0,2-1 4 16,-2 0-1-16,0-2 4 0,3 1 34 0,-4 1-34 31,3-3 16-31,-3 4 22 0,0-2-17 0,0 0-10 0,-2 1-1 0,0 2 6 0,0 0-13 16,-5 1 0-16,10 2 7 15,-7 0 6-15,2 4 5 0,0-1 22 0,-2 2-47 0,-1-1-1 0,-1 0-28 16,1 5-33-16,0-3-36 16,-2-1-41-16,3-1-31 0,-3 1-56 0,0 0-77 15,0-2-217-15,0 1-503 0,2 0 99 0,-1-2 78 16,3-2 59-16,-1-1 62 0,-3-1 95 15,8 0 89-15</inkml:trace>
  <inkml:trace contextRef="#ctx0" brushRef="#br2" timeOffset="195171.03">5377 7624 1177 0,'1'-2'417'0,"-1"2"-30"0,0 0-11 16,0 0 44-16,0 0-47 0,-3 17-24 15,1-6-35-15,-1-1-45 0,0 3-36 0,1 2-15 0,-1 4 12 16,-2 0-48-16,2 0-31 16,-2 0 0-16,1 3-31 0,1-3-33 0,3-1 21 15,-3-1-55-15,1 0 1 0,2-4-15 0,0 0 17 16,0-2-38-16,2 0 10 0,-2-3-2 16,0-2 2-16,0 1-13 0,-2-3 36 0,2-4 0 15,0 5-20-15,0-5-3 0,0 0 39 16,0 0-18-16,0 0-24 0,-11-9 47 0,6 2-11 15,-3 5-17-15,1-2-8 0,-1-2 20 16,1 3-2-16,-4-1-36 0,1 4-3 0,0-1 34 0,-3 2-3 16,0-1-95-16,0 4 23 15,-2-1-12-15,2 1 7 0,-2 1 19 0,4 0-6 16,1 0 2-16,-1 1 9 0,2 3-1 16,4-2 8-16,-1 0 18 0,2-1-23 0,0 1 5 0,4-1 10 15,0-1 31-15,3-1-41 16,2 1-5-16,1 0 23 0,1-2-34 0,3 0-35 0,1-1-15 15,2-2-4-15,1 0-40 0,0 0-51 0,3 0-28 32,-1-2-39-32,4 0-133 0,-7-1-123 0,11-3-506 0,-4 4 135 0,-2-2 87 15,2-3 36-15,1 4 66 16,-4-1 72-16</inkml:trace>
  <inkml:trace contextRef="#ctx0" brushRef="#br2" timeOffset="195946.41">5491 7973 1249 0,'0'0'478'15,"4"-6"-135"-15,-1 2-5 0,2-3-23 0,0 2-13 16,0 0 21-16,0 0 43 0,-1-1 2 0,0-2 11 15,-1 0-64-15,0 0 15 0,-1-1-123 16,0 1-25-16,-2 2 20 0,0-1-12 0,-2 1-26 16,2 1-39-16,-2-1-7 0,-1 4 7 0,3 2-35 15,-11-1-1-15,11 1 11 0,-12 3-18 16,4 3-18-16,1-1 5 0,-1 1-18 16,0 2-12-16,0 0-11 0,1 0-28 0,1 0 0 0,-1-2-15 15,4 1-8-15,1-1 17 0,-1 0-9 16,3 1-21-16,0-3 18 0,3-2-5 31,1 2 18-31,2-1-5 0,-3 0-13 0,4-1-3 0,1-2 11 0,-1 0 15 0,-7 0 3 0,16-1 20 16,-8 0 0-16,-1-2 2 15,3 1 16-15,-2 1 5 0,2-3-23 0,-2 4 75 16,0-3-70-16,0 0-8 0,-3 3 8 0,3 0-5 0,-3-2 11 16,-5 2-22-1,13 2 17-15,-8-1 9 0,2 1 8 0,-4 1-18 0,2 0-23 0,0-1 18 16,-3 0-7-16,2 3-6 0,0-1 5 0,-1-2 19 15,0 2-32-15,1-2 8 0,-1 2 8 16,0-1 0-16,-1-2 10 0,0 2-5 0,-2-3 47 16,3 3-22-16,-3-3 85 0,5 3 18 15,-5-3-69-15,0 0-8 0,0 0-27 0,11-6-47 16,-6 2 0-16,-2 3 0 16,1-1 0-16,2-2 0 0,-2 3 0 0,-4 1 0 0,8-2 0 15,-2 0 0-15,-6 2 0 0,10-1 0 0,-10 1 0 16,10 3 0-16,-10-3 0 0,8 1 0 15,-8-1 0-15,7 2 0 16,-7-2 0-16,6 0-262 0,-6 0-73 0,7 0-80 16,1-3-107-16,0 0-66 0,4-1-459 15,2-4 69-15,3 2 87 0,-1-4 57 0,4 0 127 0,-2 11 90 16,7-20 535-16,-6 1 272 0,-3 4 81 0,-1-1 49 0,0 0-33 16,-2-4 12-1,-1 0 60-15,2 1 17 0,-2 2-51 0,-4 2-18 0,2 3-18 16,-5 0 39-16,1-1-31 0,-2 6-31 0,-1 1-5 0,0-1-36 15,-3 5-10-15,0 1-28 0,0 0 13 16,2 11-49-16,-7-4-15 0,3 2-14 16,-1 1-11-16,-2 5-22 0,2 2-61 15,-2 1-64-15,0 1-71 0,0 0-65 0,-1 0-73 0,2 0-224 16,-1-2-524-16,0-3 44 0,1 0 106 16,0 0 60-16,1-4 92 0,0 0 72 0,1-4 50 15</inkml:trace>
  <inkml:trace contextRef="#ctx0" brushRef="#br2" timeOffset="196283.84">5898 7900 1530 0,'0'-1'494'0,"-2"-4"-23"16,2 5-100-16,5-6-7 0,2 3-65 0,1-2-25 0,2-1-64 16,6 0-31-1,2-1-25-15,2-3-13 0,4 2-62 0,0-2-5 0,2 2 8 0,0-3-26 16,-3 2-9-16,0-1 9 0,-5 3 0 15,0 1 6-15,-5 0 19 0,-1 2 17 0,-3 0-1 16,0-1 21-16,-1 3-36 0,-3-1 7 0,1 2-30 31,-6 1 8-31,5 0-3 0,-5 0 28 0,7 6-31 0,-6-2 16 0,1 1 48 0,1 4-20 16,-1-2 18-16,-2 4 13 0,2-2 18 0,-2 6 43 16,0-5-72-16,0 6 41 31,0-3-68-31,-2 0-11 0,2 0 125 0,-5-1-48 0,2 1 41 15,-4-2-54-15,2-3-18 0,-3 3-107 0,3-3-26 0,-3-1 0 0,0 0 0 0,0-3 0 16,1 1-210-16,4-4-169 0,-2-1-323 16,5 0-475-16,0 0 92 0,0 0 112 0,11-11 141 15,-1 5 82-15,5-1 33 16,3-1 118-16,0 1 21 0</inkml:trace>
  <inkml:trace contextRef="#ctx0" brushRef="#br2" timeOffset="196385.83">6508 7870 1400 0,'5'-2'476'0,"0"0"-46"0,-1-1-36 15,0 2-56-15,-2-4-87 0,-2 5-146 0,6-6-274 16,-3 2-615-16,-1 1 45 0,3 1 96 16,-2-2 21-16</inkml:trace>
  <inkml:trace contextRef="#ctx0" brushRef="#br2" timeOffset="-121469.34">6554 7652 1236 0,'0'0'322'16,"0"-4"-12"-16,0 4-16 0,0-6-2 16,0 6-23-16,0-4-16 0,0 4 9 0,1-6 47 15,-1 6-20 1,0 0-30-16,0 0-36 0,0 0-1 0,0 0-14 0,0 0-1 0,0 0-48 0,0 0 15 16,0 0-36-16,-3 16 18 0,0-9-30 15,0 2-32-15,1 2 21 0,-5 0-89 16,4 2-13-16,-3 1 7 0,0 0-30 0,0 3 8 15,-2-3 17-15,1 4-10 0,-1-3 5 16,2 0 3-16,-1-1 15 0,-1 2-12 0,3-3-19 16,0-2 26-16,2-1-5 0,-2 0-10 15,3-2-16-15,-1 1 3 0,0-1-5 0,3 0-8 0,0-3 23 16,0 1-10-16,1-1 5 0,1-2 23 16,3 2-8-16,0-3 8 0,1 4-7 0,1-6-9 15,1 3 6-15,0-1-13 0,2-2 3 16,0 1-24-16,0-1-20 0,0-1-23 15,-1 1-28-15,3-1-26 0,-2 0-10 0,1-1-38 0,-1 2-6 0,0-1-32 16,-2 1-32-16,0-2-74 0,-1 1-40 16,1 0-531-16,-3 1 34 0,-5 0 107 15,10-3 29-15,-7 3 86 0</inkml:trace>
  <inkml:trace contextRef="#ctx0" brushRef="#br2" timeOffset="-121239.49">6518 7843 796 0,'0'0'296'0,"0"0"19"0,6-7-48 16,-2 3-27-16,4 3-33 15,0-3-25-15,5 1-13 0,0-2-25 0,0 1-1 16,2-1 5-16,3 0-20 0,-2-4-38 0,1 4-26 15,1-2-15-15,-2 0-21 0,-1 1-72 16,0-2-30-16,-4 2-54 0,1 1-41 0,-2 1-115 16,-1-1-446-16,-2 0 44 0,-2 0 64 15</inkml:trace>
  <inkml:trace contextRef="#ctx0" brushRef="#br2" timeOffset="-121059.64">6595 7626 1008 0,'-5'-2'294'0,"5"2"-56"0,0 0 11 0,0 0-45 15,8-5 6-15,-2 4-30 0,4-2-29 0,2 1-16 16,4 2-43-16,-1-2-58 16,1-2-45-16,6 4-86 0,-1-2-115 0,-1-3-113 0,3 1-377 15,5 1 34-15,1-3 123 0</inkml:trace>
  <inkml:trace contextRef="#ctx0" brushRef="#br2" timeOffset="-120901.13">7080 7542 972 0,'0'0'402'0,"-3"7"-18"0,3-7-100 15,-5 8 5-15,3-1-33 0,-4 5-7 0,1 0-45 16,1 0-27-16,-2 3-5 0,3 2-14 0,-4 2-7 16,2 0-23-16,-3 5-43 0,0-1-32 15,3 3-19-15,-3-5-62 0,0 3-6 0,1 1-30 16,0-5-84-16,1 4-113 0,-4-5-159 15,5-1-399-15,0-4 97 0,2-1 77 16,1-3 38-16</inkml:trace>
  <inkml:trace contextRef="#ctx0" brushRef="#br2" timeOffset="-120667.43">6880 7752 1031 0,'-3'-2'351'0,"3"2"-31"0,0 0 79 0,0 0-30 15,0 0-44-15,16 7-49 0,-6-1-7 0,0 0-36 16,1 1-5-16,4 4-26 0,0-3-105 16,-2 3-7-1,3 0-19-15,2 1 4 0,-1-1-40 0,1 1-14 0,0-1-24 0,-2-1-4 16,-1-2-52-16,1 3-18 0,-3-3-41 0,1-1-48 16,2 2-41-16,-5-4-136 0,4 0-497 0,-2 1 87 15,0-1 42-15,2-3 125 0</inkml:trace>
  <inkml:trace contextRef="#ctx0" brushRef="#br2" timeOffset="-120282.61">7842 7505 1213 0,'-3'-4'404'0,"3"4"-58"0,0 0-60 0,0 0-53 0,0 0-59 0,0 0-84 0,0 0-69 16,-8 12-165-16,9-6-549 0,-1 0-1 0,2 5 69 15,-2-3 60-15</inkml:trace>
  <inkml:trace contextRef="#ctx0" brushRef="#br2" timeOffset="-120112.88">7867 7813 1254 0,'-3'5'458'0,"1"-4"-43"0,-1 3-106 0,1-2-42 16,2-2-35-16,-3 4-55 0,3-4-62 15,0 0-66-15,0 0-113 16,0 0-210-16,-8-6-512 0,8 6 41 0,1-9 128 0,-1 3 39 16</inkml:trace>
  <inkml:trace contextRef="#ctx0" brushRef="#br2" timeOffset="-119919.73">7997 7604 888 0,'0'0'376'0,"16"3"26"0,-13-3-34 0,5 0-25 16,-1 0-41-16,1 1-28 0,2 2-25 15,0-3-96-15,3 0-38 0,0 0-74 0,-1 0-87 16,2-4-210-16,-1 5-568 0,-1 2 100 0,-1-3 97 16,1 0 38-16</inkml:trace>
  <inkml:trace contextRef="#ctx0" brushRef="#br2" timeOffset="-119269.29">9482 7581 1236 0,'0'0'376'0,"-2"-5"49"0,2 5-56 0,0 0-19 0,0 0-27 0,0 0-37 16,0 0-17-16,-3 18-10 0,3-12-134 0,0 7 3 0,3 0-20 16,-3 2-21-16,2 0-8 0,-1 4-5 15,1-1-38-15,0 0-46 0,1-3 2 16,2 2 1-16,-3-3-29 0,1-2-3 0,2 1 9 16,-2-2-6-16,2-2 8 0,0 0-3 0,0-1 8 15,-2-3 18-15,2-2-3 0,-2 0 29 0,1-1 12 16,-4-2 3-16,11-5 23 0,-6 2 12 15,-2-3-2-15,2-1 11 0,0-3 22 0,0-2-17 16,-2-1 78-16,2-2-12 0,-3-3-7 16,1-2-27-16,-1-2 4 0,1-2-4 15,2-1-22 1,-3 2-23-16,4 0 20 0,-4 3-18 0,1 0 18 0,2 5-22 0,-3 0-30 0,-1 3 1 16,1 1-71-16,1 3-4 0,-1 2-1 15,-1 2-70-15,1-2-21 0,0 5-22 0,-2 1-57 16,0 0-164-16,0 0-619 0,6 7 72 15,-4-1 64-15,-2 0 140 0,0 0 46 0,0 0 68 0</inkml:trace>
  <inkml:trace contextRef="#ctx0" brushRef="#br2" timeOffset="-119039.45">9728 7663 1215 0,'3'7'435'0,"-3"3"-45"0,0-1-40 16,-3 1-14-16,6 2-124 0,-6-2-20 16,3 0-5-16,0 3-26 0,0 0-43 0,-2-2-18 15,2 1-16-15,0-3-48 0,-2 3-21 0,1-2-76 16,1-2-44-16,0 0-131 0,0-3-50 0,1 1-510 16,-1-1 33-16,0-1 136 0,0 0 61 15</inkml:trace>
  <inkml:trace contextRef="#ctx0" brushRef="#br2" timeOffset="-118910.02">9762 7613 872 0,'-3'-6'287'0,"3"4"-34"0,0 2-68 0,-3-6-62 0,4 1-126 15,-1 5-127-15,2-5-139 0,3 3-351 16,-2-2 44-16</inkml:trace>
  <inkml:trace contextRef="#ctx0" brushRef="#br2" timeOffset="-118580.45">9882 7622 778 0,'0'10'317'0,"0"-3"-33"0,-2 5-13 0,4-3-45 15,-2 1-11-15,0 1-23 16,3 1-8-16,-1-3-38 0,4 2-8 0,-2 0 6 0,4-4-17 0,-2 0-11 15,1-1-14-15,3 0-15 0,0-2 10 0,1-2 19 16,-3-1 27-16,0-1-10 0,2-1 97 0,-2-1-2 16,-1-2-84-16,0-2 19 0,-1 1-9 15,-1-3-18-15,0 1 79 16,-3-4 2-16,1-1 6 0,-3 3-31 0,-2-3-41 0,1 0-10 0,-1-1 12 16,-3 3-17-16,2-1-13 0,-2 3-29 15,2 1 11-15,-1 1-15 0,-2 0-29 0,1 4 1 16,0 2 17-16,5 0-30 0,-13 2-8 15,6 2-26-15,-1 4 3 0,1-1-33 0,-1 3-60 16,0-1-32 0,3 1-29-16,-1 0-12 0,2 0-24 0,4-2-12 0,-3 1-41 0,3-2-36 15,0-1-90-15,3-4-74 0,1 4-519 16,2-3 58-16,1-2 123 0,1-1 11 0,2-3 50 0,1 1 111 16</inkml:trace>
  <inkml:trace contextRef="#ctx0" brushRef="#br2" timeOffset="-118323.33">10259 7311 1236 0,'3'-11'399'0,"-1"5"-33"0,-1 0-15 15,1 4-26-15,-2 2-26 0,0 0-17 16,0 0-26-16,0 0-36 0,-3 18-10 0,1-7-15 16,-3 4-16-16,4 3-31 0,-3 2 3 0,1 2-23 15,0 4 13-15,1 2-36 0,-1-3-18 16,-2 1 67-16,3 3 4 15,-1-2-22-15,3-1-52 0,-3 1 8 0,3-5-17 0,-2 0-60 0,2-1-17 16,0-2-47-16,0-2-43 0,0-2 17 16,0-3-47-16,0 0-40 0,0-1-27 0,0-3-103 15,2-4-117-15,1 1-505 16,-3-1 44-16,3 0 86 16,-1-2 93-16,-2-2 49 0</inkml:trace>
  <inkml:trace contextRef="#ctx0" brushRef="#br2" timeOffset="-117466.95">10569 7645 1446 0,'-2'-7'471'0,"2"7"-49"0,-2-4-94 0,2 4-11 0,-3-3-17 15,3 3-34-15,-5-5-20 0,5 5-3 16,-5 0 51-16,5 0-15 0,0 0-2 0,-16 6-19 15,11-2-38-15,-3-2 31 0,1 3-156 0,2 1-1 16,-1-3 4-16,-2 2-22 16,1 1 9-16,4-1-16 0,-2 0 0 0,0 1 13 15,0-3-5-15,2 3 0 0,-1-1-34 0,3-2-25 16,1 0-10-16,0-3 12 0,0 6-2 0,0-6 8 0,3 2-24 16,-3-2 6-16,10-1 7 15,-4-3-10-15,1 3 6 0,1-3 12 0,1 1-13 16,-1 2-10-16,0-3 3 0,0 3 4 0,-1-1 3 31,1-1-12-31,0 2-11 0,-3 1-2 0,-5 0 17 0,15 1-4 0,-9 2-24 0,1-1 13 16,-1-2-35-16,-1 1-3 0,2 0-6 0,1 2 16 15,-3-2 16-15,3-1-21 0,0-1 20 0,2-2 8 16,-2 1 8-16,2-4 5 16,2-1 38-16,-1-3 21 0,-1 1-26 0,0-1 33 0,0-2 1 15,-1-1 56-15,1-1-42 0,0-5 19 16,0-1 13-16,0-4-42 0,-2 1 13 0,0 0 29 0,2-10-29 15,0 7-4-15,-3 7-22 0,-1 0-4 16,-1 4 15-16,0 2 38 16,-2 2-15-16,-1 1-43 0,1 6 15 0,0 1 2 0,-3 3-40 15,0 0 40-15,2 13-23 0,-4-2 21 16,2 6-5-16,-3 1 0 0,0 3-8 0,-1 3-38 16,3 3 10-16,-1-2-18 0,2-1-49 0,0 0-2 15,0-3-29-15,0 1-66 16,2-3-53-16,1-3-3 0,-1 0-75 0,1-3-28 0,0-1 19 15,1-5-32-15,2 1-25 0,-1-2-61 0,0-1-90 16,0-5-440-16,0 2 94 0,0-2 21 16,-5 0 84-16,8-6 57 0,-3 2 89 15</inkml:trace>
  <inkml:trace contextRef="#ctx0" brushRef="#br2" timeOffset="-117276.27">10780 7508 1075 0,'-6'-1'407'0,"6"1"-136"0,-5-1-2 0,5 1-39 0,0 0 16 0,0 0-16 16,0 0-23-16,0 0-7 0,0 0-13 16,0 0-13-16,0 0 0 0,21 1-41 0,-13-2 0 15,2 0-20-15,3-3 2 0,0 4 49 0,2-3-13 16,5 0-54 0,1-1-74-16,0-1-20 0,-1 0-52 0,6 0-61 0,0 0-128 15,-9 2-143-15,7-2-497 0,-2 3 56 0,1-1 100 16,-2 2 146-16,-3 1-5 31</inkml:trace>
  <inkml:trace contextRef="#ctx0" brushRef="#br2" timeOffset="-116902.5">11144 7605 1044 0,'0'-7'412'0,"0"1"69"0,0 0-53 0,0 1 7 16,0 0-102-16,0 5-21 0,0-6-20 0,-2 0-21 15,2 6-28-15,-4-2-30 0,4 2-11 16,0 0 5-16,-10 1-40 0,10-1 1 0,-7 5-47 15,-1 0 14-15,3-1-17 0,0 4-26 0,-1-4 3 16,2 5 66-16,-2 0-25 0,4-3-13 16,-1 2-26-16,1 1-66 0,-1-2 23 15,3 1-70-15,0-3-30 0,5 1 0 0,-2 0-54 16,2-1-28-16,2-3-41 0,1 0-38 16,3 1-108-16,-1-3-100 0,2-1-537 0,4-3 61 15,-1 0 80-15,1 0 92 16,2-2 35-16,0-3 67 15</inkml:trace>
  <inkml:trace contextRef="#ctx0" brushRef="#br2" timeOffset="-116557.8">11493 7376 970 0,'0'-1'394'0,"0"1"-36"0,0 0-10 0,0 0 67 0,-8 11-54 16,5-3-10-16,-2 0-31 0,2 4-54 15,-2 0-21-15,3 1-7 0,-3 5-5 0,0-1-35 16,2 1-42-16,-3-2-10 0,4 1-39 0,-2 2-25 15,0 0-38-15,4-6 19 0,-2-1-57 0,2 0-1 16,0-1 0-16,-2-3 0 0,2-1 13 16,0-1-8-16,-1-4-7 0,-1 2 20 15,2-4-8-15,-5 1 8 0,5-1 13 0,-8 2-3 0,8-2 47 16,-11-3-42-16,4 3 18 0,7 0 36 16,-13 0-38-16,5 0 23 0,8 0 7 0,-12 0-68 15,4 4 7-15,1-1 8 0,1 0 7 0,1 0-41 16,2 1 57-16,-1-1-26 15,1 2-2-15,3 1 17 0,-3-2-17 0,6 0 23 0,0 1-24 16,1-1-15-16,0-2-20 16,2 2-15-16,3-2-11 0,1-2-61 0,0 3-24 15,3-3-48-15,-3-1-76 0,3 1-98 0,0-2-190 16,-1 2-424-16,2-2 46 0,-2-2 130 0,-1 4 80 16,-1-5 91-16,2 4 60 0</inkml:trace>
  <inkml:trace contextRef="#ctx0" brushRef="#br2" timeOffset="-115872.18">12941 7389 1238 0,'0'0'423'0,"0"0"-42"0,-8 12-43 16,8-6-39-16,-2 5-17 0,-1 1-26 0,1 1-41 15,1 1-10-15,-1 5 5 0,0 0-52 16,-1 3-37-16,2-1-6 0,-3-2-54 15,4 4-27-15,-3-4-27 0,1 1 24 0,1-1-8 16,1-6-5-16,0 1-8 0,-2-4 34 0,2 1 7 16,2-3 33-16,-4 0 32 0,4-3 6 15,-2 1 19-15,0-3-3 0,0-3-81 0,3 4 43 16,-3-4-21-16,0 0-5 0,11-13 8 0,-6 7 5 16,3-1 15-16,-1-1-53 0,3-3 25 15,-2 5-25-15,2-5 20 0,3 4 0 0,-2 1-20 16,1 0 2-16,0 4-15 0,-1-1-5 15,-3 1 2-15,2 2 5 0,-2 0 1 0,0 4-21 16,-3-1 23-16,2 3-11 0,-6-2 16 16,1 3 80-16,-2-1-3 0,-2 1-36 0,-1 1 2 15,-2 1 14-15,-3 1-32 0,1 0 32 0,-4-3-62 16,3 3 25-16,-7-2-35 0,4 1-8 16,-1-3 3-16,1 2-67 0,-1-5-26 0,-1 3-17 15,6-2-44-15,-4-2-16 0,6-2-38 0,0 3-35 16,-1-3-19-16,6 0-50 0,0 0-52 0,-4-5-108 15,4 5-155-15,2-9-359 16,3 5 64-16,3-6 151 0,2 1 59 0,3-1 49 0,2-3 66 16</inkml:trace>
  <inkml:trace contextRef="#ctx0" brushRef="#br2" timeOffset="-115554.08">13207 7563 1018 0,'0'4'295'0,"0"-1"-37"0,0 4-12 0,1 3-26 15,1-3-48-15,-2 4 17 0,3-3-56 0,-1 3-2 16,1-3-3-16,2 5-16 16,0-7-17-16,0 1-11 0,3 3-4 0,-3-7-3 0,3 3-3 15,0-2-15-15,2-3 25 0,-3 0 13 0,4-1-48 16,-1-1 12-16,-3 0 88 0,1-5-6 16,-2 4 18-16,1-2 31 0,-2-2-38 15,-2-1 28-15,-1 2-29 0,-2-3 29 0,0 1-33 0,-2 0 27 16,-1 0-43-16,-2 2 16 0,2 1-14 15,-4-2-42-15,-1 4-9 0,1-1 18 0,-1 3-35 16,0 2-16-16,-2 0-5 0,0-1-30 16,2 6-24-16,-3 0-41 0,4-1-45 15,-3 1-32-15,2 1-10 0,0 0-25 0,3-2-95 16,2 1-112-16,1-1-618 0,0-1 101 16,2-2 58-16,2 1 74 0,-2-4 88 0,8 1 50 15</inkml:trace>
  <inkml:trace contextRef="#ctx0" brushRef="#br2" timeOffset="-115275.58">13597 7288 1420 0,'0'-5'507'0,"3"3"-31"0,-3 2-51 0,0 0-28 0,0 0 7 16,-3 13-48-16,3-2-3 0,-2 2-84 0,0 3-8 15,-1 1-92-15,-2 2-21 0,2 5-2 0,-3 0-28 16,2 0 0-16,-4-1-8 0,3 0-26 16,-2 3 19-16,-7 4-52 0,7-4 3 0,1-4-21 15,2-3-13-15,-2-3-35 0,1 2-31 0,0-2-13 16,3-3-18-16,-1-1-7 0,0-1-42 0,1-1-27 16,0-3-8-16,2 2-54 15,-1-2-31-15,2-4-79 0,1 1-113 0,-2-2-389 16,5-1 6-16,-5-1 48 0,8 0 84 0,-8 0 80 15</inkml:trace>
  <inkml:trace contextRef="#ctx0" brushRef="#br2" timeOffset="-114857.59">13800 7351 1075 0,'0'0'394'0,"0"0"-36"0,-5 16-15 0,3-9-41 0,-1 5-23 15,-2-4-2-15,2 5 53 0,-2 0-36 0,0-2-2 16,0 2-31-1,2 0-41-15,-2-1-7 0,2 1-14 0,-1 0-14 0,0-2-34 16,0 2-90-16,4-5-7 0,-3 1-18 0,3-1 12 0,-3-1 14 16,1-2 2-16,2 1-16 15,0-2 29-15,0-4-10 0,0 4 20 0,0-4-3 16,7 0-2-16,-7 0-26 0,0 0 14 0,11 0-6 16,-6 0-3-16,2 0-20 0,-7 0 13 0,13 0-13 15,-5 5 20-15,0-3-46 0,0 3 14 16,-1 1 14-16,4 0-22 0,-4-2-29 0,1 0-28 15,0 1-25 1,0 1-55-16,-1-2-17 0,0-2-13 0,-1 3-48 0,-1-3-29 16,3 2-17-16,-3-2-103 0,-3-2-167 0,1 2-445 15,-3-2 90-15,0 0 87 0,0 0 56 0,0 0 100 16</inkml:trace>
  <inkml:trace contextRef="#ctx0" brushRef="#br2" timeOffset="-114588.52">13390 7482 1003 0,'0'0'463'0,"0"0"-48"0,0 0-87 16,0 0-6-16,0 0-15 16,0 0-30-16,28 2-21 0,-15 0-39 0,2 0 1 0,3-2 56 15,0 0-18-15,5 0-26 0,3 1-33 0,-1 1-23 16,3-2-20-16,1-2-11 0,4 1 13 0,-2 1-48 15,2 0-29-15,-2-1-12 0,-6 0-49 16,1-3-39-16,-5 4-38 0,-1 0-48 0,-5-1-19 16,1 2-79-16,-4-2-171 0,-3 2-573 0,1-1 94 15,-2 0 33-15,-1 2 100 0,-2-2 64 16,-5 0 98-16</inkml:trace>
  <inkml:trace contextRef="#ctx0" brushRef="#br2" timeOffset="-114117.24">14725 7276 1359 0,'0'0'391'0,"0"0"-30"16,0 0-8-16,0 0-15 0,-8 18-43 15,4-6-37-15,-2 1 19 0,2 4-39 0,-2-1-49 0,2 2 6 16,-2 5-49-16,-2-3-29 16,1 3-4-16,-1-2-39 0,0 1-33 0,3-3-23 15,0 0-28-15,0-4-29 0,0 2-35 0,2-2-23 0,1 1-36 16,-1-8-62-16,1 4-71 15,1-4-105-15,1 2-461 0,0-4 46 0,1 0 95 16,1-2 56-16,1 0 111 0</inkml:trace>
  <inkml:trace contextRef="#ctx0" brushRef="#br2" timeOffset="-113538.33">14872 7254 1021 0,'0'0'330'0,"0"0"-10"0,0 0-36 0,2 13-7 0,-4-4-19 16,-1-2-22-16,0 4 17 0,1 2-38 16,0-1 0-1,-4 1-3-15,1 4-30 0,2-2-23 0,-2 2-36 0,0-2-3 0,-2 2-10 0,1-4-28 16,4 0 13-16,-4 4-21 0,2-5 0 0,1-1 3 16,0-1-23-16,1-1-3 0,0-1 16 15,-1-1 9-15,0-1-7 0,3 0 105 16,-2 0 8-16,0-1-18 0,2-3 0 15,0-2-44-15,-1 6 18 0,1-6-33 0,3 3-7 0,-3-3 9 16,7 4-30-16,-4-4-26 0,-3 0 31 0,12 0-79 16,-12 0 7-16,16-2-54 0,-8 0 52 15,2-1-8-15,-2 1 0 0,2-2-18 0,0-1 18 16,0 2-15-16,1-4 4 0,-1 2 27 0,-2-3-19 16,2 0 11-1,-3 4 5-15,-1-3-11 0,-1 3 6 0,0-1 5 0,-2 2-3 16,-1 0 8-1,-2 3-18-15,6 0 56 0,-6 0-30 0,0 0-16 0,0 10 51 0,0-5 27 16,0 2-7-16,-3 1 4 0,2-1-21 0,1 1 2 16,0 1-12-16,0-1-23 0,0 0-36 0,1 1-54 15,2-1-31-15,-1-3-22 0,-2 0-6 0,5-1-36 16,-2 0 1-16,1 0-44 0,-1-2-39 16,2-1-84-16,-5-1-171 0,3 0-523 0,-3 0 80 15,0 0 97-15,8-7 100 16,-6 2 48-16,-2 2 90 0</inkml:trace>
  <inkml:trace contextRef="#ctx0" brushRef="#br2" timeOffset="-113316.24">14548 7399 1351 0,'0'0'397'0,"0"0"-16"16,0 0-25-16,0 0-18 0,0 0-18 0,21 3-41 0,-8-3-8 15,2-1-10-15,6 1 64 16,4-2 0-16,6 0-140 0,0-1-27 0,12-3 27 0,-2 1 42 16,-5 3-60-16,-5-4 20 0,-2 4-113 0,-4-2-48 15,1-1-26-15,-4 3-90 16,-1-2-59-16,0 2-71 0,-1-3-174 0,-4 5-594 16,2-2 79-16,-3 1 129 0,1-2 43 15,2 3 56-15,-3-3 82 0</inkml:trace>
  <inkml:trace contextRef="#ctx0" brushRef="#br2" timeOffset="-112004.66">15503 7300 1105 0,'2'7'464'0,"-2"1"-37"16,0 3-30-16,2-1-34 0,1 3-25 16,-3 0-67-16,0 0-2 0,0 1-20 0,0 1-27 15,0-1-20-15,0-1-7 0,0-1-31 0,0 0 7 16,-3-4-25-16,3 1 10 0,-2 1-20 0,0-4 28 16,1 1 82-16,-1-1 12 15,-1-2-61-15,1-2-10 0,1 2-26 0,1-4-20 0,0 0 43 16,0 0-53-16,0 0 5 0,-7-10-14 15,7 4-45-15,0-1-8 0,0 0 3 0,2-5-31 16,3 4-5-16,-2-3-23 0,3-1-36 0,-2 0-31 16,2 3-43-16,1-1 2 15,1 0-46-15,0 1-13 16,2 3-7-16,0-1 10 0,0 1-5 0,1 1 15 0,-3 2-28 16,2 0 8-16,0 1 23 0,-2 2 15 0,-1 2-2 0,4 1 30 15,-4-1-10-15,-1 4 18 0,1-2-8 0,0 2 26 16,-1-2 23-16,-1 5 13 15,0-4 10-15,-2 3-3 0,2 0-2 0,0-1 30 0,0-1-19 16,-2 0 17-16,2 1 5 0,0-2-3 0,0 1 16 16,2-1 33-16,-1-3-12 15,-1 4 2-15,2-5 30 0,1 2-2 0,-3-1-12 16,1-2 20-16,2-1 25 16,-8 1 13-16,14-4 0 0,-8 3 1 0,1-4 12 0,-1 3 2 0,1-4 6 15,-2 2 7-15,-2 1-43 0,2-2 13 16,0-1-6-16,-2 0-7 0,1 4 5 0,0-2-21 15,-2-3 44-15,1 5-38 0,-1-3 2 0,1 0 23 16,-3 3-5-16,2-3 18 0,-2 5-43 16,1-6-3-16,1 4-18 0,-2 2 20 0,0-6-30 15,2 2 15-15,-2 4-13 0,0 0-45 16,3-5-11-16,-3 5 0 0,0-2 0 0,0 2 0 0,0-5 0 16,0 5 0-16,0 0 0 0,0 0 0 0,0-4 0 15,0 4 0-15,0 0 0 0,0 0 0 16,0 0 0-1,0 0 0-15,0 0 0 0,0 0 0 0,0 0 0 0,0 0 0 0,0 0 0 16,5 11 0-16,-5-7 0 16,0 1 0-16,2 1 0 0,-2-3 0 0,3 2 0 0,-2 2 0 15,-1-2 0-15,2 2 0 0,0-3 0 0,1 3 0 16,0-4 0-16,-1 3 0 0,1-1 0 16,-1 1-11-16,3-4-53 0,-2 2-23 15,2 0-5-15,0-1 31 0,1-3-6 0,1 0 13 16,-7 0 1-16,10 0 9 0,-3 0 8 0,1-2 16 15,0-3 4-15,0 4-7 0,2-4-20 16,-2 0 10-16,0 1 22 0,-1-4 4 0,3 1-4 16,-2 0 17-16,0-2-27 0,-3-1 47 0,5-3 7 15,-4 1-36-15,-1-5 11 0,3 3 18 0,-1-3-16 16,0-4 13 0,-1 2-10-16,-1-1 10 0,3-3-21 0,-3 4 14 15,-2 1-11-15,1-1 23 0,2 4 8 0,-4 3 10 0,1 1 10 0,-1 0-43 16,-1 2 25-16,-1 2-9 0,0 3-9 15,0 0 8-15,0 4-28 0,0 0 5 0,0 0 3 16,-14 11-16-16,9-5 31 16,-2 5-5-16,2-2 3 15,-3 8-19-15,0-3-12 0,3 4 31 0,-2 0-19 0,1 1 24 0,3 0-39 16,-1 0 51-16,1-2-40 0,3-2 22 0,0 2-43 16,3-4 0-16,-1 0 3 0,1 0 15 15,2-1-8-15,0 0-28 0,3-4-3 0,0 1 14 16,2-4-1-16,0-2 15 0,0 1-17 0,1-2 20 15,-1-3 6-15,0 0 7 0,0-3-21 0,3 1-7 16,-3 0 10 0,0-4 0-16,-2 2 13 0,2-1 5 0,-5 3 13 0,1-3-39 15,1 1 37-15,-2 3-37 0,1-2 23 16,-4 1 9-16,3 1-22 0,-5 2-2 0,0 0 23 0,0 0-7 16,0 0-21-16,0 0 48 0,0 0-40 0,3 6 5 15,-3-6-3-15,0 5 5 0,2-1-10 0,-2-4-17 16,0 7 1-16,0-7 19 0,6 2-31 15,-2-1 2 1,-1 2 39-16,5-3-18 0,-8 0 44 0,12 0-39 0,-4 0 18 0,0 0 18 16,0 0 7-16,2 0-7 0,-2 0 10 0,2 2 18 15,-3-2 3-15,1 0 5 0,2 2 17 0,-2 1-19 16,0-2 24-16,-1 4-29 16,-1-3 14-16,2 3-53 0,-3 0 20 0,-3-3 15 0,3 3 32 15,-3 1-42-15,-1-3-8 0,-2 2-35 0,-1 1-46 16,-3 0-24-16,2 0-122 0,-4 0-51 15,2-1-80-15,-1-3-184 0,1 3-686 0,-2-1 133 16,2-2 85-16,0 0 132 0,5-2 85 16,0 0 80-16,0 0 79 0</inkml:trace>
  <inkml:trace contextRef="#ctx0" brushRef="#br2" timeOffset="-111831.9">16579 7337 1182 0,'0'0'397'0,"3"-5"-23"0,-3 5-72 16,2-1-72-16,-2 1-69 0,3-4-71 0,-3 4-95 16,0-6-195-16,0 6-540 0,0 0 29 15,2-2 117-15</inkml:trace>
  <inkml:trace contextRef="#ctx0" brushRef="#br2" timeOffset="-27101.83">3998 8314 1251 0,'-7'3'443'15,"1"-2"-21"-15,1-1-68 0,5 0-27 16,-5 2-25-16,5-2-48 16,0 0-26-16,0 0-1 0,0 0-1 0,0 0-50 0,0 0-4 15,0 0-6-15,23 3-35 0,-9-5 20 0,3 1-26 0,6 1-23 16,0-4 6-16,0 1-36 15,5 1-52-15,0-4-12 0,1 0-26 0,-1 1-41 16,10-3-41-16,-4 1-28 0,-6 0-51 0,0 0-97 16,-2 0-62-16,0 0-51 0,-3 1-474 15,-3-1 90-15,-5 1 28 0,-2 1 85 0,-5 4 61 16</inkml:trace>
  <inkml:trace contextRef="#ctx0" brushRef="#br2" timeOffset="-26650.84">3918 8415 670 0,'0'0'279'0,"0"0"0"0,0 0-18 0,11 5-12 0,-1-3-52 16,3-2 2-16,2-2-17 0,4 2-3 0,6-1-20 15,-2 1-21-15,6-1-18 0,1-2-10 16,-1 1 34-16,2 0 9 0,1-2-14 0,-1 2-4 15,-1-2-20-15,1 2-12 0,-2-2-3 0,1-2-16 16,-4 4-4-16,-3-3-11 16,-2 4-8-16,-5-1-15 0,1-1 8 15,-3 3-21-15,-2 0 21 0,-2-2-31 0,1 2 31 0,-2-1-26 0,-1-1 8 16,0 0 2-16,-3 2-17 16,3 0 12-16,-8 0-10 0,8-1-5 0,-4-1 5 0,-4 2 2 15,8-2-25-15,-8 2-10 0,5-1 20 0,-5 1-20 16,3-3-8-16,-3 3 31 15,0 0-18-15,5-3-5 16,-5 3-1-16,0 0 4 0,5-1 4 0,-5 1-15 0,0 0-12 0,0 0 12 16,0 0 5-16,0 0 0 0,3-4-5 15,-3 4-7-15,0 0 19 0,0 0-9 16,0 0-13-16,0 0 13 0,0 0 12 0,0 0-38 0,0 0 15 16,0 0-2-16,0 0-28 0,0 0-39 0,0 0-20 15,-11-4-69-15,11 4-57 16,-5-1-30-16,5 1-123 0,-5-2-443 0,5 2 105 0,0 0 43 15,-5-1 98-15</inkml:trace>
  <inkml:trace contextRef="#ctx0" brushRef="#br2" timeOffset="31776.6">9038 9325 685 0,'0'19'226'0,"0"-1"-9"0,0-1-17 15,0-2 0-15,0 2-60 0,-2 2 19 16,2 2-28-16,-2-2-11 0,2 2-23 0,-2 0 3 0,1-2-13 16,-2 0-5-16,1 3-21 0,2-2 19 15,0-1-16-15,-3 0-8 0,3-1-10 0,-2-4-10 16,2 3-18-16,0-3 20 0,-3-1-22 15,3-2-32-15,0-2-12 0,-2 2-38 0,2-3-57 16,0 1-69-16,0-2 51 0,-5 0-110 0,7-5-443 16,-2 3 65-16,0-5 50 15</inkml:trace>
  <inkml:trace contextRef="#ctx0" brushRef="#br2" timeOffset="32214.12">8995 9387 993 0,'2'-6'402'0,"4"1"-39"16,-1 1-115-16,3-2-22 0,2 2-9 16,-2-1-30-16,2 1-3 0,2 1-10 0,-1 1-33 15,2 1-15-15,0 2-6 0,2 1-5 0,0 4-20 16,1 1-3-16,1 3-5 0,-1 4-23 0,-1-1 5 15,-2 5-8-15,-2 1 6 0,-4 0-6 16,1-2 14-16,-3 4-6 0,-2-3-21 16,-3 2 11-16,-3 1 0 0,-2-2 10 0,0 2-18 0,-3 0-17 15,-2 0 30-15,-3 0-13 0,0-1-20 16,-5 4-6-16,3-1-15 0,2-8-15 16,-2 3-30-16,-1-4-40 0,3 1-40 0,1-2-28 15,-1-4-24-15,3-3-160 16,0 1-549-16,0-1 47 0,1-1 112 0,2-1 54 0,-1-3 62 15</inkml:trace>
  <inkml:trace contextRef="#ctx0" brushRef="#br2" timeOffset="33493.89">9508 9668 1128 0,'0'-2'356'0,"0"2"-3"15,0 0-38-15,-5-5-110 0,5 5-5 0,-6-3-24 16,6 3-2-16,0 0-30 0,-12 4 7 0,7 0-21 16,-3 0-7-16,0 2-3 15,1 3-33-15,-1 0-7 0,1-3 7 0,-1 7-18 0,2-2 3 16,-1-2-26-16,1 2 5 0,-1 1 15 15,2-1-35-15,2-3 0 0,0 2 89 0,3-1-30 16,0-3-16-16,0 1-2 0,0 2 7 16,3-5-12-16,0 1-24 0,2-4 31 0,0 2-20 15,0-1-5-15,3-2-14 16,-8 0-6-16,16-5-9 0,-9 2 21 0,3-3-5 0,0 0 23 16,1-2 20-16,-4-1-10 0,3 0-15 0,-1-3 18 15,0-1 48-15,-1 1-18 0,0-3-12 16,-3 5 2-16,1-3-61 15,1 3-13-15,-2-1 28 0,-2 3-21 0,2 3-12 0,-2-2 13 0,-1 5 12 16,3 1-30-16,-5 1 23 0,0 0-1 16,0 0 14-16,5 10-42 0,-2-5 9 0,-3 3-16 15,2 3-19-15,-1-1-11 0,1 3-17 16,-2-4-4-16,0 3-13 16,2-2-5-16,1-2-13 0,0 3 0 0,-1-2-13 0,3 3-31 0,0-5 34 15,1 2-33-15,-1-3-1 0,0-3-12 0,2 1 25 16,1-2-13-1,-2-2 14-15,1 0 4 0,3-2 8 0,-2-2 8 16,0-2 2-16,2 0 23 0,0-1 26 0,0-4 5 0,0 0-10 16,1-1 36-16,-1-6-1 15,0-1 37-15,0-4 10 0,-1 2-6 0,-2-4 11 0,3-10 31 0,-2 1 15 16,-1 3-11-16,-1 6 34 0,-3 1 56 16,4 1-4-16,-5 4-1 0,1 1 79 0,0 5-2 15,0 0-38 1,1 2 32-16,-1 3-55 0,-3 2-24 0,0 3-7 0,0 3-23 0,0 0 18 15,0 0-21-15,-5 14-23 0,3-1-13 16,-1 4 3-16,0 4-15 0,0 2 22 0,-1 2-9 16,-1 2-24-16,2-1-30 0,-2 2-3 0,2 0-13 15,3-3 13 1,-5 3-54-16,5-3 13 0,0-3-5 0,0 1-36 0,0-3-17 0,0-1-9 16,3 0-43-16,-1-2 0 0,0-3-13 0,1-2-15 15,0-1 8-15,2-2-52 16,0 0-28-16,-3-2-61 0,1 0-100 15,-6-5-82-15,6 3-497 0,2-4 52 0,0 2 169 0,-5-3 35 0,0 0 49 16</inkml:trace>
  <inkml:trace contextRef="#ctx0" brushRef="#br2" timeOffset="33721.48">9734 9687 1310 0,'-6'0'399'0,"6"0"-4"0,-5-3-58 16,5 3-9-16,-5-3-5 0,5 3-65 0,0 0 6 16,0 0-39-16,0 0 5 0,10-2-33 0,-4-1 24 15,2 3-40-15,-1 0-42 16,3 0-29-16,0-2 2 0,3 1-37 0,0 0-55 16,3-1-40-16,1 1-29 0,1 1-51 0,-2-2-36 15,2 1-81-15,-3 1-152 0,3-3-542 16,0 2 89-16,-3 1 52 0,1-2 109 0,-1 0 98 15</inkml:trace>
  <inkml:trace contextRef="#ctx0" brushRef="#br2" timeOffset="34194.43">10190 9625 931 0,'0'0'364'0,"-7"0"-42"0,7 0-15 15,0 0-17-15,-14 6-27 0,9-2-27 0,-3-1 15 16,1 2-29-16,0 1-12 0,-1 0-43 16,0 1 2-16,-2 0-26 0,2 3 3 15,0-2-36-15,3 0 5 0,-3 2-18 0,3-2-10 0,0-2 54 16,1 1-36-16,3 0 10 0,-2-2-17 15,1 1-14-15,2 0-17 0,0-2 17 16,2-2-20-16,-2-2 5 0,6 3-18 0,-6-3 11 0,8-2 12 16,-8 2-18-16,12-3 8 0,-4-1-7 15,-3-2-6-15,2 3 51 0,1-3-33 16,-3 0 8-16,1 1 10 0,2 0 5 0,-4-1-66 16,2 3-24-16,-1-1 14 0,0 2-11 0,0-2 3 15,0 4-14 1,-5 0 17-16,0 0 17 0,10 5-18 0,-10-4-12 0,3 4 14 15,-1 0 16-15,1 1-17 0,0 0-11 0,-1 1-11 0,0 0-32 16,-1 1-18-16,1-2 9 0,1 2-50 16,-1 0-13-1,-2-2-23-15,3 1-37 16,-3-1-40-16,3 1-2 0,-3-2-70 0,2-1-71 0,0-1-72 0,-1-1-474 0,-1-2 72 0,5 4 121 16,-5-4 2-16,5 0 87 0</inkml:trace>
  <inkml:trace contextRef="#ctx0" brushRef="#br2" timeOffset="34645.61">10336 9417 1264 0,'0'-4'392'0,"0"4"-55"0,0 0-1 16,0 0-24-16,0 0-5 0,0 0-43 0,-5 18-8 0,5-8-36 15,-3 3-5-15,1 1-54 0,-1 2 21 16,1 1-34-16,-3 2 6 0,4-2-36 16,-3 2-8-16,0 0-13 0,2-1-20 0,0-1-18 15,-1-2 0-15,1-2-34 0,1 0 11 0,-1-2-8 16,2 1 0-16,0-4 13 0,0 2 5 16,0-2 1-16,2-3 42 0,-2-3 8 0,1 4-38 15,4-6 90-15,-5 0-8 0,5 1 20 0,-5-1-43 16,0 0-11-16,16-3-10 0,-9-1-7 15,3 3-16-15,-2 0 21 0,-3-1-29 0,3-1 14 16,2 3-29-16,-2-2 26 0,2 2 10 16,-2 2-46-16,1-2 43 15,-1 0-20-15,0 0 13 0,0 5-18 0,-3-4 10 0,3 6-33 16,-3-6 23 0,0 4-11-16,-3 0-9 0,-2 1 22 0,0 0-107 0,-2 0 26 0,-3 2 4 0,2-2-30 15,-5 2 3-15,1 1 2 0,2-2-31 0,-3 1 3 16,1-2-44-16,-1 1-12 0,0-1-3 15,3-1-54 1,-3 0-18-16,1-2-25 0,4 0-56 0,-2 0-27 0,5-3-114 0,0 0-80 0,-8-6-504 16,8 6 146-16,0-3 31 0,0 3 117 15,8-7 60-15,-1 0 81 16</inkml:trace>
  <inkml:trace contextRef="#ctx0" brushRef="#br2" timeOffset="35496.35">10780 9560 1100 0,'-5'-4'312'0,"5"4"1"0,0 0-16 16,-13 4-41-16,5-1 10 0,3 1-43 0,-6 2-29 16,1-3 19-16,3 6-27 0,-3-3-32 15,-1 2-6-15,1-1-35 0,2 3 15 16,-2-3-36-16,2 1 13 0,-2 0-26 0,5 1-17 15,-2-2 17-15,1 0-2 0,1-2-18 0,5 0 15 0,-3-1-10 16,3 1-2-16,0-5-11 16,3 3-3-16,-3-3 24 0,7 2 74 0,-7-2-28 15,11-1 58-15,-11 1-40 0,13-5-11 16,-6 1 6-16,1 0-6 0,2-2-27 16,0 2-47-16,-2-1 0 0,0-1 5 0,0 3 21 0,-3-2-5 15,3 0-1-15,-1 2 22 0,-2-1-52 0,1 4 15 16,-2 0-5-16,-4 0-7 0,0 0 12 15,13 1-7-15,-7 3-3 0,-4-1-5 0,1 2-34 16,0 0 85-16,1-1 1 0,-1 3-29 16,-3-4-3-16,3 3-38 0,-1 1-36 0,0-2-28 15,1 0-28-15,0 2-43 0,-1-5-29 0,0 3 0 16,-1 0-38-16,2-4-29 0,1 3-9 16,-1-1-39-16,-3-3-67 0,10 0-73 0,-4 0-150 15,1-3 29 1,1 0-345-16,0 2 89 0,4-5 445 0,-1 1 131 0,-1-1 72 0,0-1 40 15,3-1 95-15,-2-4 59 16,-1 5 18-16,0-5 47 0,-2 0 14 0,-1 0 8 0,1 4 16 0,-3-2 61 16,0 1 33-16,0 0-41 0,-4 2 11 15,1 0-16-15,0 1 10 16,-2 0-92-16,0 3 6 0,0-1 9 0,0 4-35 0,0-6 28 16,0 6-18-16,0 0 8 0,0 0 7 15,0 0-43-15,0 0-3 0,-7 11 3 0,4-6 18 16,1-1-19-16,1 5-6 0,-1-1-24 0,-1 2 7 15,1-2-1-15,0 3-6 0,-1-1-23 0,0 1 28 16,0 1-7-16,-1-4-24 0,1 3 13 16,-2-3-22-16,2 1 9 0,-2-3 3 0,3 1 3 15,-4-1-31-15,4-1-8 0,0-2-2 0,1 1-3 16,1-4 3-16,0 4-19 0,0-4 22 16,0 0-32-16,0 0 3 15,0 0 0-15,19-8-7 0,-12 5-19 0,1-5 6 0,2 2 7 16,0-2-10-16,0-4 21 0,1 3 7 0,2-3 10 15,-3 2-10-15,0-3-2 0,-3 6-5 16,1-1 17-16,0 2 11 0,-3 1-3 0,0-1 5 16,-2 1 31-16,-1 4 3 0,-2 1 12 0,0 0-15 15,0 0 13-15,0 0-6 0,0 0-2 16,-2 12 3-16,1-7 10 0,-1 1-21 0,2 2 49 16,-2-1 8-16,2-1-31 0,0 1 20 0,0-1-32 15,0 0-55-15,0 1-46 16,2-2-66-1,1 2-33-15,2-1-54 0,-2-2-39 0,2-2-133 0,0-1-261 0,3 3-399 0,-1-3 118 16,1-1 112-16,0-2 70 16,4-1 55-16,4 1 57 0</inkml:trace>
  <inkml:trace contextRef="#ctx0" brushRef="#br2" timeOffset="35849.14">11490 9507 988 0,'-3'4'478'0,"3"-4"-12"0,0 0-8 16,0 0-74-16,13 5 3 0,-5-5-116 0,5 1-15 15,-1-1-46-15,3 1 2 0,4 0 29 32,-1-1 2-32,5 0-10 0,2-1-36 0,-2-1-15 0,0 2-29 0,-2-3-60 0,2 2-1 0,-5 1-67 15,0-2-35-15,-2-1-33 0,-1 1-57 16,0 0-49-16,-2-1-53 0,0 1-131 0,-3-3-107 16,-2 0-525-16,2 3 146 0,-2-3 41 0,-3 2 94 15,0-2 32-15</inkml:trace>
  <inkml:trace contextRef="#ctx0" brushRef="#br2" timeOffset="36080.9">11895 9311 1267 0,'5'-4'476'0,"2"3"-41"0,1 1-21 0,-8 0-73 0,16 3-13 15,-6 0 68-15,3 2-37 0,2 1 4 0,1 2-38 16,-1-1-105-16,1 4-23 0,-1-2 6 0,-2 2-32 15,-1 1-4-15,-4 1-16 0,0-1 0 16,-3 1-16-16,-3 1-12 0,1 1-26 0,-6-1-12 16,-2 4-31-16,-2-1-34 0,-4 2-25 15,-1-1-41-15,1-2-36 0,-4 3-36 0,0-3-61 0,-1-1 5 16,1-1-100-16,-3 0-84 16,0-3-164-1,5 0-487-15,-3-1 175 0,4-2 27 0,-1 0 106 0,-2-3 84 0,7-1 33 0</inkml:trace>
  <inkml:trace contextRef="#ctx0" brushRef="#br2" timeOffset="36780.67">12925 9150 895 0,'9'1'395'0,"-2"-1"-58"0,-2 0-42 0,3 0-72 0,0 0-47 16,-1 3-68-16,1-1-121 0,-3-2-218 0,3 2-498 16,-1 0 76-16,-1 0 70 0</inkml:trace>
  <inkml:trace contextRef="#ctx0" brushRef="#br2" timeOffset="36959.6">12892 9256 821 0,'-7'1'323'0,"7"-1"-47"0,0 0 80 0,0 0-39 0,0 0-50 0,0 0-6 0,0 0-11 16,12 6-58-16,-12-6-51 16,13 0-49-16,-8 0-51 0,3 0-112 15,0-2-157-15,-1 4-612 0,1-2 124 0,0 1 47 0,-3 2 53 0</inkml:trace>
  <inkml:trace contextRef="#ctx0" brushRef="#br2" timeOffset="37129.8">12972 9318 1008 0,'0'0'346'0,"0"0"-21"0,0 0-49 0,0 0-84 0,0 0-28 0,13 1-3 16,-6-1-51-16,-7 0-18 0,11 0-46 0,-7 0-30 15,-4 0-67-15,11 1-70 0,-6 2-117 16,-5-3-59-16,8 2-389 0,-6 2 26 0,-2-2 102 16</inkml:trace>
  <inkml:trace contextRef="#ctx0" brushRef="#br2" timeOffset="37277.71">12995 9386 867 0,'-2'1'277'0,"-1"2"-34"0,3-3-13 0,-5 4-33 0,4-1-5 16,1-3-38-16,0 0 69 0,0 0-14 15,0 0-34-15,9 3-9 0,-5 1-30 0,-4-4-52 0,10 0-56 16,-4 1-94-16,-1 0-83 0,0 0-125 16,0 2-517-1,0 0 149-15,-2-3-19 0,2 4 98 0</inkml:trace>
  <inkml:trace contextRef="#ctx0" brushRef="#br2" timeOffset="37364.18">13010 9464 701 0,'-5'5'205'0,"5"-5"-6"0,-2 1-14 15,2-1-27-15,0 0-37 0,0 0-60 0,0 0-148 16,0 5-184-16,0-5-354 0,0 0 36 0</inkml:trace>
  <inkml:trace contextRef="#ctx0" brushRef="#br2" timeOffset="37493.45">12948 9566 757 0,'0'0'295'0,"0"0"-65"0,0 0-92 16,0 0-97-16,0 0-141 0,8 3-527 16,-5 1 72-16</inkml:trace>
  <inkml:trace contextRef="#ctx0" brushRef="#br2" timeOffset="37680.51">13023 9606 916 0,'5'0'297'0,"-5"0"-46"0,8 1-8 0,-8-1-41 16,10 0-15-16,-2 0-39 0,-8 0-22 0,12 0-72 16,-4 0-21-16,2-1-77 0,-2 2-66 0,0-1-128 15,-5 2-38-15,4-1-390 0,-2 0 67 16</inkml:trace>
  <inkml:trace contextRef="#ctx0" brushRef="#br2" timeOffset="37775.31">13151 9648 954 0,'1'3'295'0,"-1"-3"-19"0,0 6-38 0,0-6-25 16,0 5-11-16,0-5-5 0,2 1-44 16,-2-1-35-16,5 4-72 0,-5-4-148 15,3 2-269-15,-3-2-359 0,10 1 78 0,-10-1 37 0</inkml:trace>
  <inkml:trace contextRef="#ctx0" brushRef="#br2" timeOffset="37966.74">13172 9732 926 0,'-6'3'294'0,"6"-3"-32"0,0 0-30 0,0 0-27 0,-2 2-8 0,2-2-20 16,0 0-57-16,0 0-35 0,0 0-44 16,0 0-108-16,0 0-115 0,0 0-22 15,0 0-480-15,0 0 21 0,13-6 108 0</inkml:trace>
  <inkml:trace contextRef="#ctx0" brushRef="#br2" timeOffset="42008.21">13587 8943 1215 0,'0'-6'333'0,"3"2"-92"16,-3 4-26-16,3-7-31 0,-1 0-7 0,3 2 61 0,0 3-34 16,3-3-14-16,-3 1 10 0,5 0-19 0,-2 1-27 15,0 0-6-15,2 2-17 0,-2 1-13 16,-1 1-8-16,1 2-8 0,0 4 11 16,0 2-31-16,-4 2 10 0,2 3-10 0,-2 5 0 15,-4 1-18-15,3 4 12 0,-6 1-42 16,-1 13-11-16,-2 1 0 0,-1-2-87 0,-4 3 0 15,1-3-16-15,3-3-7 0,-3-1 16 16,4-4 32-16,1-7-20 0,0-2 8 0,2-2 23 16,1-1-8-16,-1-1 11 0,1-3 9 15,2 0-7-15,-1-3-2 0,2-1 20 0,-2-2 7 16,2 1-12 0,-1-3 12-16,2 0-7 0,1-1 13 0,-1-2 10 0,-2-2-13 0,8 0 5 0,-8 0 11 15,7 1-1-15,-7-1-2 0,8-1 0 0,-8 1-18 16,8 1 20-16,-3 2 4 0,0 0-7 15,-2 2 19-15,4 2-2 16,-1 4-4-16,-3 0-9 0,1 2 7 0,-1 5 15 0,2 1-9 16,-3 1-19-16,1 5 16 0,0-4 12 15,-1 4-12-15,-2-1-21 0,0 2 29 0,0 3-21 16,-2-2-16-16,-1-2 24 0,0 1-1 0,-4-1-4 16,4-1 10-16,-2 1-24 0,-5-1 24 15,2-4-16-15,-2 0 6 0,0-2-19 0,-1 0-2 16,1-2-28-16,0-3-18 0,0-2-18 0,0-2-36 15,2-2-23-15,0-1-48 0,3-2-77 16,-1-2-106-16,-3 3 1 16,4-3-489-16,2-2 64 0,3 0 123 0,0 0 38 0</inkml:trace>
  <inkml:trace contextRef="#ctx0" brushRef="#br2" timeOffset="45870.01">13205 9231 703 0,'33'-2'215'0,"1"-1"-48"15,12 0 96-15,2-1-55 0,1-1-14 16,3 3-40-16,6-3-18 0,10-1-67 0,5 4-26 15,-1-3-74-15,0 3-27 0,-10-1-129 16,-3 2-387-16,2 1-76 0,-1-2 87 16</inkml:trace>
  <inkml:trace contextRef="#ctx0" brushRef="#br2" timeOffset="46535.56">13346 9894 872 0,'28'3'292'0,"1"-1"-92"0,-1-1-3 0,5 0-28 16,16-1 51-16,4 0-69 0,4 0-61 0,2 0-70 15,3-1-102-15,-3-1-56 0,0-1-561 16,-3 2 72-16,0-2 33 16</inkml:trace>
  <inkml:trace contextRef="#ctx0" brushRef="#br2" timeOffset="47093.14">13434 10461 1026 0,'22'2'351'0,"-6"0"-16"15,2-1-38-15,5 0-33 0,8 0-24 16,1 0-38-16,17-1-25 0,2 0-26 16,1 1-13-16,2 1-51 0,-2-4-43 0,1 2-52 15,1 2-58-15,-6-1-78 0,1-2-112 16,-5 3-527-16,-8-1 84 15,-3-1 44-15,-8 0 56 0</inkml:trace>
  <inkml:trace contextRef="#ctx0" brushRef="#br2" timeOffset="47574.42">13479 11091 1256 0,'0'0'425'0,"0"0"-33"0,5 7-31 16,-2-6-31-16,3 3-31 0,1-1-43 16,3-3-2-16,6 3-44 0,-1-2-69 0,3-1 7 15,0 0-66-15,5 0-18 0,3-3-41 16,6 2-18-16,-3 1-48 0,5-3-39 0,9-2-64 16,-7 3-69-16,-5-1-149 0,0 1-468 0,-1-2 75 15,-7 3 112-15,0 0 23 0</inkml:trace>
  <inkml:trace contextRef="#ctx0" brushRef="#br2" timeOffset="48052.91">13407 11847 1466 0,'18'1'412'0,"-2"0"-56"0,2 1-28 0,-3-2-21 0,3 0-56 16,-3 0-46-16,4-2-31 0,-1 2-31 15,2-3-20-15,1 1-28 0,-1 1-31 0,1-3-31 0,-1 1-13 16,0 2-38-16,1-2-38 0,-3-1-39 16,0 1-48-16,-3 2-103 0,1-1-258 0,-4-1-295 15,4 1 85-15,-5 1 67 16,-1-2 63-16</inkml:trace>
  <inkml:trace contextRef="#ctx0" brushRef="#br2" timeOffset="50669.16">14836 8768 1149 0,'0'-5'427'0,"0"3"-38"0,0 2-25 0,0 0-31 16,0-5-11-16,0 5-112 0,0 0-13 0,0 0-43 15,-5 18 17-15,2-11-43 16,-2 6-10-16,2 0 0 0,-2 3-26 0,0 0 10 0,0 2 1 15,-3 6-34-15,0-5-3 0,3 4-30 16,-2-4-21-16,2-2 3 0,-1 0-51 0,-1 2-5 0,4-2-39 16,-2-2-5-16,0 1-8 0,0-4-68 15,0 0-27-15,2 1-112 0,1-6-23 16,-6 6-61-16,5-7-400 0,1 1 70 0,2-2 79 16,0-2 71-16</inkml:trace>
  <inkml:trace contextRef="#ctx0" brushRef="#br2" timeOffset="51353.99">14785 8795 995 0,'4'-2'410'0,"0"-1"-13"0,3 1-72 0,-2-1-31 16,0-1 8-16,3 3-41 0,2 0-89 0,-2-2-37 16,0 3 3-16,-8 0-22 15,12 3-19-15,-6-1-7 0,-2-1-1 0,2 4-7 16,-2-2-21-16,-1 1 11 0,-3 2-18 0,3-1 5 16,-3 0-11-16,0 2 16 0,0 0-28 15,0-2-15-15,-3 3 20 0,3-1 7 0,-2 0-12 0,2-1 5 31,0 1-15-31,0 1-21 0,2 0 23 0,-2 0-13 0,3 0-2 0,-1 0-5 16,1 0 7-16,-1-1-2 0,1 0-8 0,-2 0 5 16,1 3 1-16,3-3-11 0,-5-2 17 0,2 3-6 15,-1-3-1-15,-1 1 16 16,0-1-26-16,-1 1 12 0,-1-3 11 0,-3 4-10 16,2-1-5-16,-2-1-11 0,0 1 11 0,-1-3-13 15,-1 2-3-15,0 0-40 0,1 0-19 0,-2-3-61 16,-2 4-51-16,5-3-126 0,-5 0-107 15,4-1-468-15,-1 1 140 0,2-3 18 0,5 0 87 16,-8 0 116-16</inkml:trace>
  <inkml:trace contextRef="#ctx0" brushRef="#br2" timeOffset="51553.55">14964 8933 1254 0,'5'0'379'0,"-5"0"-67"16,0 0-8-16,3 6-78 0,-3-6-32 0,0 8-58 16,-3-3-116-16,3-1-127 0,-5 3-139 0,5-1-514 15,-2 0 102-15,-2 1 57 0</inkml:trace>
  <inkml:trace contextRef="#ctx0" brushRef="#br2" timeOffset="52832.24">15235 8817 1172 0,'0'0'397'0,"0"0"-49"0,0 0-21 0,-10 13-43 15,5-7-22-15,2 0-24 0,-1 1-31 16,-2 0 8-16,1 5-31 0,0-5-22 0,0 4-34 0,0-3-1 15,2 2 12-15,1-1-42 0,-1 1-13 0,3-2-2 16,3-2-13-16,-3 4 3 16,5-3 5-16,0-2-5 0,0 0-24 0,5 0-2 15,-2-1-10-15,2-2-18 0,1 1 26 0,1-2-14 0,-2-1 1 16,4 0 13-16,-4-1-19 16,0-1 39-16,1 1-8 0,-1 0 8 0,-3-2 0 15,1 1-20-15,0 2 17 0,0-2-17 0,-4 2-16 16,-4 0 3-16,13-1-3 0,-13 1-5 15,8 1-8-15,-5 1 19 0,1 0-11 16,-3 1-31-16,4-1 18 0,-2 3-12 16,1-1-14-16,-1-1 6 0,0 1 2 0,2 1-10 0,0-1 0 15,0 1 26-15,-2-4-28 0,2 2-8 0,0-2-1 16,3-1 29-16,-8 0-15 0,10 0 20 0,-10 0 16 16,10-3-6-16,-5 1-23 0,0 1 36 15,-2-3-10-15,-1 0 5 0,1 0 21 16,-3-1-11-16,0 2-7 0,0 3 10 0,-3-9-8 15,-1 7 8-15,0-3-21 0,0 3 21 0,-2-1-34 16,2 2 47-16,-4-2-49 0,3 2 33 16,-3-2-25-16,8 3 18 0,-10 0-21 0,4 0-16 15,6 0 11-15,-10 0-5 0,10 0 5 0,-10 0 5 16,10 0-22-16,-5 3 24 0,5-3-17 16,-3 2-8-16,3-2 3 0,0 0 25 0,0 0-20 15,0 0 15-15,0 0-3 0,8 7 14 0,-8-7-39 16,7 3 38-16,-4 0-15 0,3-3 8 15,-2 1-13-15,-1 3-8 0,4-2 15 0,-4-1 6 16,4 3-16-16,-1-2 16 0,-3 1-16 16,5 0 13-16,-4 1-5 0,2-1 3 0,-2 1-6 15,2-1 6-15,-1 1 23 0,-2-1-34 16,2 1 39-16,-3 2-24 0,3-6-22 0,-2 5 7 16,-1-3 16-16,3 2 10 0,-2-2-23 0,-3-2-5 15,5 6 22-15,-4-6-12 16,-1 0-2-16,4 5-14 0,-1-4 29 0,-3-1 8 0,3 4-14 15,-3-4-55-15,0 0-16 0,0 0 10 0,0 0 13 16,7 0-2-16,-7 0 35 16,8-4-25-16,-8 4 2 15,7-1 10-15,-7 1 21 0,6 0-25 0,-3-3 27 0,-3 3-27 16,7-2 27-16,-7 2-12 0,0 0 10 0,11 4-20 0,-11-4 12 16,7 1 5-16,-4 0 8 15,1 2 1-15,-1 0 17 0,3-2-39 16,-2 2 6-16,2 0 13 0,1-2-14 0,-2 2 29 0,3-1-18 0,-3-2 16 15,3 3-6-15,0 0 33 16,0-2 6-16,-1 2-21 0,4-2 16 0,-4 0-19 0,1-1 1 16,2 1 2-16,-2-1-10 0,2 0-28 0,2 0 20 15,-2 0-13 1,-1-1-27-16,3 1-29 0,-2-1-21 0,1 0-48 0,-1-2-5 0,-2 2-74 16,0 0-87-16,-3-4-193 15,0 5-483-15,-3-1 105 0,-2 1 66 0,0 0 147 0,0 0 32 16,0 0 83-16</inkml:trace>
  <inkml:trace contextRef="#ctx0" brushRef="#br2" timeOffset="53583.37">14744 9700 862 0,'-1'-5'356'0,"1"5"-8"0,0 0-31 16,0 0-20-16,-7 10-46 0,4-5-26 16,1 3 6-16,-3-1 56 0,2 5-39 0,-2 0-46 15,2 1-7-15,1 0-42 0,-4 5-25 16,2-4-13-16,1 1-79 0,0 0-23 0,-1-2-57 16,0 3-58-16,2-3-123 0,0-5-139 0,-1 6-493 15,0-3 86-15,1 0 44 0,-1-3 128 16,1 0 57-16</inkml:trace>
  <inkml:trace contextRef="#ctx0" brushRef="#br2" timeOffset="54007">14689 9732 1116 0,'8'-8'358'0,"2"1"-28"16,-4 3-10-16,1-3-125 0,1 6-24 0,0 0-5 0,0 0 3 16,-1 1-43-16,0 1 9 0,-1 1-9 0,-1-1-21 15,-2 5-13-15,-1-1 0 0,0 2-10 0,-2 0-33 16,-4 2 7-16,1 0-5 0,-2 3-25 16,0-1 7-16,0-2-28 0,-1 3 13 0,2-2-18 15,-2-2 31-15,4 2-23 0,-1-3-6 16,1 1 26-16,2-1 16 0,-3-1-34 0,6 1-5 0,-3 0 23 15,4 2 6-15,-1-2-1 0,2 0-20 16,0-1 2 0,-2 1 5-16,4-1 80 0,-3 0-13 0,0 1 0 0,-1-3-5 0,2 3 8 15,-2-2 12-15,-1-1-30 16,-4 1 0-16,2 1 15 0,0 0-31 0,-3 0-7 0,-2 0 2 16,0 0-18-16,-1-1-10 0,-1-2-23 0,-1 2-8 15,0 0-10-15,-1-3-20 16,1 4-23-16,0-6-32 0,1 3-63 0,1-1-89 0,1-1-106 15,-3-1-189-15,8 0-313 16,0 0 52-16,-7-6 100 0,7 6 79 0,5-6 82 16</inkml:trace>
  <inkml:trace contextRef="#ctx0" brushRef="#br2" timeOffset="54313.21">14997 9775 711 0,'0'0'315'15,"-2"-6"-41"-15,2 6 0 0,0 0 69 16,-8 0-39-16,8 0-40 0,0 0-11 0,-10 6-15 0,7-3-33 16,-2 0-3-16,5-3-38 0,-3 7-3 15,1-1-30-15,0-1-3 0,2 2 0 0,0-1-97 16,0 1-3-16,2 3 18 16,0-2-18-16,1 3 10 0,0-3-4 0,1 3 7 15,-3-3 15-15,4 2-30 0,-5-2 9 0,3 0 14 16,-1 1 0-16,-2 0 10 0,0-3-8 0,0 4-13 15,-2-3 1-15,-1 0-11 0,0 0-8 0,0-1 24 16,-4 1-24-16,2-1-25 16,-1 0 10-1,2 0-33-15,-4-1-15 0,3-2-6 0,-3 2-13 0,1-5-37 0,4 5-22 0,-2-4-86 0,0 0-54 16,5-1-51-16,0 0-54 0,-8 0-415 16,8 0 44-16,0 0 40 0,0 0 63 0</inkml:trace>
  <inkml:trace contextRef="#ctx0" brushRef="#br2" timeOffset="54558.44">15241 9779 1126 0,'0'0'307'0,"0"0"-26"0,-8 10-32 16,3-5-6-16,0 1-25 0,-1 5 50 15,-1-3-7-15,0 2-46 0,1 0 18 0,1 1-41 16,-2 0 3-16,1 0-39 0,4-2 21 0,1 1-26 15,1-1 0-15,1 0-23 0,1 1 0 16,1-4-16-16,4 4-4 0,1-1-8 16,2-3-26-16,1 1 10 0,2-2-40 0,2 2-1 15,1-4-55-15,-1 1-14 0,5-4-20 16,-2 3-62-16,0-3-63 0,0 0-162 16,0 0-207-16,-2 0-402 0,2 0 154 0,-6 0 43 0,1-3 123 15,0 3-5-15</inkml:trace>
  <inkml:trace contextRef="#ctx0" brushRef="#br2" timeOffset="60657.94">14695 10506 875 0,'-2'-5'351'0,"2"5"-37"0,-4-3 4 0,4 3-42 15,-2-4-10-15,2 4 3 0,0 0-38 16,0 0 53-16,-8 12-33 0,6-6-29 16,-1 4-19-16,-2 0-22 0,2 3-9 0,-1-1-21 15,-2 5-21-15,1 0-9 0,0-1-19 0,0 2-33 16,-1 0 16-16,-1-4-24 0,2 4-15 15,0-3-51-15,0 0 15 0,2-2-38 16,0 0-21-16,-1-1-17 0,1-2-13 0,-2 0-37 0,3-1-65 16,1-2-80-16,-2 0-85 0,-1 0-140 15,4-3-346-15,0 0 79 0,0-4 95 16,0 5 16-16</inkml:trace>
  <inkml:trace contextRef="#ctx0" brushRef="#br2" timeOffset="61696.09">14643 10566 970 0,'0'0'394'0,"0"0"-10"16,0 0-123-16,-10 0-8 0,10 0-17 16,0 0-19-16,0 0-20 0,0 0-5 0,0 0-33 15,0 0 2-15,0 0-2 0,0 0-44 0,25 0 0 16,-21 2 11-16,-2 0-24 15,3 2 6-15,-2 1-16 0,-1-3 23 0,1 4-38 0,-1-1-26 16,-2 0 13-16,0 1-3 0,0-2-20 16,0 2 11-16,-2 1-11 0,2 1-3 0,-1-1-5 15,-1 1-7-15,2 0 10 0,0 0-11 16,0 1-2-16,0-1 3 0,0 2-34 0,3 2 42 16,-1-1 14-16,1 1-48 0,-1-2 5 15,1 2 23-15,-1 0 8 0,1-1 0 0,0 0-18 16,-3-1 3-16,2-1 68 0,-2 1 3 15,0-4-28-15,0 4 28 0,0-1-38 0,-2-2-10 16,0 2 20-16,-2-2-18 16,2-1-21-16,-3 0 9 0,0-1-11 0,0 0-34 0,-3 0-14 15,0-2-19-15,0 0-40 0,3 1-13 0,-3-2-57 16,-2 1-87-16,3 1-94 0,2-4-456 16,-1 3-102-16,6-3 48 15,-10 0 136-15,10 0 77 0,-5-3 40 0</inkml:trace>
  <inkml:trace contextRef="#ctx0" brushRef="#br2" timeOffset="61841.5">14792 10768 1100 0,'5'-5'366'16,"-5"5"-33"-16,6-1-64 0,-6 1-26 0,4-2-41 15,-4 2-76-15,0 0-78 0,6 0-191 16,-6 0-617-16,0 0 104 0,0 0 11 0</inkml:trace>
  <inkml:trace contextRef="#ctx0" brushRef="#br2" timeOffset="62279.44">15158 10616 504 0,'16'-5'202'0,"-1"0"-5"0,-1 0 31 0,0 2 18 0,-3-1 74 0,-1 1-6 0,-2-1-4 16,0-1-69-16,0 4-21 0,-4-4-15 0,2 3 2 15,-4-2 67-15,1 3-8 0,-3 1-43 16,2-3-3-16,-2 3-38 0,0 0-6 16,0 0 14-16,-13 8-34 0,9-1-28 0,-4-1 25 15,-2 7-50-15,2 2 32 0,-3-1-35 16,1 5-31-16,-2 1 11 0,1-2-27 0,1 1-17 15,0 2-8-15,0-3-68 0,2 1-19 0,0-2-23 16,3-1-59-16,-1 0-43 0,-1-3-83 0,5 0-101 16,1 1-556-16,1-4 89 15,0 0 29-15,0-1 100 0,1-3 50 0,1 1 126 0</inkml:trace>
  <inkml:trace contextRef="#ctx0" brushRef="#br2" timeOffset="62581.83">15318 10857 660 0,'13'-8'266'0,"-1"2"69"0,-4-2-25 0,3-1-13 0,-4 2-26 15,6-3 1-15,-3-1-14 0,0 0-12 16,-2-1-87-16,0 2-21 0,-3 0 10 0,0-1-7 16,0 3 2-16,0 1 1 0,-5 0-6 0,3 1 54 15,-3 2 0 1,-3 1-13-16,3 3-30 0,-7-2-14 0,7 2 16 0,-13 5-41 0,5-1-7 15,1 2 15-15,-4 1-26 0,3 0 8 0,-2 0-39 16,2 3 36-16,0-1-35 16,1 1-19-16,0-2-12 0,1-1-11 0,3 3 19 0,-1-3-24 15,1 1-17 1,0-1-21-16,5 0-13 0,-2 1-33 0,1-2-16 0,4-1-51 16,-2 0-9-16,2-1-78 0,2-1-89 15,1 2-124-15,0-5-495 0,0 1 117 0,2 2 36 0,0-3 112 16,1 0 88-16,1-4 73 0</inkml:trace>
  <inkml:trace contextRef="#ctx0" brushRef="#br2" timeOffset="63103.43">15589 10773 985 0,'0'-5'307'0,"0"0"-12"0,0 2-6 0,0 3-13 16,0-4 52-16,0 4-8 0,-4-3-57 0,4 3 4 16,0 0-4-16,0 0-53 15,0 0-10-15,-13 8-3 0,7-3-38 0,4 1-6 16,-4-1-20-16,4 2-7 0,-3 0-24 0,2 0-17 15,1 1-16-15,0 1-23 0,1-2-23 16,-1 0 0-16,2 0-8 0,0-1-61 0,-3 1-13 16,6-2-12-16,-3 1-39 0,2-4-59 0,1 4 28 15,-1-3-28-15,4 0-33 0,-2-1-57 16,4-1-30-16,-2-1-11 0,-6 0-20 16,13-3 13-16,-3 2 85 0,-2-3 17 0,-1 1 41 15,1-3 23-15,2-1 49 0,0-1-13 0,0 0 56 0,0-3 16 16,1 0 72-1,-3-2 32-15,2-1 24 16,-2 3 36-16,2-1 9 0,-2-2 16 0,-1 3 21 0,1-2 18 0,0 2-34 0,-1 2 21 16,-2 0-1-16,1-1-7 0,-2 3-2 15,0 1-8-15,-2-1 0 0,3 1-11 16,-2 3 8 0,-1 0-10-16,-2-1-23 0,0 4-12 0,2-3-9 0,-2 3-5 0,0 0 37 0,0 0-55 15,0 0 31-15,0 0-48 0,-7 15-8 0,4-10 5 16,1 4 20-16,-4 0-22 0,4 3 2 0,-3-2-8 15,2 2-5-15,-1-2-5 16,1 3-2-16,0-1 10 16,3 1 12-16,-2-3-45 0,4 2 35 0,-2-2 8 0,3 1-92 0,-1-2 10 15,1 1 8-15,2 1-16 0,2-4 11 16,4 1 25-16,-3 1-31 0,4-4-7 0,1 0-8 16,2 1-15-16,-1-1-36 0,1-1-20 0,1-2-52 15,-2 1-46-15,-1-1-117 0,-2 0-160 0,-1-1-493 16,-2 2 166-16,-1-1 52 0,-1-2 86 15,-4 4 87-15,-2-4 57 0</inkml:trace>
  <inkml:trace contextRef="#ctx0" brushRef="#br2" timeOffset="63765.57">14584 11337 1300 0,'1'-2'427'0,"-1"2"-38"0,0-4-33 16,0 4-105-16,0 0-36 0,0 0-23 0,0 0 20 15,-3 19-30-15,0-9-26 0,1 0-17 0,-1 4-11 16,1 3-8-16,-1 0 28 0,-2 1-27 15,-1 1-37-15,2-1-20 0,-2 0-64 0,2 0-15 16,1-2-36-16,-2 2-60 0,2 0-83 0,1-2-80 16,-9-1-120-16,9-2-443 0,1 0 64 15,-1-3 100-15,2-1 40 0</inkml:trace>
  <inkml:trace contextRef="#ctx0" brushRef="#br2" timeOffset="64312.35">14585 11331 1341 0,'0'0'371'0,"0"0"-5"0,0 0-41 16,0 0-46-16,0 0 3 0,0 0-26 0,7 15-44 15,-4-10-33-15,2 3-43 16,-2-2-21-16,1 1-33 0,4-1-41 0,0 1-56 0,0-2-57 15,4 1-5-15,-1-1-20 0,1 0-26 16,1-5-13-16,1 1 26 0,0-1 13 0,2-1 36 16,-3 1 40-16,2-2 62 0,0-3 31 15,-2 0 33-15,1 1-6 0,-2-1 19 0,0 0 8 16,-4-1 2-16,0 1-62 0,0 1-2 16,-3-1 5-16,0 1 26 0,-2 3-26 0,-3 1 5 15,0 0-5-15,0 0 6 0,0 0-24 0,0 0 8 16,-11 8 2-16,4-2-20 0,2-1 23 15,-6 3-38-15,4 0-3 0,1 0 15 0,-1 0-40 16,-1 2 9-16,1-1-32 0,1 0-27 16,3-2 1-16,-1 0 3 0,1 0-1 0,3-1-7 15,0-2-3-15,0 0 3 0,3-1-3 16,1-1 5-16,-1 0 13 0,-3-2-3 0,14-2 19 16,-4 0 2-16,-3-1 15 0,3 0-10 0,1-1 23 15,-4 1 18-15,3-1 3 0,-2-1 7 16,0 3 24-16,0-2-1 15,-3 3 56-15,0 0-1 0,-5 1 9 0,10 0-13 0,-10 0 1 16,5 5-26-16,0-2 15 0,-4 4-12 0,1 1-27 16,-2 0-6-16,-2 0 4 0,2 4-15 15,-1-2-57-15,-1 2-32 0,-3 0-57 0,3 1-95 16,-2 0-163 0,2 0-628-16,-1-1 170 0,-2 0 27 0,3-2 113 0,2-1 49 0,0-3 59 0</inkml:trace>
  <inkml:trace contextRef="#ctx0" brushRef="#br2" timeOffset="64449.14">14995 11605 1011 0,'0'0'320'0,"0"0"-24"16,2-5-29-16,-2 5-63 0,0 0-50 0,0 0-116 16,3-1-150-16,-3 1-262 0,0 0-297 0,5-2 49 15</inkml:trace>
  <inkml:trace contextRef="#ctx0" brushRef="#br2" timeOffset="64801.4">15195 11419 1208 0,'7'-1'350'0,"1"0"-42"15,-1-4-35-15,2 4-12 0,3-1-25 16,-2-1-39-16,4 1 10 0,0-3-30 16,-1 3-5-16,1-1 7 0,-2-1-23 0,1 1 3 0,0 0-8 15,-3-1-70-15,-3 3 14 16,4-1-31-16,-6 0 21 0,0 1-1 0,1 1 11 16,-6 0-21-16,10 0 16 0,-10 0 81 0,5 4-20 0,-2 0 13 15,-3 1-44-15,0 1-7 16,0 0 2-16,-1 2-2 0,-1 4 4 0,-1 3-29 15,-2 0-99-15,2 1 22 0,-1 2-1 16,-2-1-15-16,-1 1 0 0,1 0-3 0,2 0-23 0,-2-1-48 16,-2 0-34-16,3 0-43 0,-2-1-44 15,2-2-135-15,-1-2-162 0,1 0-465 16,5-3 112-16,-3-2 103 0,1 0 86 0,2-3 108 0,2 1-5 16</inkml:trace>
  <inkml:trace contextRef="#ctx0" brushRef="#br2" timeOffset="65100.66">15420 11675 1118 0,'5'-3'343'0,"3"-2"-31"0,-3-1-30 0,1 0-26 0,1-2 61 16,0-2-4-16,1 2-11 0,0-2-118 0,0 2-5 15,-1-1 3-15,-1 1-26 0,-1 2 21 16,-2-1-8-16,1 3-3 0,-1-1-13 0,0 1-32 15,-3 4-9-15,0-2-22 0,0 2 25 0,0 0-33 16,0 0 0-16,-6 9-8 16,4-3-20-16,-1 1 2 0,1-1 1 0,-1 2-34 15,1 0 30-15,1 0-55 0,-1 0-13 0,2-1-11 16,0 1-36-16,2-2-19 0,-1 1-47 16,1 0-29-16,3-3-81 0,-2 0-64 0,5 0-51 15,-3-3-59-15,2 0 20 0,1-1-440 0,3 0 77 16,1-1 74-16,1-3 77 15</inkml:trace>
  <inkml:trace contextRef="#ctx0" brushRef="#br2" timeOffset="65506.25">15772 11537 647 0,'7'-7'333'0,"-1"1"12"0,-2 1-9 0,2 2-4 0,-4-1-17 0,-2 4-87 16,3-1-44-16,-3 1-12 16,0 0-1-16,0 0-12 0,-11 11-16 0,7-3-7 0,1-2-23 15,-2 1-1-15,0 4-4 0,2-3-31 16,-2 2-29-1,-1-1-7-15,4 0-30 0,0 0 1 0,-1-3-14 0,3 1-37 0,0-1 6 0,0 0-26 16,0-1 16-16,3-3-11 0,-1 1 8 16,3-1 7-16,-5-2 9 0,8 0 2 0,-8 0 7 15,8-3 31-15,-1-1 13 0,-2-1 8 0,1-1 15 16,2-3 23-16,2-1 0 0,-3-2-2 16,4 0 23-16,-1-2 2 0,0 2 0 15,1-1-10-15,-4 2 28 0,1 2-21 0,-1-1 39 16,-2 4-2-16,0 0 84 0,-2 2-29 15,0 1-19-15,-3 3 9 0,0 0-17 0,0 0-21 0,0 0 5 16,0 0-87-16,-6 13 16 0,1-7-18 16,3 1 27-16,-1 4-19 0,-2-1-4 15,3 0 11 1,2 2-15-16,-1 0 18 0,1-1 17 0,-2 0-17 0,4 1 14 0,-1-2-45 16,1 2 28-16,1 1 8 0,-1-3-49 0,3-1 28 0,1 2 8 15,1-3-18-15,1 1-28 0,-1-4-75 16,3 0-45-1,1 0-31-15,-1-3-62 0,0 1-94 0,6-2-221 0,-3 0-557 0,-3-1 81 0,0 0 139 16,0 0 35-16,-2 0 83 0,-2 0 104 16,-6 0 49-16</inkml:trace>
  <inkml:trace contextRef="#ctx0" brushRef="#br2" timeOffset="66166.23">14738 12253 975 0,'0'-4'386'0,"0"4"-2"0,0 0-61 15,0 0-14-15,0 0-37 0,-13 12-32 0,11-3 4 16,-1 1-35-16,-2 6-27 0,0 0-15 0,-2 2-14 15,1 0-58-15,-2 2-34 0,3 2-45 16,-2-1-70-16,-1-2-97 0,5-2-126 0,-1 2-101 16,-2-4-434-16,4 3 67 0,-1-5 108 15,-2-1 89-15</inkml:trace>
  <inkml:trace contextRef="#ctx0" brushRef="#br2" timeOffset="66774.65">14692 12243 1241 0,'0'0'433'0,"0"0"-55"0,0 0-42 0,-7 9-24 0,7-5-13 0,0 4-17 15,2-2-31-15,0 2-23 0,1 0-44 0,2-1-23 16,1 0-33-16,-2 2-38 0,4-2-47 15,2-1-30-15,0 0-26 0,1 0-35 0,1-4-9 16,4-1-14-16,-1-1 2 0,3-1-1 16,-2-1 19-16,5-2 13 0,-1-2 30 0,-2 0 26 15,0-2 33-15,0-2 18 0,0 3 18 0,-3-2 34 16,-4-1-83-16,1 3 39 0,-4 0 13 16,2 1-14-16,-5 0 93 0,1 1-10 0,-4 2-3 15,0 1 11-15,-2 2-27 0,0 0-12 16,0 0-13-16,0 0-15 0,0 0-5 0,-12 14-23 15,6-7 40-15,2 1-30 0,-4 0-28 0,0 3 0 16,1 0-13-16,-1 2 7 0,2-2 6 16,-1-1-44-16,-1 1-30 15,3 0-16-15,0 1-25 0,0-4 4 0,2-1-86 16,1 1-36-16,-1-3 5 0,3 0-36 0,3-1 13 0,-1-2 7 16,-2-2 16-16,8 1 23 0,-8-1 21 0,13-4 9 15,-5-1 27-15,2-1 55 0,0-3 19 16,0 0 38-16,3-2 28 0,0-1 20 15,-3 0 3-15,0 0 26 0,3 2 5 16,-2-1 7-16,-4 1 19 0,0 2-3 0,-1 0 12 16,-1 3-14-16,0 2 9 0,-2 0-2 0,-3 3-36 0,0 0 18 15,0 0 29-15,8 8-34 0,-9-3-31 0,-1 4 28 16,-1 4 1-16,1 0-45 16,-3 3 37-16,2 3-23 0,-4 3-29 0,-1 2-2 15,2 0-71-15,-1-1-22 0,1 1-12 0,-1-3-61 16,-1 0-39-16,5-2-69 0,-1 0-171 0,1-2-612 15,0-4 115-15,3 0 18 0,0-4 127 16,0-2 83-16,3-2 67 0,2-1 37 16</inkml:trace>
  <inkml:trace contextRef="#ctx0" brushRef="#br2" timeOffset="66983.39">15320 12302 1369 0,'0'0'404'0,"0"-3"-35"0,0 3-26 0,0 0-18 0,0 0-43 16,-7 16-11-16,4-8-7 0,-2 3-24 16,2 2-15-16,-4 2-48 0,1 3-3 0,-1 4-38 15,-1 1-3-15,0 1-3 0,-2 11-35 16,0-1 74-16,2-6-28 0,1-3 18 0,1 0-39 16,-1-2-13-16,2 0-22 0,-1 0-44 0,2-6-36 15,1-1-26-15,0-2-30 0,-1-2-31 0,3-3-28 16,1-2-51-16,1-1-87 15,1-3-129-15,-2-3-124 0,5 3-413 0,-5-3 108 0,10-3 79 16,-3 1 18-16,-1-2 64 0</inkml:trace>
  <inkml:trace contextRef="#ctx0" brushRef="#br2" timeOffset="67659.8">15369 12349 1581 0,'3'-2'395'16,"1"-1"-19"-16,-1 1-25 0,2 0-32 16,-2 0-40-16,-3 2 3 0,8-1-31 0,-8 1-34 15,8 2-30-15,-6 1-13 0,0 0-7 0,1 2-6 16,0 0-23-16,-3 1-10 0,0 2-20 15,-3 1-24-15,0-1 3 0,1 0-30 0,0 1 17 16,-1-1-20-16,0 2 25 0,1-1-25 0,-1-2-29 16,3 0-4-16,-3 3 7 0,3-1-13 0,0-1 19 15,3 2-9-15,-3 1-4 16,3-1 7-16,-1 3 51 0,1-3 57 0,0 3 22 16,-3 1-117-16,4-2 52 0,-4-1 6 15,3 4-17-15,-3-6 23 0,0 2-33 16,0 0 10-16,0-1-41 0,-5 1 7 0,3 2-14 0,-1-3 14 15,-2 0-9-15,-1 1-24 0,1-3-20 0,-3 1-8 16,1-1-46-16,2-2-41 16,-5 1-43-16,4-1-39 0,1-2-38 0,-2-2-79 0,2 2-157 15,1-4-614-15,4 0 138 0,0 0 52 16,-9-7 145-16,9 2 113 0,0-1 0 0,2-5 92 16</inkml:trace>
  <inkml:trace contextRef="#ctx0" brushRef="#br2" timeOffset="68090.84">15551 12373 1026 0,'0'0'379'15,"0"0"-21"-15,7 6-35 0,-7-1-19 16,0 2-35-16,0-1-18 0,0 3-41 0,0 0-18 16,0 1-16-16,-2 4 65 0,0-1-36 0,-1 1 2 15,3 0-10-15,0 0-25 0,-5-1-11 16,3 2-36-16,1-2-20 0,-1 0 0 0,2 0-20 15,-3-2 4-15,1-3-2 0,1 2-23 0,-1-2 18 16,2-1-13-16,-2-1 6 0,2-2-9 0,0-4-4 16,0 0 4-16,2 2-71 0,-2-2 13 15,0 0 10-15,5-11 0 0,-2 4 28 0,2-2 20 16,3-6 3-16,-4 1-23 0,7-6 6 0,4-10 14 16,-2-2 6-1,5 1 7-15,-2-1-43 0,4 1 23 0,-2 3 7 0,-5 6 3 16,0 5 3-16,-1 3-8 0,-4 3-2 0,0 2 19 15,0 0-29-15,-1 4-9 0,-1 2 19 0,1 2-4 16,-4 1 9-16,-3 0-29 0,8 7 6 16,-4 0 12-16,-1 2-15 0,-3 2-5 0,0 5 23 31,3 2-16-31,-3 1-17 0,0 2 2 0,-3-1-33 0,3 5-36 0,-3-1-36 0,-1 0-28 16,3-3-30-1,-4 2-80-15,-3 0-52 0,4-1-127 0,-20 7-230 0,19-7-451 0,0-2 125 0,2-7 80 16,1-3 104-16,-3 1 45 0,2-4 127 15,1-2 46-15</inkml:trace>
  <inkml:trace contextRef="#ctx0" brushRef="#br2" timeOffset="68299.32">15656 12492 1154 0,'6'-5'509'0,"-6"5"-15"0,7-2-51 0,1-2-38 0,0 4-34 0,4-2-23 0,1 1-44 0,2-2-40 0,1 1-31 16,4 0 8-16,-2-1-72 0,5 2-26 16,-5-3-30-16,0 2-75 0,-2 0-46 15,2 0-40-15,-3 1-57 0,1 0-126 16,-2 0-40-16,-3 1-67 0,2 0-333 0,-3 0-148 0,-3 0 72 16,1 0 58-16,-2 0 37 0,-6 0 73 0</inkml:trace>
  <inkml:trace contextRef="#ctx0" brushRef="#br2" timeOffset="74963.39">16400 8869 1159 0,'0'0'251'0,"0"0"-13"16,0 0-23-16,0 0-15 0,0 0-8 16,0 0-11-16,10 6-19 0,0-6-17 0,1 0-22 15,-1 0-2-15,3 0-32 0,2 0-22 0,0 0-24 16,0 0-25-16,1-2-41 0,0 2-74 16,-1 0-139-16,0-1-20 0,-2-1-447 0,-1 4 24 15,-1-4 57-15,-1 2 74 0</inkml:trace>
  <inkml:trace contextRef="#ctx0" brushRef="#br2" timeOffset="75165.75">16466 8947 780 0,'-5'3'325'0,"5"-3"-25"0,-5 2-29 15,5-2-12-15,0 0-11 0,0 0-20 0,8 7-39 16,-3-7-20-16,3 1-15 0,1-1-24 15,2 0-38-15,2 0-38 0,0-3-69 0,2 2-147 16,1 1-122-16,-1 0-476 0,2-4 90 0,-4 2 65 16,3 0 47-16</inkml:trace>
  <inkml:trace contextRef="#ctx0" brushRef="#br2" timeOffset="75442.42">16710 8734 1110 0,'0'0'359'0,"0"-5"-47"15,0 5-10-15,5-4-100 16,-5 4 8-16,10 0-43 0,-10 0 22 0,16 2 59 0,-4 1-30 16,-1-1-26-16,4 4-10 0,3-1-88 0,2 3-4 15,-1-2-1-15,1 6-22 16,1 0 17-16,-3-1-7 0,-3-1-15 0,-5 2-6 15,3 0 3-15,-3 3 7 0,-2 0-14 0,-5-2-22 16,-3 2 1-16,0 1-5 0,-6 1 9 16,-1 1-14-16,-4 2-11 0,1-1-15 15,-3-4-8-15,1 3-23 0,1-3-33 0,-1-3-20 0,2 0-34 16,-1-1-59-16,3-4-158 0,0 1-472 16,1-4 6-16,4 1 92 0,-2-5 59 0,5 0 71 15</inkml:trace>
  <inkml:trace contextRef="#ctx0" brushRef="#br2" timeOffset="75848.08">17930 8657 1021 0,'0'0'343'16,"0"0"-46"-16,-13 4 5 0,8-2-28 0,-3 4-31 15,-4-1-20-15,-4 3-14 0,1-1 86 0,-3 5-42 16,0 1-33-16,0 0-87 0,-2-1-25 16,2 4 25-16,0-3-46 0,2 0 8 15,4 0 2-15,-1-1-10 0,2-2 3 0,-1-1-19 16,4 1-2-16,3-3 3 0,-5 2-21 0,4-3 29 0,2 1 7 15,1-1-11-15,0 1-17 16,1-3 13-16,4 3 20 0,3-2-18 0,-2-2-4 16,5 1-12-16,0 0 9 0,2-1 5 0,3-3-24 15,2 5-2-15,2-4-30 0,1-1 27 16,-2 0-10-16,5 0-27 0,1 0-17 0,-1-1-9 16,0 0-54-16,1 0-19 0,-1-2-45 15,0 1-41-15,-4 1-33 0,-1-2-78 0,-3 5-183 16,3-5-449-16,-4 3 106 15,-2-1 35-15,-2 0 95 0,0-3 39 0</inkml:trace>
  <inkml:trace contextRef="#ctx0" brushRef="#br2" timeOffset="76101.7">17974 8701 959 0,'-4'-2'387'0,"4"2"-39"0,-6-1-31 0,6 1 6 0,0 0 61 0,-6 8-33 16,4-2-34-16,0 1-48 0,1 4-29 15,-1 0 16-15,-1 2-36 0,-2 3-28 16,3 2-41-16,-4 1-2 0,-1 2-44 0,2 1-51 16,-3 1-60-16,0-2-37 0,3 3-62 0,-2-3-74 15,6-1-87-15,-1-5-134 0,-1-1-473 16,6-1 70-16,-1-2 112 0,1 0 66 0,3-3 44 15</inkml:trace>
  <inkml:trace contextRef="#ctx0" brushRef="#br2" timeOffset="76435.7">18171 8924 678 0,'-1'5'263'0,"-3"-1"-14"0,2 0-34 0,2 3-31 0,-3-1-2 0,3 0-8 0,3 1-38 16,-3-1 4-16,6 0-40 0,-4 1-5 0,5-2-23 16,3-3 17-1,3 2-12-15,-2-4 20 0,1-1-5 0,6-2 0 0,3 1 36 0,-1-3 6 16,3-2 19-16,0-1 8 0,1-2 16 0,-4 0 105 16,-5 0-16-16,1 2 3 0,-4-3 22 15,-4 0-147 1,-3 3 27-16,2-3 95 0,-7 3-48 0,0-2 7 0,-9 2-30 0,4 0-49 15,-5-2 0-15,-6 4-1 0,3 0-34 16,-3 2-55-16,-1 1-38 0,-1 3-18 0,0-1-85 16,-2 3-58-16,-1 3-34 0,1-1-86 0,-4 2-242 15,4 1-541-15,2 1 70 0,0-2 139 16,-3 4 64-16,5-2 82 0,-1 0 95 16,1 0 74-16</inkml:trace>
  <inkml:trace contextRef="#ctx0" brushRef="#br2" timeOffset="77698.03">16310 9957 552 0,'21'-4'215'0,"1"0"6"0,-1-1-27 0,0 3-53 16,4-2-13-16,-1 2-59 0,-2-2-54 0,4 3-71 15,-5 1-31-15,1-3-61 0,-6 3-426 0,1-3 6 16</inkml:trace>
  <inkml:trace contextRef="#ctx0" brushRef="#br2" timeOffset="77887.95">16433 10030 1069 0,'0'0'356'0,"0"0"-43"0,0 0-45 0,0 0-12 0,0 0 21 0,15 2-55 16,-5-2-35-16,1 0-28 0,2 0-8 0,0-1-31 15,2 1-2-15,0-1-59 0,1-1-49 16,-1-1-64-16,3 3-117 0,-5-2-106 0,3-2-521 16,-2 3 94-16,0-2 64 0,-4 1 72 0</inkml:trace>
  <inkml:trace contextRef="#ctx0" brushRef="#br2" timeOffset="78145.42">16741 9826 862 0,'10'0'323'0,"-3"-1"-16"0,3 2-10 15,-1-1-29-15,1 5-83 16,0-1-21-16,0 0 51 0,3 2-21 0,-3 3-7 16,1 0-15-16,-4 2 2 0,3 1-29 0,-6 0-4 15,-2 1-23-15,-2 1-10 0,-2-1-19 16,-2 6-30-16,0-1-21 0,-6 1-27 15,1 2-65-15,-3-1-43 0,2 1-90 0,-4-4-113 0,4 2-478 16,0-4-13-16,3-2 169 0,-1 1 39 16,0-4 37-16</inkml:trace>
  <inkml:trace contextRef="#ctx0" brushRef="#br2" timeOffset="78527.75">17846 9919 952 0,'0'0'320'0,"0"0"-29"15,-9 9-12-15,2-6-33 16,0 4-23-16,-3-1 2 0,-4 6-28 0,1-2-12 16,-1 0-24-16,-4 3-10 0,0 2-18 0,-1-1 59 15,4 0-8-15,-3 1-5 0,3-2-30 16,2-2-26-16,3-1-11 0,-1 2-2 16,3-5-12-16,1 3-22 0,2-2 32 0,3-2-3 0,-1 1-31 15,5-3 3-15,1-2-5 0,2 4-8 0,5-5 12 16,3 2-27-16,0 0-5 0,5-3-4 15,0 0-1-15,5 0-1 16,0 0-22-16,3 0-27 16,-3-2-32-16,3 0-36 0,-2 0-44 0,0 0-44 0,-3-3-127 0,0 4-111 15,-4-1-513-15,1-1 75 16,-2 3 122-16,-2-4 76 0,-3 3 43 0</inkml:trace>
  <inkml:trace contextRef="#ctx0" brushRef="#br2" timeOffset="78778.52">17879 9960 1141 0,'-5'6'330'0,"1"0"-7"0,0 3-44 15,-1-1-23-15,2 3-26 0,-1 2-33 16,1-1 3-16,0 1-13 0,0 3-62 0,-1-2-61 15,1-1-79-15,2 0-123 0,-3-3-162 0,4 4-473 16,0-1 67-16,4 0 91 0,-3-2 39 16</inkml:trace>
  <inkml:trace contextRef="#ctx0" brushRef="#br2" timeOffset="79045.09">18113 10111 1064 0,'0'0'313'0,"0"0"1"16,-6 12-45-16,6-9-41 0,0-3-8 0,3 8-2 15,0-5-21-15,-1-1-44 0,3 2 1 16,3-3 10-16,1 1-82 0,0-1 25 0,1-2 26 16,5-1 72-16,-2-1 2 0,2-1 26 0,1-2-18 15,-1 0-7-15,-2 0 14 0,-2-1-48 0,-4 1-10 16,2 0-25-16,-5 0 37 0,-2 0-43 15,1 0-20-15,-6-1 84 0,-1 4-31 0,-4 0-22 16,-2 0-42-16,-1-1-46 0,-7 4-30 0,0 4-21 16,-2-1-82-16,-6 3-38 0,2 0-56 15,-3 1-70-15,-1 2-250 0,-11 5-510 16,6 1 49-16,-3 1 102 0,0-1 72 16,2 2 66-16,-4 0 93 0</inkml:trace>
  <inkml:trace contextRef="#ctx0" brushRef="#br2" timeOffset="79662.38">17092 10667 1028 0,'0'0'387'0,"0"0"-29"0,0 0-7 0,0 0-57 0,0 0-35 0,0 0-34 0,0 0-7 16,0 0-21-16,13 8-61 0,-7-8-44 0,-2 1-31 16,1 3-86-16,3-3-114 0,-1 3-114 15,-1-1-574-15,1 1 131 0,-2-1 23 16,-4 2 46-16</inkml:trace>
  <inkml:trace contextRef="#ctx0" brushRef="#br2" timeOffset="79815.55">17023 10823 1016 0,'-3'2'340'0,"0"1"8"0,3-3-53 0,0 6-83 16,0-6-10-16,0 0-15 0,8 4-41 0,0-1 3 15,-3-2-16 1,5 0-31-16,0 0-43 0,1-1-57 0,2 0-53 0,-1 0-82 16,1-2-202-16,0 1-374 0,0-2 23 0,0 3 105 15,-1-2 48-15</inkml:trace>
  <inkml:trace contextRef="#ctx0" brushRef="#br2" timeOffset="80075.8">17248 10656 913 0,'8'-2'302'0,"0"-1"41"0,2 3-12 0,0-2-14 16,0 4-23-16,1-1-12 0,1 3-44 15,1 1-10-15,0 2 7 16,-2 0-112-16,3 5-13 0,0 0 23 0,-4 1-20 0,0-1 17 16,-2 1 4-16,-3 5-30 0,0-3-9 0,-2 2-5 15,-1-2-34-15,-4 2-18 16,-1 2-35-16,-2 0-31 0,-3-2-34 0,0 2-42 0,1-3-22 0,1-1-109 16,-1-2-126-16,0 1-466 0,3-3 33 15,2 0 98-15,0-3 61 0,2-3 70 16</inkml:trace>
  <inkml:trace contextRef="#ctx0" brushRef="#br2" timeOffset="80374.02">17927 10700 1162 0,'0'0'384'0,"0"0"-29"0,0 0-58 0,0 0-23 0,-17 12-10 15,6-6-36-15,1 2-3 0,-5 1-51 16,-3 4 0-16,3-1-26 0,-3 2-71 0,0-1-3 16,2 1-12-16,6-3 15 0,-3-1-16 0,1 3-12 15,4-4-11-15,0 1 49 0,3-2 3 16,2 1 53-16,1 1-5 0,2-4-20 0,2 3-28 16,4-1-1-16,-1-1 6 0,2-1-8 15,3-1-8-15,1 0 6 0,2-2-44 0,0 2-28 16,4-3-13-16,-2-2-52 0,3 0-35 15,-2 0-69-15,2 0-143 0,0-1-520 0,-2-3-62 16,4 1 72-16,-5-1 98 0,-2-1 78 0,2-2 88 16</inkml:trace>
  <inkml:trace contextRef="#ctx0" brushRef="#br2" timeOffset="80578.85">17899 10704 1077 0,'-12'8'428'0,"4"-2"-42"0,1 2-56 0,-1 1-30 0,5 0-31 15,-2 1-29-15,0 1-4 0,0-1-52 0,4 3-36 16,-1 0-12-16,0 1-72 0,2-1-54 0,0-3-86 16,2 4-104-16,3-4-111 15,-5 1-224-15,8-3-253 0,2 2 77 0,0-4 74 0,1 1 51 16</inkml:trace>
  <inkml:trace contextRef="#ctx0" brushRef="#br2" timeOffset="80837.23">18123 10873 849 0,'5'-2'366'0,"-3"0"-28"0,-2 2-33 0,0 0-34 16,0 0-66-16,0 0-13 0,0 0-3 0,8 5-38 0,-3-3-23 16,-5 1-23-16,3-1-2 0,-1 2-4 15,4-2 14-15,-2 3-16 16,-1-4 3-16,4 0 92 0,-7-1-25 0,14 0 17 0,-7-1 31 15,3-2-18-15,1-1-10 0,-4-1 7 0,4-2 6 16,-2 1-23-16,0 0-57 0,-4-1-10 16,-2 1 21-16,-1-1-26 0,-2 0 15 0,0 2-56 15,-5-2 5-15,0 2-10 0,-3-1-59 0,0 4-3 16,-2-1-40-16,-3 2-37 0,-2 2-32 16,-1 3-55-16,-2 1-81 0,3-6-266 15,-3 7-492-15,-2 4 125 0,-1 1 44 0,1-1 87 0,1 0 85 16,-1 4 91-16</inkml:trace>
  <inkml:trace contextRef="#ctx0" brushRef="#br2" timeOffset="81540.22">17027 11667 1195 0,'-7'0'450'0,"7"0"-43"16,-7 0-20-16,7 0-21 0,0 0-51 0,0 0-39 15,0 0-2-15,0 0-28 0,0 0-49 16,0 0-26-16,15 5-22 0,-5-5-62 0,0 1-21 0,0-2-35 15,1 1-62-15,2 0-45 16,-3 0-80-16,1 0-131 0,-3 1-102 0,1 0-435 16,-4 0 40-16,0 1 78 0,-5-2 48 0,3 5 79 15</inkml:trace>
  <inkml:trace contextRef="#ctx0" brushRef="#br2" timeOffset="81662.48">16992 11773 837 0,'-3'3'322'0,"1"-1"-22"0,2-2-27 0,-1 3-17 15,1-3-25-15,0 0-19 0,6 6-27 0,-1-3-19 16,5-2-20-16,-2-1-5 0,4 0-26 0,2 0-49 16,1-1-27-16,1-2-65 0,1 1-117 0,-1 0-152 15,6-2-503-15,-1 1 104 0,0-2 67 16,-1 0 33 0</inkml:trace>
  <inkml:trace contextRef="#ctx0" brushRef="#br2" timeOffset="82011.11">17174 11581 990 0,'5'-1'379'0,"3"-2"-26"0,0 1-107 0,2 0-26 0,2 1-8 16,-1 1 1-16,2 1-26 0,2 1-13 0,-2 4 5 0,2 0-13 16,-2 1-17-16,2 4-1 15,-4-4 11-15,1 9-34 0,-4-2 19 0,0 0-26 16,-3 4-29-16,-3-1-2 16,1 1 8-16,-3 2-31 0,-5 0 5 0,2-3-5 0,-4 4 0 15,-1 2-10-15,-2-3-18 0,-1-3-19 0,1 1-4 16,-2-2-56-16,1-3-16 0,3 0-41 15,-2-2-48-15,2 0-126 16,4-5-87-16,1 2-486 0,0-4 25 0,6-1 128 0,-3-3 29 16,3 3 73-16</inkml:trace>
  <inkml:trace contextRef="#ctx0" brushRef="#br2" timeOffset="82324.95">17868 11618 1320 0,'4'0'415'0,"-4"0"-105"16,0 0 5-16,0 0-21 0,0 0-53 0,0 0-14 15,-11 13 1-15,4-7-44 0,-1 1 1 16,-1 2-4-16,-3 1-40 0,0 1-8 0,-2 1-12 16,2 0 2-16,1 0-6 0,-1-1-35 0,1-1 5 15,-1 1 0-15,4-3-18 0,0 2 8 16,3-2-26-16,0 2 3 15,3-3-10-15,-1 1 14 0,3-3-17 0,2 1 26 0,1 0-29 32,2-1-4-32,3-1-4 0,0 1-14 0,4-1-9 0,1-2 24 0,2 0-59 0,3 0-8 15,-2-1-33-15,2-1-56 0,-1-3-26 0,2 1-82 16,-1 0-141-16,-3-2-484 0,1 2 1 16,-1-3 104-16,0 1 44 0,-2 1 69 15,-1-3 88-15</inkml:trace>
  <inkml:trace contextRef="#ctx0" brushRef="#br2" timeOffset="82547.95">17887 11628 1197 0,'-5'3'441'0,"-1"1"-50"15,1 1-84-15,-2-1-45 0,1 4-6 0,2 0-13 16,1 0-15-16,-2-1-54 0,0 4-5 15,2-1-29-15,0 0-17 0,-2 2-20 0,3 0 12 16,-1 0-46-16,3 1-59 0,-2-4-41 16,2 1-43-16,2 0-28 0,0-1-90 0,-1-2-46 0,4-1-16 15,-1 0-20-15,2-1-519 16,2-2 51-16,2-1 89 16,0-2 67-16</inkml:trace>
  <inkml:trace contextRef="#ctx0" brushRef="#br2" timeOffset="82817.72">18107 11721 675 0,'3'-3'295'0,"0"2"53"16,-3 1-13-16,0 0-18 0,0 0-25 0,0 0-43 16,0 0-6-16,0 12-23 0,-1-7-10 15,1-1-18-15,-2 2-16 0,2-1-22 0,0 1-31 16,0 0-28-16,3-1 17 0,1 2-4 0,-1-1-32 16,4-4 9-16,-1 2 2 0,2-2-36 15,2-2-20-15,0 0 28 0,1-2 25 0,1-2-20 16,-1 1-2-16,1-2 27 0,-2-2 90 15,0 2-10-15,-2-1 8 0,-2 0-8 0,-2-1-39 16,-1 1-68-16,-3 1-19 0,-2-1-4 0,-3 0-19 16,1 2-10-16,-5 1-33 0,-2 0-20 15,-1 2-24-15,-1-1-68 0,0 4-29 16,-5 1-69-16,3-2-228 0,-3 6-514 0,0 1 130 0,-3 1 39 16,0-1 107-16,-1 3 77 31,1-2 56-31</inkml:trace>
  <inkml:trace contextRef="#ctx0" brushRef="#br2" timeOffset="83278.35">17025 12648 1049 0,'-5'-2'351'0,"5"2"-31"16,0 0-21-16,0 0-35 0,0 0-8 0,16-5-31 15,-6 5 8-15,2-1-54 0,2 1-2 16,1-1-49-16,5 0-23 0,-2 0-31 0,2 1-46 16,1-1-36-16,-1 1-84 0,-1-2-105 0,-1 2-128 15,-3 0-456-15,1 0 59 0,-4 2 65 16,-2-2 101-16</inkml:trace>
  <inkml:trace contextRef="#ctx0" brushRef="#br2" timeOffset="83470.08">17087 12725 926 0,'-3'5'387'0,"3"-5"-32"15,-2 4-35-15,2-4-2 0,4 6-42 16,-1-5-25-16,3 1-26 0,4-1 6 0,0 2-29 16,5-1-15-16,1-2-34 0,2 1-53 0,0-1-8 15,-1 0-51-15,1-1-48 0,3-1-119 16,-3-2-171-1,0 4-565-15,-3-2 137 0,1 1 49 0,-4-2 3 0,1 1 67 0</inkml:trace>
  <inkml:trace contextRef="#ctx0" brushRef="#br2" timeOffset="83728.7">17423 12544 1087 0,'10'-1'430'0,"-10"1"-46"0,10 3-10 16,-2 1-131-16,-1 0-10 0,-1 1-13 15,4 1 6-15,0 2-27 0,-2-1 55 0,2 6-16 0,-5-2-28 16,1 2-36-16,-4 1-3 0,-2 0-45 0,0 2 7 16,-2 2-46-16,-1-1-18 15,-2 1-38-15,-3 0-39 0,3-1-28 0,-3 1-23 16,0-1-84-16,1-2-146 0,-1-2-175 0,5-1-429 15,-1-3 120-15,4-1 69 0,-1-3 54 0,-1-1 46 16</inkml:trace>
  <inkml:trace contextRef="#ctx0" brushRef="#br2" timeOffset="84190">18179 12544 972 0,'-8'8'392'0,"-2"-4"-8"0,0 5-46 15,2-2-41-15,0 1-24 0,-2-1-27 16,2 0-3-16,1 1-38 0,0-1 0 0,-1 0-13 16,0-1-33-16,3 0-24 0,-1 0-2 0,2-1-23 15,2 2 8-15,-2-3 36 0,4 1-42 16,0 1-9-16,0-2 4 0,5 0-9 15,-2 0-22-15,2 0 1 0,3-2-79 0,2 2-11 0,0-1 10 16,3-1-17-16,2 2 7 0,3-3 21 16,0 0 2-16,-2 1 8 0,4-2-13 15,0 0-46-15,-1 0-31 0,-1-2-5 0,0 2-56 0,-1-2-43 16,-1 1-101-16,-3-2-109 0,0 3-441 16,-3-2 8-1,0 0 112-15,-5 0 60 0,3-1 99 0</inkml:trace>
  <inkml:trace contextRef="#ctx0" brushRef="#br2" timeOffset="84431.58">18292 12479 1195 0,'0'0'402'0,"-8"7"-31"0,8-2-31 16,0 2-38-16,-2 0-87 0,2 3-15 0,0 0-28 15,0 3-14-15,0 3-35 0,0 1 0 16,-3 1 10-16,3 2-56 0,0 0 10 0,-3 0-56 16,1 0-13-16,2 3-54 0,0-4-5 0,-2 0-54 15,1-2-64-15,2-2-81 0,1-2-37 0,0 0-276 16,1-2-191-16,4-3 101 0,-4-4 8 16,5 0 113-16</inkml:trace>
  <inkml:trace contextRef="#ctx0" brushRef="#br2" timeOffset="84705.75">18517 12688 860 0,'3'-1'261'0,"-3"1"18"0,0 0-46 0,0 0-6 0,0 0-37 0,5 9-8 0,-2-6-24 0,-1 1-9 16,1-1-14-16,2 3 4 0,0-1-37 0,0 0 8 16,5-3 15-16,-2 1 14 0,2 0-6 15,1-3-5-15,1 0 82 0,2-2 10 16,-2-2-102-16,1 0 20 0,0-3-10 0,-1 0-13 0,-1 1 97 15,1-2 19-15,-2 2-3 16,-4-1 7-16,2 0-71 0,-6 0 30 0,1 1 6 0,-3 2-31 16,-3-2-18-16,-2 4-20 0,-5 0-34 0,0 1-23 15,-5-1-20-15,-4 7-44 16,-4-3-64-16,-2 4-35 0,-1-1-62 0,-2 1-69 16,-8 6-118-16,0 1-223 15,11-2-458-15,4-2 77 0,1-1 144 16,4 0 73-16,-2 1 73 0,3-2 71 0</inkml:trace>
  <inkml:trace contextRef="#ctx0" brushRef="#br2" timeOffset="85953.43">18841 8494 893 0,'23'-7'335'0,"-5"2"-43"0,-1 4 15 0,-1 3-30 15,-2 3 4-15,-2 2-15 0,-2 5-10 16,0 7-15-16,-5 3-3 0,1 15-105 16,-10 7 46-16,-8 13-15 0,-6 8-13 0,0 3 0 15,-3 1-20-15,-4 4-29 0,-1 16-10 0,8-15-46 16,1-4-10-16,3-4-13 0,9-7-10 15,3-15 5-15,4-7-5 0,1-5-11 16,2-8 8-16,3-1 6 0,-3-5-3 0,3-4 17 16,2-2-9-16,0-4-3 0,1-3 25 15,1-2-9-15,1 1-4 0,2-5 6 0,-2-2-13 16,3 0-8-16,2-3-4 0,-3-2 12 0,1 2 0 16,-1-2-21-16,0 4 16 15,-2-1 0-15,-3 0 0 0,0 4-5 0,-2 0 30 0,0 3-7 16,-1 3-10-16,-1 3 20 0,1 4-18 0,-4 4-5 15,2 5 41-15,-2 9-10 0,2 9-13 16,2 10 15-16,-2 9-7 16,3 4 2-16,5 7 15 0,0-1-14 0,2 6-27 0,5 1 16 0,8 19 3 15,-1-6-21-15,4 6 0 0,-1 0 0 0,3-1 10 16,1 1-5-16,1-2-12 0,2 1-11 16,2-2 18-16,-2 1-8 0,1-3-7 15,-1-2 5-15,-4 0 17 0,0 0-17 0,-9-17 0 16,1 1 0-16,-2 1 33 15,-2-3-36-15,-1-2 8 0,-5-2 13 0,1-4-24 0,-6-3-4 16,-5-10-6-16,-5-2 1 0,-2-1-19 16,-3-4-2-16,-5 0-10 0,-4-2-10 0,-3-2 25 15,-4-4-18-15,3-2-21 0,-2-3 9 0,-1-2-16 16,6-7-31 0,2-3-41-16,0-5-58 0,3-1-72 0,-3-4-88 0,-5 1-124 0,8-4-426 0,2-1 85 15,1-5 72 1,-2 0 74-16,2-4 99 0,-1-2 14 0</inkml:trace>
  <inkml:trace contextRef="#ctx0" brushRef="#br2" timeOffset="93224.4">19979 9232 701 0,'0'0'287'0,"10"11"-19"16,-10-4-37-16,3 3 50 0,-3 4-22 0,0 3-29 0,0 4-2 15,-3 5-28-15,2 2-8 0,-3 0-34 0,-1 10-7 16,0-2-20-16,2-5-54 16,-2-4-16-16,3 0-48 0,-1-2-28 0,0-2-57 15,0-1-41-15,1-2-74 0,0-2-61 0,-3 0-169 16,4-4-323-16,-1-1 90 0,4-3 28 15</inkml:trace>
  <inkml:trace contextRef="#ctx0" brushRef="#br2" timeOffset="93823.25">20021 9325 1039 0,'14'-13'371'0,"-1"6"-46"0,1 0-33 0,-5 1 17 0,2 2-65 0,-1-1-70 15,0 4-18-15,-3-1-18 0,1 2-38 0,-2 0 25 16,1 2-30-16,-4 2 102 0,-1 1-33 0,-2 2-18 15,-2 1-26-15,-1 5-7 0,-4-1-1 16,-1 5-37-16,-2 1-11 0,-3 0-3 16,-3 1-5-16,-4 3 1 0,4 0-6 0,1-7 0 0,-1 4-7 15,3-3 2-15,1-3 18 16,2-1-31-16,2-3-10 0,0-3 18 0,3 4-13 16,0-3 5-16,0-1-10 0,2-2-17 0,1 1 14 15,4 1 0-15,-2-1 4 0,3 0 6 16,0-3 6-16,4 3-10 15,-2 0 15-15,3-1-26 0,0 1 18 0,0-1 24 0,2-2-14 0,-3 5-17 16,6-3-1-16,-2 1-9 0,-1-2-16 16,3 1 30-16,-3 0-32 0,2 1-11 0,-2-1-15 15,1-3-21-15,-3 1 1 16,2 2-47-16,-2-2-10 0,0 1-36 0,-1-1-82 0,1-2-102 16,-1 1-48-16,1 2-452 0,-3-2 19 15,3-1 125-15,-3 1 39 0,-5-1 35 0</inkml:trace>
  <inkml:trace contextRef="#ctx0" brushRef="#br2" timeOffset="94693.64">20423 9525 880 0,'0'-6'294'0,"2"3"-15"16,-2-2 72-16,2 0-34 0,-2 0-20 0,0 5-12 15,-4-7-4-15,3 6-58 0,1 1-16 16,-8-4-28-16,1 4 8 0,7 0-46 16,-15 5-18-16,7-1-11 0,-2-2 19 0,0 5-26 15,2-2-21-15,-1 2 11 0,-1 3-28 16,0-2-85-16,4-1-5 0,-2 2 2 0,0-2 6 16,2 1-11-16,3-2 24 0,-1 1 22 0,1-1-20 15,3-1 13-15,0-2-16 0,0 3 9 16,0-6-22-16,3 5 24 0,1-4-16 15,-1 1 13-15,3-1 16 0,-6-1-14 0,12-4-14 0,-4 4 12 16,-3-5-5-16,3 2 23 16,1-2-5-16,-2-1 15 0,0 1 11 0,-2-2-6 0,0 1 3 15,2 0 0-15,-3-1 23 0,2 1-3 0,-5 0-15 16,4-1-7-16,-3 4 9 16,1-1-12-16,0 0 10 0,-1 0 13 0,-1 1-20 0,-1 0-6 15,2-1-2-15,-2 4-16 16,2-5 13-16,-2 5 5 0,0 0-33 0,0 0 23 15,0 0 3-15,0 0-16 0,0 0 11 0,0 0 7 16,0 0-36-16,0 0 21 0,0 0-3 0,-2 16 13 16,2-13-2-16,0 2-31 0,0-1 15 15,0 0-10-15,0 1 30 0,0 1-15 0,2-1-25 16,-2 0 15 0,0 1 18-16,3-3-13 0,-2 3-15 0,1 0 5 0,-2-1 10 0,2 0 3 15,1-2-6-15,-2 1-12 0,0-1 12 16,0 1-12-16,1-2 15 0,0 1 13 0,-2-3-10 15,6 4 10-15,-4-1 10 0,1-1-18 0,-3-2 6 16,9 0 1-16,-9 0 14 16,0 0-18-16,11-1 2 0,-5 0 21 0,-2-2 10 0,2 1-10 15,-2 1-18-15,2-1 23 0,-1-1-18 16,-2 1 13-16,2-1 0 0,2 1-13 16,-4-2 7-1,3 3 14-15,-4-1-3 0,-2 2-23 0,8-4-10 0,-4 3-1 0,-4 1 14 0,8-1-14 0,-8 1 14 16,5 0 10-16,-5 0-31 15,0 0 5-15,11 1-3 0,-8 3 21 0,-3-4-20 16,7 2 15-16,-4-1 10 0,-1 2 8 0,-2-3-41 16,5 4 28-16,-2-1-26 15,-3-3 11-15,6 2-8 0,-4-1-8 0,-2-1 8 0,4 3 26 16,-4-3-3-16,3 2 25 0,-3-2-27 0,0 0 15 16,8 2 51-16,-8-2-18 0,0 0 26 15,8 2 22-15,-8-2-30 16,9 1-7-16,-6 0-6 0,-3-1-23 0,10 1-5 0,-7-1 5 15,-3 0-7-15,8 4-19 0,-3-2 1 0,0-2-18 0,-5 0-1 16,7 3-30-16,-7-3-41 16,6 3-18-16,-6-3-40 0,3 1-42 0,-3-1-21 0,4 3-19 15,-4-3-34-15,3 3-44 0,-3-3-53 16,5 0-182-16,-5 0-471 0,6 0 56 0,-6 0 103 16,0 0 50-16,0 0 99 0,10-6 78 15</inkml:trace>
  <inkml:trace contextRef="#ctx0" brushRef="#br2" timeOffset="95697.04">20905 9281 1103 0,'4'-6'322'0,"-1"4"-20"0,-3-2-18 0,1-1-22 0,-1 5-40 0,2-1-4 0,-2 1 4 0,0 0-19 0,0 0 81 15,0 12-44 1,0-5-17-16,-1 3-23 0,0-1-11 0,0 2-20 0,1 5-10 0,-5 0-34 16,3 2-20-16,-1 0 26 0,3-1-21 0,-3 0-13 15,1-1-2-15,2-2-36 0,0 2 5 16,0-3 15-16,0 0-23 0,0-2-22 0,2-2-9 16,-2-2 3-16,3 2 11 0,-3-5-9 0,0 4 1 15,2-5-10-15,-1 2 22 0,-1-3 1 16,0-2-11-16,2 3 13 0,-2-3-10 15,0 0 0-15,0 0-13 0,0 0-8 0,0 0 13 16,-18-6-7-16,13 4-21 0,-3 0 18 16,3 2-6-16,-2 0-17 0,-2 2 16 0,1 1-11 15,-1-1 2-15,-2 1 31 0,1 0-20 0,2 3 5 16,-2 1-13-16,3-1 13 0,-3 0-13 16,4 1 26-16,1-2-26 0,-2 1-18 15,4 0 16-15,-2 0-6 0,4-1 1 0,0-1 7 0,0 1-8 16,3 1 6-16,1-6-11 0,2 5 3 0,0-4 18 15,3-1-39-15,0 0-7 0,5-1 30 16,2-1-22-16,0-1 17 0,1-3-7 0,2-1-3 16,2 1 18-16,1-2-21 0,0-3 1 15,-1 0 22-15,1 3-4 0,-3-4 2 16,-3 1-5-16,1 3 15 0,-2-3-7 0,-3 4 15 16,-1 0 5-16,0 0 7 0,-4 2 14 0,1-1-6 0,-2 3-20 15,0 0 61-15,-2 0-73 16,-3 3-4-16,0 0 44 0,0 0 0 15,0 0-38-15,0 0 25 0,-6 14-17 0,2-8-6 0,-2 1 5 16,2 1-5-16,1 2-22 16,-2-3 37-16,3 1-30 0,-1 1-5 0,0-2-31 0,2 1 33 15,-1-2-17-15,2 1-11 0,0-2 36 0,2 1-28 16,-1-2 25-16,2 0 13 0,0-1-15 16,-1-1 8-16,-2-2-1 0,10 0 29 15,-10 0-34-15,10-1 16 0,-4-3-2 0,0 3-11 16,-2-1-3-16,0-3 23 0,-1-1-25 0,0 2 8 15,-1-1 30-15,-1 0-12 0,1-1 14 16,-2 0-29-16,0 1 9 0,0-1 26 0,-2 0-28 16,2-1-24-16,-1 2 24 0,-1 2-13 0,2-2-5 15,-3 0-8-15,3 5 21 16,-2-7-28-16,2 6 25 0,0 1-33 0,0 0 7 0,0-4 21 16,0 4-10-16,0 0 17 0,0 0-12 0,0 0 8 15,0 0 7-15,7 11 3 16,-4-7-13-16,-1 0 8 0,2 1 7 15,0-1-20-15,0 2 28 0,0-3-41 0,1 3 8 0,0 0 10 0,0-1-16 16,2 1 16-16,-3-1-10 16,1-2 23-16,2 2-13 0,-2-2 10 15,0 1-10-15,0 0 5 0,1-1-2 0,-1 1 25 0,0-1 18 16,-2 0-10-16,2-1-3 0,0-1 34 16,0 3-42-16,0-3 21 0,1 3-12 0,-2-2 35 15,2-1-26-15,1 0-2 0,-4 2 5 0,2-1 0 16,1-2-7-16,-2 3-3 0,2-2 5 15,-6-1 35-15,10 2-17 0,-6-2-15 16,-4 0-13-16,10 0-3 0,-10 0-41 0,9-1-18 16,-4 0-12-16,-5 1-57 0,10-4-23 0,-7 4 0 0,-3 0-28 15,10-3-56-15,-5 0-24 0,2 3-30 16,-1-3-56-16,2-1-93 0,-1-2-130 0,-1 6-435 16,4-2 53-16,-2-1 147 15,2 1 17-15,0-2 75 0,0 2 86 0</inkml:trace>
  <inkml:trace contextRef="#ctx0" brushRef="#br2" timeOffset="96264.67">21730 9641 985 0,'0'0'450'0,"-11"-11"-32"0,9 6-19 15,-1 0 13-15,-4-1-123 0,4-1-12 0,-4-2-6 0,2-2-33 16,1-1-10-16,0-2 54 16,2-3-11-16,1-2-36 0,2-2-32 0,1-5-29 15,2-1-16-15,5-8-12 0,1-1-2 0,6 0-9 0,-2 4-17 16,4 3 2-16,-5 7-38 0,1 5 3 16,-4 3 2-16,-3 1-28 0,1 4 2 15,0 1-12-15,-6 2 12 0,0 6-5 0,-2 0-27 16,0 0 29-16,0 0-11 0,-17 17-27 15,3-5 0-15,-3 2 1 0,-7 10-8 0,-1 3-3 16,-3-1 16-16,0 1 4 0,2-2-25 0,1 1-10 16,2-2-7-16,5-4 22 0,5-5 8 15,3-2-13 1,2 1-21-16,4-4 27 0,0-1 1 16,6-2-4-16,1-1 2 0,5-3-4 0,5 1-30 0,2-3 9 0,8-3 2 15,8-2 3-15,13-2 0 0,5-3-44 0,0-2-28 0,-2 0 18 16,5-2-28-16,-6 2-8 0,1 1-33 15,-2 0 5-15,-1 1-36 0,-13 1 0 0,-3 3-66 16,-7 2-182-16,-7 0-72 0,-3 4-448 0,-3-1 44 16,-2 2 149-16,-4 1 29 0,0 1 81 15,-2 5 61-15</inkml:trace>
  <inkml:trace contextRef="#ctx0" brushRef="#br2" timeOffset="97920.19">20830 10212 1203 0,'0'0'437'0,"0"0"-68"0,0 13-44 16,3-3-10-16,-3-1-44 0,-3 4-81 0,3 2-34 15,0 4-5-15,-3 2-21 0,-1 4-20 0,2 0 0 16,-2 4-7-16,-1 7-60 16,-2 0-12-16,1-6-21 0,1-4-5 0,0-1-7 0,0 0-29 15,2 0 0-15,-2-6 11 0,3-2 5 0,-1 1-34 16,-2-5 41-16,3-1-15 16,2-3 5-16,-1 1 18 0,-1-2-23 0,-1-1 26 15,1-3-11-15,1-3-10 0,1-1 16 0,-4 4 22 16,4-4 6-16,0 0 27 15,-6-16 17-15,4 7-14 0,-1-6 31 0,1-5-3 0,2 0 3 16,0-10-25-16,5-7-8 0,3-3 10 0,-1-1 10 16,6 3-13-16,0 1 16 15,2 5-18-15,3 2 10 0,0 2 0 16,-2 8-15-16,-3 3 2 0,-1 5 8 0,0 1-10 0,-3 5-11 0,-1 2 9 16,1 1-6-16,-3 4-8 15,-6-1-10-15,5 10 18 0,-5-3-18 0,-2 6-2 0,-6 0-28 16,0 3 109-16,-5 3-17 0,-5 8-34 15,0-2-7-15,0 1 2 0,3-4-3 16,3-5 6-16,-2 0-8 0,4-1-18 0,2-2-5 0,-2-1-2 16,3 0 2-16,4-1 10 0,-2-2-2 15,0-1-11-15,5 1-7 0,-3-2 3 0,6 0-6 16,-1-2-8-16,1 1 16 0,2-2 0 16,0 1-2-1,3-2-16-15,4-2-26 0,-1 2-10 0,1-4-5 0,4 1-36 0,-1 0-22 0,-1-1-4 16,0 0-7-16,2-1-51 0,-1 1-49 15,-1 0-56-15,-2 0-57 0,1 0-86 16,0 0 12-16,-3 0-107 0,3 1-147 16,-3-1 170-16,0 0 228 0,-2 0 12 0,-3 0 116 0,3 1 40 15,-8-1 65-15,12-2 25 0,-6 1 62 16,-1-2 22-16,2 2 24 0,-4 0 17 0,3-3 19 16,-2 3-16-1,2-5 28-15,-2 5 0 0,-1-5-12 0,0 5 17 16,-1-4 52-16,3 1 10 0,-4 1-29 0,-1-1 3 0,0 4-12 0,2-7-8 15,-2 7-11-15,0-3-10 0,0 3-7 16,0 0 7-16,0 0-35 0,0 0-19 0,0 0 1 16,0 0-6-16,-10 8-7 0,7-3-34 0,3-1 29 15,-5 3-19 1,5 0-14-16,-2-2-29 0,2 0 3 0,0 1 2 0,0 0-41 16,4 1 1-16,-1-2 17 0,2 0-13 0,3 1-10 15,0-5 3-15,2 3-3 0,1-4-2 0,-1 0 23 16,4-4-26-16,0 3 10 0,-1-5 18 15,-1 1-28-15,4-1 47 0,-2-3 9 16,0 2-2-16,-1-3-11 0,-3-2 22 16,2 1-71-16,-3 1 17 0,1-2 17 0,0-1-18 15,-2-3 13-15,-3 6-5 0,2-2 34 0,-4 2 4 0,4-2-5 16,-4 5 11-16,1-1 5 0,-2 1 20 16,0 1-26-16,-2 1 70 0,2-1 5 0,1 1-19 15,-3 0 4-15,0 1-1 0,0 0-7 16,0 4-21-16,3-6-23 0,-3 6 18 15,0-5 6-15,0 5-14 0,0 0-35 0,-3-3 7 16,3 3-18-16,0 0 6 0,0 0 10 0,0 0-19 16,0 0 24-16,0 0 8 0,-5 9 2 15,5-9-13-15,0 11-20 16,0-4 12-16,2 3 14 0,-2-1-29 0,-2 4-13 0,4 3 9 0,-2-1 9 16,-2 5-20-16,2 1-8 0,-2 3 8 15,2 1 13-15,-1 1 7 0,0 1-10 16,0 0 0-16,-2-1-7 15,1 0-24-15,2-5-10 0,-1 1-2 0,-1-3-13 0,-1 0-16 0,3-4 18 16,0-2 34-16,-2 0-16 0,1-1 11 16,-1-2 5-16,0-1-1 0,2-2 19 0,0-2 12 15,-3-1 11-15,3-2-21 0,0-2 20 0,0 0-14 16,0 0 1-16,0 0 24 16,0 0 13-16,-3-19-18 0,6 6 10 0,2-5-13 0,0-4 0 15,3 0-15-15,5-10 10 16,4 3-5-16,-3 9-13 0,-3 1 18 0,1 4-16 0,-2 1 37 15,2 4-36-15,-5 0 28 0,1 3-34 16,-2 2 24 0,0-1 17-16,-2 4-38 0,-1 1 16 0,-3 1 30 0,0 0-18 0,0 0-5 0,7 6-30 15,-11 0-16-15,1 0-18 0,-2 2 8 16,-3 0-18-16,2 3-49 0,-1 0-7 0,-1 0-13 0,-1-2-16 16,1-1 34-16,3 1-8 15,-1-3 25-15,1-2 19 0,0 1 0 0,1-1-26 16,3-2 43-16,1-2-15 0,0 0-2 0,0 0 10 15,0 0 17-15,0 0 9 0,9-14-1 0,-5 9-5 16,4-1 29-16,-3 1-16 0,3-1 5 0,-1 3 28 16,-2-1 14-16,3 0-11 15,-2 0-29-15,-2 0 39 0,2 3-17 0,0 0 7 0,-2-1-3 16,-4 2 8-16,11 0-18 0,-11 0 31 16,9-2-5-16,-9 2 10 0,8 0-36 15,-8 0 0 1,10 2 15-16,-10-2 6 0,8-2 23 0,-3 1-16 0,0 1 5 0,2-4-2 15,0 2 10-15,0-1-15 0,-2-1-26 0,3-2-13 16,-1 2-20-16,1-3-36 0,0-1-28 0,0 1-23 16,-1-1-23-16,0-3-42 0,1-3-12 0,-2 1-40 15,1-3-81-15,0-1-135 0,-1 2-553 16,-1-3 90 0,0-1 113-16,-2-1 83 0,-1-2 86 0,-4 2 91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1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6:00:00.821"/>
    </inkml:context>
    <inkml:brush xml:id="br0">
      <inkml:brushProperty name="width" value="0.05292" units="cm"/>
      <inkml:brushProperty name="height" value="0.05292" units="cm"/>
      <inkml:brushProperty name="color" value="#002060"/>
    </inkml:brush>
  </inkml:definitions>
  <inkml:trace contextRef="#ctx0" brushRef="#br0">9497 4883 975 0,'0'5'376'0,"0"-5"-38"16,0 0-21-16,0 0 1 0,0 0-21 0,0 0-111 16,-7 1-6-16,7-1-22 15,0 0 16-15,0 0 16 0,-7-5 20 0,7 5-54 16,-8-6-8-16,2 3 8 0,1-3 24 16,-2 2-34-16,2-1 5 0,-3-3 41 0,-2 2-26 0,-1-3-61 15,-1-1 38-15,-4 2-22 0,1-5-17 16,-3-2 14-16,-2 0-21 0,-7-3 11 0,-1-1-18 15,6 4-34-15,-7-4 18 0,4 0 59 0,-3-1-7 16,-1 1-27-16,3 2-1 16,-2-4-14-16,1 3 16 0,-2 1-26 0,-2-1 1 0,1 0-14 15,-1 1 11-15,-3 2-19 0,-1-3 9 16,-2-1-16-16,-1 4-10 0,-3 0-16 16,2 1-2-16,-4-2 15 0,2 2-28 0,0 1 1 15,0-2 29-15,0 1-14 0,-3 2-29 16,3 2 11-16,-2-3 35 0,-1 1 11 0,1 0-11 15,-1 1-10-15,-2 0 3 0,0 2-10 0,0 0-11 16,-1 1 3-16,-2-1-1 16,4 4-24-16,-4-3-4 0,2 0 44 0,-1 2-5 0,2 2-15 0,-1 0-8 15,-2 0-25-15,-1 0 32 0,0 0 19 0,-1 2-3 16,0 1-5-16,0-2-8 0,-3 3-5 0,3 0 0 16,-3-1-18-16,3 1 6 15,-3 0-1-15,5 0 0 0,-2 1 19 0,3-1-19 16,1 4 0-16,-2-4-5 0,3 1 11 15,-2 0 10-15,1 3-8 0,9-3-34 0,-8 1 39 0,-2 1-7 16,3 0-16-16,-3 1-5 0,0 2 43 0,1 0-53 16,0-1 41-16,2 3-18 0,-4-3 22 0,2 2-22 15,-1 2 28 1,0 0-8 0,1 0-20-16,-1 1 2 0,4-1-56 0,3 0-7 0,-3 0 27 0,6 2-12 0,-3 0-6 0,10-3 16 0,-5 3-2 15,8-2 7-15,0-2 25 0,-8 4-25 16,8-1 13-16,2-2 23 0,-2 1 8 0,-6 2-13 15,1 2-19-15,5-2 14 0,2-3-3 0,-2 2 21 16,3-1 4 0,-6 2-2-1,-3 2 8-15,9-1-20 0,2-1 14 0,-3-2 6 0,-5 6-5 0,5-4-1 0,-5 5-25 0,6-4 8 16,2 0 13 0,0-2 15-1,-8 5 0-15,8-2 2 0,3-1-12 0,-1-4-1 16,3 3-17-16,2-3 26 0,2 0 12 0,-2 1 10 0,3-3-12 0,1 1 7 15,-1-1 0-15,5 0-15 0,-2-3 26 0,-1 2-34 0,6 0 8 0,-3-2 15 0,1 1-7 16,2 1-42-16,-1-5 22 0,1 4 9 16,0-1 0-16,3-2-5 0,2-1 6 0,-8 3-8 15,5-1 17-15,3-2-27 0,-7 5-24 0,5-4-5 16,2-1 26-16,0 0-5 16,-3 1-23-16,3-1-37 0,-6 1-52 0,6-1-17 0,-2 4-30 15,2-4-23-15,0 0-23 0,0 0-35 16,0 0-1-16,0 0 56 0,0 0-63 0,0 0-183 15,0 0-1-15,-5-9-505 0,5 9 110 0,3-3 51 0,-3-2 74 16,0 5 75-16,0-6 74 16</inkml:trace>
  <inkml:trace contextRef="#ctx0" brushRef="#br0" timeOffset="464.95">4883 4488 844 0,'0'0'359'0,"-3"-4"-27"0,3 4-37 0,0 0-32 0,0 0-12 16,-7 9-33-16,4-5-11 15,-2 1 6-15,2 1-27 0,-4 3-12 0,4 0-15 16,-5 2-26-16,1-2-10 0,2 2 18 0,-1 0-18 15,-1 2-16-15,1-3-7 0,1 1 2 16,0 0-12-16,0 1-11 0,2 0-12 0,-4-2 2 16,4 1 62-16,-2 0-11 15,2-3 31-15,1 2-49 0,0-3 26 0,-1 1-36 0,3-1 8 16,0 0-18-16,0-1 10 0,0-1-2 0,3 2 12 16,-1-2-48-16,0 0 38 15,1 0-2-15,3-2-11 0,1 2-71 0,-2-1 15 0,3 0-21 0,-1-1 6 16,2-1-5-16,1 0-8 15,-3 1 30-15,3-1-27 16,1-1-11-16,-1 2-8 0,5-2 6 0,-5 0-16 0,1 1-33 0,1 0-13 16,-1-1-15-16,-1-1-5 0,0 1-26 15,1-1-25-15,-4 1-16 16,3 0-46-16,-2 2-25 0,0-2-111 0,-6 1-130 0,6 1-489 0,0-2 107 16,-1 1 80-16,4 1 108 0,-4-3 68 15</inkml:trace>
  <inkml:trace contextRef="#ctx0" brushRef="#br0" timeOffset="1224.33">6001 3879 1075 0,'0'0'430'0,"-3"-3"-77"0,3 3-38 0,0 0-3 0,0 0-43 16,0 0-24-16,0 0-14 0,0 0-26 16,0 18-31-16,3-11-13 0,-3 2-25 15,2 0-14-15,-2-1-1 0,2 2-37 0,-2 0-38 16,3 0-15-16,-3 1-34 0,3-2-12 0,-3-1-28 0,2 1-21 16,-1 1-59-16,1-2-41 0,-2-1-74 15,2-1-67-15,-2 0-460 16,0 0-3-16,3-4 108 0,-3 2 50 0</inkml:trace>
  <inkml:trace contextRef="#ctx0" brushRef="#br0" timeOffset="1404.3">5977 3783 849 0,'-2'-3'331'0,"2"3"-37"0,-5-4-30 0,5 4-55 0,-3-4-78 16,3 4-111-16,-4-1-119 16,4 1-334-16,0 0-232 0,0 0 66 0</inkml:trace>
  <inkml:trace contextRef="#ctx0" brushRef="#br0" timeOffset="1818.6">6093 3812 939 0,'3'8'366'0,"2"-1"-28"16,-3 1-28-16,-1 1-26 0,3-3-18 0,-1 1-26 0,-1-1-14 0,-2 1-16 0,3-1-21 15,-3 1-5-15,2-1-4 0,-2-1-1 0,3-2-79 16,-3 0 25-16,1 0 11 0,1 0 12 0,-2-3 18 15,2 7 80-15,-2-7-41 0,2 2 43 16,-2-2-104-16,0 0-14 0,0 0 3 0,9-8-10 16,-4 7-13-1,-3-5-15-15,3 1 18 0,0 3-14 16,-2-3 17-16,2 0-60 0,0 1 41 0,-2 0-48 0,4 1-3 16,-1 1 25-16,-2 1-9 0,2-3 12 0,-1 4-28 0,-5 0 5 15,10 0-5-15,-10 0-38 0,13 3 23 0,-8-2 0 16,1 1-44-16,-2 2-20 0,2 0-37 15,-2-1-19-15,-1 2-39 0,2-3-67 16,-2 4-48-16,-1-1-64 0,2-3-100 0,-2 3-141 0,3-2-476 16,0 1 182-16,-3-2 5 0,4 1 113 0,-2-3 84 15,-4 0 23 1</inkml:trace>
  <inkml:trace contextRef="#ctx0" brushRef="#br0" timeOffset="2152.94">6477 3668 1054 0,'0'-15'476'0,"0"2"-41"0,0-1-23 0,-2 1-2 0,2 2-72 16,-3-2 7-16,1 2-60 16,2 2-45-16,0-1 14 0,-5 1-6 0,3 0 0 15,-2 2-30-15,2 0 61 0,-1 1 51 0,1 1-97 0,-3 2-26 16,2-1-40-1,1 2 40-15,2 2-51 0,0 0-20 0,-8 7 5 0,6 1-11 16,-2 2-45-16,2 3 12 0,2 2 23 16,-4 6-28-16,3 1-18 0,1 7 16 15,-3-2 12-15,1 15-32 0,2-6-35 0,2 3 17 0,1 1-11 0,0 1-8 16,1-4-5-16,-4-5 28 0,4-5-30 16,-2 1 15-16,0-5-51 0,1-2 2 0,0-2-43 15,-1 0-23 1,-2-5-37-16,2 2-19 0,-1-3-36 0,1-3 7 0,-2 0-49 0,3-1-35 0,-3 0-5 15,2-3-54-15,-1 0-56 0,1-3-124 16,-2 0-367-16,0 0-137 0,0-3 108 0,0 0 115 16,0 0 49-16,0 0 100 0,0 0 66 15</inkml:trace>
  <inkml:trace contextRef="#ctx0" brushRef="#br0" timeOffset="2743.43">6339 4072 988 0,'-7'-1'363'0,"7"1"-15"0,-4-5-41 0,4 5 0 0,0 0-22 0,4-8 78 15,0 6-46-15,-1-3-20 0,4 0-107 16,1-2-6-16,1 1 6 0,1-2-14 0,4-2-25 16,0 2-23-16,-1-2 0 15,5-3-10-15,-1 1-8 0,1-1 8 0,-5 4-13 0,3-7-31 16,-1 6 10-16,0-5-30 0,-5 3 25 0,1-1-17 0,-1 4-14 15,0-4 9 1,-2 2-3-16,-3 1-37 0,2 0 30 0,-4 1-35 0,2 0 11 16,-4 0-20-16,1 1 12 0,-2 0 1 0,0 2-6 15,0 0-5-15,0 0-2 0,0 1-42 16,-3 2 39-16,3-3 5 0,-2 3 11 16,-3 0-11-16,5 3 2 0,-3-5 6 0,3 5-2 15,-5-1-11-15,5 1 7 0,0 0-22 16,0 0 10-16,0 0 15 0,0 0-13 0,-10 6 26 0,10-6-7 15,0 6-14-15,2 0 9 16,1-2 6-16,-1 1-11 0,1 1-14 0,2 1-2 0,0-1 25 0,3 1-2 16,-3 3 7-16,3-3-27 0,-1 2 17 15,1-1-5-15,0 0-5 0,0-1 10 16,-1 3-25-16,-1-4 10 16,1 1 0-1,-2-1 17-15,0 0-6 0,-2 0-4 0,2-3-7 0,-2 2 18 0,-1 0-11 0,1-3 19 0,2 2-1 16,-3-3 16-16,-2-1-15 0,3 5 20 15,-3-5-41 1,3 1 30-16,-3-1 9 16,0 0-19-16,0 0 8 0,7-7 3 0,-7 3 2 0,3-1-10 0,0-1-20 0,1-1 30 0,0 1-7 15,0-3-19-15,1 2-1 0,0 2 17 0,1-6-31 0,1 3 11 16,-1-2 17-16,2 2-2 0,-1 1-31 0,0-2-5 16,1 1-30-16,-3 2-75 15,0 1-36-15,1 2-20 0,-2-2-64 0,2 2-82 16,-4-1-162-16,3 0-521 0,-2 2 86 15,0 1 131-15,1-2 54 0,-4 3 77 0,6-4 102 0</inkml:trace>
  <inkml:trace contextRef="#ctx0" brushRef="#br0" timeOffset="2917.83">7105 3694 1333 0,'0'0'402'0,"0"0"-54"0,0 0-82 0,0 0-74 16,0 0-153-16,0 0-267 0,0 0-530 0,0 0 80 16,0 0 71-16</inkml:trace>
  <inkml:trace contextRef="#ctx0" brushRef="#br0" timeOffset="27050.67">9357 7295 924 0,'-5'1'337'0,"5"-1"-14"0,0 0-44 0,0 0-46 15,0 0-3-15,0 0-30 0,15 6-31 0,-7-3-26 16,2-3-51-16,2 1-35 0,2-2-80 16,1 0-100-16,3-4-138 0,0 4-512 0,0-1 76 0,-3 1 91 15</inkml:trace>
  <inkml:trace contextRef="#ctx0" brushRef="#br0" timeOffset="27241.3">10008 7266 1077 0,'7'1'358'16,"-1"0"-48"-16,-6-1-36 0,15 0-59 15,-5-2-49-15,1 0-73 0,4 1-88 0,0-5-156 16,1 5-594-16,2-1 84 0,0-1 45 0</inkml:trace>
  <inkml:trace contextRef="#ctx0" brushRef="#br0" timeOffset="27420.92">10949 7221 1023 0,'7'-1'412'0,"1"0"-71"0,0 1-31 16,2-2-36-16,1-1-31 0,1 1-56 0,-2 0-47 15,1-3-96-15,-1 1-141 0,-4 3-177 0,4-4-499 16,-3 3 46-16,1 0 102 0</inkml:trace>
  <inkml:trace contextRef="#ctx0" brushRef="#br0" timeOffset="27880.54">9664 6701 954 0,'0'0'272'0,"0"0"-39"15,18 1-18-15,-10-2-57 0,7-1-50 16,1-3-95-16,1 3-93 0,7-2-109 15,1-3-482-15,3 2 44 0</inkml:trace>
  <inkml:trace contextRef="#ctx0" brushRef="#br0" timeOffset="33530.28">20238 4765 1031 0,'0'0'323'15,"0"0"-57"-15,0 0-5 16,0 0-31-16,0 0-15 0,23-7 0 0,-6 6-48 16,4-2-11-16,10 0-15 0,3 2-3 0,15-5-8 15,1 3-2-15,2 0-25 0,1 0-24 16,2 1-12-16,0 0 7 0,2-2-10 16,0 1-3-16,2-1-10 0,-1 2 3 15,-1-1-3-15,-1 1-12 0,-2 1-19 0,-3-2-4 0,-2 2-11 16,-2-1 0-16,-12 2-31 0,-4-3 3 15,-5 2-38 1,-4 0-21-16,-3 1-26 0,-3-1-40 0,-4 1-39 0,0 0-66 0,-4 0-49 0,-3-3-13 16,1 3-453-16,-6 0 84 15,0 0 34-15</inkml:trace>
  <inkml:trace contextRef="#ctx0" brushRef="#br0" timeOffset="33891.57">20125 4872 844 0,'0'0'369'0,"0"0"-108"0,0 0-13 0,31-7-15 15,-9 5-5-15,22-4-26 0,5 1-30 16,5-1-21-16,15 1-3 0,0 0-7 0,1 0-23 15,1-1-11-15,-4 0-10 0,-8 1-22 16,0 0 4-16,10 2 3 0,-12-2-26 0,-1 1 3 16,-4 1 0-16,-1-2-21 15,-3 0-2-15,-4 1 3 0,-8 0-16 0,-8 3-3 0,3-3 11 16,-8 2-6-16,0-1 1 0,-5 2-34 0,-3-1-2 16,1 1-5-16,-6 1-1 0,2-1-2 15,-2 1-28-15,-2 0 5 0,-2 0 0 0,1 1-15 16,-1-1-21-16,-6 0-2 0,10 3-16 0,-5-2-28 0,-5-1-15 15,5 3-46-15,-1-1-21 16,-3 2-10-16,-1-4-23 0,5 2 28 0,-2 1-491 16,0-2 89-16,-3-1 3 0</inkml:trace>
  <inkml:trace contextRef="#ctx0" brushRef="#br0" timeOffset="37320.6">12907 6195 1126 0,'0'0'343'16,"0"0"-26"-16,0 0-30 0,0 0-26 0,16-3-67 16,-3-1-32-16,5 3 2 0,3-3-29 15,9 3-17-15,1-4 2 0,20 1 8 0,3 0-7 16,12-4 1-16,4 3-9 0,-1 0-5 16,2-1 32-16,-1 0-7 0,2-1-2 0,2 3-13 15,0 0-16-15,-4-3-5 16,-1 1-20-16,-12 2-10 0,-1-2 2 0,-2 3 3 0,-5-1-34 15,-1-2 13-15,-2 1-38 0,-10 3-18 16,-8 0 7-16,3-1-27 0,-10 2-26 0,-1 0-29 16,-2-3-45-16,-3 4-29 0,-2 0-63 0,0 0-44 15,-5 0-88-15,-1 0-500 0,-1 0 40 0,-6 0 92 16,0 0 54-16,2 4 51 0</inkml:trace>
  <inkml:trace contextRef="#ctx0" brushRef="#br0" timeOffset="37599.97">13125 6345 1000 0,'16'1'343'0,"-3"-2"-23"0,2 0-5 0,11 0-46 16,5-4 5-16,12 0-28 0,6-1-11 0,0 0-110 0,2 3-9 15,0-4-9-15,5 1 6 0,-2 1-8 16,13-5-5-16,0 2-8 16,-16 2 0-16,0-1-10 0,-2 0-13 0,-3 2-3 0,-2-1-9 15,-3-1-9 1,-10 2-9-16,-3 3-3 0,-6-2-1 0,-3 2-27 0,-4-2-5 0,1 3-24 16,-4 0-12-16,-2 1-29 0,0-3-40 15,-2 1-80-15,-2-4-166 0,-1 6-512 0,-3 0 54 16,-2 0 120-16,0 0 36 0</inkml:trace>
  <inkml:trace contextRef="#ctx0" brushRef="#br0" timeOffset="54645.78">1308 10297 1187 0,'0'0'384'0,"-2"-3"-23"0,2 3-38 15,0 0-57-15,0 0 0 0,0 0-54 16,0 0-14-16,-8 6-1 0,5-1-34 0,1 2-1 16,0 0 12-16,-1 3 20 0,0 2-20 0,1 1-20 15,-3 4-8-15,2 2-34 0,-1 0 24 16,-2 3-46-1,1-2-11-15,0 4 3 0,0-5-23 0,0 4 0 0,2-5 18 0,-2 0-13 16,2 1 2-16,-2-4-22 0,0 3 12 0,0-3-28 16,2-1-5 15,1-4 31-31,0 2-26 0,-2-2 5 0,4-3-17 0,-2 0 27 0,0 0-4 16,1-2-1-16,0 0 8 0,1-3-10 0,0-2-13 0,0 0 8 0,0 0-8 0,0 0 5 15,0 0-15-15,6-18 30 0,-3 9 1 0,2-2-26 16,-2-1-8-16,4 0 8 0,1-1-8 15,0-1 8-15,0 1 15 0,-1 3-12 16,1 0-19-16,0 2 26 0,2 0-2 0,-5 2-16 16,5 2-5-16,-2 2 8 0,0 2 38 0,-3 0-28 15,2 1 31-15,1 4-23 16,-3 0 7-16,3 1 11 0,-3 0 12 0,0 3-2 0,1-1-23 16,-2 3-5-16,2-1 12 15,-4 3-4-15,0-2-27 0,2 0-14 0,-2 1-1 0,-1-1-15 0,-1 0-17 16,1-2-35-16,-1 1-14 0,0-3-21 0,0 1-41 15,-1 1-25-15,1-2-47 16,1-2-41-16,-1-2-96 0,0 3-201 0,1-2-447 16,1-1 145-16,1-3 47 0,-3 0 110 0,4 4 45 0,-4-4 83 15</inkml:trace>
  <inkml:trace contextRef="#ctx0" brushRef="#br0" timeOffset="55373.1">1622 10561 1090 0,'-3'-4'422'16,"3"4"-63"-16,0 0-42 0,0 0-28 0,0 0-23 16,-11 5-40-16,7 1-19 0,1-1-15 0,0 1-18 15,0 2-2-15,1-1-39 0,2 0-3 16,-2 2-25-16,2 0-5 0,0 0-5 0,0 0-11 16,2-1-20-16,0 1 21 0,1-1-44 0,1-1 10 15,0-1-13-15,1 0 8 16,0-1 3-16,1-3-11 0,-2 0 6 0,4-1 15 0,-8-1-21 15,11-3 11-15,-3 0 7 0,-1-1-5 0,3-1 11 16,-3-2 12-16,2 0 72 0,-1 1-16 16,-1-2 16-16,0 1 16 0,1 0-29 0,-2 1-16 15,-1 1-9-15,0 0-6 0,-1 0 1 16,-1 3-21-16,0 1-36 16,-3 1 28-16,5-3 5 0,-5 3-10 0,5 9-17 0,-5-2 22 15,-2 0-26-15,2 7-9 0,-3-1-14 0,0 5 6 16,1 1 13-16,-4 0 2 15,2 0 13-15,1 5-8 0,-2 0-8 0,-3 0-2 0,1 0-2 16,4-2-16-16,-2 1 2 0,-1-3-7 0,2-3 8 16,1 0-6-16,-2-1-30 0,3-3 0 15,-4 0-54 1,4-1-36-16,-1-2-15 0,0-2-8 0,3 0-33 0,-2-2-13 16,0 0-10-16,1-1-62 0,-1 0-10 0,2-3-46 0,0-2-112 0,0 0-83 15,0 0-470-15,5 0 66 0,-5 0 67 16,0 0 114-16,0 0 65 0,10-7 56 15</inkml:trace>
  <inkml:trace contextRef="#ctx0" brushRef="#br0" timeOffset="55888.31">1922 10613 1272 0,'0'0'348'0,"0"0"-31"0,0 0-17 0,-10 9-26 0,6-5-39 0,0 5-10 0,-2 1-28 15,1 2 3-15,-2 4-34 16,2 1-12-16,-1 0 0 0,1 0-26 0,0 5-23 0,0-3-6 16,0-2-7-16,0 2-12 0,0-1 63 0,2 0-20 15,-2-1-5-15,2-2-11 0,1-3-4 16,-1 1-27-16,0 2-12 0,1-5-7 0,0 0 7 15,-1-2-23-15,3-1 15 0,0 0 5 0,-3-2 27 16,3 0 19-16,0 0 52 0,-2-2-57 0,2-3 21 16,0 0 15-16,0 0-97 0,0 0 18 15,0 0-26-15,0 0 6 0,2-15 12 16,1 5-18-16,0-2-12 0,1-4 22 0,4 0-20 0,-3-5 10 16,3-1-15-16,0 2-18 0,2 1 31 0,-2 2 2 15,0 3-10-15,2 1 0 16,-3 2-12-16,1 2-1 0,0-1-8 0,0 7 16 15,-1-1-18-15,1 2 6 0,-1 2-19 16,-7 0 41-16,13 5-10 0,-8-2-31 0,0 2 33 16,1 1 19-16,-3 0 2 0,-1 2 18 0,1-2-26 15,-1 2-20-15,-2-2 20 16,0 3 3-16,-2 0-3 0,-2-3-12 0,2 1 2 0,-3 3 5 0,0-3 0 16,0 0-8-16,-3 0 21 15,-1 0-33-15,0-2-36 0,1 1-8 0,1-3-33 0,-3 0-44 16,2-1-50-16,1 1-50 15,1-3-10-15,-1 2-40 0,7-2-55 0,-11-2-114 0,1-1-98 16,7 3-466-16,3 0 82 0,-2-3 100 16,2 3 87-16,0 0 77 0,0 0 51 0</inkml:trace>
  <inkml:trace contextRef="#ctx0" brushRef="#br0" timeOffset="56282.35">2119 10712 1476 0,'0'0'418'0,"0"0"-47"0,-18 9-18 0,13-4-20 0,0 1-59 16,0 2 10-16,0 0-38 0,-1 3-34 0,1-1-30 16,2-1 25-16,-1 1-25 0,1 1-29 15,3-3-7-15,0 3-38 0,0-4-11 0,3 3-2 16,1-2-24-16,-1-2 6 0,2 0-3 0,1 1 3 15,1-3-5-15,1-1-16 16,2-1-2-16,0 0 0 0,1-2 25 0,1-1-56 0,1-2-2 16,-2 0 58-16,-1-3-5 0,0 0 26 0,-2 0-8 15,-1-2-12-15,-2-1 71 16,-2 1-8-16,-1 0-18 0,-1-1 6 0,-1 0-29 0,0-1-20 16,-1 3 33-16,-1 0-22 0,-1 0-35 15,1 1-22-15,-5 1-23 0,1 0-16 0,1-1-22 16,-3 3-44-16,1-1-29 0,1 3-40 15,-1-1-41-15,-1 2-38 16,8 0-60-16,-15 1-127 0,7 1-193 16,0-2-455-16,3 3 143 0,0-2 44 0,5-1 197 0,-8 2 3 0,4-2 50 15</inkml:trace>
  <inkml:trace contextRef="#ctx0" brushRef="#br0" timeOffset="56543.71">2312 10549 1405 0,'2'-1'430'0,"-2"1"-26"0,2-4-61 0,-2 4-54 0,0 0-12 15,0 0-21-15,0 0-21 0,0 0-9 16,0 0-6-16,0 13-18 0,0-8 0 0,0 2-10 16,0 3-15-16,0-2-11 0,-2 5-20 0,0 2-8 15,-1-2-15-15,2 2 0 0,-1-1-21 16,-3 4-15-16,2-1-25 0,-1 0-62 0,1-2 0 15,-2 2-31-15,2-4-2 0,1 0-39 0,-3-1-35 16,4 0-6-16,-1-4-23 16,2 0-27-16,-3 1-19 15,3-3-49-15,0 0-96 0,0-3-101 0,3 1-462 0,-3-1 73 0,2-1 59 16,-2-2 111-16,0 0 112 0</inkml:trace>
  <inkml:trace contextRef="#ctx0" brushRef="#br0" timeOffset="57014.75">2488 10488 1026 0,'0'0'363'0,"0"0"-14"0,0 0-27 0,0 0-33 15,-7 11-25-15,2-4-16 0,4-1-20 16,-4 3-23-16,2 1 12 0,1 1-45 0,-3 0 5 16,2 2-9-16,0 0-27 0,-1 1-23 0,1-1 10 15,-1 0-10-15,0 0-21 0,1 0-2 16,1-1-11-16,0 0-10 0,-3 0-2 0,4-3 20 16,-1 0 8-16,2-1-13 0,0-3 10 0,-2 2 26 15,2-2 5-15,-1 0 5 0,-1 0-20 0,2-2-16 16,0 3-20-16,0-6 77 15,0 0 2-15,3 3-26 0,-3-3 16 0,0 0-33 16,0 0 12-16,0 0 13 0,0 0-40 0,15-5-6 16,-15 5-26-16,0 0-20 0,8 1 1 15,-8-1 24-15,7 2-20 0,-5 2 8 0,1-1-8 16,0 2-2-16,0 1-5 0,1 0-32 0,-1 1 32 16,2 0-31-16,-3 2-26 0,4-1-13 15,-4-1-4-15,1-1-11 0,2 0-28 16,-4 1-11-16,3-2-55 0,-1 0-34 0,0-2-34 15,1 0-24-15,-4-3-42 16,4 2-79-16,-4-2-177 0,4-1-522 0,-4 1 46 0,6-7 154 16,-4 2 56-16,1-3 69 0,-1 1 103 0</inkml:trace>
  <inkml:trace contextRef="#ctx0" brushRef="#br0" timeOffset="57267.95">2242 10641 847 0,'0'0'376'0,"0"0"-28"0,0 0 51 0,0 0-20 0,0 0-38 0,0 0-26 16,0 0-31-16,15 6-46 0,-7-5-8 0,2 0-38 16,0-1-5-16,1 0-39 0,1-1-50 0,4 0-11 15,-1-2-67-15,3 3-53 0,-2-1-57 16,2-1-76-16,-1 2-118 0,4-4-359 0,0 4-166 15,-3 0 29-15,7 0 135 0,-4 4 61 16</inkml:trace>
  <inkml:trace contextRef="#ctx0" brushRef="#br0" timeOffset="58170.24">2608 10823 852 0,'16'-7'358'0,"-11"3"-17"0,2-2 45 15,2 1-20-15,0-2-15 0,-3 0-54 0,4 0 10 0,-2 0-23 16,0-3-23-16,0 1 0 16,-1-1-12-16,0 1-40 0,-1 0-37 0,2 1-16 15,-4 0-13-15,-1-1 8 0,2 3 11 0,-3-1 12 16,-1 4-26-16,1-2-15 0,-2 0-7 0,0 2-49 15,0 3 25-15,-2-4-15 0,2 4-31 16,0 0 21-16,0 0-13 0,-10 7-13 0,5-1 0 16,2 0-12-16,-2 1-6 0,-1-1-2 0,4 3-3 15,-3 0-10 1,2-1-23-16,0 1-16 0,1-1-9 0,2 0-32 0,-2 2-4 16,4-2-6-16,-2 0-2 0,2 0-18 0,4-2 15 0,-1-1-23 15,1 0-15-15,3-2 7 16,2-1-20-16,-1 1 0 15,1-5 21-15,3 1-11 16,0 1 21-16,0-4 5 0,-1 1 7 0,1-2 8 0,-1-2 16 16,-1 2-3-16,-2-2 15 0,0 1 6 0,-4-1 10 0,2 0 9 0,-4 2 19 15,2-2-5-15,-4 0 15 0,-1 2-5 0,1 0 21 16,-2 0-1-16,2 0 1 0,-2 1-11 16,0 4 10-16,-3-7 6 0,2 5-6 0,1 2 19 15,-1-4-11-15,1 4-10 0,0 0 8 16,0 0-6-16,0 0-10 0,-5 11-5 0,5-11 3 15,3 9 13-15,-3-2 17 0,2-1-25 16,0 3-8 0,1-2 18-16,0 1 2 0,0-1 4 0,1 3 4 0,-1-3-10 0,0 0 13 0,-1 0 0 15,1 1 25-15,0 0-7 0,-1-2 30 0,-2 0-4 16,0 0 7-16,2 1-3 16,-4-4-5-1,2 3-17-15,-5 0 7 16,5-1 5-16,-7 2-15 0,1-3 0 0,1 2-18 0,-2-2-26 0,1-1-20 0,1-1-23 0,-1 3-41 0,2-4-23 15,-2 3-21-15,1-3-33 0,5-1-56 0,-7 1-26 16,7-1-107-16,0 0-118 0,0 0-489 16,-3-6 89-16,3 6 63 0,5-6 119 15,-2-1 90-15,4 1 13 0</inkml:trace>
  <inkml:trace contextRef="#ctx0" brushRef="#br0" timeOffset="58336.24">3039 10731 1064 0,'0'0'351'15,"0"0"64"-15,0 0-19 0,0 0-35 16,0 0-46-16,8 9 13 0,-5-5-34 0,-3 2-127 0,0 0-9 16,2 1-12-16,-2-1-8 0,1 2-2 15,-1 1-31-15,-1-2-38 0,1-1-6 0,0 1-43 16,-2 3-39-16,2-3-45 0,-3 1-65 16,1-1-81-16,1-4-203 0,-1 3-473 0,2-3 125 15,0 2 39-15,0-5 107 0,0 5 77 16</inkml:trace>
  <inkml:trace contextRef="#ctx0" brushRef="#br0" timeOffset="58470.11">3070 10693 977 0,'0'-5'315'0,"-2"2"-49"16,1-1-48-16,1 4-54 0,0-6-52 0,0 6-101 15,3-3-104-15,-3 3-119 0,0 0-454 0,7-3 14 16</inkml:trace>
  <inkml:trace contextRef="#ctx0" brushRef="#br0" timeOffset="58746">3178 10668 993 0,'-1'4'450'0,"1"0"-56"0,0 1-33 0,0 2-36 0,-2 2-25 0,4-1-29 16,-2-1-25-16,1 3-23 0,2 0-24 15,-1 1 6-15,0 1-33 0,-1-4-60 16,1 3 6-16,-2-1-11 0,0-1 9 0,0 0 53 0,0 1 40 16,0-1 6-16,-2-1-17 15,2-1-17-15,-1 1-12 0,-3-2 13 0,0 3-21 16,2-2-28-16,-3-2-18 0,0 0-17 0,0 0-60 0,-1-1-66 16,4-2-51-16,-3 2-70 0,2-2-48 15,3-2-136-15,-8 1-184 0,8-1-504 16,0 0 56-16,0 0 133 0,0 0 126 0,11-10 38 15,-5 5 79-15</inkml:trace>
  <inkml:trace contextRef="#ctx0" brushRef="#br0" timeOffset="59160.57">3696 10692 931 0,'0'0'325'0,"-3"2"-18"0,3-2-15 0,0 0-26 15,0 0-20-15,0 0 46 0,21 4-33 16,-13-4-16-16,4 1-26 0,-2-1-14 0,3 1-32 15,0-1-17-15,0 0-21 0,0 0-18 0,2 0-51 16,-4 0-18-16,3 0-36 0,-3 0-69 0,2 1-58 16,-6-1-129-16,4-3-43 0,-4 4-543 15,1 0 23-15,-5 0 107 0,2 1 157 16,-5-2-10-16</inkml:trace>
  <inkml:trace contextRef="#ctx0" brushRef="#br0" timeOffset="59424.93">3634 10775 941 0,'-5'0'364'0,"5"0"-13"0,0 0-29 0,0 7-25 0,0-7-20 0,7 5 32 16,-1-5-9-16,2 4-16 0,-1-1-54 0,6 0-10 16,0-1-92-16,2 0-2 0,1-1 2 15,2 1-31 1,2 0 5-16,-2-1-9 0,-1 1 1 0,2-1-40 0,-3-2-3 0,-1 1-48 0,1-2-24 15,-2 1-12-15,0 1-26 0,-2-2-38 16,-1-1-36-16,-1 1-69 0,0 0-106 16,-8-1-76-16,6 0-517 0,-3-1 121 0,1-1 63 15,-2 1 115-15,-1 0 80 0</inkml:trace>
  <inkml:trace contextRef="#ctx0" brushRef="#br0" timeOffset="59748">3844 10532 875 0,'8'-1'328'0,"-3"1"-24"0,3 0-17 15,2 1-11-15,0 3-25 0,1 0-33 0,1 0-34 16,1 1 8-16,2 3-8 0,-2-3-17 0,0 5 14 15,0-1-7-15,0 2-20 0,-3-2-31 16,3 3 25-16,-6 0-17 0,1 0 7 0,0 0 3 16,-3 1 18-16,0 0-42 0,-3 0-9 15,1-1-1-15,-3 0-9 0,0 2 1 16,-2-3-6-16,-1 2-11 16,-2-1-42-16,-2-1 24 0,1 2-10 0,-4-1-46 0,2 0-23 15,1-3-16-15,-1 2-15 0,0-3-26 0,0 3-43 16,1-3-41-16,-3 1-77 15,2-1-92-15,-7-1-103 16,7-1-480-16,3 0 91 0,-3-1 49 0,3 0 85 0,-3-2 53 0</inkml:trace>
  <inkml:trace contextRef="#ctx0" brushRef="#br0" timeOffset="135092.91">5629 9785 965 0,'0'-4'266'0,"0"4"-5"16,0 0-18-16,0 0-13 0,0 0-30 0,0 0 82 15,3 13-44-15,-3-8 2 0,0 2-27 16,-3 0-19-16,3 4-40 0,0-1-3 0,0 0-16 15,-3 2 9-15,3 1-1 0,-2 3-38 0,0-3-8 16,1 1-2-16,-2-1-18 0,3 1 5 0,-2 2-18 16,0-4 18-16,-1 2-23 15,0-1-21-15,1-1-15 0,0-1-18 0,1-2-36 16,-1 1-4-16,-1-2-37 0,1 0-38 0,1 0-34 16,-1-2-81-16,2-3-131 0,-2 3-499 15,-1-2 47-15,2-2 76 0,1-2 71 0,0 7 101 16</inkml:trace>
  <inkml:trace contextRef="#ctx0" brushRef="#br0" timeOffset="135594.59">5770 9816 749 0,'0'0'369'0,"0"0"-36"15,0 0-29-15,0 0-35 0,-8 13-13 16,6-7-23-16,-1 3-20 0,0 2-24 0,1 0-35 0,-1-1-9 15,0 2 9 1,1 1-39-16,0 0 0 0,2 1-5 0,0-1-22 0,0-1-30 16,2-2 1-16,0 3-5 0,1-2-18 0,0-1-16 15,0-1-2-15,2-2 8 0,0-1 7 0,0-1 0 16,0-3-30-16,3 1 25 0,0-2 5 16,-1-1-15-16,1-2-5 0,2-2 36 0,0-1 2 15,-2-1-18-15,0-1 13 0,-1-2 23 0,-2-1-15 16,1 2 25-16,-1-4-7 0,-3 2-16 15,1 1-20-15,-3-1 21 0,0 1-24 0,0-1 21 32,0 0-19-32,0 1-11 0,-3 0-4 0,1 0 6 0,-1 1-3 0,-2 3-11 0,2-1 9 15,-2-1-26-15,0 1-28 16,0 1-14-16,0 3-6 0,0-2-1 0,-2 2-33 0,1 1-33 16,6 1-21-16,-13 1-43 0,13-1-129 0,-15 2-119 15,10 3-395-15,-1-4 33 0,2 4 90 16,1-5 57-16,3 0 117 0</inkml:trace>
  <inkml:trace contextRef="#ctx0" brushRef="#br0" timeOffset="135973.29">5939 9839 806 0,'-2'6'297'0,"1"4"-16"0,1-2-22 0,-2 3-24 15,2 2-30-15,-2 1-39 0,2-1 9 0,0 2-24 16,0-1-11-16,0-1-27 0,2 0-16 0,0-1 0 16,-1 1-25-16,4-1-10 0,-1-3 7 15,2 0-10-15,2-1 7 16,-3-3-17-16,2 1 17 0,1-2-12 0,0-2-10 0,2-2 32 16,0-1 29-16,0-3 3 0,0 1-6 0,1-3-69 15,-1-1 19-15,-2 1-9 0,0-3 93 0,-3 0-13 16,2-1 10-16,-4-3-13 0,0 1-2 15,-1 0-26-15,-2-1 0 0,-2 0 8 16,2 1-3-16,-3 3 11 0,0-2-11 0,1-1-23 16,-3 5-5-16,0-1-2 0,2-1 7 0,-2 2-48 15,-3 1-24-15,3 1-22 0,-2 2 7 0,2 0-46 16,-1 1-23-16,-2 1-23 0,3 1-35 0,5 0-9 16,-15 1-99-16,10 1-149 0,-1 3-555 15,2 1 74-15,1-2 133 0,-2-1 59 0,5 3 31 16</inkml:trace>
  <inkml:trace contextRef="#ctx0" brushRef="#br0" timeOffset="136333.46">6318 9794 1026 0,'-7'4'340'0,"-1"-3"-7"0,0 1-41 0,1 1-21 0,2 0-30 16,-3 1-18-16,3-2-39 16,0 4-5-16,-1-1-25 0,4 2-1 0,-1-3-22 0,1 3-80 15,2-1-23-15,0 2 23 0,0 0-17 0,2 2-17 16,1-3 40-16,-1 3-24 16,4-1-23-16,-1-3 16 0,0 5 5 0,0-3-19 15,0-2 11-15,1 1 3 0,-4-1 30 0,1 3-20 16,2-4 23-16,-3 0-36 0,-1 1 49 15,0 1 10-15,-1-2-23 0,-2 0-3 0,-3 1-5 16,0-1 26-16,-1 1-23 0,-1-3-13 0,-3 4 5 16,-1-1-8-1,1-1-2-15,-3-1-51 0,1 2 9 0,1-3-35 0,-1 1-23 0,-1-1-10 16,2 1-31-16,-1-1-41 0,2 0-87 0,1-1-120 16,0-1-504-16,0 3 96 0,3-3 27 0,0 4 109 15,3-4 118-15</inkml:trace>
  <inkml:trace contextRef="#ctx0" brushRef="#br0" timeOffset="138549.73">6465 9887 1174 0,'0'0'420'0,"0"0"-36"15,0 0-66-15,0 0-24 0,0 0-15 16,0 0-21-16,-19 10-40 0,15-6-18 0,-1 2-11 0,2 3-20 16,-2 0-23-16,2-3 0 0,-1 5-34 15,0-3 14-15,2 0-34 0,0 2-5 32,1-2 3-32,1 1-11 0,0 0-23 0,1-3 13 0,1 4-10 0,0-1-13 0,2-3-2 15,0 1-11-15,-1 2-17 0,2-6 19 0,0 4-30 16,0-2-2-16,3-2-16 0,-3-1-2 0,1-1-8 15,1 1 2-15,0 0-20 0,-7-2-23 0,13-2 3 16,-7 0-13-16,1 2 2 0,1-2 0 16,-3-2 3-16,0 2-2 0,0-2 4 15,-2-2-23 1,2 0 6-16,-2 3-13 0,2-6 17 0,-1 2-2 16,-1-2 24-16,2-1 6 0,-2-3 6 0,2 1-5 0,-2-1 23 0,2-5 10 15,0 5 5-15,-3-1 3 0,4-2 15 0,-4 2 31 16,1 2 13-16,2 0 2 0,-3-1 20 0,1 5 11 31,0-3 41-31,-1 4-25 0,-2-1 19 0,1 3-4 0,-1-1-26 0,1 1 3 0,-1 3 9 16,0 2-45-16,0 0 8 0,0 0 14 15,0 0-1-15,0 0-9 0,0 0-4 0,-7 9-19 16,4-4 18-16,1 3 3 0,-3 1-15 0,2 1-18 16,-2 1 7-16,5-1-15 15,-5 3 0-15,0-3 11 0,2 1-9 0,1 1 16 0,0-2-18 16,1-1 10-16,-2-2-7 0,1 3 5 15,0-3 2-15,1 0-33 0,-1-1 3 0,2-2 15 0,-3 0-11 16,3 2 16-16,-2-3-13 16,2-3 29-16,0 7-16 0,-1-6-21 0,1-1 32 15,0 7-21-15,0-7-3 0,0 4 31 0,0-4-28 16,0 0-3-16,1 6 15 0,-1-6-12 0,2 2 3 16,-2-2 7-16,5 1-11 0,-5-1-9 0,3 3 20 15,-3-3-28-15,5 3 10 0,-5-3 5 16,0 0 0-16,5 0 6 0,-5 0-14 0,0 0-7 15,10 0 18-15,-10 0-13 0,8 0-10 0,-8 0 0 16,8-3 7-16,-3-1 11 16,0 4-13-16,0-2-11 0,0-2 26 0,0 4-7 15,1-3 2-15,-2 0-15 0,-4 3 18 0,8-2-8 16,-5-3 15-16,-3 5-5 0,7-1-7 0,-4 0 4 16,-3 1-12-16,0 0 21 0,8-1-27 15,-8 1-1-15,5 3 12 0,-2 3-16 0,-1-4 21 16,1 3 6-16,2 1-17 0,-3-2 22 15,4 2-19-15,-4 0-4 0,3-2 17 0,0 2-15 16,1-1-21-16,-3 1 16 0,1 0-8 0,1-1-3 16,0-3 14-16,1 3-16 0,-2-4 2 0,2 4 3 15,-1-4 16-15,2 0-6 16,-7-1-28-16,13-1 18 0,-8-1 8 0,3-2 13 0,0 2 2 16,-1-1-8-16,1 0-20 0,-2-1 21 0,1-1 14 15,-2 3-29 1,3-4 14-16,-5 3 13 0,-1 0-23 0,3-2 54 0,-2 3-30 15,-1-3-9-15,1 3 21 16,0-2 0-16,-3 4-7 0,2-3 9 0,-2 3-27 0,2-4-3 0,-2 4 15 16,0 0-3-16,0 0 1 0,0 0 5 15,0 0-13-15,0 0-8 16,0 0-2-16,0 0 25 0,0 11-22 0,0-11 7 16,-2 6 5-16,4-4 0 0,-2-2-13 0,0 7 3 0,1-4-3 0,1-1 19 15,1 2-6-15,-3-4-15 16,7 3 4-16,-4-2 12 0,5-1-22 0,-8 0 6 15,10-1 28-15,-3 1-18 0,1-1-8 0,0-4 3 16,-3 3 20 0,1-2-25-16,1 1 0 0,-4-2 10 0,-1 0-8 0,0 1 3 0,1-1 3 15,-2-5 4-15,-1 5-68 0,-1-1-9 16,1 1 34-16,-3-3-7 0,1 4-3 0,-3-2 2 0,2 2 3 16,1-1 5-16,-1 2-3 15,-2-1 9-15,0 3-11 0,5 1 2 0,-10 0 0 16,10 0 4-16,-10 0 11 0,4 1-1 0,1 2 12 0,0 0 7 15,2-1-17-15,1 2 3 0,-3 0 12 16,3-2-2-16,1 2 4 0,-1 0-9 0,2-4 2 16,0 8-5-1,2-5-21-15,-2 1-12 0,3-1 23 0,2 0-8 0,0 0 2 0,0-3 4 0,3 4 9 16,2-3 29-16,1-1-19 16,-4 0 3-16,3-2-17 0,0-1 22 15,1 3-5 1,2-5-2-16,-2 4 15 0,1-4-13 0,0 2-10 0,2-2 33 0,-4 0-7 0,0 2-1 0,-2-1 1 15,2 1 5 1,-3-1-8-16,1 3 18 0,-3-3 15 0,3 3-2 0,-5-1 2 16,2-2 23-16,0 4-15 0,-5 0-23 0,0 0 28 15,5-1-25-15,-5 1-1 0,0 0 3 0,0 0-15 16,2 5 12-16,-2-5-4 0,0 6-1 16,0-6 5-16,-4 8-17 0,1-3 25 0,0-2-25 15,3 2 10-15,-4 1-1 0,3-1-19 0,-1 1 9 16,2-1-25-16,-3-1 33 15,3 2-25-15,0 0 7 0,3-1-4 0,-1 0 6 16,-2 0 1-16,3-2 21 0,-1 1-29 0,1-1 0 0,2 1 26 16,0-2-18-16,0 0 10 0,1 0-15 15,1-2-13-15,-7 0 17 0,13 0-4 16,-5-2 26-16,2 1-14 0,-3 0-4 16,1-2 4-16,0-1-15 0,0-1 18 0,-3 1-2 15,3-1-16-15,-4 0 16 0,2-4-11 0,-1 0 13 0,-2 1 3 16,-1 1-6-16,0-3 1 15,-2 2-11 1,0-2 24-16,0 3-6 0,-2-1-13 0,0-2 11 0,-4 3-23 0,4 1 17 0,-4-1-22 0,2 1-6 16,-2 0 13-16,1 1-17 0,-2 3 14 15,1 0-4-15,1 0-6 0,0 1 8 0,5 1-5 16,-13 3 16-16,6-1-14 16,2 0 8-16,-3 3 8 0,3-1-20 0,-1 2 7 0,-1-2-8 15,2 1-2-15,0 1-8 0,2 1 11 0,-2-1-9 16,5 1 4-16,-3-1 17 0,3-1-21 15,0 1 34-15,3 0-28 16,0-1 5-16,-1-3 3 0,1 2-6 0,2-2 3 0,3 2 21 16,-3-3-16-16,2-1-5 0,4-1 20 0,-4-1 6 0,4 0-11 15,-1-3 0-15,2-1 6 0,1 0 12 16,-2-1-13-16,4 0 14 16,-2-2-4-16,0-2 9 0,2 0 9 0,-4-2-7 15,4-2-13-15,-2 0 39 0,1 0-26 0,0-2-11 0,-4-1-1 16,5 2 9-16,-4-1-10 0,1 4 15 0,-1 0 9 15,-1 2 4-15,-3 3-10 0,1-2 26 16,0 3-3-16,-5 0 15 16,4 1-7-16,-4 1-8 0,-1 0-8 0,1 4-7 0,-3 1 2 0,3-6 11 15,-3 6 2-15,0 0 5 0,0 0-18 0,0 0-7 16,-8 12 2-16,5-5 5 16,1 2 1-16,-4-1-14 0,2 0 31 0,-1 5-20 15,-1-2-21-15,1 6-5 0,0-2 8 16,0 1 5-16,0-2 5 0,0-1 8 0,2 4-11 0,-2-4-22 15,2-1 7-15,1 2 13 0,-1-3-23 16,3-3 12-16,0 2 9 0,0-1-14 0,3-3-30 16,-1 2-8-16,1-4 6 0,2 2-4 0,0-1-9 15,0-2-1-15,3-3 1 0,-1 0-3 16,1 0 7-16,0-1-12 16,0-1 18-16,-1-1-16 0,3 0 1 0,-4-2 2 0,4 0 17 0,-2-2-19 15,-1 1 12-15,1-2-3 0,0 1 4 0,-3 1 4 16,0 1 3-16,0-1 23 15,0 0-23-15,-2 1 15 0,2 3-3 0,-3-3-9 16,1 3-9-16,-3 2 6 0,5-5 10 0,-2 5 0 16,-3 0 18-16,0 0-12 0,0 0 1 0,5 6 24 15,-2-2-15-15,-1 0 12 16,-2 1 16-16,2 1-3 0,-2 0 2 0,3 1 1 0,-2-1 7 16,1 2 13-16,0 1 13 0,-2-1 2 0,3-1-4 15,-3 2 12-15,0 0-10 0,0-3-3 16,-3 2-12-16,3 2-11 0,-2-2 26 15,-1-2-21-15,0 1 3 0,-1 1-10 16,-2 1-8-16,-1-2-18 0,-1-1-8 0,-2-1-25 0,2 1-38 16,-2-2-34-16,-1 0-33 0,1 0-70 0,-5-1-73 15,2 0-174-15,0 0-462 0,1-1 86 16,-4 1 35-16,-2-2 99 0,-3 3 109 16</inkml:trace>
  <inkml:trace contextRef="#ctx0" brushRef="#br0" timeOffset="138969.87">5791 10263 993 0,'10'-1'381'0,"2"-2"-15"16,4 0-38-16,9-2-26 0,4 4-10 0,4 0-36 15,13-4-11-15,3 5-73 0,2-1-19 0,3 0-9 16,-3 0-32-16,3 2 70 15,-2-2-28-15,1 0-19 16,-2 1 14-16,4 0-16 0,-4 0-15 0,2 1-16 0,-2-1-25 16,-1 2 0-16,0-1-62 0,-9-2-7 0,-7 2-8 15,-1-2-36-15,-2 1-13 0,-5 0-10 16,-3-1 3-16,-5 1-18 0,0 0-11 0,-3-1-20 16,-5 1-25-16,0 0-6 0,-4 0-30 0,-6 0-93 0,0 0-48 15,2 1-469-15,-2-1 9 16,0 0 83-16,-18 2 47 0,8 1 74 0</inkml:trace>
  <inkml:trace contextRef="#ctx0" brushRef="#br0" timeOffset="139292.29">5977 10343 901 0,'-7'0'376'0,"7"0"-18"0,0 0-15 15,0 0-112-15,0 0-4 0,0 0-7 0,31-2-2 16,-14 4-26-16,4-2-18 0,10 1 5 0,2 0-28 16,16-2 0-16,2 2 49 15,1-2-52-15,1 1 9 0,2-1-12 0,0 1-4 0,0-2-10 16,-2-2-26-16,1 4-11 0,-2-3-19 16,-4-1 17-16,0 3-18 0,-9-2-23 15,-8 1-2-15,5 2 10 0,-6-2-29 0,-1-1 1 16,-4 2 8-16,-1-1-22 0,-9-1 22 15,3 3-31-15,-3-1-8 0,-2 1-31 0,-3-1-41 0,1 1-17 16,-4 0-1-16,1-1-20 0,-8 1-5 16,7 1-21-16,-7-1-64 0,6 1-132 0,-6-1-226 15,2 3-274-15,-2-1 28 0,0-2 90 16,0 0 53-16,-5 7 78 0</inkml:trace>
  <inkml:trace contextRef="#ctx0" brushRef="#br0" timeOffset="142347.51">8087 9772 734 0,'0'0'282'0,"0"0"-19"0,16-6-30 0,-8 2-25 0,2 4-27 0,0-3-4 16,3 0-11-16,0 1-17 0,2-2 71 0,0-1-5 16,1 3-44-16,2-4-4 15,0 4-14-15,-1-4-48 0,-1 2 5 0,-1 2-28 16,1-3-18-16,-3 1-2 16,-1 1-34-16,2-2-23 0,-7 3-56 0,6-2-59 15,-5 1-90-15,2 0-84 0,-3-2-430 0,-1 3-26 0,2-1 64 0,-4 0 90 16</inkml:trace>
  <inkml:trace contextRef="#ctx0" brushRef="#br0" timeOffset="142631.4">8367 9579 1080 0,'0'0'366'0,"0"0"-26"0,5-4-15 0,-5 4-53 0,8 0 1 15,-8 0-17-15,10 1-38 0,-3 3-13 0,2-1-11 16,-2 1-22-16,3 2-21 16,1 1 0-16,-3-1 2 0,2 4-9 0,-3-1 9 15,1 1-17-15,-2-1-92 0,1 2-11 0,-4 0 15 16,-1 2-9-16,-2-3-14 0,0 5 11 16,-2-1-20-16,-4-2-29 0,1 2-10 0,-3 2-28 15,1-1-47-15,-1 1-30 0,1-2-64 16,-1 0-74-16,0-7-133 15,3 4-436-15,0 2 52 0,0-2 72 0,-1 0 42 0,2-3 63 16</inkml:trace>
  <inkml:trace contextRef="#ctx0" brushRef="#br0" timeOffset="143461.34">9083 9397 1113 0,'0'0'346'0,"0"0"-27"0,0 0-29 16,0 0-34-16,0 0-39 0,-3 12 6 0,3-4-44 16,-3 1 0-16,1 3-43 0,-1 1-8 15,0-2-3-15,-2 7-32 0,0-4-45 0,0 4-32 16,-2-1-42-16,2-2-48 0,1-3-75 0,2 1-79 16,-8 3-235-16,7-4-318 0,1 0 75 15,2-2 63-15,-3-4 78 0</inkml:trace>
  <inkml:trace contextRef="#ctx0" brushRef="#br0" timeOffset="143821.53">9167 9519 813 0,'0'0'254'0,"0"0"-16"16,0 0-15-16,0 12-39 0,0-6-20 0,0 1-8 0,0 3-8 15,0-1-35-15,0 0 12 0,2 0-30 0,-2 1 0 16,3-1 5-16,0 1-16 0,2-1-20 16,-2 1-2-16,4-1-9 0,-2-3 11 15,0 0-5-15,3 0-20 0,2-1 32 0,-2-4-20 0,4 0 6 16,-3 2 4-16,3-6 3 16,-2 2 8-16,4 0-3 0,-2-3 21 0,-2 0-9 15,0-2 94-15,-2-2-22 0,0 0 1 0,-1-1-21 16,-1-1-13-1,-1-1 13-15,-5 2-25 0,3-3-14 0,-3 1-4 0,0 2-21 0,-3-1 16 16,0 1 2-16,-1-1-41 0,-2 2 0 0,-2-2-69 16,3 5-23-16,-2 2-23 15,-3-1-21-15,1 3-10 0,-1 0-15 0,0 1-13 16,2 1-26-16,1 0-61 0,-3 5-59 0,0-1-71 0,-1 2-211 16,3 0-263-1,1-1 62-15,2 4 122 0,-1-4 97 0</inkml:trace>
  <inkml:trace contextRef="#ctx0" brushRef="#br0" timeOffset="145912.37">9797 9481 862 0,'3'-6'297'0,"2"0"67"0,1-1-32 0,-2 1 1 0,-1-1-36 15,2-1-36-15,-2-2 0 0,-1 2-100 0,1-2-20 16,0 0-5-16,-1 1-13 0,0-4 0 15,-1 4 10-15,2 0-3 0,-1 0 3 0,0-1-10 16,-2 4-3-16,0 0 49 0,0 3-43 16,0-1 10-16,0 4-21 0,-2-5-10 0,2 5 7 15,0 0-4-15,-6 11-24 0,4-1 11 0,-3 4-26 16,0 4-18-16,0 3 21 0,-1 4-8 16,-1 0 0-16,2 1-5 0,-5 8-39 0,0-1-2 15,2-6-49-15,0-4-12 0,0 2-3 16,-2-2-18-16,3-1-10 0,-1-3-18 0,2-1-11 15,1-1-17-15,-2-2-16 0,2 1-17 0,-1-2-52 16,1-1-43 0,2-2-49-16,-1-2-67 0,1 1-335 0,0-3-115 0,-1-1 82 0,1-1 51 15,0-2 67-15</inkml:trace>
  <inkml:trace contextRef="#ctx0" brushRef="#br0" timeOffset="146102.16">9587 9772 931 0,'0'0'302'0,"0"-5"-115"16,3 0-3-16,-3 5 8 0,3-6 18 16,-1 4-46-16,1-2-5 0,4-1 2 15,-1 1 46-15,1 0 1 0,3-1-47 0,-2 2 0 16,2-2-17-16,1 0-9 0,1-1-17 0,2 3-18 16,-2-3-21-16,4 0-38 0,-3 1-20 15,2-3-32-15,2 3-76 0,-6-2-117 0,2 2-180 16,0-1-443-16,-1 2 90 0,-1 1 102 0,1-2 28 15</inkml:trace>
  <inkml:trace contextRef="#ctx0" brushRef="#br0" timeOffset="147756.17">9957 9642 990 0,'5'-4'294'0,"-2"1"-17"0,1-1-6 15,2-2 3 1,-4 3-56-16,3 0-62 0,-2-4-20 0,-1 2 35 0,-2 2-40 0,3-1 7 16,-3-1-26-16,0 1 88 0,0 4-39 15,0-6-7-15,0 3-8 0,0 3-23 0,-5-3-18 16,5 3 10-16,0 0-21 0,0 0-9 0,0 0-8 15,-16 8 2-15,12-4-7 16,1-1-8-16,-2 1-18 0,2 2 13 0,-2-1-23 0,2 0-16 16,1 0 8-16,-3 1-7 0,4 0-3 15,-1-1-21-15,2 0 24 0,0-2-4 0,0 3-11 16,0 0-9-16,0-6 3 0,2 6 8 16,2-2-3-16,-4-4-3 0,4 3 16 0,-1-2-20 15,-3-1-1-15,10 2 13 0,-5-2 21 0,-5 0-23 16,11-3 12-16,-6 1 24 0,2 1 2 15,-1-3-26-15,-2 4 14 0,2-4 19 0,-1 3-9 16,0-2 2 0,0 0 3-16,0 2-11 0,-5 1 3 0,8-3 2 0,-5 0-25 0,-3 3 28 15,5 0-35-15,-5 0 1 0,7-1 11 0,-7 1 16 16,0 0-8-16,8 1 22 0,-8-1-45 0,2 4 20 16,-2-4 0-16,3 3-7 15,-3 1 20-15,0-4-31 0,3 6 16 0,-1-4-8 16,-2-2-18-16,0 7 30 0,0-3 4 0,0-4-29 15,1 7 5-15,-1-4 0 0,0-3-15 0,0 5 25 16,0-1 21-16,0-4-28 16,0 4 10-16,0-4-15 0,2 3 2 0,-2-3-58 0,0 0 4 15,0 6 6-15,0-6-11 0,0 0 36 16,2 1-12-16,-2-1 7 0,0 0-8 16,0 0 24-16,0 0 4 0,3 4-15 0,-3-4-5 15,0 0-7-15,0 0 15 0,0 0-1 0,0 0 11 16,0 0 13-16,0 0-5 0,0 0-18 15,0 0 27-15,0 0-22 0,0 0 13 0,10-5-31 16,-10 5 28-16,0 0-10 0,5-3 20 0,-5 3-17 16,3-3-19-16,-3 3 26 0,5-2-5 15,-5 2-10-15,3-4 26 0,-3 4-16 0,5 0 0 16,-5 0-16-16,3-3 21 0,-3 3-2 16,5-4 12-16,-5 4-20 0,4-1 10 0,-4 1-2 0,6-2 4 15,-6 2 6-15,0 0-8 16,5-3-10-16,-5 3 5 0,0 0 26 0,0 0 10 0,5 0-13 15,-5 0-13-15,0 0-5 0,0 0-2 16,8 3 12-16,-8-3 80 0,5 3-8 0,-5-3 15 16,2 4-40-16,-2-4 53 15,3 3-36-15,-3-3-17 16,3 4-14-16,-1-2 3 0,-2-2-10 0,2 6 28 0,-2-6-69 0,3 4 49 0,-3-1-18 16,0-3 12-16,3 4-30 0,-3-4 13 15,2 5-11-15,-2-5-10 0,1 2 23 0,-1-2-20 16,2 2 28-16,-2-2 0 0,0 0-6 15,0 0-12-15,2 4-5 0,-2-4 8 0,0 0-24 16,0 0 123-16,6 1-122 0,-6-1-70 16,0 0 23-16,0 0 9 0,10-5 1 0,-10 5 21 15,5-1-2-15,-5 1 20 0,5-2-36 0,-5 2 33 0,8-4-30 16,-6 4-18-16,-2 0-5 16,6-2 4-16,-6 2-35 0,5-1-51 0,-5 1-15 15,7-2 7-15,-7 2-41 0,0 0-8 0,13 2-48 16,-7-2 13-16,-6 0-93 0,10 1-51 0,-5-1 37 15,2 1-106-15,1-1 20 0,-5 0-181 16,7-1-133-16,-2 0 74 0,2 1 33 16,-2-3 451-16,-1 3 126 0,1-2 53 0,-3 1 20 0,0-2 26 15,1 2 39-15,-6 1 32 0,10-3 114 16,-8 0-11-16,-2 3 18 0,5 0 5 16,-5 0-82-16,6-3-12 0,-6 3-19 0,0 0 21 15,2-3-33-15,-2 3-13 0,0 0 82 16,0 0-36-16,0 0 15 0,0 0-2 0,0 0-21 15,0 0 6-15,-21 3-39 0,21-3 15 0,0 0-22 16,-5 3 4-16,5-3-2 0,-7 0-23 16,7 0-13-16,-3 3 13 0,3-3-23 0,0 0 0 15,-5 3-26-15,5-3 6 0,0 0-14 0,0 4 6 16,0-4 2-16,0 0-15 0,0 0-10 0,2 4 38 16,-2-4-26-16,3 4-7 0,-3-4 8 15,0 0-9 1,3 4 9-16,-3-4 7 0,4 2-23 0,-4-2 16 0,6 0-19 0,-6 0 6 0,5 1 2 15,-5-1 0-15,7 1 8 16,-7-1-2-16,0 0-1 0,8-1-10 0,-8 1 8 16,8-1 7-16,-3-1-15 0,0-1-5 0,-2 0 11 15,2 0-9-15,2-3 21 0,-1 2-20 16,-2-1 28-16,2-1-11 0,-1-2 8 0,1 0 3 16,1-2 2-16,-2 0 26 0,3-3-13 15,0-1 3-15,-4-3-6 0,4 5 37 16,0-3-24-16,-3-1 8 0,3 2-72 0,-3 2 8 15,0 0 3-15,0 1 38 0,0 3 13 16,-3 0-29-16,2 3 21 0,-4-2-15 0,2 3-5 0,0 0 2 16,-2 4 13-16,0 0-3 0,0 0 18 0,0 0-38 15,-7 13 16-15,6-7 9 0,-1 3 42 16,-3-1-14-16,2 3 3 0,-1-1 6 16,1 2-39-16,3-2 15 0,-5 2-30 0,5 0-3 15,-2-4-18-15,2 3-5 0,-1 0-28 0,1-3 2 16,0 2 3-16,0-2-20 0,1-1-1 0,1 0-7 15,0-2 7 1,1 2-7-16,0-3 28 0,-1-1-18 0,3 0 16 0,0-1 14 0,1-2-30 16,-2 1 41-1,4 1-5-15,-3-1-36 0,3-1 11 0,-2 1 9 0,1-1 24 16,0 1-42-16,1-1 34 0,0 0-23 0,0 4-8 0,-3-1-36 16,0-3-4-1,2 4-11-15,-1-2-21 0,-2 2 19 0,-3-2-52 0,2 2-21 0,-3-4-99 16,0 0-158-16,-3 6-521 0,0-3 67 15,1 1 116-15,-4-1 81 0,-1 1 97 0,-3-2 21 16</inkml:trace>
  <inkml:trace contextRef="#ctx0" brushRef="#br0" timeOffset="148371.43">8039 10006 990 0,'0'0'402'0,"0"0"2"0,0 0-38 0,7 11-51 0,2-5-23 0,3 1 0 0,4 1-31 15,-1 3-41-15,5 1-28 16,1 0 21-16,-3 1-45 0,2 1-4 0,-2-2-100 0,1 2-18 16,-2-1-17-16,-1-2-1 0,1 2-13 0,-4-3-23 15,0-1-33-15,0 0 0 16,0 0-38-16,-5-3-51 0,2 0-11 0,-5 1-84 0,3-3-26 15,-1-2-80-15,-2 1-470 0,0-1 74 16,1-1 34-16,-6-1 89 0</inkml:trace>
  <inkml:trace contextRef="#ctx0" brushRef="#br0" timeOffset="148607.17">8421 10137 941 0,'10'7'272'0,"-7"-3"-1"0,2 2-23 16,-2 1 6-16,-1 1-29 0,1 1 3 0,-1 0 36 0,3 4 15 16,-4-1-39-16,0-1-43 0,0 4 11 15,-1-4-116-15,-1 2-8 0,-1 1 13 16,-3-1-10-16,0 3-2 0,0-2 69 0,-3 1-52 16,-2 0-12-16,2-2-62 0,0 0-5 15,0 0-51-15,-1-2-59 0,4 0-141 0,-1-3-100 16,1 0-547-16,3 0 50 0,2-3 104 0,0 0 50 15,2 1 90-15</inkml:trace>
  <inkml:trace contextRef="#ctx0" brushRef="#br0" timeOffset="149336.2">9221 10250 1308 0,'0'0'417'0,"0"0"-33"0,0 0-34 15,0 0-22-15,-5 18-46 0,2-12-24 16,1 2-20-16,-1 3-84 0,0-1-3 0,1 0-26 0,-4 3-22 16,2 2-6-16,1 0 0 0,-4 0-33 15,1-4-13-15,2 4-20 0,-2-2-51 16,3-1-21-1,-2-2-39-15,5 1-25 0,-3-1-46 0,3-3-97 0,0 2-28 0,1-4-27 0,4-1 35 16,-3-2-39-16,6 0 48 0,-3-2 62 16,-5 0 56-16,16-3 39 0,-6-1-6 0,0-2 75 0,1 0 28 15,-1-1 41-15,0-2 33 0,0 1 51 16,0 0 23 0,-2 1 26-16,0 1 11 0,-3 0 1 0,0-1 34 0,0 2-25 0,-2 2-6 15,2-1-28-15,-5 4 11 16,2-2-22-16,-2 2-32 0,0 0-8 0,0 0 36 0,0 0-52 15,0 14-2-15,0-9 23 0,0 1-40 0,0 0-4 16,0 1 6-16,3-1-16 16,0 1 16-16,-1-1-24 0,3 1 6 0,0-2-10 0,0 0 15 15,3-2-11-15,-2-1 19 0,1 2-3 16,0-4-3-16,1 0 29 0,0 0-67 0,-3-2-10 16,3-1 20-16,0 0 39 15,-3-1-34-15,2-2 90 0,-1 3 2 0,-4-2-25 0,1 0 5 16,-3-1-25-16,2 0 15 0,-2-1 15 0,-2 2-51 15,2-2-5-15,-3 2-16 0,1-1-27 16,-1 3-39-16,0-3-29 0,1 2-9 0,-1 1-39 16,0-1-33-16,-1 2-23 0,4 2-51 0,-6-1-54 15,6 1-144-15,-10-3-132 0,10 3-382 16,-4 4 59-16,4-4 74 0,0 0 105 0,-1 3 74 0,1-3 93 16</inkml:trace>
  <inkml:trace contextRef="#ctx0" brushRef="#br0" timeOffset="150210.79">9803 10356 918 0,'-6'-2'364'0,"6"2"-49"0,0 0-21 15,0 0-30-15,-7 8-16 0,7-4-25 0,0-1-34 16,-3 3 8-16,3-2-43 0,-2 2 33 16,2-1-126-16,-2-1-10 0,1 3-17 0,1-1 14 15,-2 0-22-15,-1 0 2 0,3-1 13 0,-2 2-21 16,2-4 11-16,-2 0 5 0,1 3-3 0,1-2 13 16,0-4 8-16,0 6 28 15,0-3-39-15,0-3 34 16,0 5-31-16,0-5 11 0,0 0 9 0,0 0-15 0,0 0-7 0,3 2 12 15,-3-2-22-15,0 0 24 0,0 0-29 16,7-7-4-16,-4 4 11 16,-1 0-10-16,4-1 7 0,-2 1 8 0,-1-1-18 0,2 0 20 0,-2 0-14 15,4 2-4-15,-1-1-2 0,-4 1-18 0,3-2 11 16,1 3-4-16,-2 0-9 0,-4 1 25 16,8-2-7-16,-2 2-16 0,-6 0 15 0,0 0 16 15,10 2-18-15,-10-2-3 0,5 1 3 16,0 2 3-16,-5-3-14 0,3 2 1 0,-1 1 7 15,-2-3 16-15,5 4-5 0,-4-3-11 0,1 3 6 16,-2-4-3-16,2 3 12 0,-2-3 14 0,3 3-16 16,-3-3 33-1,0 2 1-15,0-2 7 0,0 0 79 0,3 4 24 0,-3-4-47 16,0 0 39-16,0 0-38 0,0 0 17 0,0 0-31 16,0 0-14-16,0 0-1 0,12-6-41 0,-12 6 44 15,3-5-41-15,0 4 18 0,-3 1-8 16,5-5-8-16,-5 5-25 15,7-2-15-15,-7 2 12 0,5-2-5 0,-5 2 13 0,8-1 10 0,-8 1-41 16,8 1 24-16,-3 1-32 0,-5-2 3 16,7 2-10-16,-4-1-18 0,0 2-59 0,-3-3-15 15,7 2-33-15,-3 2-42 0,0-2-40 0,-4-2-3 16,8 3-34-16,-6-1-83 16,4 0-142-16,1-2-545 0,-1 0 82 0,3 0 126 15,2 0 46-15,-3 0 109 0,4 0 68 0,-2-2 42 16</inkml:trace>
  <inkml:trace contextRef="#ctx0" brushRef="#br0" timeOffset="151055.63">10234 10399 916 0,'0'0'358'0,"0"0"-20"15,0 0-20-15,0 0-19 0,0 0-28 0,-10-2-15 16,10 2-36-16,0 0-12 0,-9 3-21 15,7 1 7-15,2-4-40 0,-8 3-13 0,6-1 7 0,2-2-2 16,-6 3-126-16,4 1 24 16,0-2-24-16,2-2 19 0,-3 4-11 0,3-4 3 15,0 4 4-15,0-4-14 0,0 5-6 0,0-5-7 16,0 0 0-16,0 0-13 0,3 4 30 0,-3-4-12 16,4 2-5-16,-4-2-3 0,6 0 10 15,-6 0-10-15,5 2 3 0,-5-2 2 0,0 0 0 16,8 0-5-16,-8 0 1 0,0 0-17 0,10-2 9 15,-10 2 20-15,8-2-31 16,-4-1 36 0,0 2-13-16,0 1-15 0,-1-5-10 0,4 1 20 0,-1 1 10 0,-1-3-7 0,2 3 7 15,-1-3-12-15,1 1 7 0,-1-2 23 16,-2 0 1-16,2 0-4 0,-1-2 6 0,2 0-3 16,-1-2 6-16,-1 0 27 15,-3 1 1-15,4 0-6 16,-2-2 6-16,0 6 10 0,0-5-8 0,-1 3 15 0,0 3 11 0,-1-2 82 0,0 0-34 15,-1 4 16-15,4-1-52 0,-5 0 6 0,0 4-3 16,3-2-8-16,-3 2-5 0,0 0-9 0,0 0 9 16,2 11-28-16,0-8 18 15,-2 4-8-15,3 2-5 0,-3-1-17 0,0 2-9 0,2-1-12 16,-2 3 15-16,0-2-7 0,0 0-95 0,1 3-26 16,-1-2-23-16,0-1-18 0,0-1-10 15,2 3-30-15,-2-4 4 0,3 3-10 16,-3-3-12-16,0 1-6 0,2-2-28 0,-1-1 13 15,1-1-62-15,0-1 9 0,1 1 1 0,0-1 11 16,1-3 41-16,-1 1 13 0,4 0-8 16,-1-1 36-16,-6-1 25 0,10 0 6 0,-5 1 35 15,-5-1 16-15,10-2 36 16,-2 0 4-16,-2 2 16 0,1-3 18 0,-1-1 23 0,3 2 11 0,-3-2-11 16,1 0 51-16,1 1-25 15,0-3-6-15,-3 0 8 0,2 1 34 0,1-2-6 16,-3 0 16-16,-2 0 0 0,2 2 17 0,0-1 1 15,-2 0 10 1,-3 0-13-16,2 2 13 0,-2-1 10 0,0 1-28 0,0 4-21 0,-5-7-7 16,0 7 13-16,5 0-34 0,-8 0 0 0,8 0 0 15,-10 4 21-15,5-1-15 0,0 1-24 16,2 1 26-16,-4-1-8 0,4 4 6 0,-2 0 2 16,2-1-36-16,1 0 5 0,-1 0-15 15,3 3 10-15,0-3 6 0,1 0-17 0,3 0 9 0,-1-1-36 16,2 1-34-16,0 0-4 0,0-2-37 15,3 2-2 1,-3-2-23-16,3 1-46 0,0-4-5 0,0 2-36 0,2-2-59 0,-3 1 2 16,1-5-125-16,0 6-532 0,-1-3 120 0,1 2 51 0,-3-1 116 15,0-2 53-15</inkml:trace>
  <inkml:trace contextRef="#ctx0" brushRef="#br0" timeOffset="153678.57">10849 9255 962 0,'0'0'310'0,"0"0"-54"0,0 0 64 0,0 0-8 0,20-5-41 16,-12 5-17-16,2-2-21 0,0-1-21 15,1 2-7-15,2 1-116 0,-3 0-4 0,1-1 10 0,-1 0-21 16,0 1 18-16,0 1-18 0,0 0 0 15,-2 0 21-15,2 4-10 0,-2 1 17 16,2 2 8-16,-2 6-10 0,0 1-3 0,0 4 11 16,-1 7-3-16,0 9-26 0,-1 3 11 0,-1 5-19 15,0 0 6-15,-3 4-5 16,-1 2-13-16,-1 14-6 0,-1 0 62 0,-4 0-12 16,3 3 2-1,-1-2-3-15,1 3-7 0,2-2-23 0,-3 0 2 0,3-2-18 0,-3-3-25 0,3-7 15 16,0-3-26-16,0 1-4 0,0-1 4 0,3-1 11 15,2-3-5-15,-2 0-19 16,-1-3 9-16,3-1-11 16,-2-4 25-16,0-7-14 0,-1-2-21 0,-2-3 0 15,3-6-8 1,-1-1 20-16,1 0-32 0,-3-4 30 0,0-2-23 0,0-3 0 0,3 1 39 0,-3-4-27 0,-3-1-4 0,3-1 13 16,-3-1 12-16,1-1-40 0,-3-2 50 15,0 3 1-15,-4-3-13 0,-1 0 7 0,0 1-5 16,-5-2-20-16,-1 1 18 0,-2 1 7 15,-2-2-27-15,-3 0 2 0,-3 2-26 0,-7-2-30 0,3 2-24 16,-1 0 1-16,-3-1-9 16,3 0-6-1,0 2-27-15,1 0-20 0,4-1-18 0,1 0-40 0,4-1-88 0,1-2-100 16,4 2-555-16,3 1 79 0,3-2 111 0,-2 0 76 16,3-2 64-16,2 1 39 0</inkml:trace>
  <inkml:trace contextRef="#ctx0" brushRef="#br0" timeOffset="154923.25">11500 9820 824 0,'3'-3'440'0,"-3"3"-56"0,2-5-28 16,-2 5-34-16,0 0-7 0,0 0-26 0,0 0-33 16,0 0-2-16,0 13-16 0,-2-7-23 0,2 0-118 15,0 2 11-15,-3 3-24 0,3-1 11 16,-3 2 10-16,1 1-36 0,-3 0-28 15,5 2-23-15,-5-3-31 0,2 1 5 0,0 1-53 16,-1 0-37-16,3-2-22 0,-4-1-74 0,3 0-57 16,-1 2-67-16,-2-3-55 0,3-2-418 15,1-1 46-15,1 0 95 0,0-2 46 0</inkml:trace>
  <inkml:trace contextRef="#ctx0" brushRef="#br0" timeOffset="155327.4">11608 9886 1118 0,'0'0'343'0,"0"0"-8"0,0 0-48 16,0 0-34-16,0 0-20 0,-8 9-12 0,8-3-22 16,0-1-12-16,-3 1-18 0,1 4-26 15,2-1 8-15,0-2-25 0,0 3-16 0,0-2 23 16,2-2-46-16,-2 2 3 0,3 1-3 0,0-1-13 15,-1-1-20-15,0-1-11 0,4 0 1 0,-3 1 22 16,2-3-12-16,2 1 18 16,-1-3-29-16,1-2-2 0,0 1 5 0,2-2 18 0,1 1 31 15,-3-5-6-15,2 3 22 0,-2-2-94 16,3-3 22-16,-3 1 2 0,-1-1-5 16,-1-1-1-16,0-1-1 0,-2 2-11 15,-1-1 13-15,-2-2-21 0,3 3 5 0,-3-2 24 0,-3 2 7 16,3-2-30-16,0 2 7 15,-4 1-18-15,3 1 8 0,-4 2-26 0,2-1-2 0,-2 1-18 16,2-1-5-16,-4 4-42 0,7 0 16 0,-10-2-35 16,5 2-16-16,5 0-23 0,-11 2 2 0,6-1-74 15,0 3-84-15,0-3-87 16,2 1-512-16,1 2 25 0,2-4 123 0,-2 5 59 0,2-5 52 16</inkml:trace>
  <inkml:trace contextRef="#ctx0" brushRef="#br0" timeOffset="155886.53">11918 9863 1011 0,'0'5'360'0,"0"1"-14"0,-2 2-49 0,2 1-18 0,0 1-26 0,-1 1-4 16,2 2-29-16,-1 0-26 15,-1-1-20-15,2 1-28 0,1 3-7 0,-2-2-4 16,3-1-25-16,-1 0 0 0,1-2-7 0,-1 2-37 16,4-4 19-16,-4 0-8 0,3-1-3 15,-2-2 8-15,2 0-23 0,2-2-3 0,-1-1 16 16,1-1-21-16,1-1-10 0,0-2 15 0,0-1-15 16,-1-1 23-16,3-2 26 0,1 0-32 15,-4-2-14-15,1-4 28 0,-3 2-14 0,0-2 4 16,1-7-16-16,-4 5-3 0,-2 0-30 0,0-4 15 15,-2-2 11-15,2 4-8 0,-4-2-8 16,-3 1 7-16,4 0 6 16,-4 1-8-16,1 1-5 0,-1 5 18 0,2-2-30 0,-3 2 19 15,3 0 4-15,-2 3-17 0,1 2-11 0,1-1 40 16,-2 1-28-16,1 4-11 0,1-1-7 16,5 1 16-1,-10 1-6-15,4 3-10 0,2 1-5 0,1-2 33 0,-2 4-13 0,3-1 1 0,1 3 1 16,-1 0 4-16,2 1-8 15,0-1 2-15,2 4 3 0,-1 0-21 0,1 2 19 0,0 0-14 16,1-1 16-16,4 4 16 0,-3-2-11 16,3 0-34-16,-2 1 34 15,3 0-7-15,-3-3-1 0,1 1 41 0,3 2-33 0,-4-5 18 0,3 4-18 16,0-6-15-16,-3 1 13 0,2 0 12 16,-1-3-20-16,-1 2 12 0,0-1-22 15,0-2-24-15,1-1 11 0,-2-1-23 0,-1 1-41 0,2-1-3 16,0-3-31-16,-2 2-38 0,2-1-30 15,0-2-44-15,-2 2-64 0,2-1-121 16,-2-1-207-16,-3-1-286 0,0 0 51 0,10 0 109 16,-10 0 101-16,0 0 13 0</inkml:trace>
  <inkml:trace contextRef="#ctx0" brushRef="#br0" timeOffset="156735.37">12234 9982 1269 0,'0'0'361'16,"0"0"-26"-16,0 0-22 16,0 0-11-16,0 0-26 0,0 0-35 0,-8 15 2 0,5-9-38 15,1 1 10-15,2 1-54 0,-3-1-28 0,1 2 10 16,1 0-27-16,1-1-6 0,0 0-3 16,0 0-7-16,0 0-28 0,1-3-6 0,1 0 19 15,1 1-14-15,-1-3-9 0,1 2-11 16,2-4 3-16,0 2-18 0,0-2 25 0,-5-1-7 15,13-3-1-15,-5 2-1 0,-1-2-57 16,-1-2 5-16,1 1 2 0,1-3 26 0,-3 1-28 16,0-1 26-16,2-4 12 0,-4 4-17 0,5 0-3 15,-3-1-11-15,0 1 4 16,0 1 4-16,-2-1-5 0,2 2 0 0,-2 0 3 16,1 0-5-16,-3 3-29 0,4-2 21 0,-5 4 16 15,0 0 17-15,0 0-20 0,0 0-34 0,0 0 32 16,5 9-1-16,-5-6 3 0,0 4-3 0,-3-2 10 15,6 2-27-15,-3 0 12 16,-3-1 0-16,3 1 28 0,0 2-38 0,0-1-13 0,0-1 8 16,3-1 30-16,-3 0-20 0,0 1-10 15,3-2 13-15,-3 0 2 0,4-3-28 0,-1 1 41 16,-3-3-31-16,8 2-8 0,-2-2-4 0,-6 0 9 16,14-5 9-16,-6 3 14 0,2-2-19 15,-2-2 9-15,0-1 24 0,2 1-16 16,-3 0-13-16,1-1 8 0,-2 1 8 0,-1 1-8 15,2-2-5-15,-4 0-1 0,2 5 12 0,-2-3-6 16,-3 0 2-16,2 3 8 0,-2-2 13 16,0 4-23-1,0 0 8-15,0 0-5 0,-2-6-3 0,2 6 23 0,0 0-26 0,0 0 6 0,0 0-3 0,0 0 0 16,0 0-5-16,0 0-8 16,-10 9 0-16,10-9-2 15,0 0-6-15,-1 3 8 0,1-3 6 0,1 6-6 0,-1-6-5 0,4 3 5 16,-4-3 39-16,6 3-19 0,-1-2-9 15,0 4-1-15,0-4 8 0,0 3 16 0,0-1-21 16,0 2 2-16,1-1 4 0,-1 0-1 16,0 1 15-16,0 1-15 0,-3 0 3 0,1 1-3 0,2-1 5 15,-3-1 11-15,2 2-6 16,-4-1 3-16,2 0-8 0,-2-1-12 0,0-1-1 16,0 1-22-16,-2 0-32 0,2 0-19 15,-3-3-42 1,3-2-18-16,-1 6-40 0,1-6-109 0,-2 3-129 0,2-3-477 0,0 0 54 0,0 0 59 15,0 0 92-15,10-9 69 0,-7 2 59 0</inkml:trace>
  <inkml:trace contextRef="#ctx0" brushRef="#br0" timeOffset="156991.16">12723 9875 1233 0,'2'-6'448'0,"-1"1"-5"0,1 2-46 0,1-1-44 15,-1 3-18-15,-2 1-71 0,0 0 33 0,0 0-105 16,0 0-33-16,0 0 25 15,-2 12-23-15,2-6-35 0,-3 1 2 0,3-1-11 0,0 5-25 16,0-3-10-16,-2 4-5 0,2-2-3 16,-3 1-10-16,3 0-18 0,-2 1-28 0,-1 2 0 15,2-3-31-15,-1 2-27 0,-3-3-14 16,2-1-23-16,1 0-43 0,-3 0-11 0,2-2-33 16,1 0-20-16,0-1-26 0,-1 1-64 0,0-2-56 15,1-2-8-15,0 0-443 0,1 0 1 16,1-3 142-16,-5 3 4 15</inkml:trace>
  <inkml:trace contextRef="#ctx0" brushRef="#br0" timeOffset="157248.26">12674 10024 977 0,'3'-5'274'0,"2"2"-20"16,-2-3-34-16,2 1-10 16,0 0-6-16,3-1 78 0,-3-1-34 0,5 1-5 15,-2 4 8-15,0-4-54 0,2 2 3 0,-2 1-23 16,2-1 20-16,-3 3-51 15,-1 1-52-15,1-1-12 0,1-1 0 0,-3 5 21 0,3-2-6 16,-3 3-2-16,0-1-31 0,0 2 28 0,2 0-8 16,-4 1-12-16,2 0-11 15,-2 1 3-15,-1 1-23 0,1-1 26 0,0-1-21 0,-3 4-8 16,0-2-5-16,0 2-30 0,-3-1-26 16,0-3-15-16,1 4-44 0,-1-2-54 15,1 0-66-15,-3-2-159 0,2 1-576 0,-2-1 41 16,2-1 162-16,-2 1 14 0,5-5 137 0,0-1 32 15</inkml:trace>
  <inkml:trace contextRef="#ctx0" brushRef="#br0" timeOffset="157760.81">12966 9897 913 0,'0'0'369'0,"0"0"-41"15,0 0-39-15,0 0-115 0,0 0-51 0,0 0-23 16,0 0-24-16,0 0-73 0,-7 10-49 16,7-5-67-16,0-1-15 0,-3-1-71 15,1 1 9-15,2 1 65 0,0-5 10 0,-2 8-3 0,2-5 15 16,0 2 70-16,0 0 20 0,0-5 57 0,0 7 53 16,-1-3 29-1,1-1 2-15,0 3 38 0,0-2-15 0,0-4 26 0,1 8-1 0,-1-7 21 16,0 4-35-16,0-1-1 0,0-4-8 0,2 4-4 15,-2 1-16-15,0-5-10 0,2 4 0 16,-2-4-11-16,3 2 1 0,-3-2 7 16,3 4-2-16,-3-4-13 0,0 0-23 0,0 0 5 0,10-4 8 15,-10 4-14 1,5-6 6-16,0 6-17 0,-2-6-14 0,4 3 49 0,-4-1-36 16,2 1-2-16,-2 0 25 0,1-2-21 15,-1 4 9-15,0-4 91 0,-1 3 11 0,-2 2-54 0,6-2 13 16,-4-2 12-16,-2 4-58 0,0 0 43 31,0 0-25-31,10 5 20 0,-10-5-15 0,5 6 2 0,-5-3-30 0,3 2 2 0,0 0-77 0,-3 1-10 16,2-1-7-16,-2 1-3 0,0-2-3 15,0 2 16-15,2-1-14 0,1 0 24 16,-2-2-38-16,-1 1-8 0,0 0 2 0,2-1-7 16,-2 3-16-1,0-6-5-15,0 5 16 0,0-5-29 0,2 4-35 0,-2-4-18 0,0 4 5 16,0-4-31-16,0 0-36 0,0 0-15 0,0 4-21 15,0-4-22-15,0 0-75 0,-4 6-123 0,0-3 11 16,2-1-398-16,-3 2 6 0,0 0 95 16,0 2 28-16,-1-3 148 0</inkml:trace>
  <inkml:trace contextRef="#ctx0" brushRef="#br0" timeOffset="158196">11885 10381 1123 0,'12'-3'446'0,"-6"4"-27"0,4-5-40 0,0 4-33 16,5 0-34-16,3 0-33 0,3-2 0 15,5 1-51-15,2 0-3 0,-3-1-51 0,9 1-69 16,-1 0-46-16,0-4-26 0,1 4-12 0,-1-1-29 16,0-1-12-16,-2-1-44 0,0 1-26 15,-1-1-43-15,-6 2-77 0,-1 0-92 0,-5-2-10 16,-3 4-223 15,1-2-210-31,-6-1 74 0,-2 3 108 0,-3 0 13 0</inkml:trace>
  <inkml:trace contextRef="#ctx0" brushRef="#br0" timeOffset="158480.6">11690 10501 1139 0,'0'0'427'15,"0"0"-130"1,0 0 8-16,0 0-21 0,0 0-36 15,28-2-23-15,-13 2 0 0,0 0-30 0,9-1 20 0,1 0-56 16,6-2-24-16,3 2 19 0,-1-1-44 0,13-1 5 0,0 1-23 16,-7 0-12-16,-6-2-19 0,-2 4 1 0,0-5-47 15,0 4-2-15,-4-1-3 0,-1-2-18 16,-3-1 6-16,-3 3-29 0,1-3-28 16,-3 5-23-16,-2-5-2 0,-3 4 15 0,-1-1-8 15,1 0-56-15,-5-1-28 0,2 3-124 0,-2-2-68 0,-3 0-8 16,0 0-414-16,-5 2 40 0,10 0 123 0,-10 0 16 15</inkml:trace>
  <inkml:trace contextRef="#ctx0" brushRef="#br0" timeOffset="165459.03">5860 12093 1064 0,'10'-6'361'0,"0"-1"-38"0,1 3-21 0,-1 2-23 16,0 0-31-16,0-1-20 0,1 3-21 0,-1 0-12 16,2 0-21-16,-1 3 5 0,1-1-43 15,2 2-1-15,-2 0-2 0,-2 2-43 16,-1 0 35-16,1 2-43 0,-3 1 8 0,-2-1 0 15,0 3-3-15,-2-2-18 0,-3 1 13 16,0 1-8-16,-3 2-10 0,-2 0-3 0,-2 1-30 16,-1 0 25-16,0 0-15 0,0 0-20 15,-1-1 17-15,1-1 18 0,0-2-25 16,0-1-18 0,3-1 7-16,0 1 24 0,-2-3-34 0,4 1-5 0,-2-2 3 0,2 0 23 0,0-1-24 15,0 0 4-15,3-1-14 0,0-3 36 16,-2 5-28-16,2-5 18 0,0 0-12 0,5 5-14 15,0-4 59-15,1 0-32 0,-1 0-37 0,0 1 33 16,5 1-25-16,-3-3-3 0,1 0 6 16,1 2-21-16,3-2 25 0,-2 1-17 15,3 0-39-15,0-1-23 0,-2 1-17 0,3-1-37 16,-3-1-91-16,2 1-109 0,-1-2-94 0,3 0-473 16,-1 0 89-16,1-1 49 0,0 1 115 15,-2-4 71-15</inkml:trace>
  <inkml:trace contextRef="#ctx0" brushRef="#br0" timeOffset="165855.19">6470 12125 880 0,'0'0'302'0,"-8"0"-13"0,8 0-35 0,-10 5-21 16,5-3-16-16,2 3-30 0,-2 1-13 15,2 2-7-15,1 0-22 0,2 1 12 0,-2 1-47 16,4 0-5-16,0 1-8 0,1 1 3 0,2 1-26 16,0-2-20-16,0 0 17 0,0-1-37 15,1 1 7-15,1-1-16 0,1-1-2 0,-3-2 8 16,3-2 2-16,0 0-10 0,-1-3-2 0,1 0-3 16,0-1 2-16,-3-2-12 0,3-1 10 15,-1 0 5-15,-2-2 20 0,1-1-17 16,1 0 7-16,-4 1 26 0,-1-1-8 0,1-2-33 15,-3 0 31-15,2 1-24 0,-4-1 9 0,2 0-11 16,0-1 7-16,-3 1-4 16,1 0 2-16,0 1-5 0,-2-2-7 0,2 1 9 0,-1 2-2 15,-2-2-23-15,2 2-2 0,-1 0-9 16,1 1-7-16,0 1-28 0,1 0-15 16,0 0-8-16,-2 0-26 0,4 3-35 15,-6-4-47-15,6 4-59 0,-4-2-76 0,2-1-54 0,2 3-407 0,0 0 90 16,0 0 33-16,0 0 63 15</inkml:trace>
  <inkml:trace contextRef="#ctx0" brushRef="#br0" timeOffset="166197.43">6654 12127 593 0,'5'3'261'0,"-2"2"-15"0,-3-1-31 0,1 0 10 0,1 2-35 0,-2 2-39 0,2 0 20 0,1 1-27 16,-3 1-14-16,5 0-4 0,-3 1-11 15,1-4-26-15,2 4 11 0,0-3-15 16,0 2-19-16,3-2 16 0,-3-1-18 0,1-2-23 16,4 1 15-1,-3-3-22-15,1 1 4 0,0-3 24 0,2-1-24 0,-2 0-10 0,0-1 18 16,2 0 5-16,-3-3 21 0,1 0-26 0,-1 0 97 16,1-1 14-16,-5 1-35 15,2-1 24-15,0 0-20 0,-3-2-21 0,2 1 0 0,-2 1-54 16,-2-3-38-16,0 3 23 0,0-1-29 0,-2 0 21 15,1-1-23-15,-2 2 19 0,1-1-7 16,0 3 12-16,-1 0-29 0,-2 0 33 16,0 0-48-1,2 1 17-15,3 2-38 0,-10-2 16 0,10 2-31 0,-8 1-26 0,8-1-13 16,-7 3-17-16,4 1-32 0,0 0-60 0,1 0-119 0,0 1-35 16,2-2-453-16,0 2 38 0,2-1 115 15,0-2 21-15</inkml:trace>
  <inkml:trace contextRef="#ctx0" brushRef="#br0" timeOffset="166583.21">7024 12125 906 0,'0'0'286'0,"0"0"-25"16,0 0 11-16,-13 9-47 0,10-7 5 15,0 3-33-15,1 0-25 0,0 1 10 0,-2-1-11 16,3 3-33-16,0-1-15 0,1 2 0 16,0-1-23-16,0 0-10 15,1 0-11-15,1-1-7 0,1 0 15 0,1-2-46 0,2 2 30 0,1-2-22 16,-1-1 0-16,2-1-16 0,-1 0 5 16,3-2 18-16,-2 0-22 0,2 0 7 0,-2-3 2 15,2 1 34-15,-2-2-31 0,0 2 0 16,-3-4 8-1,2 1 15-15,-2 0-15 0,1-1 20 0,-4 0 44 0,0 0 35 0,-2-1-43 0,0 0-10 16,-2-1 5-16,0 1-31 0,-1 1 16 16,0-2-26-16,1 1 13 0,-1 1-44 15,1-2-15-15,-4 3-21 0,4 0-2 0,0 1-33 16,-3-1-6-16,2 3-53 0,3 1-21 0,-6-4-43 16,6 4-69-16,-2-2-123 15,2 2-587-15,0 0 98 0,0 0 41 0,0 0 135 0,0 0 88 16,0 0 30-16</inkml:trace>
  <inkml:trace contextRef="#ctx0" brushRef="#br0" timeOffset="166969.19">7457 12001 970 0,'-8'3'286'0,"8"-3"-35"0,-5 3 49 16,0-2-11-16,5 3-31 0,-3 0-35 0,1-1-23 15,2 2-8-15,0 1 2 0,0 0-43 16,2 2-10-16,1 0 0 0,-3 0-23 16,5 1 15-16,-3 2 0 0,-1 0-18 0,4-1-13 0,-3 1-12 15,1 1 17-15,2-2-9 16,-4 0 17-16,0 0 3 0,0-1-21 0,1 0 16 0,-2 0 2 15,0 0-79-15,-2 0 5 16,0 0-3-16,1-1 23 0,-2 0-32 0,-2 0 6 16,0 1 14-16,0-2-18 0,0 1 2 0,-5-1-18 15,5-1-4-15,-5 0 7 0,2 1-11 0,-1-3-17 16,2 1-41-16,0-2-16 16,-1 2-20-16,0-2-23 0,0-1-36 0,1-2-53 15,1 2-80-15,6-2-144 0,-10-2-470 0,10 2 53 0,-4-2 90 16,4 2 46-16,-1-8 77 0</inkml:trace>
  <inkml:trace contextRef="#ctx0" brushRef="#br0" timeOffset="167230.37">7557 11950 1136 0,'0'0'374'16,"0"0"-1"-16,0 0-35 0,0 0-31 0,0 0-15 15,0 0-97-15,5 13-6 0,-5-4-30 0,1-1-5 16,0 1 2-16,-1 1-28 0,1 4-8 0,1 0-20 16,-2 1-23-16,3 0 12 0,-3 1-12 15,2 2 18-15,-2-3-36 0,1 2-16 16,1-1-20-16,0-1 3 0,1 0-29 0,-3 0-28 0,0-2-43 16,0-1-31-16,3-2-38 15,-3 0-154-15,0-1-26 0,0-1-37 0,0 1-480 16,0-3 108-16,0-2 79 0,2 0 46 0</inkml:trace>
  <inkml:trace contextRef="#ctx0" brushRef="#br0" timeOffset="167735.29">7534 12192 1080 0,'-3'-3'363'0,"3"3"-38"0,0 0-10 0,0 0-59 0,0 0-8 15,5-5-33-15,-5 5-18 0,10-3 21 16,-4 3-64-16,1-2 17 0,1-1-33 16,0 0-110-16,2 1 1 0,-2-1 32 0,2 0-30 15,0-2 2-15,-2 1 8 0,2 1-10 16,1-2 17-16,-4 1 60 0,1 0 5 0,-1 0 22 16,-1 2-17-16,1-2 0 0,-1 1 2 0,-2 0 11 15,2 3-44-15,-6 0-23 0,5-4-3 0,0 3 23 16,-5 1-22-16,5-2 2 15,-5 2 20-15,0 0-15 0,3 7-5 0,-3-7-10 16,0 6-13-16,2-1 5 0,-2-1-2 0,0 1-6 16,0 0-25-16,0 0-8 0,0 0 31 0,1 1-26 15,1-2 8-15,0 1 0 0,1-1 2 16,0-1-17-16,1 2-3 0,0-2 18 0,0 0-13 16,2 0-15-16,-1-1 17 0,2-2-17 15,-7 0 18-15,13 0-23 16,-5-2 20-16,0 1 5 0,-3-1-13 0,4 1 26 0,-1 0-20 0,-2-1 10 15,-1 1-13-15,0 0 18 0,-5 1-29 0,7-1 4 16,-7 1 20-16,0 0-13 16,11 1 15-16,-6 0 3 0,-5-1-18 0,5 5 10 15,-2-3-25-15,-3 1 15 0,2 0-36 0,-2-3-15 0,1 5-11 16,1-1-40-16,-2-4-11 0,0 5-33 16,0-5-53-16,2 4-6 0,-2-4-187 15,3 1-240 1,-1-1-264-16,-2 0 85 0,0 0 89 0,9-4 79 0,-2 1 55 0</inkml:trace>
  <inkml:trace contextRef="#ctx0" brushRef="#br0" timeOffset="168139.43">8124 11982 1023 0,'0'0'407'0,"0"0"-46"0,0 0-20 15,0 0-42-15,0 0-17 0,-3 12 2 0,0-5-26 16,1 0-112-16,-1 2-5 0,1-1-15 15,2 3 7-15,-3-2-18 0,0 3-26 16,3-1-9-16,-2 0-6 0,2-2 21 0,0 1-31 16,-2-2 7-16,2 2-19 0,0-2-17 0,0 0 19 15,0-1 0-15,0-2-23 0,0 2 30 16,0-3-25-16,0 1-18 0,0-5 10 0,0 6 8 16,0-6 7-16,0 0-7 0,-4 2-8 0,4-2 0 15,0 0-5-15,0 0-12 16,0 0-4-16,-14-5-1 0,11 3 9 0,3 2 5 0,-13-2-12 15,8 1 15-15,5 1-13 0,-15 2-5 0,7-1 11 16,3 1-1-16,-3 1 1 16,0 0-11-16,1 1 7 0,-1 1 40 0,2-2-24 15,-1 2-21-15,2-1 27 0,0 1-21 0,2-1-3 16,-1 2-3-16,3-3 6 0,-1 1 8 16,-1 2-16-16,3-3 5 0,0-3-23 15,3 6 13-15,-1-3 5 0,1 0 3 0,2-1-51 0,0 0-29 16,0-1-20-16,3-1-57 0,0 0-9 15,2 0-93-15,0 0-97 0,3-1-141 0,0 0-397 16,2 0 113-16,5-1 77 16,6 1 41-16,5-1 45 0</inkml:trace>
  <inkml:trace contextRef="#ctx0" brushRef="#br0" timeOffset="168913.28">8659 12169 847 0,'0'0'322'0,"0"0"49"16,11-3-7-16,-11 3-62 0,10-1-5 0,-3 2-36 16,1-1-18-16,2 1-20 0,1-2-26 0,1 2-10 0,-1 0-16 15,4-1 8-15,1 0-43 16,-6 1-39-16,5-1 6 0,-4 2-29 0,1-2-36 15,1 0-27-15,-2 0-19 0,1 0-5 0,-1 0-64 16,-1-3-69-16,0 3-71 0,-2-1-116 0,0 1-514 16,-8 0 97-16,10-1 13 0,-5 0 76 15,-5 1 98-15</inkml:trace>
  <inkml:trace contextRef="#ctx0" brushRef="#br0" timeOffset="169302.31">8856 12061 1151 0,'0'0'356'0,"0"0"-10"0,0 0-37 0,11-1-27 16,-11 1-16-16,10 1-33 0,-10-1-5 15,16 3-108-15,-6-1-7 0,0 1-29 0,0 2-4 16,3 0 9-16,-2 1-17 0,1 0-13 16,1-1 5-16,2 2-5 0,-1 1 5 15,-1-2 0-15,1 2-21 0,0-1-4 0,-4 0-1 0,2 2 0 16,-3-3 11-16,1 3-8 0,0-1 51 16,-6 0-36-16,2-1 16 0,-3 1-8 15,-1-2 21-15,1 3-6 0,-3 0 5 0,0 0-4 16,-5-1-27-16,2 3 6 0,-3-1 5 0,-1 1-15 15,-3 2-26-15,2 0 21 0,-5-2-44 16,3 1-16-16,-3-1-4 0,1 1-29 0,1-1-28 16,-1 0-30-1,1 0-67-15,-2-1-54 0,3-1-148 0,2-2-116 0,-2 1-399 0,5-1 118 16,-1-1 57 0,2-1 50-16,-2-1 111 0</inkml:trace>
  <inkml:trace contextRef="#ctx0" brushRef="#br0" timeOffset="176287.49">10283 11999 785 0,'0'0'261'16,"0"0"-89"-16,0 0 5 0,0 0-21 0,0 0-8 16,0 0 6-16,0 0-34 0,10 0 8 15,-10 0-31-15,4-5 16 0,-1 4-29 0,2-3 75 16,-2-1-10-16,4 1-19 0,-1-2-7 15,1-3 7-15,-1 0-19 16,2 1-12-16,-1-2 17 0,0 0 1 0,-1-4-48 0,1-1 18 16,1 0 0-16,0-2 8 0,-3-1-38 0,2-1 12 15,-1 0-11-15,-1 1 30 0,-2-1-1 16,1 0 2-16,-1 1-97 0,0 0 21 16,-3 5 0-16,0 1 20 0,2 2 16 0,-4 0-26 15,2-1 85-15,-3 4-29 0,3 1 18 0,0 0-7 16,-2 3-21-16,2 3 5 0,0 0 0 0,0 0-20 15,-11 8 18-15,6 3-11 0,0 3 11 16,0 2 5-16,-3 6-26 0,1 4 3 16,-1 8 40-16,-3 0-48 0,4 3 8 0,-4-2-3 0,4-1-5 15,-1 3-17-15,0-4 11 32,1-2-1-32,2-6-34 0,-1 1 38 0,2-2-12 0,-2-1-15 0,2 1 7 0,1-5-5 0,0 0-1 15,1-2-9-15,-1-2 10 0,0-2-13 0,1-1-13 16,-1-1-15-16,3-2 18 0,-2-3-56 15,2 1-24-15,-3-1-50 0,1-2-29 0,1-2-38 16,1-2-44-16,0 0-84 0,-4 2-95 16,4-2-33-16,0 0-436 0,0 0 111 15,-6-7 38-15,6 2 121 0,-2 1 61 0</inkml:trace>
  <inkml:trace contextRef="#ctx0" brushRef="#br0" timeOffset="176482.3">10169 12166 898 0,'-2'-3'310'0,"-1"0"-39"0,3 3 75 0,0-5-44 16,0 5-13-16,1-6-18 0,1 3-33 15,0-2-25 1,4 3-75-16,-1-3-5 0,0 1-33 0,3-2 7 0,-3 1-17 0,5-1-3 0,-2 3-15 16,2-2-49-16,0 0-11 0,0 1-19 15,-2 1-50-15,2-2-71 0,1 2-81 16,-1-2-111-16,0 3-459 0,2-2 19 0,-4 1 105 15,3 0 23-15</inkml:trace>
  <inkml:trace contextRef="#ctx0" brushRef="#br0" timeOffset="177534.79">10483 12053 711 0,'0'0'294'0,"7"-6"-30"0,-7 6-10 0,5-5-27 16,-3 3-1-16,1-1-9 0,0 1 67 0,-3 2-20 0,4-7-23 0,-3 2-11 0,-1 1-15 16,0 4 2-16,3-6-25 0,-1 2-12 31,-2 0 30-31,0 4-54 0,-2-6 13 0,2 6-34 0,0-5-14 0,0 5 24 0,-4-3-37 15,4 3-13-15,0 0 12 0,0 0-86 16,-10 2-29-16,10-2 5 0,-4 4 14 0,4-4 22 16,-6 7-43-16,4-4 7 0,-1 2-22 15,-2 0 17-15,5 0 18 0,-2 0-2 0,2 2-3 0,-1-3-15 16,-1 3-6-16,4-2 21 0,-2 0-7 16,1 2 7-16,1-1-8 0,-2-2-14 0,3 0-4 15,-1 0 21-15,1 1 8 0,-1-2-18 16,4-1 15-16,-4 0-8 0,-2-2 8 0,8 1 3 15,-8-1 5-15,10 0-3 0,-10 0 13 16,10-1-13-16,-5 0 21 0,-2-2-26 0,4 2 0 16,-1-2 10-1,-1 0 16-15,2 0-28 16,1-1-6-16,-3 2-12 0,1-1 25 0,-1-1 5 0,0 3 8 0,0-2-7 0,0 1-14 16,-2 0 14-16,2 0-11 0,-5 2 0 0,8 0 15 15,-8 0-9-15,0 0-9 0,10 2 29 0,-10-2-3 16,5 4-7-1,0-1-1-15,-5-1 11 0,5 1-39 0,-3 0 34 0,1 1-26 0,-2-1 13 16,1 1 2-16,-2 0-18 0,2-1 16 0,-2-3-5 16,3 8 20-16,-3-4 13 0,0-1-18 15,0-3-15-15,3 6 7 0,-1-4 13 0,-2-2 3 16,0 6-21-16,0-6 3 0,0 5 20 16,0-5 6-16,2 3-11 0,-2-3 20 0,0 0-19 15,0 5-6-15,0-5 5 0,0 0-13 0,0 0-5 16,0 4 24-16,0-4-24 0,0 0 18 15,0 0-23-15,1 4 28 0,-1-4-35 0,0 0 9 16,2 4 17-16,-2-4-9 0,0 0-15 16,0 0 8-16,0 4 4 0,0-4-4 0,3 3 10 15,-3-3-18-15,0 0-8 0,0 3 31 0,0-3-28 16,0 0 10-16,0 0 8 0,0 0 28 16,2 4-28-16,-2-4 117 0,0 0-20 0,0 0-20 15,0 0 33-15,0 0-21 16,0 0 11-16,0 0-52 0,0 0-4 0,11-5 17 0,-9 1-107 15,3 1 4-15,-2 0 6 0,2-3 18 16,0 3-25-16,0-1 1 0,0 1 4 16,-2 1 17-16,2-1-20 0,-2 1 28 0,2 1-18 0,-5 1-18 15,7-2 44-15,-1 2-23 0,-6 0 17 0,10 2-20 16,-5-1 16-16,0 2 9 16,-2-1-9-16,4 1 2 0,-4 1 7 0,4 0-4 15,-1 1-11-15,-3 0 19 16,1 0-22-16,-1-1 37 0,2 1 0 0,-3-2-26 0,1 2 12 15,2-2 24-15,-3 1-15 0,-1-2-14 0,4 1 34 16,-5-3-28-16,2 6 25 0,1-4 9 16,-3-2 14-16,3 4-41 0,-1-2 134 0,-2-2-49 0,3 1-10 15,-3-1 20-15,0 0-33 0,0 0 36 16,10 0-88-16,-10 0 42 0,0 0-29 0,0 0-19 16,10 0-24-16,-10 0 0 0,8 0 0 15,-8 0 0-15,8 0 0 0,-3 2 0 0,-5-2 0 16,8 2 0-16,-3-2-80 15,-5 0-81-15,10 1-49 0,-7 1-46 0,-3-2-43 0,7 1-37 16,0-1-25-16,-7 0-122 0,6 0-116 0,2-1-464 16,-1-1 129-16,-1 1 94 0,2 0 93 0,-1-2 71 15,0 0 82-15,2 0 67 16</inkml:trace>
  <inkml:trace contextRef="#ctx0" brushRef="#br0" timeOffset="178122.33">11028 12139 842 0,'0'0'330'0,"0"0"-23"0,0 0-5 16,-13 4-115-16,13-4 7 0,-4 1-50 0,4-1 17 16,-4 4-7-16,4-4-37 0,-2 4 4 15,2-4-9-15,-2 3-25 0,2-3 11 16,0 5-37-16,0-5 0 0,2 3 11 0,0 1-18 16,-2-4 5-16,4 5-23 0,0-2-6 0,-3-1 4 0,4 0 12 15,0 0-23-15,0-2 13 16,0 3 7-16,-5-3-10 0,10 1 21 15,-4 0-18-15,-6-1 0 0,10 0 0 0,-10 0-16 0,12-5 16 16,-4 5 5-16,-3-3-3 0,3-1-4 16,0 1 24-16,0-2 17 0,-1-2-4 0,1 1 4 15,0-3 99-15,0 1 10 0,-2-1-59 0,2-2 1 16,0-2 17-16,2 0-5 0,-2-3-17 16,0-3 7-1,2 0-36-15,1 0 5 0,-1 0-5 0,-3 1 16 0,-1 3-14 16,-2 2 37-16,2 2-16 15,-2 0 5-15,0 3-17 0,0 0 22 0,-3 1-33 0,1 2 6 0,-2 2-52 0,0 3 41 16,0 0-49-16,0 0 18 0,0 0 21 16,0 0-28-16,-7 13-21 0,3-6 26 15,2 2-21-15,0 0-71 0,-1-2-14 0,0 4 19 16,1 0-15-16,0-2 12 0,2 2 5 0,0-1-33 16,2 0 13-16,-2-1-3 0,2 0-5 15,1-2 3-15,0 0-23 0,1 0 35 0,2-3 11 16,-1 0-18-16,3-2 12 0,-1-2 8 15,1 0-7-15,0-2 15 0,2-1 13 0,-2 2-24 0,2-3 24 16,0 1-3-16,-2 2-10 31,-3-2-5-31,2 3 21 0,-1-1-9 0,-6 1 6 0,12 1-18 0,-6 1 33 0,-1 0-10 0,0 3-8 16,0-2 18-16,-2 4-13 16,2-2-7-16,0 1 7 0,-2 0-33 0,1-1-12 15,0 1-24-15,0 0-25 0,2 1-37 0,-4-2-14 0,3 2-9 16,0-4-53-1,0 3-53-15,1-1-137 0,-2-2-84 0,5 0-404 0,3 1 48 0,1-2 131 16,2 1 100-16,9-3 35 0</inkml:trace>
  <inkml:trace contextRef="#ctx0" brushRef="#br0" timeOffset="178917.21">11844 11947 1223 0,'0'0'417'0,"0"0"-15"0,0 0-79 0,0 0-11 16,0 0-46-16,0 0-5 0,0 0-23 0,10-3-30 15,-10 3-22-15,12 0 14 16,-12 0-57-16,11 2-7 0,-3-2-18 0,2 1-18 0,-2 0-26 15,2 0-41-15,-2 0-12 0,2-1-32 16,0 1-22-16,1 0-49 0,-4-1-30 16,3 0-45-16,-2 1-96 0,0-2-8 0,-1 0-113 15,-2 1-460-15,3 1 156 0,-3 0-26 16,-5-1 115-16,6 1 77 0</inkml:trace>
  <inkml:trace contextRef="#ctx0" brushRef="#br0" timeOffset="179175.78">11821 12048 1026 0,'0'0'343'0,"0"0"-28"15,0 0-29-15,0 0-30 0,0 0-15 0,0 0-13 0,0 0-36 16,17 1-28-16,-17-1 7 0,16-1-15 15,-8 1-20-15,2-1-36 0,0-1-31 0,0 1 3 16,1-2-19-16,-1 0-27 0,2 1-41 0,-3 1-47 16,1-3-86-1,0 2-60-15,0-2-109 0,-2 0-469 0,-1 2 82 0,4-1 31 16,-6-1 107-16</inkml:trace>
  <inkml:trace contextRef="#ctx0" brushRef="#br0" timeOffset="179494.36">12003 11862 921 0,'0'0'315'0,"0"0"-21"15,10-4-46-15,-10 4-22 0,10 3 71 16,-2 1-26-16,-3 0-28 0,7 1-2 0,-1 2-31 0,-3-1-16 15,2 1-10-15,0 2-12 0,0 0-3 16,1 3-10-16,-1-2-83 0,0-1-1 0,-2 1-19 16,0 0 13-16,-3 0 0 0,0-1-10 0,0 2 13 15,-5-3-8-15,3 0 30 16,-3 1 40-16,-3 0-32 0,3 0-10 0,-5-1 0 0,-1-2-7 16,2 1-16-16,-4 0-5 0,3-2-16 0,-1 0-42 15,-3 0-27-15,3 1-7 16,-1-3-39-16,-1 1-48 0,3-3-92 0,-3 2-131 0,0-1-156 15,3-1-435-15,5-1 169 0,0 0 33 16,-7-3 79-16,7 3 64 0</inkml:trace>
  <inkml:trace contextRef="#ctx0" brushRef="#br0" timeOffset="180178.27">12497 11755 939 0,'0'-3'292'0,"0"3"-34"0,-4-3-30 15,4 3-8-15,-6-1-20 0,6 1 48 0,-10 0-15 16,10 0 0-16,-10 2-44 0,2 1 1 0,3 1-6 16,-1 1-5-16,-1 1-28 0,-1 0 18 15,-2 1-66-15,2-1 12 0,0 1-26 16,1 3-9-16,2-3 2 0,0-1 7 0,0 2-22 15,2-1-3-15,0-2-97 0,1 2 22 0,2-2 9 16,0 0-11-16,0-1 8 0,2 0 2 16,2-1-17-16,0-1 27 0,-4-2-12 0,10 1 8 15,-4-1 17-15,-6 0-17 0,15-3 20 16,-7 0 5-16,2-1 18 0,0 0-23 0,0-3 16 16,-2 1-19-16,2 0 8 0,-1-2-5 0,1 1 18 15,-3 0-5-15,0 0 5 0,1-1 3 0,0 3 9 16,-5-2-17-1,4 1 3-15,-4 0 14 0,2 1-1 0,-2 4-6 0,1-5-13 0,-3 5 10 16,-1 1-30-16,0 0 26 0,0 0 7 0,0 0 15 16,7 8-35-16,-7-1 22 15,0-2 6-15,0 6-8 0,-2-1-5 16,0 1-23-16,-1 1-3 0,2 2 3 0,-1 1 10 0,0-2 11 16,2 1 2-16,-3-1-16 0,3 2-7 15,-3-2-5-15,3-1 10 0,-2 0-25 0,2-2-11 16,-2-1-10-1,2 0-31 1,-1-3 10-16,1 3-37 0,0-4-17 0,0 0-9 0,-2 0-44 0,2 0-28 0,2-2-67 0,-1 1-118 16,-1-4-58-16,0 2-451 0,0-2 36 0,0 0 138 0,0 0 47 15,12 0 58-15</inkml:trace>
  <inkml:trace contextRef="#ctx0" brushRef="#br0" timeOffset="180368.66">12656 11938 1034 0,'0'-3'460'0,"0"3"-17"0,0 0-64 0,-2-4-49 16,2 4-12-16,0 0-60 0,-2-3-53 0,2 3-23 16,0 0-52-16,0 0-58 0,0 0-57 15,0 0-79-15,0 0-123 0,0-9-112 0,0 9-502 16,0 0 84-16,0 0 23 0,0 0 90 0</inkml:trace>
  <inkml:trace contextRef="#ctx0" brushRef="#br0" timeOffset="181013.05">12826 11717 1167 0,'5'-2'389'0,"0"-1"-36"0,-5 3-36 0,12 0 3 16,-6 3-33-16,2 0-28 0,-3 0-11 15,2 1-15-15,-2 2-51 0,1 1 7 0,-1 2-20 16,-3-1 8-16,-1 1 63 0,-1 1-2 0,-1 1-23 15,-4 1-2-15,0 0-57 0,-3 2 43 16,-2-1-53-16,-2 2-15 0,1-4-6 16,1 4-2-16,-3-4-5 0,3 1-11 0,2-1-27 0,0-1-1 15,1-2 18-15,1-2-43 0,2 1 20 16,1-2-17-16,0 0 22 0,1-1 21 16,1 1-57-16,1-3 55 0,3 2-116 0,0-1-5 15,0 1 41 1,4-1-18-16,-2 0 7 0,3-1 37 0,0 1-36 0,2-2 22 15,0 2-32-15,1-1 2 0,1 0-5 0,-2-1 12 0,6 2 24 16,-3-2 46-16,2 0 10 0,-2 1 5 0,0-2-26 16,-1 2-19-16,1-1-19 15,-5-1 20-15,2 1-22 0,0 0 7 0,-2 0-20 0,0 0 2 16,0-1 8-16,-3 1 29 0,-5-1-1 16,10 0-10-16,-3 1-11 0,-7-1-22 0,8 0 5 0,-3 1-41 15,-5-1 18-15,0 0 20 16,8 1-3-16,-8-1-17 0,6 1 28 0,-6-1-13 15,4 2-23-15,-4-2 57 0,0 0-47 0,3 3 8 16,-3-3-31-16,5 1 36 0,-5-1-12 0,0 0 7 16,2 3-5-16,-2-3 2 0,0 0 6 15,1 4-16-15,-1-4-26 0,0 0-14 0,0 0-4 16,0 0-25-16,0 0-30 0,0 0-26 0,2 3-24 16,-2-3-4-16,0 0-29 0,0 0-37 15,0 0-45-15,0 0-30 0,0 0-136 16,-10 2-87-16,5-2-465 0,5 0 109 0,0 0 46 0,-10 0 144 15,10 0 25-15,-10 4 98 0</inkml:trace>
  <inkml:trace contextRef="#ctx0" brushRef="#br0" timeOffset="182276.34">10383 12812 965 0,'0'0'327'0,"-8"13"-45"0,7-6-14 0,-1 2-14 0,-1 0-31 0,1 2-21 0,-1 2-26 16,1-1-9-16,-1 1-29 0,0 4 0 0,1-4-20 15,2 2-8-15,-2-1 3 0,-1-1-49 0,3 0 18 16,-3 1-31-16,3-3 3 0,0 0 7 16,-2-1-12-16,2-3-8 0,0 1-3 0,0-1 3 15,0-1 8-15,0-1 48 0,0-1 15 0,0 0-30 16,0-4 13-16,0 0-31 15,2 3 21-15,-2-3-24 0,0 0 11 0,0 0-3 0,0 0-3 16,3-15 11-16,0 10-13 16,-1-4-18-16,0 0 16 0,-2-3-19 0,3-1 6 15,0 0 20-15,0-5-13 0,-1 2 11 32,3-3-11-32,-2 1-5 0,-1 0 11 0,3 2-4 0,-2 3 4 0,-1-1 7 0,1 2-15 15,2 0 10-15,-3 3-103 0,-2 1 11 0,3 2 26 0,0 1-6 16,-3 1-25-16,0 4 53 0,4-2 3 15,-4 2-13-15,0 0-15 16,4 8 18-16,-2-1-5 0,0-1 5 0,1 3 5 16,0-1-18-16,-1 2-3 0,-2-1-2 0,3 2 13 0,2-1 4 15,-2 1-12-15,-1-2-12 0,0-1 14 0,2-1 1 16,-2 0 4-16,3-1-7 16,-2-3 18-16,-1 0-10 0,3-1 5 0,0-2 15 15,-5 0-5-15,13-3-10 0,-7 0 7 0,1-3-2 16,1-1 0-16,2 1 13 0,-3-3-13 0,2 1 20 15,-2 1 6-15,3 0-24 16,-2 1 39-16,-3 0-13 0,0 3 15 0,0-2-27 0,0 3 4 16,0 0 13-16,1 1 13 0,-6 1-7 0,7 3 9 15,-1 2-10-15,-1 0 24 16,0 1-49-16,-1 1-3 0,2 3 13 0,-4-1-16 16,4 2 26-16,-4 0-35 0,1-1-3 0,-3 0-16 15,2-1-15-15,1 2-13 0,-3-2-4 16,3 0-32-16,-3-2-20 0,2 2-59 0,0-2-23 15,1 1-25-15,-2-1-39 16,1-1-72-16,0-2-135 0,1-2-36 0,0 2-500 0,1-1 132 0,-1-1 32 16,3 0 211-16,1-2-11 0,-2 1 34 15</inkml:trace>
  <inkml:trace contextRef="#ctx0" brushRef="#br0" timeOffset="182995.59">10828 12959 1128 0,'0'0'425'0,"0"0"-28"0,-2-4-128 0,2 4-13 0,0 0-23 0,-5-4-21 0,5 4-2 15,0 0 0-15,0 0-36 0,-13 4-15 16,10 0-8-16,3-4 2 0,-8 5-9 0,4-3-32 16,1 1 1-16,0 0 5 0,1-1-19 15,0 3-6-15,1-2-27 0,-1 1 1 0,-1 1 9 16,3-2-14-16,0-3-21 0,0 7 13 0,0-7-34 15,3 6 13-15,-1-4 19 16,-2-2-29-16,3 4 2 0,-3-4 1 0,5 2-16 16,-5-2 16-16,7 1 2 0,-7-1-8 0,8 1 1 15,-8-1-3-15,10-1 15 0,-10 1-28 16,8-1 5-16,-8 1 11 0,8 0-3 0,-8 0 0 0,7-1-18 16,-7 1 2-16,8-2 19 0,-5 1-16 15,-3 1-3-15,10-4 11 0,-5 1 77 16,0-1 7-16,1 0-25 0,1 0 2 15,-2-2 0-15,1-1-15 0,1 0 38 16,1-1-87-16,-1-1 1 0,1-1 25 0,0-3-3 0,-1 0-15 16,1-1 23-16,0-1-11 0,0 1 86 15,2-1-19-15,-5 0-18 0,3 1 44 0,-3 3-26 16,2 0-12-16,-1 0-67 0,-2 2 35 16,0-1-1-16,0 3-9 0,-1 1 8 15,0 0-30-15,-1 0 30 0,1 4-15 0,-1-2-5 0,-2 4-11 16,0 0 18-16,0 0-2 0,0 0 3 0,0 17-1 15,-2-9-17-15,0 2 27 0,1 4-30 16,-1-1-38-16,2 3 50 16,-3-1-9-16,6-1-3 0,-1 2-18 0,1-1-3 0,2-2-17 0,0 3-21 15,1-5 25-15,1-1-27 0,-2 1 17 16,3-4-10-16,-1 2 8 0,1-3 16 0,0-2-29 16,0-1-5-16,-1-1 30 0,4-2 8 0,-4-1-20 15,3-2 18-15,-2 0-21 16,2-1 26-16,0-2-13 0,-2 1 21 0,-3 0-34 0,3 1 31 15,-2-2-15-15,-2 4 15 0,-1-1 2 16,2 0-12-16,0 3-8 0,-5 0-15 0,0 0 35 16,0 0-35-16,7 5 41 0,-7-2-31 15,1 3 28-15,-1-2-18 0,3 2 16 0,-3 0-11 16,2 1-38 0,0-1-23-16,1 1-5 0,0 0-47 0,2-2-7 0,0 1-33 0,2-1-44 15,1-1-22-15,0 0-55 16,5 1-48-16,-8-3-195 0,10 0-468 0,3-2 148 0,0 0 31 15,3 0 141-15,2-2 102 0,3-1 49 0</inkml:trace>
  <inkml:trace contextRef="#ctx0" brushRef="#br0" timeOffset="183260.46">11862 12865 1369 0,'-6'2'504'0,"6"-2"-43"0,-4 3-41 16,4-3-26-16,0 0-41 0,7 6-66 0,-4-5 15 16,4 2-54-16,1-3-10 0,0 2-53 15,4 0-37-15,-2-1-38 0,4 0-46 0,-2 0-36 16,-1 1-20-16,-1-1-34 0,0-1-61 15,1 3-30-15,-3-3-127 0,1 2-178 16,-4 0-185-16,1 0-217 0,-2-1 46 0,-1 3 87 0,-3-4 115 16,0 5 41-16</inkml:trace>
  <inkml:trace contextRef="#ctx0" brushRef="#br0" timeOffset="183462.94">11816 12992 911 0,'0'0'384'0,"0"0"-39"0,-3 2 16 0,3-2-38 0,0 0-44 0,0 0-8 16,8 6-33-16,-1-5-15 15,-1 1-16-15,2-1-25 0,2-1-13 0,2 1-59 0,1-2-56 16,0 1-21-16,0-1-20 0,0 0-49 0,2-2-74 16,0 2-103-16,-2-3-148 0,2 1-445 15,-2-2 54-15,0 0 130 0,-3-1 28 0,3 0 79 16</inkml:trace>
  <inkml:trace contextRef="#ctx0" brushRef="#br0" timeOffset="183765.77">12093 12759 967 0,'4'-2'379'0,"-4"2"-3"16,0 0-23-16,0 0-45 0,11 8 58 0,-6-2-23 15,-2 0-21-15,2-2 1 16,0 7-47-16,0-3-10 0,0 3 3 0,0-1-49 0,0 2-25 16,1-1 25-16,-4 1-36 0,0-1-15 0,1 2-23 15,-3-2-85 1,3 2 3-16,-3-2 3 0,-3-2-11 0,3 3-17 0,-3-1-1 16,-1-3-46-16,0 2 6 0,0-1-52 0,1 0-25 15,0-1-42-15,1-1-27 0,-1-2-54 16,1-1-126-16,-1 1-291 0,1-2-328 0,2-3 153 15,0 0 36-15,0 0 49 0,0 0 62 0,0 0 76 16</inkml:trace>
  <inkml:trace contextRef="#ctx0" brushRef="#br0" timeOffset="184453.05">12772 12769 952 0,'0'-6'368'16,"0"1"-40"-16,2-1-11 0,-2 0 34 0,0-1 7 15,0 0-45-15,0 0-16 0,-2-1-44 16,2 2-10-16,-3 0 13 0,3 0-82 16,-3 3-18-16,3-2-20 0,-4 1-8 0,1 2-21 15,3 2 4-15,-8-2 1 0,8 2-27 16,-13 3-11-16,6-1 3 0,-1 3-8 0,0 1-5 0,-2 1 7 16,0-1-14-16,2 2-1 0,-2 0-12 15,2 0 9-15,1-1-25 0,1 2 1 0,-1-3 14 16,4 2-10-16,1-3-17 0,-1 1 7 15,3-2 0-15,0 1-8 0,0-1 1 0,3-2 7 16,1 2 5-16,-4-4-18 0,11 0 3 16,-3-1-11-16,2-2 11 0,0 1 10 15,3-2-25-15,-3-1 20 0,1 0-13 0,1 0 31 0,-1 1-34 16,-1-1 16-16,0 0 23 0,-2 1 28 0,-1 0-10 16,-1 2-5-16,1-1 7 0,-4 3 49 15,-3 0 31-15,10 0 0 0,-8 4-39 16,1 0-2-16,0 0 0 0,-1 3 0 0,1 2-26 15,-3 0-8-15,3 2 14 0,-3 2-9 0,0-3-14 16,0 4 22-16,-3-2-51 16,2 1-2-16,-1-1-8 0,-3 2-69 0,2-4-34 0,-1 2-15 15,1-1-46-15,0 0-38 0,-1-1-44 16,3-2-46-16,-1 1-148 0,-9-1-169 16,11-2-459-16,3-3 111 0,-1 1 84 0,-2-4 120 0,8 2 57 15,-8-2 125-15,11-3 0 0</inkml:trace>
  <inkml:trace contextRef="#ctx0" brushRef="#br0" timeOffset="184576.09">12944 12907 808 0,'0'0'348'0,"0"0"-56"0,0 0-18 0,0 0-28 16,0 0-29-16,0 0-60 0,0 0-63 0,0 0-119 16,0 0-193-16,0 0-470 15,0 0-4-15,0 0 160 0</inkml:trace>
  <inkml:trace contextRef="#ctx0" brushRef="#br0" timeOffset="184838.54">13146 12692 1267 0,'0'0'483'0,"0"0"-42"15,-5 19-9-15,2-10-50 0,1 4 2 0,-3 2-39 16,0 2 70-16,2 2-49 0,-2 0-49 15,0 5-28-15,-1-3-20 0,4-2-8 0,-3 4-23 16,0-4-79-16,2-1 0 0,-2 0-57 16,5-2-5-16,-2-3-30 0,1 2-59 0,-1-3-26 15,-1 0-28-15,3-1-47 0,-2-3-14 0,2 0-26 16,0-2-34-16,0 0-55 0,0-2-119 16,2 0-109-16,1-1-492 0,-3-1 43 15,0-2 124-15,3 3 27 0,-3-3 147 0,0 0 10 0</inkml:trace>
  <inkml:trace contextRef="#ctx0" brushRef="#br0" timeOffset="185928.87">13354 11599 995 0,'0'-5'366'0,"0"5"-20"15,5-4-29-15,2 1-17 0,1 1-42 0,2-2-4 0,1 4 4 16,1-3-102-16,4 2-17 0,-1-1-11 0,1 0-8 16,-1 2-10-16,1-1-18 15,-1 1 74-15,0 0 1 0,-2 1-9 0,3 3-9 16,-1 0-8-16,-5 1 0 0,3 2 15 0,-2 2-18 16,-1 1-28-16,-3 7 18 0,1-2-10 15,-3 4-6-15,0 5 3 0,0 1-25 0,-2 13 10 16,-3-4-8-16,0-3-13 0,0 8-22 0,0 5 48 15,-2-1-52-15,-1 2 11 16,3 0 8-16,0 3-36 0,0 3 15 0,0-3 26 0,2 2-39 16,1-3-10-16,-1 2 24 0,3 0-19 15,-2-1-18-15,2-1 21 0,0 0 5 0,1-1-20 16,-1-3 32-16,4 2-19 16,-1-2-14-16,1-2 6 0,-2-3-26 0,3-1 15 0,-5-3 0 0,3-5 1 15,-3-5 7-15,0-2-13 0,-2-2 5 16,2-2-15-16,-3 0 5 0,-1-4-5 15,3 0 29-15,-1-1-32 0,-2-3 3 0,-1-1 21 16,2-1 14-16,0 0-1 16,-2-1-11-16,0-1-5 0,0-1 0 0,0 1 5 0,-2-3-3 15,-1 1 8-15,-2 0 8 0,2-2 8 0,-4 1 4 16,-1 0-15-16,1 2-7 0,-4-3-11 16,-2 2 21-1,1-2-18-15,-4 3 10 0,-2-1 6 0,-2-3-37 0,-1 2 0 16,-2-1 11-16,-2 0-28 0,1 0-29 15,1-2-2-15,0 3-23 0,-2-2-52 0,4-4-4 0,1 2-11 0,2-1-61 16,3-2-13-16,1 1-82 0,4-2-131 0,0-2-196 16,5 0-426-16,3-2 147 0,-2 1 61 15,7-3 140-15,0-1 44 0,2-3 62 16</inkml:trace>
  <inkml:trace contextRef="#ctx0" brushRef="#br0" timeOffset="186481.56">13623 12309 1095 0,'0'0'448'0,"10"-2"-33"15,-10 2-57-15,13 1-33 16,-3-1-20-16,0 1-29 0,3 0-7 0,1 1-44 0,3-1 3 0,-2 1-26 15,3 1-5-15,1-2-38 0,1 2-3 16,-2-2-25-16,0 0 2 0,2 1-21 0,1 0 1 16,-3-1-41-16,0-1-11 0,0 1-15 0,0-1-13 15,-3 1-27-15,-2-2-6 16,2 1-57-16,-4 1-14 0,-1-3-34 0,0 2-62 0,-2 0-81 16,0-1-115-16,-8 1-556 0,10-2 138 0,-5 1 39 15,0-1 63-15,-5 2 83 16,5-4 66-16</inkml:trace>
  <inkml:trace contextRef="#ctx0" brushRef="#br0" timeOffset="186842.31">13951 12124 1397 0,'0'0'379'0,"0"0"-13"0,0 0-49 15,0 0-9-15,0 0-47 0,18 8-49 0,-10-4 3 16,2 0-10-16,0 3-39 0,3-1 8 16,-2 0-10-16,1 0-36 0,-1 1-15 0,4 1-1 15,-5-1-25-15,3 1 23 0,-2 0-10 0,1 0 3 16,1 2-29-16,-5-2-15 0,2 1 2 15,-2 1 19-15,0-2 4 0,-2 3-17 16,-2 0 32-16,0 0-9 0,-3-1 2 0,-1 2-36 0,-1 0 6 16,-1 1 7-16,-4 0-13 0,0 2 16 15,-2-2-39-15,-3 1-17 0,-1 1-9 0,-2 2-7 16,0-1-64-16,-3-1-15 16,-3-1-62-16,2 2-25 0,-2-1-57 0,2-2-184 0,0 2-560 15,0-4 101-15,2 4 29 0,1-5 121 16,3 1 48-16,-4-1 53 0</inkml:trace>
  <inkml:trace contextRef="#ctx0" brushRef="#br0" timeOffset="197721.53">15310 11643 965 0,'0'0'261'0,"0"0"2"0,5-2-9 16,-5 2-29-16,0 0-31 0,3-4 85 0,-3 4-33 15,0-4-13-15,0 4-20 0,2-4 17 16,1 1-20-16,-3-1-34 0,0 4-4 0,2-8 7 16,-2 5-92-16,0-1-8 0,0 4 14 0,-2-9 9 15,2 4-7-15,-3 0-34 0,1 1 29 16,-1-1-21-16,1-1-5 0,-1 2 38 0,-2 1-38 15,2-1 10-15,-4 0-2 0,1 2-21 16,1 0 3-16,-2 2-10 0,7 0 71 0,-13 0-5 16,5 2-8-16,0 1-17 0,-2 3 25 15,3 1-26-15,-4 1-25 0,1 0 20 16,2 6-25-16,-2-2-41 0,2 3 36 16,-2-2-31-16,2 1-24 0,1-1 30 0,2 2-35 15,-1-5 1-15,4 2 0 0,0 0 5 0,1-2 5 0,-1-1-23 16,4-1-3-16,-1 2 23 0,1-4-22 0,0-1-8 15,1 1 48 1,4-4-51-16,-1 0 26 0,-1-2-13 0,3 0 20 0,0-2-10 16,2-3 6-16,0 1 17 0,0-2-5 0,-2-1 0 0,2-1 18 15,-2 0-2 1,2-3 7 0,-3 3 5-16,-1-3-23 0,2 1 11 0,-3 0 17 0,2 2 3 0,-2 2 5 15,0 0-5-15,-2 1-25 0,0 0-9 0,0 3 14 0,-1 0 10 16,-2 2-8-16,0 0-5 0,0 0 5 0,5 11-11 15,-5-4 9-15,0 3-16 0,-3-3 15 16,3 7-12-16,-2-3 20 0,2 4-5 0,0 0-5 16,-2-2-20-16,1 1 17 15,-1 0-12-15,2 0 17 0,-3 0-40 0,1-3-14 0,1 1 14 0,-1 0-67 16,2-3 0-16,-3 1-41 0,3-2-59 0,0 0-10 16,-2-3-92-1,4 1-162-15,-2-1-537 0,3-2 82 0,-3 2 89 0,3-5 55 16,-3 0 88-16,8 2 81 0</inkml:trace>
  <inkml:trace contextRef="#ctx0" brushRef="#br0" timeOffset="197922.75">15466 11800 1133 0,'0'0'474'0,"-2"-3"-29"0,2 3-45 0,-2-3-139 16,2 3-3-16,0 0-55 0,0 0-45 0,0 0-71 0,0 0-43 15,0 0-83-15,0 0-158 16,0 0-348-16,0 0-238 0,0 0 92 0,0 0 66 16,0 0 57-16</inkml:trace>
  <inkml:trace contextRef="#ctx0" brushRef="#br0" timeOffset="198159.81">15656 11609 1067 0,'0'0'420'15,"0"0"-54"-15,-5 13-18 0,5-7-36 0,-3 0-12 0,3 3-14 16,0 2-35-16,0-2-20 16,-2 3-24-16,2 0-8 0,0 2-17 0,0 0-41 0,2-1-8 15,-4 0 3-15,2 1-31 0,2-4 0 0,-2 1-23 16,-2-1-13-16,2 0-3 0,0-1-27 15,-2-1-32-15,2 1-14 0,0-4-34 0,0 0-44 16,0 0 6-16,0 2-72 16,-1-2-59-16,-1-3-125 0,-1 2-101 0,3-4-452 0,0 5 79 15,0-5 118-15,-2 2 95 0,2-2 61 0</inkml:trace>
  <inkml:trace contextRef="#ctx0" brushRef="#br0" timeOffset="199443.11">15310 12774 1008 0,'0'0'387'0,"0"4"-101"0,0-4-25 0,0 0-38 16,0 0-11-16,0 0 14 0,0 0-19 15,0 0-30-15,0 0 4 0,0 0-17 0,0 0 64 16,13-10-10-16,-9 7-42 0,0-1 11 0,-2-2-28 16,3 0-3-16,-2 1 26 0,0-2-118 15,-1 0 0-15,0-1-11 0,-2 0 37 16,3 0-16-16,-3 1-10 0,-3-1-13 0,3 0 52 16,-2 3-37-16,0-2-12 0,-1 1 8 15,0 2-9-15,1 0 1 0,-3 2-21 0,5 2 16 16,-11 0-11-16,1 2-10 0,3 2 8 0,-2 1-2 15,-3 3-9-15,-1 3-12 0,0 0 2 16,0-1-7-16,1 4-8 0,-1-2 36 16,2 0-28-16,1 2-21 0,2-1-10 0,3-3-3 15,-2 0-2-15,4-1 2 0,1 0-2 16,-1-3 3-16,3 1 22 0,3-2-25 0,-1-1 15 16,1-1-2-16,2-1 2 0,0-1-5 0,-5-1 18 15,18-4-8-15,-8 2 19 0,0-2 22 0,1-1-38 0,1 1 15 16,1-3 5-16,-2 1 24 15,-1-1-19-15,0-1 16 0,1 2 5 16,-4 0-18-16,1 2 15 0,-1-1 16 0,-1 3-23 0,-1-2-13 16,0 2 25-16,-5 2-22 0,7-1 20 15,-7 1 5-15,6 5-15 0,-4-2 7 47,0 3-15-47,-2 1 10 0,4 3-10 0,-4-1 5 0,0 2-10 0,0 2 31 0,0 1-39 0,0-1 13 0,-1 1 5 16,-2-1-15-16,3 0-18 0,-2 0 10 0,0 0 5 0,2-3-17 0,-3-1-3 15,3 0-3-15,0-2-21 0,0-1-9 0,-3 1-36 16,3-3-39-16,0 0-31 0,0-4-45 16,0 5-36-16,0-5-49 15,0 0-144-15,8 1-201 0,-8-1-290 0,0 0 146 0,10-7 5 16,-4 4 87-16,-1-1 59 0</inkml:trace>
  <inkml:trace contextRef="#ctx0" brushRef="#br0" timeOffset="199591.15">15466 12904 926 0,'3'-4'405'0,"-3"4"22"0,0 0-53 15,0 0-26-15,0 0-51 0,0 0-41 0,-3-5-72 0,3 5-84 16,0 0-156-16,0 0-280 0,0 0-475 0,-4-2 127 16,4 2 14-16,0 0 107 0</inkml:trace>
  <inkml:trace contextRef="#ctx0" brushRef="#br0" timeOffset="199958.69">15666 12744 1400 0,'8'3'448'0,"0"-1"-26"0,-5 1-125 0,1 0 10 0,-1 2-13 15,-1 0-38-15,-4 1-7 0,-1 2-4 0,1 0-27 16,-3 3-26-16,0 0-18 0,-3 2-20 0,1-1-16 16,-4 0 3-16,4 1-34 15,-1-3-7-15,0-1 5 0,3-1-21 0,-1 0 1 0,2 0-6 16,1-3-12-16,0 1 2 0,1-2 23 16,0 2-41-16,2-4 26 0,0-2 56 0,4 7 16 15,-1-5-47-15,0 0 16 0,2-1-24 0,-5-1-4 16,15 1-6-16,-7-1 9 0,2-1-37 15,1 0 28-15,-1 1-43 16,0-2-28-16,0 0-10 0,1 0-11 0,-1 0-36 0,0 0-27 16,0 0-32-16,-2 1-4 0,2-1-34 0,-3-1-10 15,-1 2-36-15,-1 1-38 0,3-2-90 0,-3 1-164 16,-2 0-503-16,-3 1 70 16,9-1 106-16,-9 1 59 15,0 0 66-15,6 2 71 0</inkml:trace>
  <inkml:trace contextRef="#ctx0" brushRef="#br0" timeOffset="201971.48">16105 11553 1156 0,'5'-2'387'0,"-5"2"-57"16,7-2 0-16,-7 2-30 0,11 4-16 0,-3-1-72 0,0 3-35 15,1 7-23-15,-1-2-8 16,-3 2-29-16,1 4 6 0,1 4 0 0,-4 1-28 16,-1 3 7-16,-2 2 8 0,-2 0-28 0,-1 3 0 15,-4 5-26-15,1 1 11 0,1-7-13 16,0-3-3-16,0-1-23 0,0-1 41 0,3-4-43 15,-1 2 15-15,0-4-21 0,3 0 16 0,-2-3-16 16,4-1 9-16,-2 0-22 0,3-2 27 16,0-3-11-16,1 0 2 0,1-3-15 0,0 0 19 15,1-6-6-15,2 4-5 0,2-4-1 16,-3-4 1-16,4 1 82 0,-1-2-5 0,0 0-11 16,1-2-20-16,1 0-2 0,-2 2 27 15,-1-1-37-15,-2 0 1 16,1 1 29-16,-1 1-18 0,-2 1-33 0,0 2 36 0,-5 1 20 0,0 0-31 15,13 6 41-15,-7 3-25 0,-4 3-18 16,0 5 20-16,4 6-8 0,-4 2-14 0,4 14 37 16,-2 2-33-16,-1 3-12 15,3 0-16-15,-2 2 31 0,4 2 8 0,0 9-24 0,0-1-20 16,-3-9 15-16,2 0-9 0,1 1 6 16,0-3 6-16,-3-1-15 0,0-4-6 0,2-3 9 0,-4-6 9 15,0-6-5-15,-1-1-17 16,-2-4-6-16,0-2 39 15,-2 1-1-15,-1-2-12 0,0-3 36 0,-1-2-47 0,-2-1 26 0,2 0-4 16,-2-2-4-16,1-1-12 0,-5-1-1 16,2-1-42-16,-2-1-6 0,0-2-18 15,2 0-49-15,-2-3-32 16,-1 0-47-16,3 0-43 0,-2 0-47 0,3-3-99 0,1-2-162 0,-1 0-534 0,2-1 53 16,0-2 144-16,2-2 38 0,1-3 128 15,2 0 46-15,0-2 72 0</inkml:trace>
  <inkml:trace contextRef="#ctx0" brushRef="#br0" timeOffset="202296.47">16668 12286 1397 0,'-4'-2'463'0,"4"2"-27"15,0 0-42-15,0 0-26 0,0 0-20 0,0 0-15 16,10-4-23-16,-10 4-44 0,18 0-23 16,-7 0-17-16,3 0-96 0,4-2-7 0,1 1-16 15,4-1 14-15,2 1-27 0,0 0 6 16,-1-2-31-16,4 0-15 0,0 1-15 0,0-2-14 15,-5 2-40-15,-2-2-70 0,2 2-7 16,-5-1-41-16,-2 1-38 16,1 0-85-16,-4-1-116 0,-1 3-52 0,-1-3-495 0,-3 1 130 0,2-1 29 15,-2 1 66-15,-3 0 88 0</inkml:trace>
  <inkml:trace contextRef="#ctx0" brushRef="#br0" timeOffset="202596.12">17087 12109 1233 0,'0'0'451'0,"0"0"-39"0,0 0-100 16,18 1 18-16,-8 0-40 0,0 3-24 15,3 0 23-15,5 2-15 0,-2 1-39 0,1 0-12 0,-1 3-8 16,2 0-20-16,0 3-1 0,-5-1-22 15,1 1 2-15,-3 0-16 0,-3 1-17 16,0 0-10-16,-4 1-13 0,-4-1 7 0,0 2 8 0,-4 1-48 16,-2 1-11-16,-4 1 3 15,-3-1-52-15,1 1-15 0,-4 0-22 0,1-1-55 16,-1-1-33-16,1 1-20 0,1-2-57 0,-3-2-33 16,4-2-48-16,-2 0-152 15,-1 3-104-15,4-6-418 0,-1 1 62 0,3-3 120 16,-3-1 64-16,2 0 59 0,1-3 64 0</inkml:trace>
  <inkml:trace contextRef="#ctx0" brushRef="#br0" timeOffset="-192330.9">13390 8 455 0,'-8'11'69'0,"0"3"39"0,0-1-52 0,1 1 21 0,0 0 28 15,-1 1-49-15,0 0-7 0,3 1-1 16,-3 0 16-16,-2 0-41 0,2-1-20 0,0 0 33 16,1 0 20-16,-1-1-41 0,0 0 24 0,-2 0 10 15,5-1-39-15,-3-2 31 0,-2 2-13 16,5-3 0-16,-3 1 10 0,1-1 1 0,-1 0 7 16,0 0-10-16,3-1 15 0,-3 1-2 15,0-1-14-15,-1 1 22 0,1-1-34 0,0 2 13 16,1-2-6-16,-4 3 9 15,6-3 7-15,-5 2-5 0,2-1-29 0,0 0-29 0,-2-1 4 16,2 2-33 0,-2 1-16-16,0 0 6 0,2-1-49 0,-2-1 13 0,2 4-36 0,-5-2-243 0,5-1-277 15</inkml:trace>
  <inkml:trace contextRef="#ctx0" brushRef="#br0" timeOffset="-191361.62">13769 385 1310 0,'-5'0'456'0,"5"0"-34"0,-8 0-48 0,8 0 17 0,-8 0-2 15,8 0-76-15,0 0-16 0,-4-3 0 0,4 3-26 16,2-5-33-16,0 0 13 0,2-1-41 0,0 1-21 16,2-2 21-16,1 0-10 0,1-1-24 15,0 1-9-15,0-1 2 0,-1 0-26 0,0 2-36 16,1 0 37-16,0-1-14 0,-3 2-32 0,1 2-4 15,-2-1-32-15,1 1-3 16,-2 0 25-16,-3 3-2 0,8 1 20 0,-8-1-17 16,4 6 17-16,-3 0-33 0,2 2-7 0,-3 2 7 15,0-1-107-15,-3 5 12 0,3 1-12 0,-3 3 32 16,1-1-9-16,-4 2 7 16,2 0-25-16,-2 3-31 0,2-3-2 0,1 1-19 0,-2-3-12 15,0 1-47-15,2 0-42 16,0-1-35-16,-2-3-14 15,5 0-21-15,-5-1-56 0,3-1-57 0,-1 0-5 0,3-2-199 0,-3-1-400 0,3-1 121 16,0-1 48-16,0-3 98 0,-2 1 84 16,2-1 54-16</inkml:trace>
  <inkml:trace contextRef="#ctx0" brushRef="#br0" timeOffset="-191160.97">13672 668 1300 0,'-6'-1'430'0,"6"1"-54"0,0 0-38 0,0 0 8 0,0 0-34 0,0 0-10 0,0 0-136 0,0 0 13 0,0 0-28 0,0 0 0 15,27 0-10-15,-15-1 5 0,4 1-36 0,-1-1 0 0,5 0-25 0,1-2-1 0,-1 1-50 16,1-2-55-16,2 1-38 0,-5-1-23 16,2-1-59-16,1 1-68 0,-4 0-147 15,-6 2-20-15,5-4-469 0,-2 2 77 0,-3-3 41 16,-1 1 113-16</inkml:trace>
  <inkml:trace contextRef="#ctx0" brushRef="#br0" timeOffset="-190890.95">13982 207 1023 0,'0'0'523'15,"23"8"-37"-15,-13-2-18 0,6 4-81 0,1 4-39 16,4 7 67-16,5 2-1 0,0 3-37 0,-3 1-52 16,-1 6-118-16,-1 0 39 0,-5 1-24 15,-4 3-68-15,-2 2 5 0,-7 1-47 16,-6-1-43-16,-4 2-35 0,-4 0-47 16,-7-4-92-16,-7 9-46 0,-3-3-38 0,-5-2-39 0,-4-2-74 15,2-3-75-15,1-1-588 0,4-8 64 0,4-3 162 16,-2-1 40-16,2-2 36 0,-2-2 120 15</inkml:trace>
  <inkml:trace contextRef="#ctx0" brushRef="#br0" timeOffset="-189097.02">14756 329 1167 0,'0'0'512'0,"-2"-2"-123"0,2 2-51 0,0 0 7 15,0 0-30-15,-3 10-51 0,3-2-16 16,-3 1-33-16,1 2-8 0,2 2-22 0,-3 0-34 16,-2 5-16-16,2 1-27 0,-1 0-11 15,1 0-23-15,-2 4-35 0,0-4-19 0,0 3-58 16,-1 0-11-16,2-4-53 0,1 1-16 0,-2-2-43 15,2 0-75-15,-2-2-91 0,3-4-27 0,-1 1-480 16,0 1 58-16,1-4 121 16,2-1 0-16</inkml:trace>
  <inkml:trace contextRef="#ctx0" brushRef="#br0" timeOffset="-188690.73">14715 366 1064 0,'10'-11'369'0,"-2"4"48"0,3 0-41 0,-4 2-25 0,4 3 18 0,-1-1-93 0,2 1-35 16,-3 0-8-16,1 3-29 15,0 0-78-15,-3 1-6 0,1 1-7 0,-3 2-11 0,-3 1 6 16,-1 0-19-16,-2 2 6 0,-3 1 10 0,-2 2-26 15,-1 4-17-15,-6 1 4 0,0 1-4 16,-3 0-19-16,-2-1 11 0,-4 7-13 0,1-5 10 16,3-3 18-16,3-1 16 0,-3 0 12 15,5-4-5-15,0 0-13 0,3-1 6 16,0-3 2-16,2 1-8 0,3-2-4 16,0 1-32-16,-2-1 1 0,3-1 2 0,2 2 18 0,2-2-18 15,0 1 15-15,2 0-15 0,4 0-7 0,-1 0-11 16,0 0 18-1,0 0-31-15,5 0 1 16,1-2-27-16,1 2-19 0,-1-2 14 0,1 1-63 0,-1-2-36 0,-1 0 7 0,3-1-43 0,0 0-23 16,-1 2-28-16,-1-3-31 0,-1 0-66 15,2-1-132-15,-1 1-508 0,2-2 82 0,-3 2 17 16,0-1 100-16,-2 0 82 16</inkml:trace>
  <inkml:trace contextRef="#ctx0" brushRef="#br0" timeOffset="-188355.42">14969 593 1087 0,'3'-7'405'0,"2"-1"-34"0,0 1-8 0,-2 0-122 16,-1 0 10-16,3-1 2 0,-2 1-17 0,-1 0-3 15,-2 2 41-15,0 0-8 0,0-1 18 16,0 1-38-16,-2 1-31 0,0 1 2 0,2 3-20 15,0 0-15-15,-9 0 2 0,9 0-12 0,-10 5-49 16,2 0-6-16,4 0-17 16,-4 4-23-16,2 0 38 0,1 0-23 0,-2 1-33 15,4 2 8-15,-2 0-6 0,3-1-17 0,1 1-26 16,1-2 20-16,0 2 6 0,3-1-16 16,2 1-21-16,0-3-4 0,1-1-41 15,1-1-6-15,4 1-20 0,-4-1-51 0,6-3-21 0,-3 0-20 16,1-2-10-16,1-1-21 0,-1-1-49 15,4 0-86-15,-2-2-203 0,2 1 57 0,-2-3-456 16,0 1 69-16,2-1 120 0,-2-1 62 0,2-2 94 16</inkml:trace>
  <inkml:trace contextRef="#ctx0" brushRef="#br0" timeOffset="-187720.8">15277 550 1003 0,'-1'-5'358'0,"-3"2"49"15,4 3 3-15,-8-4-31 0,0 3-39 16,0-1-43-16,1 2-87 0,-6 2-8 0,5-1 21 15,-2 1-36-15,-3 0-16 0,1 2 8 0,3 2-25 16,-1-1-3-16,2 0-15 0,-2 2-21 16,5 0-21-16,-2-2-9 0,4 0-34 0,-2 1-7 15,3-1 4-15,1 2 3 0,2-1-12 16,1 0 10-16,3 1-1 0,0 1-22 0,1-1 7 16,1 2-18-16,0 0 1 15,4 1-11-15,-3 2 18 0,2 0 10 0,0 0-12 0,-2-1-9 0,-3 0 9 16,2 0 22-16,-4 0-12 0,2-1-8 15,-2 3 3-15,-3-4 7 0,0 1 11 16,0 0-11-16,-2 2 21 0,-1-2-6 0,-2 1-9 16,0-1 17-16,-1 1-7 15,1-2-26-15,-2 1 28 0,-1-3-8 0,5 1-15 0,-4-3 1 16,4 0 9-16,1-1-20 0,-4-1-44 0,4-2 49 16,2-1-30-16,0 0 12 0,0 0-21 0,0 0 11 15,-6-9-5-15,7 4 15 0,2-4 3 31,-1 0-26-31,3-4 21 0,-2-5-3 0,4 2 10 0,3-5 0 0,1 2-23 0,-1-1 52 0,3 0-29 16,0 1 21-16,-1 3-13 0,2 4 20 16,-2-1-7-16,-1 2-13 15,-1 3-8-15,0 1 38 16,0 0-14-16,-2 3-4 0,2 2-7 0,-2 0 11 16,-1 2 7-16,-7 0-34 0,13 3 16 0,-8 1 8 0,1 0-5 0,-1 2-26 15,-3 0 5-15,3 2-8 0,-4 2 24 0,1-1-39 16,-4 1 13-16,2-1-16 0,0 0 29 0,0 0-41 15,0 1 53-15,-1-4-56 16,-1 3 44-16,2-3-3 0,0 1 5 0,0-3 11 0,0 1 4 16,-3-3-4-16,3-2-1 0,0 5 11 0,0-5 10 15,0 0-15 1,0 0 20-16,0 0-8 0,0 0 24 0,5-18-29 0,-2 11 0 16,-1-3 3-16,3 0 7 0,1-3 14 0,-3 1-27 0,4-2-17 15,0-2-18-15,1 3-13 0,0 0-28 16,0 0 3-16,-1 2-67 0,1 2 7 15,2-1-50-15,-2 4-47 0,2-1-30 0,-2 1-47 16,0 3-40-16,-1 0-72 0,1 2-162 16,2 0-470-16,-2 1 94 0,2 1 116 15,-2 0 107-15,-1 0 85 0,1 1 30 0</inkml:trace>
  <inkml:trace contextRef="#ctx0" brushRef="#br0" timeOffset="-186576.86">15594 745 821 0,'6'-8'356'0,"1"1"-23"16,1-1 53-16,2-2-9 0,-2 0-9 15,0-4-43-15,2 1-33 0,-7 0-8 0,5-1-84 16,-1 4-3-16,-4 0 3 0,2 1-9 16,0 0 4-16,-2 3-13 0,-1-1 7 0,-2 1 44 15,0 1-8-15,0 1-22 0,0 4-29 0,-3-3-11 16,3 3-35-16,0 0-17 15,-15 4 6-15,12-1-35 0,-1 3 3 0,-2-1 9 0,1 4-32 16,0-1 22-16,0 1-33 0,2 0-4 0,1 0-1 16,-1-1 10-16,1 1-48 0,2-1-14 15,0 0-4-15,0 0-33 16,2 0-16-16,1-3-38 0,2 1-26 0,2-1 2 0,1-3-14 16,0-1-16-16,2-1-11 0,3-3-4 0,3 1 12 0,1-3 19 15,1 0-21 1,2-2-8-1,1-2 21-15,0-2 7 0,-4 1 16 0,-1 0 9 0,-3-1 30 0,2 1 17 0,-4 0 15 0,-4 0 54 32,1 0 21-32,-3 3-6 0,-2-1 52 0,-1 1-24 0,1 2 22 0,-6 0 11 0,1 0 17 15,1 3-29 1,-4-1 8-16,1 0-3 0,4 3-15 0,-9-2-8 0,2 2 0 0,7 0-2 0,-11 4 12 16,7-3-20-16,1 3-15 0,-2-1 25 15,3 2-10-15,1 0-16 0,-1 0 4 0,-1 1-11 16,3 1-6-16,0-1 4 15,3 3 22-15,-1-3-40 0,-1 3 30 0,1 0-5 16,3-2-8-16,-2 2-20 0,1-1 43 0,-1 0-32 16,-2 0 29-16,1-1 34 0,0 1-15 0,-4-1-15 15,0 1-4-15,1-2-6 0,-6 2-9 0,4 0 49 16,-4-1-41-16,1 0 6 0,-1 0-19 16,-1-3 5-16,2 1-27 0,-1-1-26 31,0-2-26-31,1 2-36 0,1-4-23 0,2 3-10 0,3-3-7 0,0 0-24 0,0 0 0 0,0 0-35 15,0-10-47-15,6 6-76 0,1-2-29 16,1-2 11-16,2-1 102 0,3-3 41 0,-2 2 15 16,6-3 36-16,-2-1 19 0,-4 2 6 15,5-2 83-15,-4 1 31 0,1 2 50 0,0 0 24 16,-3 1 7-16,-3 1 44 0,1 2 23 0,-2-1-8 16,-2 2 8-16,-1 1 13 0,0 0-8 0,-1 1-13 15,-2 1-7 1,0 3-16-16,0-5-18 0,0 5 3 0,0 0-29 0,0 0 22 0,0 0 14 15,0 0-30-15,-10 9-8 0,10-5 18 16,0 1-23-16,0-5-26 0,0 8 3 0,0-2-15 16,3 1 7-16,-1 0 8 0,1 1-10 0,0 0-21 15,1 2 36-15,2-1-12 16,-1 1 7-16,-2-2 20 0,1 0-38 0,-1 1 10 0,0-1 24 16,-1-1-16-16,0 2-1 0,-2-1 24 15,0 0 8-15,0 0 5 0,-2 0-5 16,0-1-34-16,-1 0-12 0,-2-2-3 0,0 0-11 0,0 1-4 15,-1-2-33-15,1 1-52 16,0-3 0-16,2 0-28 0,3-2-49 0,-7 2-4 0,7-2-34 16,0 0-46-16,0 0-31 15,0-9-18-15,3 2-20 16,2 1 46-16,2-3-74 0,-2-1 25 0,6 1 67 0,-4-3 71 0,3 4 85 0,0-1 67 16,-1 2 56-16,-1 0 28 15,-1 1 20-15,-2 1 18 0,3 2 1 0,-3 0 12 0,2 0 41 16,-1 2-38-16,-6 1 5 0,10 1-8 15,-5 1 0-15,0 0-20 16,-2 2 5-16,-1 0-21 0,1 1 5 0,-3 0-14 0,3 2-50 16,-3 0-20-16,0 0-64 0,-3 1-72 0,0 2-122 15,-4-2-126-15,4 1-481 0,0-1 69 0,-2-2 135 16,3 2 62-16,0-2 31 0</inkml:trace>
  <inkml:trace contextRef="#ctx0" brushRef="#br0" timeOffset="-186403.69">16125 545 939 0,'-2'-4'374'0,"2"0"-39"0,0 4-84 0,-3-5-151 16,3 5-149-16,0-3-207 16,0 3-443-16,0 0 75 0</inkml:trace>
  <inkml:trace contextRef="#ctx0" brushRef="#br0" timeOffset="-185771.44">16313 565 1208 0,'-6'6'419'0,"4"0"-42"0,-1 1-24 0,-2 0-31 0,0 2-50 16,0 1-19-16,2 1-12 0,-2 0-42 0,2 0-17 15,1 0-15-15,0-1 12 0,-1-2-33 0,3 1-26 16,0 1-12-16,0-3-1 16,3 1-20-16,-1-2-20 0,1 0 35 15,4-1-25-15,-4-2 0 0,5-2 20 0,0 0-28 0,-1-3-18 16,3 0-5-16,-2-1 13 0,0-1-15 0,2-2 38 0,-2-1-24 15,2 1 29-15,-2-2-10 0,-3 0 5 16,0-2-13-16,-1 3-12 16,-1-2 9-16,0 1 1 0,-3 1-3 0,0 0-72 15,0 0 18-15,-3 0-30 0,1 1 2 0,-1-1-5 16,-2 4-5-16,3-4 25 0,-1 5 0 0,-2-1 6 16,2 1-8-16,-1-1 0 0,4 3 0 15,-8-3-8-15,8 3-13 16,-3-1 11-16,3 1-18 0,0 0 10 0,0 0 10 0,0 0 5 0,0 0-5 15,0 8 6-15,0-8-14 16,7 6 14-16,-1-3 14 0,-1 1-32 0,2-1 2 0,-1 2 15 0,1-1 3 16,1 1 2-16,0-1-4 15,0 0-14-15,-1 1 6 0,0 0 2 0,1 1 21 16,0-2-29-16,-3 0 16 0,1 1 31 0,2-1-14 16,-4 0-17-16,-1-2 13 0,4 1 15 0,-4 0 28 15,4-2 18-15,-7-1-25 0,8 0 22 16,-3 0-7-16,-5 0 13 0,11 0 15 15,-4-1-18-15,1-1 13 0,-2 1-26 0,1 0-5 16,-7 1 6-16,13-1-6 0,-6 2-2 0,1-1-6 16,2 1 1-16,-2 0-14 0,0 2 6 0,-1-1-36 15,1 0 8 1,0 0-24-16,-3 2 1 0,2-2-51 0,-1 1-29 0,-3-1-33 0,2 1-62 16,-2 0-68-16,-3-3-141 0,2 6-205 15,-2-3-436-15,0 0 134 0,0-3 77 0,-2 6 56 16,2-6 87-16,-1 4 66 0</inkml:trace>
  <inkml:trace contextRef="#ctx0" brushRef="#br0" timeOffset="-185195.43">16958 552 591 0,'0'7'253'0,"-2"-1"-33"0,2-1 0 0,-2-2-28 0,2 1-7 0,0 0 27 15,0-4 21-15,0 5 67 0,0-5-14 0,0 0 4 16,0 0-50-16,0 0 8 0,0 0 1 0,8-13 107 15,-6 6-49-15,0-1-5 0,1-4-110 16,0-1 7-16,3-4-14 0,0-4-29 16,2-3 15-16,3-11-17 0,1 0-18 0,1-5-34 15,5 2-2-15,0 0 15 0,-3 4-15 0,3 1-31 16,-3 11 23-16,-4 3-18 16,-4 4-15-16,1 5-8 15,0 4 34-15,-1 3-24 0,-2 4-10 0,1 4-7 0,-1 1-26 0,0 6 25 0,-1 0-9 16,-3 3 4-16,2 2-2 0,-1 1-3 15,1 2 3-15,-1 0-21 0,1 0-33 16,-1-1-12-16,-1 0-24 16,1 0-38-16,3 0-34 0,-2-3-45 0,-1-2-57 0,1 0-36 15,-1-1-27-15,-1-1-93 0,3 0-92 16,-1-3-523-16,-3-1 85 0,3-2 106 0,-3 0 35 0,0-2 102 0,0 0 57 16</inkml:trace>
  <inkml:trace contextRef="#ctx0" brushRef="#br0" timeOffset="-184931.16">16899 449 1361 0,'0'0'371'0,"0"0"-35"0,0 0 20 0,0 0-42 0,0 0 45 16,0 0-3-16,18-2-57 15,-7 2-23-15,2-1-2 16,0 1-59-16,2-1-20 0,3 1-13 0,2-2-26 0,1 1-15 0,2-1-19 15,0-2-42-15,-2 3-52 0,1-2-31 16,2 0-84-16,-4 1-43 0,1-1-103 0,0-2-177 0,-4 2-565 0,-2 1 135 16,1-1 47-16,-3 1 94 0,-1 1 77 15,1-3 28-15</inkml:trace>
  <inkml:trace contextRef="#ctx0" brushRef="#br0" timeOffset="-184519.45">17410 366 921 0,'-3'3'458'0,"3"-3"-20"0,-4 8-46 0,3-4-26 0,-2 3-34 0,1-1-32 0,0 2-34 15,1-1 0-15,-1 1-115 0,-1 1-15 0,3-1 10 16,-2 0-34-16,1 0-2 0,1-2-15 0,0 1-13 16,-2-1 13-16,2-1-16 0,0-1 34 15,0 1-8-15,2-2 18 0,-2 1-6 0,0-4 9 16,1 5-11-16,-1-5 5 0,0 0 80 16,0 0 10-16,0 0-18 0,12-7-8 15,-6 3-46-15,-1-1-10 0,0-1-5 0,0 0-36 0,2 1 23 16,1-2-7-1,-2 2-37-15,1 0 31 0,-1 1-30 0,1-1-18 0,-2 2 27 0,3 1-4 16,-3 1-16-16,0 0 6 0,-5 1-29 16,11 1 18-1,-4 1-87-15,-4 0 3 0,2 0-28 0,0 1-1 0,0 0-2 0,-2 1-12 16,-1 2-45-16,1-2-14 0,-1 2-47 0,1-2-46 16,0 1-36-16,-3 0-63 0,2 0-106 0,-2-2-140 15,3 1-461 1,-1 1 145-16,1-2 40 0,2-1 140 0,-2 1 76 0,1-2 32 0</inkml:trace>
  <inkml:trace contextRef="#ctx0" brushRef="#br0" timeOffset="-183468.56">17851 436 1315 0,'-6'-7'448'16,"6"7"-49"-1,-7-2-30-15,7 2-21 0,-5-3-74 0,-1 3-10 0,6 0-26 0,-12-1-41 16,2 2 15-16,0 1 11 0,-1-2-16 0,1 2 65 15,-3 1-1-15,3 0-41 16,-3-1-25-16,3 2-15 0,2-1-1 16,-5 1-38-16,5 2-8 0,-2-2-20 0,5 2-13 0,-3-2-33 15,1 2-33-15,2-1-3 0,-1 0-16 0,4-1-7 16,0 1-8-16,2-1-38 0,-1-1 36 16,1-3-11-16,1 6-4 0,3-5-19 0,-4-1 21 15,10 2 15 1,-4-2-15-16,-6 0 2 0,12-1 3 0,-4 1-25 0,-8 0 50 0,11-1-40 15,-3 1 7-15,-8 0 26 16,10 0-25-16,-3 0-11 0,-1 1 38 0,-6-1-4 0,10 1-19 0,-2-1-10 16,-1 0 23-16,-7 0 1 0,11-2-29 15,-1 1 31-15,-3-2-16 16,3-1 16-16,1-2-3 0,-1 0-7 0,0 1 17 0,1-3 24 16,-1 0 14-16,0-1 9 0,1 0 33 0,1-2 10 15,-4-2-10-15,2-1-31 16,-2-1 46-16,-1 0-23 0,1-3-23 0,0-1-20 0,0 1 30 15,-3-2-28-15,3 2 62 0,-4 4-31 0,-1 1-36 16,2 0-10-16,-3 5 12 0,1 0-24 16,-2 3 11-16,-1 3 27 0,0 2-6 0,0 0-7 15,0 0-8-15,-11 14-34 0,6-5-1 0,0 4-6 16,-3 1 0-16,2 2 0 0,-1 0 0 16,0 0 0-16,1 0 0 0,4 0 0 15,0-1 0-15,2 0 0 0,0-2 0 16,2 0 0-16,3-1-34 0,-2-1-27 0,2-1 20 0,0 0 2 15,3-2-14-15,-3-4-9 0,3 1 14 16,-1-3-1-16,3 0 23 0,-2-2 11 0,0 0 18 16,2-3-11-16,0 0 10 0,0 0-7 0,-2-1-5 15,2 1-5-15,-2 0 17 0,0-1-17 16,-3 3 2-16,0-1 8 0,0 1 5 0,1-1-46 16,-6 2 25-16,7 0 11 0,-7 0-3 0,0 0 1 15,8 1 9-15,-8-1-25 0,0 0 2 16,8 2-2-16,-6 0 13 15,-2-2-16-15,8 1 0 0,-8-1-12 0,5 2 38 0,-5-2-18 0,5 1 12 16,-5-1 1-16,5 1-26 0,-5-1 31 16,5 4 33-16,-2-2-7 0,-3 3 7 0,0-1 8 15,0 3-13-15,0-1 10 0,0 2 1 0,-1 1 58 16,-3 3-44-16,1-1 3 0,-2 2 13 16,2 0-10-16,-4-1-13 0,-1 2-15 0,3 1-29 15,0-4-4-15,0 1-14 0,-1-1-30 0,1 0-62 16,0-1-7-16,0-3-34 0,2 1-53 0,-1-1-39 15,4-3-5-15,0 1 3 16,0-2-44-16,0-3-30 0,7 2-116 0,-7-2-79 0,15-5-476 16,-5 2 117-16,-1 0 45 15,6-1 78-15,-2-4 75 0,5 2 58 0</inkml:trace>
  <inkml:trace contextRef="#ctx0" brushRef="#br0" timeOffset="-183077.33">18387 454 1008 0,'-5'-1'438'0,"-1"0"-106"0,-2-1-47 15,8 2-14-15,-15 3-18 0,7-2-17 16,0 0-34-16,1 2 46 0,0 1-4 15,1-1-24-15,-1 1-33 16,1 0-13-16,1 1-6 0,1 0-6 0,1 0-42 0,0 0-15 0,1 1 8 16,-1-1-14-16,3 1-14 0,0 1 12 0,0 0-17 15,0-1-1-15,0-1 16 16,0 1 2-16,0 1 49 16,0-2-34-16,-2 1-12 0,2-1 33 0,-3 0 13 0,3 0-23 0,-3 0-10 0,-1 0-8 15,-2 1-21-15,-2-3-4 16,3 1-6-16,-2-1-38 0,-1 1-47 0,3-1-17 15,-3 0-46-15,0-1-44 0,4 0-53 0,-2-1-67 16,6-1-59-16,-8 0-151 16,8 0-312-16,-2-3-205 0,2 3 79 0,0 0 74 0,8-10 114 15,-3 5 53-15</inkml:trace>
  <inkml:trace contextRef="#ctx0" brushRef="#br0" timeOffset="-182911.94">18437 463 1195 0,'0'0'415'0,"1"6"-55"0,2-2-34 0,-3 0-22 0,0 1-38 0,2 1-12 0,-2 0-34 0,0 1-28 15,0-1-59-15,0 1-56 16,0 0-54-16,-2 1-72 0,2-2-140 0,-4 3-154 0,4-3-502 16,-2-2 108-16,0 1 61 0,2 0 121 15</inkml:trace>
  <inkml:trace contextRef="#ctx0" brushRef="#br0" timeOffset="-182800.68">18456 530 778 0,'0'-5'299'0,"0"2"-30"0,0-2-11 0,0 0-22 16,0 1-34-16,0 4-38 0,0-7-44 16,0 3-76-16,2 1-88 0,1-1-114 0,-3 4-111 0,5-6-392 0,1 3 1 15</inkml:trace>
  <inkml:trace contextRef="#ctx0" brushRef="#br0" timeOffset="-182517.06">18676 410 959 0,'-6'3'459'0,"2"0"-37"0,4-3-25 15,-4 6-34-15,3-2-56 0,-2 2-15 0,3-1-87 0,3 2-5 16,-2-1-19-16,1 4-32 15,0-3 15-15,3 5-26 0,0-1 46 0,-2 0-28 16,2 0 21-16,0-1-3 0,2 1-3 0,-4 0-27 16,2-3 22-16,-4 1-20 15,1 0 15-15,1-1-5 0,-3-1-35 0,-3-1-27 0,1 2 1 16,-1-3-16-16,-3 1-25 16,-1 0-38-16,0-2-57 0,-1-1-54 0,-2 0-30 0,-6 0-42 0,5-1-38 15,-6 0-43 1,-6-1-85-16,0 0-92 0,-8 1-15 0,-2-1-492 0,-16 2 101 15,1 0 139-15,-4-1-27 0,-6 1 69 0</inkml:trace>
  <inkml:trace contextRef="#ctx0" brushRef="#br0" timeOffset="-181670.11">13731 1373 1645 0,'5'-3'517'15,"3"0"-23"-15,0 2-48 0,2 0-21 16,2-1-41-16,-1 1-34 0,-1 2-17 0,2-1-28 15,-2 2-44-15,-1-1-3 0,-1 3-4 16,-1-1-49-16,-4 3-67 0,-1-1-28 0,-2 1 5 0,-2 1-25 16,-1 2 2-1,-4 1-15-15,-1 0 2 0,0 2 5 0,-3 0-7 0,1-2 74 16,0 1-28-16,2-3-15 0,1 0-21 0,-1 1 10 0,2-1-25 16,0-2-3-16,2-1 2 15,-1 0-12-15,0 0-13 0,3-1 13 0,-1 0-36 0,3-1 3 16,-2 1 12-16,2 0-22 0,0-4 37 15,2 7-2-15,1-5-7 0,2 0-18 0,2 0-3 16,1-1-21-16,0 0-20 0,2-1-25 16,1-1-85-16,1 0-36 0,-2-1-18 15,4 0-46-15,-2-3-43 0,-1 2-26 0,1-1-118 0,-4 0-204 16,2-1-428-16,-2-1 108 0,0 1 53 16,-3 0 98-16,0-1 94 0,-2 0 62 15,-1-3 94-15</inkml:trace>
  <inkml:trace contextRef="#ctx0" brushRef="#br0" timeOffset="-181390.56">13892 1135 1026 0,'11'3'430'0,"3"4"26"0,0 0 32 16,7 4-32-16,-1 2 20 0,8 7-2 15,-3 1-131-15,1 3-57 0,-3-3-4 0,-2 2-36 16,-3-3 43-16,-6-1-61 0,-3 1 79 16,1 1-23-16,-6-3-69 0,0 1 8 0,-4 3-39 15,-4 2-56-15,0 1-28 0,-7 8-80 0,-4-4-55 16,-3 2-42-16,2-3-64 0,-4 0-38 16,2-1-23-16,-3-1-62 0,-1-3-105 0,6-5-196 15,1-1-459-15,-1-3 120 0,-2-1 80 16,5-1 107-16,-2-4 54 0,5-2 90 15</inkml:trace>
  <inkml:trace contextRef="#ctx0" brushRef="#br0" timeOffset="-180087.19">14989 1186 1274 0,'0'0'438'0,"0"-6"-41"0,0 6-21 16,0 0-20-16,0 0-54 0,0 0-18 0,0 0-31 15,-2 14-27-15,2-4-9 0,0 1-27 16,0 3 7-16,-2 1-26 0,2 2-35 0,-3 2-29 16,0-1-12-16,3 1-10 0,-3 0-9 15,-1 0-12-15,1-1-10 0,0 0-5 0,1-3-8 16,0 0-6-16,-1 2-11 0,0-5-12 0,1 0 4 16,-1-1 12-16,-2-2 5 0,5 0 13 0,-2-1-64 15,2-3-2-15,0 1-3 0,-1 0 38 16,-1-2-12-16,2-1-1 0,0-3 26 0,-3 4-23 15,3-4 1-15,0 0 14 0,0 0 18 0,0 0-20 16,8-10 18-16,-6 3 10 16,1 1-23-16,2-1 13 15,1 1-15-15,1-2 2 0,-2 1 25 0,3 0-4 0,-3 1-26 0,0 2 2 0,0 0-10 16,1 3 14 0,-2-1 9-16,-4 2-10 0,10 1 5 0,-4 0-18 0,-4 4 6 15,4-2-14-15,-4 2 14 0,3 0-11 0,0 1-10 16,-2 0 17-16,-1 1-24 0,1-2-4 15,2 1 1-15,-2-1 2 0,2 1-18 0,0-2-2 16,0 0 0 0,0 0-11-16,1 0-4 0,-2-3 19 0,2 2 4 0,1-3 12 0,-7 0 3 0,13 0 2 15,-8-3 11-15,3 2-11 0,0-1-2 16,-1-2-11-16,-2 2 29 16,1 0-8-16,-2-1 10 0,0 1 3 0,-4 2 0 0,10-4 5 15,-8 4 0-15,-2 0-8 0,8-2 0 0,-8 2-7 16,0 0-26-16,5 0 18 0,-5 0-16 15,0 0 24-15,8 2-16 0,-8-2-8 16,0 0 6-16,8 0-8 0,-8 0-5 0,7 0 5 0,-7 0 10 16,7 0-18-16,-1-2 21 0,-3 0 13 15,2 0-14-15,0 1-4 0,-5 1 17 0,10-3 22 16,-5 0-1-16,0 3 18 0,-5 0-11 0,8-2-4 16,-8 2-16-16,8 2 13 0,-6 2-5 15,3 1 0-15,1-1 15 16,-4 3 6-16,0 2-16 0,3 1 0 0,-4 2-23 0,-1 2 12 15,0-1-35-15,0 2-15 0,-1 3-23 0,-1-2-42 16,-3 1-32-16,2-1-19 0,-2-2-79 16,2 2-77-1,-1-4-166-15,-2 0-443 0,4-2 52 0,-1-2 78 0,0-2 131 0,1 0 29 0,2-3 96 16</inkml:trace>
  <inkml:trace contextRef="#ctx0" brushRef="#br0" timeOffset="-179661.28">15477 1373 1036 0,'0'0'397'16,"0"0"10"-16,8 7-72 0,-6-2-33 0,0 2-2 0,-2 2-34 16,3-1 51-16,-3 4-50 0,2 2-14 15,-1 1 0-15,-1 2-122 0,0 2-18 0,0 1 2 16,-1 2-21-16,-1-2 4 0,2 2-37 0,-3-1 11 15,1-2-18-15,0-1-13 16,2-2 17-16,-1 0 6 0,-1-4-46 0,2 0 3 0,0 0 17 16,-3-3 3-16,3-2 3 0,0 0-3 15,-2-2-11-15,2-1 14 0,0-4 15 0,0 3 5 16,0-3 51-16,0 0-15 0,0 0 25 0,0 0 13 16,5-17-35-16,-3 8 9 0,1-2-12 15,-1-6 95-15,4 0-24 0,2-6-30 0,-1 2 18 16,6 0-57-16,-1 2 13 0,1 1-48 15,0 1 33-15,-5 5-36 0,0 3-26 16,2 1 26 0,-2 2-8-16,-3 3-15 0,0 1-5 0,-3 1-5 0,-2 1 15 0,0 0-51 0,0 0 5 15,-4 14-21-15,-4-8-30 0,0 2-36 0,0 0-43 16,-2 3-67-16,3-2-49 16,-1-1-54-16,0 0-79 0,0 1-145 0,3-5-533 15,3 2 79-15,-1-2 110 0,0-1 64 0,3-3 113 16,0 0 33-16,0 0 59 0</inkml:trace>
  <inkml:trace contextRef="#ctx0" brushRef="#br0" timeOffset="-179343.52">15638 1508 793 0,'3'-2'333'0,"-1"0"-18"0,-2 2-16 16,0 0-7-16,0 0 64 0,0 0-54 0,0 0-10 0,0 0-39 16,3 12-15-16,-3-8-31 0,0 1-25 0,0 0-18 15,2 0-21-15,1 1 6 0,-3 0-9 16,5-2-40-16,-3 1-10 0,2-1-16 0,3 0 21 15,0-1-18-15,-1 0 10 0,-1-2-5 0,2 0 25 16,-1-1 3-16,-6 0-25 0,10-2 73 31,-3 0-81-31,-1 0 33 0,-2-2-18 0,0 1-17 0,-2-2 40 0,1 0-31 0,-3 1 1 0,2-1-6 16,-2 0-7-16,0 0-26 0,0 2-13 16,-2-1-10-16,-1 0-20 0,-2 1-57 0,2-1-33 15,-2 2-44-15,5 2-48 0,-10-3-23 16,3 2-80-16,1 1-186 0,1-2-512 0,5 2 84 15,-13-2 84-15,10 1 80 0,-1-1 51 16,4 2 57-16</inkml:trace>
  <inkml:trace contextRef="#ctx0" brushRef="#br0" timeOffset="-179085.36">15905 1223 1226 0,'2'-3'473'0,"-2"3"-48"0,0 0 67 0,0 0-29 0,0 0-46 0,0 0-7 0,8 9-34 0,-8-3-41 0,0 4-33 16,2-1 13-16,-2 5-44 0,-2 0-40 0,0 4-21 0,-1 1-98 15,0 1 3-15,-1-1-25 0,1 2 28 16,-2 2-21-16,-1 1-25 0,2-5-11 0,1 0-20 16,0 0-8-16,0-2-43 0,-1-3-21 15,1-1 3-15,0 0-20 0,1-2-37 0,2-2-12 16,-2-1-34-16,2-1-27 0,0-1-9 0,-1-2-2 15,2-1-10 17,-1-3-36-32,2 3-38 0,-2-3-34 0,5 3-135 0,-5-3-72 0,0 0-389 0,8-5 71 0,-8 5 101 15,7-4 53-15,-2 0 64 16</inkml:trace>
  <inkml:trace contextRef="#ctx0" brushRef="#br0" timeOffset="-178530.6">16074 1268 1331 0,'0'0'366'15,"0"0"-26"-15,-5 7-10 0,5-3 3 16,-3 2-46-16,1 3-52 0,0-1-7 0,2 2-5 0,-4 1-13 15,2 2-16-15,0 0-5 0,-1 1-25 0,3-1-20 16,-3 1 78-16,1-1-27 0,0 0 10 16,-1 0-49-16,0-1-23 0,1 0 28 0,1-3 6 15,-1 0-103-15,2-1 33 0,-2-1-15 16,2-2 12-16,-3 0 19 0,3 0-5 16,-1-2-19-16,1-3 14 0,0 6 1 0,0-6-16 15,1 3-12-15,-1-3-17 0,0 0 110 0,5 2-49 16,-5-2-22-16,0 0 40 0,5 1-54 0,-5-1 16 15,8 0-20-15,-8 0-24 0,8 0 0 0,-8 0-15 16,10 0 28-16,-5 0-38 0,3 0 15 16,-1-2 15-16,1 2-25 0,0-1-36 0,-1-2 18 15,-1 3-13-15,1-4 13 0,4 2 23 16,-6 0-18-16,3 0-12 0,-1-1-11 16,-4 0 0-16,4 1 0 0,-7 2 0 0,5-3 0 0,-2 1 0 15,-3 2 0-15,0 0 0 0,0 0 0 0,0 0 0 16,7 5 0-16,-7-5 0 0,0 7 0 15,-2-2 0-15,2-1 0 16,0 2 0-16,0-1 0 0,-2-1 0 0,4 1 0 0,-2-1 0 16,0 0 0-16,2 0-13 0,-1 0-105 0,-1-1-38 15,2 1-46-15,-2-4-34 0,7 3-17 0,-7-3-34 16,6-1-38-16,-6 1-113 16,5 0-230-16,-5 0-392 0,8-4 162 0,-6 1 58 0,1-1 42 15,0 1 96-15,-3 3 98 16,-3-9 36-16</inkml:trace>
  <inkml:trace contextRef="#ctx0" brushRef="#br0" timeOffset="-178356.8">15851 1417 995 0,'0'0'366'0,"-3"-3"3"0,3 3-47 0,0 0-22 0,0 0-26 15,14-3-29-15,-7 2 22 16,3 0-75-16,3-1 0 0,2 0-41 0,3 1-21 0,3 0-25 15,2-1-41-15,2-1-41 0,-2 2-79 16,4-3-62-16,-2 2-89 0,3-2-100 0,-2 2-528 16,-3 1 60-16,5-4 109 0,-5 3 100 0</inkml:trace>
  <inkml:trace contextRef="#ctx0" brushRef="#br0" timeOffset="-178104.79">16320 1349 1116 0,'0'0'299'0,"0"0"6"0,0 0-49 0,-13 5 5 15,13-2-23-15,-2 0-28 0,0 3 74 0,1-2-36 16,-1 3-15 0,2 0-10-16,0 2-3 0,0 0-15 0,2 0-11 0,-1 1-20 0,1 1 10 15,0-1 24-15,1 0-101 0,0 1-15 0,-1-1 3 16,-2 0 10-16,0 0 64 0,0 0 10 16,0-3-20-16,0 3 18 0,-2-3-9 15,2 0-11-15,-3 0-9 0,0-1-56 16,-1 0-25-16,1-2-39 0,-2 0-43 0,-1-1-52 0,3-1-48 15,-1-2-5-15,4 0-65 0,-8 2-50 16,8-2-103-16,0 0-113 0,-5-6-547 0,8 4 69 16,-3 2 110-16,4-12 56 0,-1 5 95 0,5-1 89 15</inkml:trace>
  <inkml:trace contextRef="#ctx0" brushRef="#br0" timeOffset="-177951.68">16397 1435 1082 0,'0'0'394'0,"0"0"-51"0,6 3 8 0,-6-3-31 15,4 6-10-15,-1-2 48 0,-3 0-58 0,0-1-39 16,3 2 5-16,-3 0-64 0,2 1-20 0,-2-1-21 16,2-1-89-16,-2 2-44 0,0-1-79 0,-2 1-128 15,-3 3-236-15,5-3-499 16,0-2 118-16,0 3 36 0,0-4 87 0,-3 0 53 0</inkml:trace>
  <inkml:trace contextRef="#ctx0" brushRef="#br0" timeOffset="-177812.22">16476 1402 936 0,'3'-5'254'0,"0"2"-147"0,2-1-117 0,2 1-617 0,1 0 74 0</inkml:trace>
  <inkml:trace contextRef="#ctx0" brushRef="#br0" timeOffset="-177595.18">16641 1345 1387 0,'-5'9'384'0,"5"-9"-23"15,-3 6-36-15,1-1 5 0,-1 0-48 0,0-1-3 16,3 2-26-16,-2 2-12 16,-1-1 35-16,3 0 3 0,0 0-15 0,-3 1-31 0,3 1-29 15,-2-2-1-15,2 1-17 0,0-1-11 0,-2-1-35 16,-1 1-17-16,-2 1-38 15,3-1-37-15,-4-2-22 0,1 1-67 0,-1 0-41 16,-3-2-61-16,1 2-157 0,3 1-278 0,-3-4-441 16,0 0 136-16,3 0 59 0,-2-2 107 15,-1 2 41-15,3-3 75 0</inkml:trace>
  <inkml:trace contextRef="#ctx0" brushRef="#br0" timeOffset="-177093.75">17253 1031 1302 0,'0'0'566'0,"0"0"-128"0,-12 13-11 0,7-3-12 0,-1 1-57 0,1 3-20 0,-3 1-51 16,3 3 12-16,-4 5-76 0,1-1 7 16,0 2-38-16,-5 5-30 15,0 2-9-15,5-6-25 16,-1-3-33-16,0-1-41 0,-1-1-44 0,5-3-38 0,-2 0-16 0,-1-2-50 0,2-2-37 0,1-1-41 15,0-1-66-15,-2 0-107 16,-1-5-121-16,3 2-420 0,2-2 98 16,-2-3 10-16,5 0 97 0,-5-1 77 0</inkml:trace>
  <inkml:trace contextRef="#ctx0" brushRef="#br0" timeOffset="-176882.14">16966 1385 1254 0,'-2'-2'443'16,"2"2"-29"-16,-3-5-37 0,3 5-14 0,1-5-30 0,-1 5-39 0,7-6-7 0,-2 3-57 0,5-1-7 16,1 0-23-16,1 0-6 0,1-1-45 15,5 0 4-15,0-1-20 0,2 1-25 0,-1 0 4 16,1-1-25-16,1 1-64 16,-1 0-43-16,3 0-11 0,-5 1-58 0,-2 1-55 0,-1 0-86 15,2 0-85-15,-6 1-102 0,1 2-461 0,-1 0 31 16,-3 1 140-16,2-1 60 0,-2 4 45 0</inkml:trace>
  <inkml:trace contextRef="#ctx0" brushRef="#br0" timeOffset="-176330.55">17320 1445 1328 0,'5'-3'392'0,"0"1"-24"0,1-3-17 0,-1-1-105 15,0 1-11-15,2-2 13 0,-2-1-20 0,1 0-33 16,-1-3-3-16,2 0-3 16,-1 1 18-16,-2-2-22 0,-1 2 60 0,3 0-24 0,-2 1 4 15,0 2-5-15,-2-1-18 0,0 2 0 0,1 2-25 16,0 0-18-16,-3 4-13 16,0-3 2-16,0 3-40 0,0 0-14 0,0 0 16 0,-6 13-28 15,2-6-18-15,0-1 5 0,0 2-56 16,3 1-13-16,-4-1-15 0,3 1-52 0,1 0-4 15,-1-1 4-15,2-1-40 16,0 1-9-16,0-2-9 0,3-1 28 0,2 1-16 0,0-1-17 16,1-1-14-16,1-2-15 0,3-1 19 15,-3-1-4-15,2 0-17 0,1-1 31 0,0-1-1 16,0-1 3-16,-2-1 59 0,0-1 0 0,-1 0 23 16,-1 0 51-16,-2-2-18 0,2 1 8 15,-1 0 15-15,-2-1 8 0,-1 1 36 0,0-2 5 16,1 1-6-16,0 3 9 0,-1-1 2 0,-2 1-10 15,3 0-19-15,-3 0 27 0,0 4-24 0,2-3 14 16,-2 3-4-16,0 0-22 16,0 0 38-16,6 8-18 0,-6-4 13 0,2 0-13 0,-2 3 2 15,3 1 27-15,-1 0 1 0,-2 2-19 16,2-1 9-16,-2 0-2 0,0 1-10 0,-2 0 33 16,2-1-23-16,-2 2 8 15,-1-2-8-15,1 2-92 0,-4-1 17 0,1-1 1 0,0 0-21 16,0-2-17-16,0-1-1 0,0-1-43 15,-1 1-41-15,2-2-51 0,-2-2-37 0,4-1-40 0,2-1-130 16,0 0-65-16,0 0-476 0,0 0 134 16,0-10 12-16,2 2 100 15,4-1 105-15</inkml:trace>
  <inkml:trace contextRef="#ctx0" brushRef="#br0" timeOffset="-176165.94">17664 1228 1031 0,'10'-9'384'0,"-2"0"-61"0,-3 3 7 0,-3 2-33 16,3 1-23-16,-2 2 20 0,-3 1 92 15,0 0-2-15,0 0-46 0,6 7-25 0,-4-3-22 16,0 5-9-16,-2-1-26 0,3 2-26 0,-6 2-28 16,3 1-15-16,0 0-36 0,0 3 26 15,-2 0-116-15,2-1-45 0,-3 2-32 16,-2 1-63-16,0-2-54 0,0 0-28 0,2 0-47 0,-2-1-63 16,-2-3-200-16,3 0-494 0,-3-1 33 0,4-3 113 15,-1 1 90 1,1-5 79-16,0 1 76 0</inkml:trace>
  <inkml:trace contextRef="#ctx0" brushRef="#br0" timeOffset="-175841.06">17666 1416 1162 0,'6'-2'389'0,"-4"-1"-34"0,3 0-45 0,2 1-31 15,1-2-54-15,0 1-15 0,0 0-33 0,2-1-26 16,0-1-38-16,3 1-11 15,0 0-15-15,0-1-15 0,0 1 35 0,0-2 6 16,-1 2 2-16,1-2 13 0,-5 3 10 0,2 1 44 0,-2-1-103 16,0 1-4-16,-1 0 22 15,-2 2-15-15,-5 0 33 0,10 1 28 0,-7 1 77 16,0 0-17-16,-1 3-4 0,1-1-25 0,-1 2-10 16,-2-1-23-16,0 1-21 0,0 0-20 0,-2 1-21 15,2 0-17-15,-3-1-54 0,1 1-80 16,-1-1-59-16,-2 1-35 0,2 0-146 15,-2-2-208 1,5-1-501-16,-2 0 112 0,-1-2 64 0,3-2 123 0,0 0 118 0,0 0-12 0</inkml:trace>
  <inkml:trace contextRef="#ctx0" brushRef="#br0" timeOffset="-175746.98">17917 1315 1126 0,'0'-5'353'0,"0"2"-23"16,0 3-74-16,0-7-54 0,-2 3-86 0,2 0-229 15,0 4-619-15,0-5 82 0,0 5 58 16</inkml:trace>
  <inkml:trace contextRef="#ctx0" brushRef="#br0" timeOffset="-175418.4">18056 1303 1377 0,'-2'6'442'0,"2"0"-45"0,-1 1-23 0,-1 0 56 0,2 0-79 0,0 2-8 0,-3 0-36 0,3-3-13 16,-2 3-20-1,2-3-15-15,0 1-14 0,0-2-27 0,0 1-6 0,0-2-4 16,0 2-16-16,2-2-85 0,-2 0 13 0,0-1 26 16,0-3-38-16,3 7 125 0,0-6-28 15,-3-1 15 1,7 0-23-16,-7 0-26 0,0 0-17 0,13-2 5 0,-8 1-37 0,2-1 6 0,-1 1-23 15,-6 1-12-15,11-2-93 0,-7 2 0 0,-4 0 0 16,10 0 0-16,-10 0 0 0,13 0 0 16,-8 2-31-16,1-1-23 0,-1 0-71 15,0 0-32-15,0 1-32 0,-5-2-69 0,8 3-37 16,-4-1-48-16,-4-2-79 0,8 2-139 0,-5-2-519 16,0 1 105-16,2-1 79 0,-5 0 120 0,0 0 72 15,10-2 72-15,-3 1 69 0</inkml:trace>
  <inkml:trace contextRef="#ctx0" brushRef="#br0" timeOffset="-175095.68">18317 1353 1197 0,'0'0'528'0,"0"-6"-39"16,0 6-49-16,0 0-31 0,0 0-22 0,0 0-85 16,0 0-49-16,0 0 6 0,-12 10-8 15,11-3-18-15,-1 0 20 0,-1 2-17 0,1 2-16 16,2 1-21-16,0 1 68 0,0 2 35 0,0-1-49 15,-2 2-71-15,1 1-31 0,-4 1-8 0,3 2 13 16,-3-3-12-16,-3-1 48 0,0 1-8 16,-2-1-18-16,2 0-2 15,1-4-5-15,-4 0-87 0,6-2-72 0,0-1 0 0,0-4 0 0,3-2 0 16,1-1 0-16,1-2 0 0,0 0 0 0,0 0 0 16,21-14 0-16,-8 3 0 0,7-3 0 15,9-8 0-15,3-2 0 0,9-7 0 31,4-1-75-31,-2-4-183 0,3 0-29 0,0-4-53 0,1 3-62 0,-5 0-259 16,8 1-478-16,-2 2 123 0,4 2 87 0,-1 0 112 0,-2 2 93 16,2 1 66-16,-3 0 80 0</inkml:trace>
  <inkml:trace contextRef="#ctx0" brushRef="#br0" timeOffset="-168801.56">19984 339 1653 0,'8'0'509'0,"-8"0"-12"0,10 3-41 15,-8 0-24-15,1 0-15 0,-1 0-76 16,2 2-19-16,-2 0-32 0,-2 0-6 0,0 1-56 0,0 1 15 16,0 1-33-16,-2 0-31 15,1 0-23-15,-4-1-25 0,3 2 27 16,1-1-27-16,-1 0-34 16,-1-1-15-16,1 1 2 0,2-3 3 0,0 2-25 0,2 0-1 0,-2 0-4 0,5 1 25 15,-4-2-36-15,3 2 25 0,0-1-35 16,-2-1-8-16,3 2 36 0,-3-2-13 15,-1 0-28-15,1 0 29 0,-2-1-11 0,2 1-11 0,-2-1-4 16,-2 1-41-16,-1-2-49 0,-4 2-34 16,1-2-50-16,1 1-67 0,-3-1-133 0,0 0-87 15,-2-3-111-15,0 2-508 0,0-2 61 16,0-1 117-16,0 0 39 0,1-2 105 16,-5-2 46-16,4-1 120 0</inkml:trace>
  <inkml:trace contextRef="#ctx0" brushRef="#br0" timeOffset="-168585.43">20082 238 1197 0,'15'11'515'0,"1"2"-8"16,0-1-67-16,-7 3-48 0,-1 1-6 0,0 4 52 16,-4 4-108-16,-4 2-18 0,-2 2-22 15,-6 11-32-15,-2 1-40 0,-5 0-57 0,-9 7-25 0,1-1-83 16,-2-3-81-16,-3-2-92 15,4-8-95-15,3 0-254 0,-1-4-531 0,3-3 117 0,-1-2 74 16,7-4 112-16,1-8 40 0,2-2 78 16</inkml:trace>
  <inkml:trace contextRef="#ctx0" brushRef="#br0" timeOffset="-167533.18">21309 169 1146 0,'-5'-2'458'0,"5"2"-48"0,-15 4-13 0,6 3-44 0,-5 2-38 15,-5 5-21-15,-5 7-25 0,-2 1 48 16,3 1-20-16,0 4-13 0,-1-2-115 0,2 0-48 15,1 1-1-15,3-1-5 0,5-5-53 16,0-4-19-16,6-1-10 0,1-1 8 0,2-1-15 16,2-2 2-16,1 0-20 0,2-1-16 0,1-1 23 15,2-3-4-15,4-1-14 0,4 0 36 16,-1-3-25-16,5 1 5 0,-1-5-5 0,1 0-3 16,4-1 15-16,-2-3 1 0,0 0 4 0,-1-2 3 15,-1 1 24-15,2 0 19 16,-7 0 19-16,1 1 12 0,0 1-25 0,-3 0 20 0,-1 1-7 15,-1 2-13-15,-2 0-13 0,1 1-13 16,-2-1 15-16,-4 2-17 0,8 3 12 0,-8-3-27 0,5 6-27 16,0-2 9-1,-2 0 4-15,2 0-22 0,-2 0 12 0,2 0-10 0,0 0-13 16,0-1 0-16,0-1-12 0,0 1 2 0,3-3 10 16,0 0 5-16,-1 1-2 15,2-2 25-15,-3-1-2 0,2 0-10 0,0-1-1 16,-3-1 11-1,3-1-10-15,-1 1 32 0,-4-2-24 0,1 0 35 0,-2 2-31 0,0-1 0 0,-2-1-4 0,0 1 4 16,-2-1-5-16,2 2-5 16,-2-1 24-16,-2 0-19 0,2 2 8 15,0 0 2-15,-2 0 3 0,2 0-2 0,2 3-11 0,-5-7-15 16,2 5-13-16,3 2 8 0,-2-4-1 16,2 4 6-16,0 0 13 0,0 0-39 0,0 0 6 15,0 0 9-15,0 0 1 0,9 8 5 0,-6-4-13 16,2 0 10-16,-2 0 8 15,3 0 2-15,-2 2 24 0,4 0-44 0,-3-2 18 0,2 2-1 16,0 0 1-16,0-2-2 0,-2 2 19 0,0 1-9 16,0-3 12-16,1 1-17 15,-2-2 9-15,-1 0 22 0,2 0 6 16,-2 1 14-16,-1-3 20 0,5 1 85 0,-7-2 10 0,9 0-42 0,-9 0 29 16,10-2-38-16,-5 0-18 0,5 1 35 0,-3-2 32 15,1 1-80-15,0 0 40 0,0 0-55 16,-1 1-67-1,3 0 5-15,-4 0-25 0,2-1 22 16,-1 2 19-16,-7 0-34 0,14 3 54 0,-7-1-23 0,3-1-5 0,-5-1-26 0,1 2-33 16,-1 1-18-16,0-1-18 15,0 1-18-15,1-2-31 0,-2 1-73 0,-4-2-73 0,8 3-10 16,-6-1-50-16,-2-2-116 0,6 3-118 0,-4-2-486 16,3 0 104-16,-5-1 78 0,0 0 87 0,14-2 86 15,-10 0 42-15</inkml:trace>
  <inkml:trace contextRef="#ctx0" brushRef="#br0" timeOffset="-167086.22">21940 241 1392 0,'5'-22'433'0,"0"4"-39"0,0 5 74 16,-2 2-10-16,0 1-107 0,-1 3-11 16,-1 1-12-16,1 0-36 0,-2 1-46 0,0 5-8 15,0 0 0-15,0 0-21 0,0 0 6 0,-5 23-26 16,0-10-48-16,2 4 7 0,-2 4-23 15,-3 3-26-15,1 2 44 0,-1 10-35 0,-2 0 4 16,1 2-28-16,-3 1-20 0,2-1-6 0,-1 3 31 16,-1-3-48-16,-2 0 7 15,0-4-20-15,0-1-8 16,1-3-5-16,1-7-10 0,2-3-15 0,2-5 9 0,-2-1-40 0,5-4 7 16,-3 0-7-16,3-4 18 0,0-2-24 0,1-1 11 15,-2-2-18-15,6-1 5 0,0 0-20 16,-3-10 15-16,6 0 5 0,3-1-18 0,2-5-18 15,1-2 5-15,9-8 8 0,2-1 29 16,1 0 9-16,3 0-33 0,-2 1 5 0,1 1 6 16,0 3 9-16,-3 4 16 0,-4 4 23 0,-3 2 8 15,2 2 2-15,-2 1-2 0,-1 3 7 0,-1 0-12 16,-1 4 38-16,-2 0 7 0,0 2 24 16,-1 2-39-16,1 0 19 0,0 2-6 15,-3 0-18-15,0 0 20 0,0 3-40 16,-2-1-16-16,-1 3-38 0,-2-1-36 0,0 0-51 0,0-1-74 15,-2 2-69-15,-1 0-126 0,0 0-238 16,0-2-374-16,-1 0 136 0,1 0 51 0,1-3 95 16,-1 0 77-16,3-2 66 15</inkml:trace>
  <inkml:trace contextRef="#ctx0" brushRef="#br0" timeOffset="-166987.89">22092 433 1072 0,'0'-5'284'0,"2"0"-89"0,0 2-134 16,-4-3-194-16,7 1-527 0,-2 0 125 16</inkml:trace>
  <inkml:trace contextRef="#ctx0" brushRef="#br0" timeOffset="-166570.22">22406 186 1441 0,'1'4'409'15,"-1"1"-12"-15,0 2-36 0,2 2-18 16,1 2 64-16,-3-1-5 0,-3 4-52 16,3 1-35-16,0 2 13 0,0 1-36 0,-2 1-29 15,1 0-45-15,-3-1-6 0,1 1-17 0,3-1-57 0,0-3 21 16,-3 0-31-16,1-1-26 0,2-1-10 16,0-2-35-16,0-1 1 0,0-1-6 15,0-1-9-15,0-1-4 0,0-2 17 0,0 0-46 16,0-2 13-16,0-3 8 0,0 0-8 0,0 0-5 15,-2 2 18-15,2-2-24 0,0 0 4 16,-11-7 9-16,11 7-17 0,-5-4 0 0,1 2 10 16,-2 1-5-16,1-1 27 0,5 2-24 0,-11-2 9 15,6 2-25-15,5 0 29 16,-12 2-86-16,6 0-2 0,2 0 3 0,-2 1 15 0,3-2 16 16,-2 3 9-16,2-1 3 0,1 0-22 15,0 0-1-15,-1 1 43 0,3-4-30 16,3 5-10-16,1-3-8 0,-3 1-20 0,-1-3-37 15,10 3-27-15,-4-3-36 0,3 0-52 0,-1-1-30 16,0-1-15-16,5 2-116 0,-1-4-153 0,-1 3-464 16,4-1 133-16,-1 1 44 15,0 0 123-15,2-1 51 0,-1-1 77 0</inkml:trace>
  <inkml:trace contextRef="#ctx0" brushRef="#br0" timeOffset="-165741.45">22553 510 1049 0,'0'0'402'0,"0"0"10"16,0 0-56-16,0 0-11 0,13-9-30 16,-11 6-67-16,4 1-27 0,-2-3-9 0,-1 0-5 15,2 2-7-15,-2-2-3 0,0 1-23 0,-1-1 0 16,3 1-33-16,-5-1 5 0,3 2-16 16,-3-1-19-16,0 4 6 0,4-6-9 0,-4 2-31 15,0 4-3-15,0 0-8 0,0 0-7 16,0 0 15-16,0 0-43 0,-10-1 82 0,10 1 7 15,0 0-38-15,-8 8-28 0,6-4 12 0,0-1-9 16,-1 0-24-16,3 1 8 0,0-4-16 16,-1 5 11-1,1-1-31-15,0-4-7 0,1 6 4 0,-1-2-17 0,0-4 2 0,5 4 13 16,-2-1 10-16,0-1 1 0,1 0-16 0,-4-2 15 16,6 4-26-16,-2-1 11 0,-1-2-10 15,-3-1 10-15,8 4 20 0,-6-2-10 0,-2-2-17 16,8 3 6-16,-5-2 4 0,0 2 2 0,-3-3-5 15,7 3-11-15,-4-1 19 0,1 0-3 16,-4-2 13-16,3 3-18 0,0 0 5 0,0-1-8 16,-3-2 34-16,5 3-19 0,-5-3-4 0,3 4 12 15,-3-4 3 1,2 2-10-16,-2-2 30 0,5 2 16 0,-5-2 25 0,0 0-25 0,2 3-3 16,-2-3 8-16,0 0 20 0,0 0-20 15,0 0 13-15,0 0-23 0,0 0-8 0,0 0 30 16,0 0 11-16,13-5-20 0,-10 3-21 15,-3 2 33-15,9-4-41 0,-8 2 41 0,4 0-87 0,-5 2-22 16,5-2 14-16,1 0 21 0,-6 2 23 16,7-3 10-16,-7 3-4 31,5 0-32-31,-5 0 47 0,0 0-19 0,10 3 3 0,-10-3-2 0,6 2 5 0,-6-2-36 0,4 3 12 16,-1-1-9-16,-3-2-1 0,3 3 6 0,0 0 2 15,-3-3 25-15,2 3-14 0,-2-3-3 0,3 3-21 16,-3-3 51-16,4 4 14 0,-4-4-32 0,1 2 45 15,-1-2-24-15,0 0 10 0,0 0 13 16,7 2 85-16,-7-2-72 0,0 0-82 16,0 0 0-16,0 0 0 0,0 0 0 0,11-3 0 15,-11 3 0-15,8 0 0 0,-8 0 0 0,6 1 0 16,-6-1 0-16,6 1 0 0,-6-1 0 16,9 2 0-16,-9-2 0 0,6 1 0 0,-2 2 0 0,-4-3-70 15,7 1-147-15,-7-1-47 0,5 0-69 0,0 0-58 16,-5 0-224-16,8-2-508 15,-3 0 89-15,0 2 74 0,3-2 136 0,-2 1 86 16,-2-2 60 0,4-1 82-16</inkml:trace>
  <inkml:trace contextRef="#ctx0" brushRef="#br0" timeOffset="-165389.02">23039 423 1113 0,'0'0'463'15,"-4"-1"-58"-15,4 1 84 0,0 0-36 0,0 0-31 16,0 0-35-16,-12 9-44 0,8-5-70 0,0 1-60 16,1-1-21-16,-2 2-28 0,4 0 20 0,-3-2-41 15,1 2-22-15,3-1-14 0,0 2-28 0,3-1-9 16,-1-1-24-16,0 0-16 16,-1-1-35-16,5 0 13 0,0 0 12 0,0-1-12 0,2-1 13 15,-1-1-21-15,0-2-3 0,1 1 18 16,0 0 8-16,-8 0 6 0,15-1 1 15,-9 0 39-15,2 0 21 0,-8 1-29 0,10-1-4 16,-5 1 4-16,-5 0 29 0,8 1-19 0,-8-1 14 16,8 3-13-16,-6-2-26 0,3 2-11 0,-2-1 29 15,-1 0-30-15,3 0-42 0,-5-2-5 16,3 4-33-16,1-1-46 0,-4-3-67 0,3 5-35 16,2-3-55-16,-2 0-58 0,2 0-120 0,-2 0-49 15,3 1-494-15,0-2 71 0,2 2 111 16,4-2 53-1,-1 0 93-15,5-1 45 0</inkml:trace>
  <inkml:trace contextRef="#ctx0" brushRef="#br0" timeOffset="-164688.15">23988 344 1410 0,'0'0'476'16,"0"0"-46"-16,0 0-41 0,0 0-25 16,0 0-132-16,-7 10 12 0,0-8-40 0,1 0-19 15,-1 1-21-15,-1 0 7 0,-2-1-22 0,0-1-1 16,1 1-38-16,1-1 54 0,-3-1-59 15,0 1-3-15,3-1-10 16,0 0 8-16,2-1-28 0,6 1 0 0,-14-3 4 0,9 2-14 16,2-3-26-16,-2 1 20 0,0-1-33 15,5 0 36-15,-1-2-28 0,1-1 35 0,1 0-38 16,-1-1-10-16,5-1 23 0,-1 0-28 0,0 0 15 16,1-1-28-16,1 3 28 15,-2 1-28-15,4 0-10 0,-1 3 13 0,0-1 20 0,-3 3-21 16,-4 1-7-16,11 4 20 0,-4 0-15 0,-2 2 13 15,2 2 31-15,0 2-39 0,-1 2 10 16,0 1-10-16,1 0 13 0,0 4 33 0,-3 1 47 16,0 0-9-16,-1 0-7 15,2 2 0-15,-4 0 23 0,1-2-23 0,-2 2-21 0,0-1 37 16,-2-1-6-16,0-2-23 0,-4 1 49 16,1-2-42-16,1-1 27 0,-4 0-11 0,-1-5-23 0,4 1 8 15,-3-3 7-15,0 0-43 16,1-2 8-16,0 0-26 0,0-3 8 0,-1 1-29 15,2-2-17-15,-2 0-36 0,3-1-47 0,5 0-42 16,-13-1-17-16,13 1-45 0,-8-3-28 16,7 0-34-16,-3 1-74 0,4-2-94 15,0-1-124-15,4 1-452 0,-3 0 132 0,6-4-2 16,1 1 136-16,1-2 77 0,1 1 73 0</inkml:trace>
  <inkml:trace contextRef="#ctx0" brushRef="#br0" timeOffset="-164384.42">24045 447 929 0,'10'-5'302'0,"-1"2"64"0,-2 0 38 0,-2 2-53 15,2 0 20-15,-7 1-112 0,9 2 9 16,-5-1-22-16,2 2 87 0,-4 0-26 0,1 1-20 16,-3 2-3-16,2-1-3 0,1 2-14 0,1-2-37 15,-4 1-25-15,1 0-11 0,1 2-12 16,-2 0-21-16,0-2 3 0,0 1-44 0,3-2 1 16,-3 0-16-16,1 1 2 0,0-1 1 15,-1 0 30-15,0-1-36 0,1-1-15 0,-1-3 3 16,2 5-1-16,-2-5-17 0,6 1-3 15,-6-1 13-15,10-1 3 0,-10 1-1 0,14-1-20 0,-6-2 3 16,1 2-34-16,0 1-8 0,0 0 19 0,-2 0-3 16,3 0-21-16,-2 1 27 0,0 2-47 15,0-1 0-15,-1 0 0 0,-2 2 0 16,0-1 0-16,2-1-18 0,-3 2-90 0,-1 0-35 16,-1 0-62-16,3-1-18 0,-3 0-89 15,1 0-54-15,-3-3-205 0,6 0-545 0,-4 2 64 16,-2-2 179-16,8 3 18 15,-2-3 82-15,-6 0 110 0,9 0 44 0</inkml:trace>
  <inkml:trace contextRef="#ctx0" brushRef="#br0" timeOffset="-164129.68">24509 279 1517 0,'3'-7'535'0,"1"1"-115"16,-3 3 13-16,-1 1-60 0,0 2 9 0,0 0-21 15,0 0-31-15,0 0-15 0,-1 20-39 0,-3-10-20 16,1 1-13-16,0 2-43 0,-1 1-5 16,1 2-24-16,-2 1 85 0,3 2-5 0,0 0-41 15,-2 2-59-15,1-1-51 0,1-1-59 0,-3 0-72 16,3 0-61-16,1-1-23 0,-1-1-72 16,-1-2-59-16,1-4-59 0,1 2-158 0,0-4-474 15,1 0-35-15,-1-3 124 0,1 0 85 16,1-3 83-16,-1 0 73 0,0-3 77 15</inkml:trace>
  <inkml:trace contextRef="#ctx0" brushRef="#br0" timeOffset="-163519.55">24392 497 1118 0,'0'0'484'0,"-2"-4"-31"16,2 4-15-16,0 0-118 0,0-6-16 15,0 6-22-15,4-2-3 0,0 1 7 0,-4 1-53 16,11-5-10-16,-3 5-3 0,2-2-25 0,2 0-24 15,-1 0-22-15,4-2-11 0,1 2-31 16,-1 1-22-16,1-2-3 0,-1 0-31 16,1 1-54-16,-1-1-35 0,0 1-5 0,-2 1-6 15,0-2 13-15,-3 1-10 16,0-1 5-16,-2 1 18 0,0 0 20 0,0-2-17 0,-2 3 2 16,-2-1-5-16,-4 2 18 0,5-4 7 0,-5 4 14 15,2-3-1-15,-2 3-10 0,0 0 21 16,0 0-29-16,0 0 21 0,0 0-10 0,0 0 18 15,0 0 12-15,0 0-25 0,-17 10 0 0,16-7 7 16,-2 0-2-16,-1 2-10 0,2-2 22 16,1 1-17-16,-2 2 20 15,1-1-17-15,2 0 22 0,-2-1-10 0,2 1-17 0,0 0 9 16,0-1-7-16,0 1-6 0,0-1 11 16,0 0 3-16,2-1 20 0,-2-3 10 0,4 6-15 15,-2-4-18-15,0 1 38 0,3-2 0 0,-2 2 1 16,-3-3-4-16,7 2-27 0,0-1 15 15,-4 1-13-15,2-1 11 0,-2 2 35 0,2-2-15 16,-2 1 0-16,3 0-16 0,-4 0 6 0,0 4 12 16,3-3-20-16,-2 1 15 0,-3 2-33 15,4-1 29-15,-4 0-11 16,1 0-49-16,-1 0 34 0,-1 1 4 0,1-1-12 0,0 0 18 0,-2-2-21 16,0 1 16-16,2-4 15 0,0 7 18 15,0-4 13-15,0-3 125 0,-3 5-51 16,3-5-20-16,0 0 27 0,0 4-25 15,0-4-120-15,0 0 23 0,0 0 18 0,0 0-41 0,0 0-1 16,11-11 9-16,-7 8-39 0,-1-2-13 0,2-1 3 16,-2 1-64-16,3-2-23 0,-2 1-21 15,2 1-30-15,1 0-34 0,-4 1-51 16,4-1-28-16,-4 1-20 0,1 0-85 0,-1-1-161 0,1 3-513 16,-2 0 91-16,-2 2 71 0,5-2 154 15,-5 2 40-15,4-2 88 0</inkml:trace>
  <inkml:trace contextRef="#ctx0" brushRef="#br0" timeOffset="-163203.18">24866 511 1177 0,'7'4'468'0,"-7"-4"-35"0,0 4-8 0,0-4-62 16,1 6-50-16,0-1 25 0,-1 0-29 0,0 1-50 0,1-1-24 15,-1 1 11-15,0 0-49 0,2-1-36 0,-2 1 29 16,3-1-16-16,-2 0 5 0,0-1 3 16,0-1-16-16,-1 2-10 0,0-2-15 15,2 0 100-15,-2-3-1 0,5 6-2 0,-2-5-23 0,-3-1-36 16,5 0-4 0,-5 0-22-16,0 0-22 0,15-4-37 0,-12 1 16 0,4 1-10 0,-2-2-8 15,1 0-10-15,-1 0-53 0,0-2-29 16,-1 2-49-16,0-1-61 0,0 0-44 15,-1 1-38-15,2 2-38 0,-2-2-49 0,0 0-39 16,0 0-91-16,-1 0-149 0,0 2-522 0,-2 2 102 16,6-4 128-16,-6 4 62 0,6-3 145 15,-5 1-12-15,4 0 97 0</inkml:trace>
  <inkml:trace contextRef="#ctx0" brushRef="#br0" timeOffset="-162698.54">25108 521 737 0,'0'0'309'0,"0"0"24"0,0 0-125 0,0 0-11 15,0 0-11-15,0 0 17 0,0 0 1 0,0 0-19 16,0 0-32-16,0 0-4 0,-17 4-1 0,17-4 3 15,-7 4 0-15,7-4 54 0,-6 3-18 16,3 0-26-16,-1-3-7 0,4 0-11 0,-5 6-30 16,3-3 7-16,-2-1-33 0,4-2-8 0,-2 5 1 15,1-2-11-15,1 1 8 16,0-4-29 0,0 5 6-16,0-5-10 0,1 6 7 0,-1-6 8 0,2 4-34 0,2-1-20 0,-2-2 11 15,-2-1 37-15,9 0-45 0,-9 0 5 16,9 0-10-16,-9 0 27 0,12-3-27 0,-6 1-3 15,4-1 10-15,-3-1 31 0,1-2-10 16,2 1 7-16,2-1 3 0,-3-1 15 16,1-1-84-16,0 0-5 0,2 0 25 0,-4 1 11 15,0 1 4-15,-2 0 6 0,-1 2 8 0,2 0 22 0,-4 2 16 16,-3 2-18-16,0 0 26 0,0 0 63 16,4 10 8-1,-8-2 19-15,2-2-4 0,-1 2-17 0,0 1-24 0,0-3 19 0,-1 3-41 16,1 0-21-16,0-1-28 0,1 0-75 0,0-1-4 15,2 1-41-15,0-2-44 16,-3-1-8 0,3 2-45-16,-1-3-73 0,-3 0-112 0,1 0-189 0,2-2-441 0,-5 1 65 0,0 1 122 15,-4-3 118-15,-1-1 23 0,-4-1 80 16</inkml:trace>
  <inkml:trace contextRef="#ctx0" brushRef="#br0" timeOffset="-162155.78">22140 334 1553 0,'3'-6'469'0,"-3"6"2"0,0-5-95 16,0 5-84-16,0-4-49 0,0 4-95 0,0-4-86 0,0 4-206 16,0 0-693-16,2-3 54 0,-2 3 74 15,0 0 69-15</inkml:trace>
  <inkml:trace contextRef="#ctx0" brushRef="#br0" timeOffset="-160787.18">21574 455 906 0,'0'0'345'0,"0"0"-9"15,0 0-55-15,0 0-15 0,0 0-81 0,0 0-22 16,0 0-12-16,0 0 13 0,0 0-20 0,0 0-27 15,0 0 32-15,6-1-6 16,-6 1-35-16,0 0 9 0,0 0-27 0,0 0-18 0,6 6 2 16,-4-3-20-16,-2-3 12 0,4 3-20 0,-2 0 34 15,-2-3-16-15,3 5-29 0,-1-2 22 16,1-1-4-16,-3-2-35 0,4 5 18 0,-3-2-26 16,-1-3 26-16,2 6 13 0,1-4-34 15,-3-2-4-15,2 6 24 0,-2-6-14 16,1 4 10-16,1-1-24 0,-2-3-2 0,2 6 31 15,0-3-23-15,-2-3 13 0,1 4-3 0,-1-4 0 16,1 4-13-16,-1-4 3 0,0 4 0 16,0-4 22-16,0 6-30 0,0-6 13 0,0 0 3 15,0 4 7-15,0-4-15 0,0 0 10 0,0 0-8 16,0 0 26-16,0 5-8 0,0-5 6 16,0 0-8-16,0 0 2 0,0 0 3 0,0 0 5 15,0 0 7-15,0 4-20 0,0-4-12 16,0 0 15-16,0 0 17 0,0 0-38 15,0 0 16-15,0 4 15 0,0-4-8 0,0 0-17 0,0 0 12 16,0 0 13-16,0 0-29 0,0 0 32 16,0 0 81-16,0 0 3 0,0 0-18 0,0 0-17 15,0 0 29-15,0 0-40 0,0 0 5 16,2-15 29-16,0 11-34 0,-2 0-18 0,3 0 33 16,0-2-36-16,1-1-15 0,2 1 8 15,-2-1-5-15,3 1 4 0,-3 1 1 0,4 0 8 16,0 0 4-16,-1 0-43 0,-2 1 34 0,3 0-27 15,0 1 16-15,-1 1 3 0,1 0-36 16,-2 1 33-16,1 2-36 0,3 1-2 16,-3 3-13-16,-1 0-24 0,-3 2-24 15,2 0-37-15,0 4-20 0,0 0-36 0,-3 2-30 0,-1 1-83 16,-1 1-145-16,0 1-705 0,0 0 98 16,-1 0 128-16,1-2 92 15,0 1 90-15,-1-1 40 16,2 0 103-16</inkml:trace>
  <inkml:trace contextRef="#ctx0" brushRef="#br0" timeOffset="-150040.65">19937 1389 1674 0,'-14'8'504'0,"-2"0"-36"0,1 1-30 0,-1-1-18 16,-4 5-64-16,-1-2-31 0,1 1-46 0,1 1-16 16,-3-1-45-16,3 0 2 0,1-1-28 0,3-1-46 15,2 0 5-15,0-2-64 0,3 2 31 16,2-3-42-16,1 0-19 0,0-1 2 0,1 0 2 16,3 0-5-16,-1-1 1 0,4-1-6 0,0-1-31 15,0 1 16-15,3-1 3 0,1 0-14 16,2-1-17-16,1 0 28 0,1 0-16 0,2-1 21 15,3-1-10-15,-2 0-6 0,1 0-14 16,6 0 1-16,-3-1-22 16,5-2-10-1,-1 0-44-15,1 0-5 0,0-3-41 0,-1 2-11 0,-1 0-20 0,-3 0-22 0,1-1-104 0,-4 0 4 16,-2 2-52-16,0 0-49 0,-4-1-334 0,-1 0-211 16,1-1 113-16,-2 1 41 0,-1-1 112 0,-2 0 73 15</inkml:trace>
  <inkml:trace contextRef="#ctx0" brushRef="#br0" timeOffset="-149832.56">19913 1369 1510 0,'-4'6'460'0,"2"4"-109"0,-1 2-5 0,-2 2-47 0,2 4-2 0,-1-1 92 15,-4 7-25-15,3 1-26 0,-3 9-19 0,1 1-45 16,-3-3-28-16,-1 2-3 0,3-2-53 15,-2-5-29-15,5-2-56 0,-3-4-41 0,1 2-59 16,-1-5-64-16,3-3-30 0,-1 0-52 0,2-4-18 16,0 1-35-16,2-4-185 0,-3-1-612 15,5-2 80-15,0-1 128 0,0-4 51 16,0 0 81-16,0 0 60 0</inkml:trace>
  <inkml:trace contextRef="#ctx0" brushRef="#br0" timeOffset="-149581.08">19955 1233 1576 0,'9'1'405'0,"1"5"-34"0,0 3 15 0,2 2 55 0,1 5-55 16,1 3 1-16,6 7 12 0,-2 3-112 0,-3 0-70 15,-2 1 16-15,0 2 67 0,-2 1-26 0,-7-3-42 16,-1-2-4-16,-3 2-28 15,-5 11 5-15,-3-1-57 0,-2 2-68 0,-1 0-29 16,-4-4-51-16,-8 9-85 0,5-11-71 0,1-2-100 16,0-1-112-16,-1-1-659 0,6-9 31 15,2-3 103-15,0 1 87 0,4-7 63 0,1-3 111 16,0-1 28-16</inkml:trace>
  <inkml:trace contextRef="#ctx0" brushRef="#br0" timeOffset="-148706.95">20709 1454 898 0,'0'0'307'0,"0"0"-38"16,28-6-21-16,-17 2 3 0,4-5-13 0,2 3-20 15,2-4 4-15,2-1-12 0,-1 0-23 16,8-7 15-16,-7 3 3 0,-1 0 5 0,4-6-15 15,-4 2 2-15,-5 5-13 0,3-3 16 0,-7 1-37 16,4 1 50-16,-4 2-8 0,-4 0-11 16,3 2 31-16,-3 0-7 0,-1 3-49 15,-3 1 18-15,2 1-16 0,-2 4-4 0,-1-1-6 0,-2 3-41 16,0 0-20-16,-3 13 18 0,-2-2 2 16,-2 5-35-16,3 1-11 0,-8 6-8 15,0 11-4-15,-2-1 12 0,-1 1-41 0,1 2-56 16,-3-1 5-16,2 0-41 0,0 2 8 15,2-2-41-15,-2-1-36 0,2 0-31 0,3-3 16 16,2-6-28-16,0-4-37 0,3-3-25 16,0-1-43-16,0-2-77 0,2-3-167 0,3-3-471 0,0-2 93 15,0-2 102-15,3-1 82 16,2-3 56-16,-5-1 79 0</inkml:trace>
  <inkml:trace contextRef="#ctx0" brushRef="#br0" timeOffset="-148506.72">21086 1536 1476 0,'0'0'415'0,"0"0"-16"16,0 0-73-16,3 9 42 0,-3-3-40 15,0-1-34-15,-3 3-20 0,1 0-31 0,0 1-18 16,1 0-2-16,-4 2-28 0,3 1-60 0,-1-1-25 16,-2 2-46-16,2 1-56 0,-2-3-39 0,2 0-71 15,-1 1-134-15,-7 0-206 0,9-1-485 0,1-3 67 16,-1-2 113-16,0 0 73 15,2-1 152-15</inkml:trace>
  <inkml:trace contextRef="#ctx0" brushRef="#br0" timeOffset="-148355.78">21130 1489 1036 0,'0'-6'451'0,"0"-1"-47"0,0 3-51 0,0 1-22 0,0 3-63 16,-3-8-76-16,3 6-51 0,0 2-59 15,0 0-82-15,0 0-143 0,0 0-359 0,0 0-245 16,0 0 76-16,0 0 69 0,0 0 67 16</inkml:trace>
  <inkml:trace contextRef="#ctx0" brushRef="#br0" timeOffset="-147821.37">21225 1544 1407 0,'-2'9'425'0,"2"-1"-48"0,-1 0-34 15,0 2-24-15,1 0-37 0,-1-1-3 16,-2 1-18 0,3-1-38-16,-2 0-21 0,2-1-10 0,0-1 5 0,-1 1-23 0,2-1-64 0,-1-3 21 15,-1 2 7-15,1-2 8 0,0-4 2 0,0 6-25 16,0-6 77-16,1 3 28 0,-1-3-52 0,0 0 1 15,0 0-8-15,0 0-26 16,12-7 8-16,-9 5-41 0,4-2 18 0,-1 0-36 16,-1 2-5-16,2-2-12 0,-1 2 1 0,-1 0 6 15,1 0-25-15,0 2 20 0,-6 0-16 0,11 1-74 16,-6 0-25-16,0 1 56 0,2 0-57 16,-4 2 50-16,3-1 6 0,-4 0-6 15,4 1-9-15,-4 1-7 0,0-2 36 0,1-1-3 0,0 2-8 16,-3 0 37-16,0-4-19 0,4 6 6 15,-4-6 32-15,3 2 55 0,-3-2 0 0,3 2-26 16,-3-2-105-16,4 1 0 0,-4-1 0 16,0 0 0-16,0 0 0 0,9-5 0 0,-4 2 0 15,-2 1 0-15,1 0 0 16,2-1 0-16,0 3 0 0,-2-2 0 0,1-1 0 0,-5 3 0 16,8-1 0-16,-1 1 0 0,-7 0 0 0,10 1 0 15,-4 0 0-15,-1 2 0 0,0-2 0 16,0 1 0-16,-1 1 0 0,0-1 0 15,0 1 0-15,-3-1 0 0,4 0 0 0,-3 1 0 0,-1 0 0 16,1 0-75-16,-2-3-342 0,6 7-156 0,-7-5-124 16,4 1-460-16,-1 0 118 15,2 1 184-15,-2-2 11 0,4 1 68 0,-4-1 64 0,2 0 111 16</inkml:trace>
  <inkml:trace contextRef="#ctx0" brushRef="#br0" timeOffset="-147552.28">21656 1643 1579 0,'7'-11'571'0,"-4"3"-54"0,2 3-103 0,-3-2 1 0,-1 3-28 0,-1 0-29 16,0 1-38-16,0 3-21 0,-1-5-17 31,1 5-13-31,0 0-16 0,0 0-69 0,0 0-22 0,-17 8-11 0,14-3-8 0,-2 1-20 0,0 1 7 16,-1 1 4-16,-1 1-35 0,2-2-7 15,2 3-25-15,-2-1 33 0,2-2-36 16,-2 1-8-16,5 1-15 0,-2-2-38 0,2 0-42 16,2-1-40-16,-2 2-23 0,5-1-52 0,-2-2-51 15,2 1-20-15,0-3-34 0,1 0-68 16,1-3-119-16,4 3-490 0,-1-2-6 0,1-1 59 16,5 0 125-16,0-1 41 0,7-2 100 15</inkml:trace>
  <inkml:trace contextRef="#ctx0" brushRef="#br0" timeOffset="-146835.83">22484 1465 1313 0,'-4'-3'463'0,"-2"0"-7"0,0 3-42 0,-1-1-38 16,-1 1-27-16,0 0-37 16,-2 1-115-16,0 1-15 0,2 1-1 0,0 2-55 0,1-1 12 15,-1 3-10-15,3 0-10 0,2 0-36 0,-2 2-11 16,5 0-12-16,0 0 16 0,3 4-22 15,1-2 9-15,2 1-24 0,-1 0 11 0,0 0-11 16,4 2-12-16,-5-2 20 0,2 0-13 0,1-2 16 16,-4 0 15-16,1 0 2 0,-1-1 16 15,-3-1 33-15,0 1-12 0,0-1-16 16,-1 0 23-16,-5-1-8 0,3 1-22 0,-4-2 37 16,-1 2-19-16,-1-2-32 0,-1 0-10 15,0 0-2-15,-2-2-3 0,1 1-33 0,-2 0-13 16,3-3-12-16,1 2-65 0,-3-3-2 0,6 1-82 15,-3-1-11-15,3-1-50 16,-3 1-24 0,4 0-38-16,5-1-36 0,0 0-122 0,-10-3 19 0,10 1-472 0,0 2 19 0,0 0 132 15,0 0 17-15,7-5 72 0</inkml:trace>
  <inkml:trace contextRef="#ctx0" brushRef="#br0" timeOffset="-146240.83">22440 1690 870 0,'13'-6'368'0,"-2"-1"-66"0,-1 1-28 15,0 0 13-15,0-1 69 0,2 1-36 16,-4-1 15-16,1-1-51 0,1 1 18 0,0-1-102 0,-3-1-13 16,-1 4 10-16,2-3 20 0,-4 2-19 15,2 0-24-15,-2 0-26 0,-1 3 16 0,2-1-16 16,-2 0-2-16,0 1-31 0,-3 3-5 0,2-4-25 16,-2 4 7-16,0 0-30 15,0 0 7-15,0 0-10 0,0 0-19 0,0 0-1 0,-6 14-1 16,6-11 1-16,-2 1-27 0,2 0-6 15,-2-1-19-15,2-3 8 0,0 9-11 0,2-6 6 16,0 2-13-16,-1-1 28 0,4-1-5 16,0 0-2-16,-2 1 7 0,2 1-10 0,3-2-8 15,-1 1-8-15,-2 0 9 0,3-1-1 0,0 2-3 16,-3 1 19-16,3-2 12 16,0 2-10-16,-1 1 6 0,-2 0 17 0,0-1-10 0,3 2 15 15,-3-2-7-15,0 2-9 0,-2 1-17 0,1-2 18 16,-1 0 18-1,0 0-15-15,-2-1-14 0,0 0 16 0,0 0 6 0,1-1-17 16,-2-2 45-16,2 1-14 0,-2 0 24 0,0-4-8 16,4 3 10-16,-4-3 20 0,0 0-12 0,0 0-3 15,0 0 52-15,0 0 9 0,10-9-1 16,-8 4-29-16,3-1-1 0,-2-1-42 0,2 1 30 16,2-2-92-16,-1-1-10 0,1 1-11 15,-1-1-25-15,1 1-31 0,1-2-22 16,2 2-9-16,-2 1 1 0,0 0 9 15,4 0-12-15,-4 3-10 0,4-1-23 0,-4 1 17 0,1 0 3 16,-1 2-7-16,0 0 45 0,-2 2-9 0,-6 0 1 16,13 2 27-16,-10 1 28 0,2 1-6 0,1 2 13 15,-4-2 21-15,2 4 25 0,1-1 6 0,-4 1-8 16,1 0 10-16,2 1-3 16,-4-2-2-16,1 2-5 0,-1 0 5 15,0-1-21-15,-1 0-17 0,0 0-29 0,-4-1-40 16,5 0-47-16,-3-1-69 0,0 1-59 0,1-1-173 15,0-1-549-15,0-1 101 0,-2 0 45 0,4-4 157 16,-3 2 35-16,3-2 105 0</inkml:trace>
  <inkml:trace contextRef="#ctx0" brushRef="#br0" timeOffset="-146121.05">22958 1539 591 0,'3'-5'28'0,"-3"-1"-51"16,3 5-530-16</inkml:trace>
  <inkml:trace contextRef="#ctx0" brushRef="#br0" timeOffset="-145558.92">23073 1612 980 0,'0'0'430'0,"0"0"2"0,0 0-63 0,0 0-36 15,0 0 5-15,8-7-36 0,-8 7-18 0,0 0-20 16,0-2-3-16,0 2-105 0,0 0 2 0,0 0 4 16,0 0-16-16,0 0-8 0,0 0-10 0,-5 14-26 15,3-9-17-15,0 1-6 0,1 1-5 16,-2-1 3-16,3-1-13 0,-2 2-23 0,4 0 3 15,-4-1 12-15,4 1-38 16,1-1 10-16,-1 1-18 0,1 1-7 0,2-4 25 16,-2 1-18-16,4-3-18 15,-2 2 1-15,1-2 14 0,-1-1-1 0,3-1-6 0,0 0 10 0,-8 0-5 16,16-1 13-16,-8-2-8 0,2 0 3 0,-3-1 18 16,2 0-11 15,-1-3 29-31,-1 0 4 0,1 0-12 0,0-2 46 0,-3 2-28 0,1 1-8 0,1-2-2 0,-4 1 15 0,2-1-25 15,0 1 9-15,-1 2-9 0,-3-1 9 0,4 2-30 16,-3 0 18-16,-1 1 18 0,1 1-13 16,-2 2 20-16,7-4-38 0,-7 4 18 15,0 0-8-15,0 0-7 0,6 7 7 0,-4-3 44 0,-1 0-54 16,1 2 31 0,3-1-3-16,-4 3-10 0,1-1 0 0,3 2-5 0,-5-1 2 0,3 2-10 0,-3-2 18 15,0 2 13-15,0-2-43 0,-3 3-19 16,0-3 0-16,1 2 3 15,-2-2-38 1,-2 0-57-16,1-2-43 0,1 1-46 0,-3 0-72 0,2-1-67 0,3-2-196 0,-1 3-551 16,0-3 120-16,1-1 123 0,0 0 16 0,2-3 94 15,0 0 72-15,7 4 21 0</inkml:trace>
  <inkml:trace contextRef="#ctx0" brushRef="#br0" timeOffset="-144636.29">23917 1470 1151 0,'0'0'384'0,"0"0"-7"0,-5 19-42 0,0-7-51 15,4 2-64-15,-3 3-13 0,0 0-43 16,-2 5-23-16,0 1-13 0,-2 0-20 16,2 1-26-16,-1 1-36 0,-1-1-23 0,-4 7-34 0,2-4-47 15,5-6-50-15,-1-3-30 0,-1-2 30 16,2 1-7-16,2-4 25 0,0-2 26 15,-1 0 11-15,4-4 32 0,-3 1 1 0,2-3 27 16,1-2 24-16,0-3 28 0,0 0 13 0,0 0 35 16,0 0-12-16,0 0 35 0,4-14-2 0,-1 5-12 15,-1-4 22-15,3-2-10 0,2-2 8 16,1-7-21-16,4-9-18 0,-1 1-5 0,5-4 16 16,0 1-24-16,0-4 42 15,2 2-55-15,-1-2 9 0,0 3 25 0,-1 3-29 0,2 2 24 16,-4 10 87-16,-5 3-8 0,0 4 13 15,-3 3-23-15,-3 5-26 0,3 1-2 0,-2 5 23 16,-4 0-5-16,8 7-39 0,-6 0-5 16,2 3-2-16,-3 3-13 0,2 1-3 0,-1 4-102 15,0 1 10-15,-2 2-28 0,0-1-8 0,-2 1-15 16,0 2-15-16,2 2-29 0,-3-4-40 31,2 4-19-31,-3-1-20 0,4-5-20 0,-2 0-39 16,-1 1-20-16,3-3-42 0,-1-3-76 0,-1 0-112 0,0-4-464 0,2 3 112 0,0-2 47 15,0-3 118-15,0 0 66 0,0-2 71 16</inkml:trace>
  <inkml:trace contextRef="#ctx0" brushRef="#br0" timeOffset="-144068.96">23839 1720 1333 0,'-4'-4'399'0,"4"4"-22"0,0 0-24 0,5-5-56 16,-5 5 0-16,5-5-59 15,0 4-13-15,0 0-87 0,3 0-20 0,0-3-16 16,-1 2-32-16,6 0-27 0,-5-1-17 0,2 0-34 16,3 0-5-16,-2 0-30 0,1-1-21 15,0 0 5-15,-1-1-31 0,2 0 19 0,-2 0-32 16,1-1 39-16,-2-1 16 0,0 2 9 0,-1-1 1 15,1 1 20-15,-3 0 23 16,1 0-15-16,-1 0 30 0,0 1 1 0,-3 2 43 16,1 1-18-16,-2-1 13 0,-3 2 20 0,8-2-7 0,-8 2 25 15,0 0-2-15,6 7-31 16,-5-3 7-16,-1 2 9 0,3 0-19 0,-3 1 39 16,0 0-57-16,0 3 24 0,0-2-21 0,-3 2 10 15,3-1-4-15,0 2-29 0,-1-3 38 16,1 2-38-16,-2-2 38 0,0 1-20 0,2-2 46 15,0 0-28 1,0-2 23-16,-2 1 103 0,4-3 1 0,-2 2-35 0,0-5 59 0,4 4-56 16,-4-4-16-16,4 1-82 0,-4-1 19 0,0 0-14 15,12-8-5-15,-7 5 31 0,1-2-10 16,1-1-23-16,0 3-23 0,-1-3 28 16,2 2-11-16,0 0-15 0,-1 0-20 0,1 2 41 0,-1 0-39 15,0 2 19-15,-7 0 12 0,9 0-44 16,-2 1 44-16,-4 2-41 0,2-1-5 15,-2 4 0-15,-1-3-15 0,2 1-46 0,-2 2-47 16,0-2 8-16,-2 1-69 0,2-1-35 0,0 1-37 16,-1 0-53-16,0 1-149 0,1-3-241 15,-2 2-250-15,4 0 51 0,-3-4 156 0,4 4 77 16,-1-3 64-16,0-1 38 0</inkml:trace>
  <inkml:trace contextRef="#ctx0" brushRef="#br0" timeOffset="-143010.75">24427 1678 1041 0,'0'0'392'16,"0"0"-41"-16,0 0-14 0,0 0-27 0,0 0-31 0,-10 7 16 15,10-7-75-15,-3 6-3 0,1-3-25 0,-1-1-15 16,1 1 7-16,2-3-40 0,-3 7-29 16,1-4-13-16,2 0 0 0,0-3-2 0,-3 5-18 15,3-5 10-15,-1 4-38 0,1-4-13 0,1 5 28 16,-1-5-25-16,0 0-6 0,6 2-2 15,-4 1 0-15,-2-3-6 0,0 0-14 16,5 2 22-16,-1 0-22 0,-4-2 19 0,3 2-1 16,-3-2-11-16,6 2 2 0,-6-2 21 15,6 2-33-15,-6-2 13 0,0 0 7 0,9-1-10 16,-9 1-10-16,9-3 10 0,-5 1 3 0,1 0-1 16,1-2-9-16,1 0-52 0,-2-2-3 15,0-1 16-15,0 1 59 0,0-1 2 16,2-1 88-16,-3-1 12 0,0-3-10 0,2 0 5 15,-1 0-23-15,2-3-7 0,0-1-27 0,1 1 4 16,-2-2-6-16,2-2-10 16,-1 2 10-16,1 2 6 0,0 0-27 0,-2 4 16 15,-2 0 3-15,2 3-5 0,-2 0-16 0,-2 2 13 0,-1 4-3 16,-1 0-20-16,0 2-10 0,0 0 28 16,0 0 0-16,-5 13-41 0,3-4 2 0,-4 1 26 31,1 4-125-31,-2 0-13 0,-1 3 7 0,2-1-15 0,1 1-7 0,0-1-19 0,0-1-19 15,3-2 29-15,-1 1-6 0,3-1-14 0,0-3 23 16,0 0 3-16,0-1-20 0,0-1 30 16,3-1-5-16,-1-2 8 0,0 0 20 15,1-2 36-15,0-1-26 0,1 0 14 0,-4-2 22 0,7 1 3 16,-7-1-1-16,10-3 35 0,-6-1-9 16,2 0-25-16,1 0 36 0,0-2-11 15,-3 1 13-15,3-1-17 16,-2 1-4-16,0 1 39 15,1-1-22-15,-2 2-1 0,0 0 8 0,0-1-8 0,1 2 0 16,-5 2 10-16,3-1 6 0,-3 1-14 0,0 0-4 0,0 0 7 0,8 7 11 16,-8-5-11-16,0 2 21 0,0 1-26 15,0 0 0-15,2 1-13 0,-2-1 29 0,2 2-14 16,-2-4 11 0,0 1-10-16,0 2 0 0,0-1 12 0,1 0 6 0,-1 0-1 0,0-1-2 15,0 1-20-15,2-1 15 16,-2 2-3-16,3 0 0 0,-2 0 21 0,0 1-33 0,0 0 25 15,-1-1-8-15,2 3-7 0,-2 0 3 16,3-1 9-16,-3 1-9 0,-3 2 4 16,3-2-7-16,0 1 7 0,-2-1 3 0,2 2-5 0,-2-1-15 15,-2 1 2-15,2 1-15 0,1-3 10 16,-3 0-31-16,1 1-36 0,-2-3-7 16,3 0-67-16,-1 1-28 0,0-2-56 0,1-1-95 0,-1-1-128 15,2 0-489-15,1-4 100 0,0 4 59 16,0-4 126-16,0 0 50 0,0 0 44 0</inkml:trace>
  <inkml:trace contextRef="#ctx0" brushRef="#br0" timeOffset="-142706.35">24841 1664 1110 0,'-6'-2'441'0,"6"2"-52"0,0 0 13 0,-10 3-62 0,7 1-40 16,0-1-47-16,1 0 8 0,1 2-38 16,1 3-26-16,-2 0 5 0,2 0 3 15,-2 2-3-15,2 0-56 0,0 1 43 0,0-1-48 0,0 3 49 16,-3-1-39-16,3-1-11 0,-3 1 16 16,-1-1-53-16,1 1-3 0,-2-2 12 15,1 0-12-15,-2 0-26 0,-2-1 19 0,3 0-24 16,-3-2-3-16,2 0-38 0,-1 0-38 15,0-3-51-15,1 1-26 0,1-2-54 16,0 0-43-16,1-3-70 16,4 0-130-16,-7 2-100 0,7-2-455 0,0 0 38 0,0 0 131 0,0-11 99 15,3 3 44-15,3 0 46 0</inkml:trace>
  <inkml:trace contextRef="#ctx0" brushRef="#br0" timeOffset="-142545.33">24873 1709 1241 0,'0'0'361'0,"0"0"-31"0,0 0-18 16,2 11-25-16,-2-5-23 0,1-1-16 0,-2-1-30 16,1 3-29-16,0 1-18 0,-1 0-9 0,0-1-32 15,1 1-25-15,-2 1-59 0,-1-2-43 16,1 1-54-16,1 1-67 0,-1 0-153 0,-8-1-108 16,7-2-394-16,2 2-3 0,-1-3 65 15,0 0 89-15</inkml:trace>
  <inkml:trace contextRef="#ctx0" brushRef="#br0" timeOffset="-142157.39">24984 1679 1290 0,'0'0'412'0,"0"0"-31"0,0 0-107 16,0 0-36-16,0 0 18 0,-3 15-54 0,3-12 8 15,0 3 13-15,0-1-31 0,1 3-8 16,-1-2 23-16,1 1-22 0,-1 2-42 15,1 0 49-15,-1-1-31 0,0 2 1 0,0-2-34 0,0 1-13 16,0 0-8 0,-1-1-7-16,-1 0-23 0,-3 1 2 0,2-2-25 0,-2-1-69 0,1 1-21 15,-2 1-54-15,1-4-28 0,-1 2-63 16,0-1-96-16,0-5-173 0,0 5-462 0,1 0 60 16,-2 1 112-16,2-2 88 0,-1 2 37 15,-1-3 75-15</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1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6:05:15.233"/>
    </inkml:context>
    <inkml:brush xml:id="br0">
      <inkml:brushProperty name="width" value="0.05292" units="cm"/>
      <inkml:brushProperty name="height" value="0.05292" units="cm"/>
      <inkml:brushProperty name="color" value="#002060"/>
    </inkml:brush>
  </inkml:definitions>
  <inkml:trace contextRef="#ctx0" brushRef="#br0">16454 2646 1236 0,'-10'-2'530'15,"2"-1"-41"-15,3 2-54 0,-1 1-26 0,6 0-38 16,-8-2-112-16,8 2-34 0,0 0 21 0,0 0-23 15,0 0-6-15,0 0-20 0,0 0 16 16,21 12-6-16,-3-7-20 0,8-1-5 0,5 1-34 16,0 0-15-16,12-2-30 15,6 3 9-15,-3-1 60 0,5 0-24 0,-2-2 3 0,2 0-33 16,0-3-3-16,1 2-28 16,1-1 3-16,-4-1 22 15,0 0-50-15,-9 3 30 0,-6-3-8 0,-3 0 6 0,-3 0-21 16,-5 0 0-16,2-3-18 0,-6 3 19 0,-1 0 24 0,0 0-7 15,-3 0-112-15,-2 0 12 0,-3 3 23 0,1-6 3 16,-1 3-13-16,0 0 10 0,-3 0 11 0,1-1-42 16,-8 1 16-16,10 0 26 0,-2-1 7 15,-8 1-26-15,8-1-12 0,-8 1 59 16,10 0-80-16,-10 0 10 0,5-2 32 0,-5 2 9 0,0 0 19 16,8 2-24-16,-8-2-28 0,0 0 31 15,0 0-54-15,8 0-20 0,-8 0-67 0,0 0-5 16,0 0-59-16,0 0-53 0,0 0-42 0,2 2-66 15,-2-2-72-15,0 0-135 0,2 1-525 16,-1 2 91-16,-1-3 129 16,3 6 103-16,-1-4 55 0,3 1 111 0,2 0 46 0</inkml:trace>
  <inkml:trace contextRef="#ctx0" brushRef="#br0" timeOffset="1013.21">18830 2672 1103 0,'0'0'391'0,"-7"-1"29"0,7 1-51 0,-6-2-3 16,6 2-41-16,0 0-15 0,0 0-37 0,0 0 1 15,0 0-100-15,34 3-5 0,-17 0-36 16,7-3 16-16,7 3-6 0,0 0-22 0,4-2 4 15,11 1-5-15,-7-2-30 0,-4 2 15 16,2-2 13-16,9 2-3 0,-8-1 3 0,-4-1-31 16,-2 2 12-16,-3-1 24 0,-3-1 82 15,-1 0-39 1,-4 2 11-16,-3-2-26 0,0-2 21 0,-3 2-16 0,-2-1-3 0,-2 1-76 16,1 1 0-16,-2-2 28 0,-2 1-8 0,2-2-5 15,-5 4-2-15,1-2-24 0,-6 0 39 16,10-2-43-16,-10 2-6 0,10 0 16 0,-10 0 10 15,10 0-29-15,-10 0 14 0,5-1-13 0,-5 1-18 16,0 0-36-16,10 0 0 0,-10 0 0 0,3-2 0 16,-3 2 0-16,0 0 0 0,0 0 0 0,0 0 0 15,0 0 0-15,11 2 0 0,-11-2 0 16,0 0 0-16,0 0 0 16,0 0 0-16,0 0 0 0,7 0 0 0,-7 0 0 0,0 0 0 0,0 0 0 15,0 0 0-15,0 0 0 16,0 0 0-16,0 0 0 0,0 0 0 0,0 0 0 0,0 0-88 0,0 0-78 15,0 0-59-15,0 0-52 16,0 0-12-16,0 0-54 0,-10 6-92 0,10-6-141 16,3 6-315-16,-1-4-107 0,3-1 84 0,0 2 108 15,3-2 97-15,-1 2 66 0,6-2 57 16</inkml:trace>
  <inkml:trace contextRef="#ctx0" brushRef="#br0" timeOffset="2178.48">21435 2657 877 0,'0'0'351'0,"-8"-3"-64"15,8 3 10-15,0 0-23 0,0 0-36 0,0 0-18 16,0 0-21-16,0 0 70 0,27 1-36 16,-10-1 5-16,1 2-25 0,6-2 17 0,6 0-51 15,15 2-5-15,7-2 3 0,0 1-8 0,1 1-23 16,1-2 2-16,0 3-10 0,0 2-71 0,3-3 15 16,14 4-5-16,-12-6-1 0,2 3-6 15,-1-2-9 1,11 5 13-16,-12-5 11 15,-2 1-24-15,-4 1 8 0,-2-2 11 0,-4 4 2 0,-1-4-24 0,-6 0 22 0,-11 0-6 16,1-1-18-16,-6 1-2 0,-1 1-13 0,-2-2-3 16,-1 0 16-16,-4 0 15 0,-1 1-23 0,-1-1 39 15,-2 1-24-15,-2-1 13 16,0 0 19-16,-2 0-6 0,-1 2-23 0,-1-2 15 0,2 1 8 16,-2 1-23-16,-6-2-15 0,9 0-11 0,-3 1 36 15,-6-1-33-15,9 1 8 0,-9-1-39 16,5 1 8-16,-5-1 31 0,6 0-1 0,-6 0-4 15,0 0-19-15,7 0 6 0,-7 0-23 16,0 0-18-16,0 0 33 0,5 3-13 0,-5-3-41 16,0 0 8-16,0 0-23 0,0 0-8 0,0 0-2 0,0 0-41 15,0 0-1-15,0 0-27 0,0 0-41 16,0 0-26-16,0 0-36 0,0 0-33 16,0 0-26-16,0 0-71 0,0 0-93 0,0 0-35 15,0 0-459-15,0 0 39 16,0 0 108-16,-12-9 122 0,12 9 44 0,-10 0 51 0</inkml:trace>
  <inkml:trace contextRef="#ctx0" brushRef="#br0" timeOffset="3650.7">750 3390 1410 0,'-8'0'412'0,"1"-1"-36"16,7 1 6-16,-10-1 37 0,10 1-55 0,-8 0-16 15,8 0-25-15,0 0-34 0,0 0-3 0,0 0 11 16,0 0-12-16,25 2-40 0,-7-1-30 16,6 2 11-16,6-1-24 0,3 0-13 0,13 0-35 15,3-1-31-15,0 0-70 0,-4 2 24 0,2-1 13 16,-8-1-21-16,-4-1 8 0,-1-1-39 16,1-1 11-16,-4 1-3 0,3-1-3 0,-6 2 11 31,-2-1 7-31,-4 0-25 0,-3 1-5 0,-2-2 10 0,-1 1-3 0,-3 0-33 0,-2 1 26 15,1 0-21-15,-4-1-4 0,-1 1-29 16,0-1-59-16,-7 1-69 0,11 0-57 0,-11 0-78 31,8 1-106-31,-8-1-210 0,0 1-485 0,0-1 139 0,0 0 73 0,0 0 99 16,0 0 62-16,0 0 95 0,-13 4 104 0</inkml:trace>
  <inkml:trace contextRef="#ctx0" brushRef="#br0" timeOffset="82127.07">13162 7932 1320 0,'-8'0'505'0,"8"0"-65"15,0 0-5-15,0 0-46 16,0 0-13-16,0 0-33 0,0 0-28 0,25-1-49 16,-14 1 6-16,2-1-42 0,5 1-20 0,-1 0-8 15,4 0-30-15,4 0 12 0,1 2-15 0,2-2-39 16,-2 0-7-16,2 3-25 0,-5-1 14 16,8-1-12-16,-5-1-28 0,-1 1-3 15,-1-1-3-15,-1 2-17 0,-5-1 2 0,-1-1-5 16,1 1-2-16,-5-1-21 0,2 0 0 0,-4 0-31 15,-1 0-17-15,0 0-32 16,-2 2-9-16,0-2-47 0,-3 0-12 16,-5 0-70-16,8 0-7 0,-8 0-57 0,0 0-66 0,0 0-115 0,0 0-195 15,0 0-322-15,0 0 130 0,0 0 49 0,0 0 48 16,0 0 116-16</inkml:trace>
  <inkml:trace contextRef="#ctx0" brushRef="#br0" timeOffset="83126.72">13366 7750 1021 0,'0'0'420'15,"0"0"-121"-15,3-2-25 0,-3 2-5 0,0 0-59 16,0 0-11-16,0 0-17 0,0 0-5 16,0 0 10-16,-17 8-21 0,9-7-13 0,0 5 9 15,0-4-34-15,-2 2 23 0,-3 3 20 16,1-2-22-16,1-2 61 0,-5 1-26 0,4 3 28 16,-1-2-40-16,0 0-3 0,0 0-26 0,1 2-7 15,-4-1-8-15,6 0 0 16,-1-2-39-16,1 2 37 0,0 1-26 15,2-2 17-15,1 1-25 0,-3 0-12 0,4-3-24 0,-1 1 11 0,2 1-8 16,2-1-1-16,-4-2-22 0,4 4 36 16,-2-3-21-16,2 1-30 15,0 0-1-15,1-2 36 0,-1 5-30 0,3-3 35 0,-2 1-30 16,2-2-18-16,0 4 20 0,2-2 8 16,1 2-36-16,-1 0 52 0,3-1-6 0,-2 1-36 15,3 3 6-15,1-3 9 16,0 0 1-16,-1 3-5 0,4-3-1 0,0 1-4 0,-2 1 4 15,3-1-12-15,1-1 8 0,-2 0 12 0,1 0 16 16,-1 0-108-16,0-1 5 0,0 0 18 16,1-1 36-16,-4 0-31 0,4 1 26 0,-3-4-13 15,-1 4 13 1,0-3-10-16,-1 1 33 0,-1-3 10 0,2 3-36 0,-1-3 16 0,-3 3-23 16,1-3 12-16,2 0 21 0,-4 2-10 0,-2-3-3 0,8 2-3 15,-6-1-9-15,-2-1 9 16,6 2 8-16,-6-2-7 0,4 3 5 0,-4-3-11 15,0 0 26-15,6 1-2 0,-6-1 12 16,2 1-31-16,-2-1 11 0,0 0 13 0,0 0-29 16,3 4 24-16,-3-4 15 0,0 0-24 0,0 0-22 15,0 0 56-15,5 1-7 0,-5-1-45 0,0 0 47 16,0 0-35-16,0 0 27 0,0 0 5 0,0 0-4 16,0 0-42-16,0 0 31 15,0 0-8-15,0 0 11 0,0 0-6 0,3 4-7 0,-3-4-5 16,0 0 12-16,0 0-22 0,0 0 9 0,0 0-14 15,0 0 19-15,0 0-1 16,0 0 19-16,0 0-1 0,0 0-14 0,0 0-30 16,0 0-1-16,0 0 24 0,0 0-16 0,0 0 6 15,0 0-9-15,0 0 45 0,0 0-42 0,0 0 3 16,0 0-10-16,0 0 12 0,0 0-5 16,0 0 16-16,0 0-18 0,0 0-8 15,0 0-10-15,0 0-6 0,0 0-19 0,0 0-27 0,0 0-20 31,0 0-38-31,4-9-10 0,-4 9-34 0,3-2-12 0,-2-2-37 0,-1 4-9 16,2-3 4-16,-2 3-28 0,5-3-81 0,-5 3-93 0,0-7-33 16,0 7-461-16,0 0 16 0,0 0 179 15,0 0 48-15,0 0 55 0,0 0 60 16</inkml:trace>
  <inkml:trace contextRef="#ctx0" brushRef="#br0" timeOffset="91415.36">20246 7982 693 0,'0'0'266'0,"0"0"3"0,8 0-21 15,-8 0 47-15,0 0-11 0,0 0 13 16,0 0-26-16,0 0-10 0,0 0-76 16,0 0-9-16,0 0 1 0,0 0-3 0,0 0-8 0,0 0 1 15,0 0 32-15,-17-7-22 0,10 4 0 16,-2 1-16-16,-3 1-23 0,-3 1 3 15,0-1-3-15,-6-2-43 0,1 1 7 0,-3 2-15 0,-3-1 13 16,3 0-33-16,-3 0-6 0,1-2-12 31,-1 2-11-31,3 1 0 0,0-1-50 0,2-3-32 0,3 4-10 0,2-1-15 0,-1-1-31 16,4 0-40-16,3 1-68 0,0-1-104 0,2 0-77 16,1-1-39-1,4 3-439-15,3 0 45 0,-5-6 110 0,5 6 73 0,0-3 86 0</inkml:trace>
  <inkml:trace contextRef="#ctx0" brushRef="#br0" timeOffset="91697.37">20105 7776 1154 0,'-6'-2'415'0,"6"2"-88"0,-11 2-32 0,-1-1-24 0,-1 4 8 16,-5 1-36-16,-5 2-15 0,-3 2-5 0,-7 3-31 15,-3 4-11-15,3-1 1 0,1 2-8 16,3 0-41-16,5-4-28 0,9 1 10 16,0-3-15-16,4 0-18 0,4 2-3 15,-1-1-7-15,3 0-28 0,3-1 2 0,2-3-3 16,2 5-15-16,5 1-2 0,1-2-18 0,3 0-49 16,4 4-16-16,1-3-14 0,2-1-16 0,7 5-34 15,-2-5-19 1,5 6-22-16,-4-7-119 0,-2 1-49 0,-3-2-175 0,5-1-278 0,-5 0 30 15,3 0 57-15,-5-3 79 0</inkml:trace>
  <inkml:trace contextRef="#ctx0" brushRef="#br0" timeOffset="95503.43">19537 8269 990 0,'0'0'420'0,"0"0"-21"0,0 0-2 15,21 6-13-15,-3 1-41 0,10-1-21 0,16 2-4 16,7 2-11-16,12 1-41 0,2 2 16 0,2 1-21 15,10-1-44-15,3 3-2 0,4-1-7 16,4 2 7-16,2-2-44 0,-1 3 8 0,-2 1-17 16,21 5 2-16,-23-5-29 0,1 0-38 0,1 0 11 15,-5 3-16-15,1-3-5 0,-6 0 18 0,0-3-13 16,-3 3 3-16,-2-2-5 0,-8 2-21 16,-3-1-26-16,-12-5-15 0,-3 0 18 15,-2-1 6-15,-3 1-32 0,-5 0 16 16,-5-4-26-1,-8-2-51-15,-5-2-33 0,-1-1-8 0,-3 1-28 0,-2-1-21 0,-2-1 11 0,0-2-41 16,-4-1-52-16,-1 1-94 0,-5-1-46 0,5 3-28 16,-5-3-95-1,0 0-497-15,-3-6 85 0,3 6 58 0,-3-6 124 16,-4 4 86-16,4-1 21 0</inkml:trace>
  <inkml:trace contextRef="#ctx0" brushRef="#br0" timeOffset="95810.8">21592 8562 1149 0,'0'0'438'0,"0"0"-103"0,0 0-15 16,15 7-3 0,-5-1-33-16,6 1 16 0,2 4-1 0,2 0-25 0,11 8-36 15,0 0 5-15,-1 0-25 0,1 2 79 0,-2 1-31 16,-2-1 5-16,-3 3-17 0,-2-3-65 15,-5-1 19-15,-5-3-34 0,-2 2-13 16,-5-2-2-16,0 0-29 0,-3-2-10 0,-6 4-20 0,0-1 0 16,-10 0-36-16,1-1-18 0,-3-1-23 15,0 0-87-15,-3-1-41 16,3-2-33 0,-2 0-54-16,5-2-56 0,-2 1-95 0,0-4-154 0,2 3-488 0,0-4 53 0,3 0 108 0,2-1 81 15,-2 1 104-15,5-2 19 0,-1 1 90 16</inkml:trace>
  <inkml:trace contextRef="#ctx0" brushRef="#br0" timeOffset="96369.51">22315 9138 901 0,'0'0'302'16,"0"0"-3"-16,0 0-28 0,15 0-35 15,-8-1-11-15,1 1-20 0,3-1-26 0,1 0-13 16,4 1-17-16,-1-2-44 0,3 1-16 0,0 0-9 15,3-1-26-15,-3-1-16 0,2 1-12 16,-5 1 22-16,1-3-56 0,-1 3 19 0,-2-1 14 16,0-1 14-16,-3 1-26 0,0-2-1 15,-2 3-17-15,0 0 31 0,-3-4-3 0,1 5 10 16,-4-2-20-16,2-1 7 0,-4 3-22 0,0 0 15 16,0 0-18-16,0 0 25 0,0 0-23 15,0 0 26-15,0 10-5 0,-2-5 5 16,-1 1-23-16,-2 2 11 0,2-1-34 0,-4 1 15 15,2 4-33-15,-3-2-20 0,3 2-11 16,-2-1-87-16,-1 4-38 0,0-1-67 0,0-4-12 16,1 2-456-16,-1-3 56 0,0 3 18 15</inkml:trace>
  <inkml:trace contextRef="#ctx0" brushRef="#br0" timeOffset="96587.5">22348 9341 1059 0,'0'-6'364'0,"0"6"-16"0,0-4-28 0,0 4-23 0,5-6-11 15,0 6-19-15,0-3-19 0,0 0-48 16,1 3-8-16,4 0-13 0,-2-1-33 0,2 0 7 16,2 1-4-16,-1-2-32 0,3 1-17 15,-3-1-38-15,4 2-19 0,1 0-33 0,-3 0-33 16,0 0-59-16,2 0-43 0,-2 0-23 0,0 0-103 15,0 0-77-15,0-2-53 0,1-1-377 0,0 2 18 16,-2 1 67-16,-1-2 79 0</inkml:trace>
  <inkml:trace contextRef="#ctx0" brushRef="#br0" timeOffset="97053.39">22786 9207 829 0,'0'0'335'0,"0"0"54"0,-10 0-38 0,10 0-3 0,-8 3-64 16,5 0-10-16,-4 1-15 0,2 2-52 0,0 1 0 16,0-2-40-16,-1 2 4 0,1 1-40 15,-2-1 12-15,4 2-33 0,-2 0 3 0,1 2-16 16,0-4-2-16,2 1-11 0,2 3-15 0,0-4-18 16,0 2 21-16,2-1-18 15,2-2-18-15,-2 1 15 0,2-1-13 0,2-3-15 16,0 2 18-16,-2-2 13 0,4-3-100 0,-3 0 13 15,2 0 7-15,2-3-7 0,-1 0 15 16,0-1-10-16,-2-3 12 0,0 0 22 0,1-3-6 16,0 1-3-16,-1-3-2 31,-3-1 10-31,1-3 10 0,0 0-7 0,-2 0 18 0,3 3-6 0,-4 0 3 0,0-1 15 0,-1 3 6 16,1 0-8-16,-2 0 0 0,2 3 20 0,-2 1-23 15,1 1-10-15,-1 1 18 0,0-1-5 0,1 6-10 16,-5-1-8-16,5 1-16 0,0 0 8 15,0 0 8 1,-8 12-13-16,8-7 16 0,-2 3-21 0,1-2 5 0,0 3 21 0,2 1 2 0,-1 1-18 16,1 1-5-16,-1 1 64 0,2 0-28 15,0 0-15-15,1-1-42 16,0 1-42-16,-1 0-35 16,3-1-40-16,-2 0-41 0,2-1-107 0,2-2-103 0,-4 2-515 0,2-2-2 15,-2 0 131-15,3-1 127 0,-4-2 42 0,4 0 40 0</inkml:trace>
  <inkml:trace contextRef="#ctx0" brushRef="#br0" timeOffset="97291.63">23057 9282 977 0,'1'-4'356'0,"-1"4"64"0,0 0-36 0,0 0-39 16,0 0-25-16,-1 15-33 0,-3-8-26 0,4-1-15 15,-3 3-52-15,1 1 27 0,1 3-53 16,-3-1 12-16,1 1-55 0,0 0-43 16,-1 0-8-16,1-2-71 0,0 6-29 0,-1-2-63 0,-2 1-98 15,3-3-167-15,-2 1-539 0,3-3 141 16,1 2 17-16,-1-2 44 0,0-2 66 0</inkml:trace>
  <inkml:trace contextRef="#ctx0" brushRef="#br0" timeOffset="97616.14">23130 9298 952 0,'15'-10'494'0,"-2"1"-31"0,0 1-46 0,-3 4-15 15,-1 0-38-15,0 1-29 0,-2 0-59 16,1 2 6-16,-3 1-131 0,-5 0-5 15,11 0 2-15,-9 4-27 0,-2-4 14 0,1 8-25 0,-4-2-7 16,-2 0-1-16,-3 2-12 0,-4 2-3 16,-1-2-13-16,-1 5-5 0,1-3-31 15,-2-1-4-15,5 3 22 0,0 0-7 0,-1-1-16 16,4-2-7-16,2 2 4 0,0 0-25 0,2-2-2 16,3-3 12-16,0 4-22 0,0-1-1 15,7-2 0-15,-1 4-45 0,1-5-9 16,1 2 11-16,2 1-34 0,0 0 6 0,0-3-13 15,-1 0-31-15,1 1 8 0,0-2-49 0,0 2-28 16,0-2-38-16,-1 1-77 16,-1-1-54-16,-4-1-59 0,2 1-402 0,1 1 72 0,-2-2 90 0,0-1 58 15</inkml:trace>
  <inkml:trace contextRef="#ctx0" brushRef="#br0" timeOffset="102731.55">20158 8221 872 0,'0'0'292'0,"10"5"-3"16,-4-2-38-16,8 0 5 0,2 1-13 0,5-1-33 15,20 4-7-15,6 2-17 0,6-2-19 0,11 1-1 16,8 4 3-16,0 0-26 0,8 1-15 0,3 3 16 31,3 0-37-31,4 2 3 0,18 7-18 0,-22-6 8 0,22 5-18 0,-21-5 0 0,-1 0-23 16,23 6 33-16,-2 0-46 15,-25-6 16-15,-2 3 9 0,-3-6-20 0,-1 5-4 0,-1-2-12 16,-3-3 14-16,-3 2-5 0,-5-1-21 16,0-2 5-16,-14-3 2 0,-2 0 6 15,-5-2-23-15,-4-1 15 0,-1 3-15 0,-7-5-16 16,-8-1-2-16,-5-2-20 0,0-1-6 0,-5 0 28 16,2 0-30-16,-7 1 5 0,2-2 2 0,0 1 1 15,-2-1-29-15,0-1 8 0,-4 0-51 16,-4-1-31-16,8 2-5 0,-8-2-80 0,0 0-45 15,0 0-93-15,0 0-74 0,3-5-348 16,-3 5 5-16,0 0 164 0,0-5 26 16</inkml:trace>
  <inkml:trace contextRef="#ctx0" brushRef="#br0" timeOffset="103037.52">22535 8596 796 0,'0'0'404'0,"13"3"-61"0,-3-1-31 0,0 0-20 16,3 1-5 0,5 3-98-16,0 0-12 0,2 2-6 0,1-1 37 0,2 4-4 15,0-1-9-15,-4 2-39 0,5-2 5 0,-5 5-5 0,-1 0-17 16,-3-2-32-1,-1 0 16-15,-4-1-18 0,-2 1-10 0,-6 0-29 0,-2 0 16 16,-1 1 13-16,-4-2-108 0,-5 2-2 16,-1-1 20-16,-6 0-20 0,2 0-3 0,2-3-13 15,-3-1-59-15,1 1-17 16,0-2-11-16,-1 0-69 0,3-2-53 0,1 3-62 0,2-6-31 16,2 3-512-16,0-1 105 0,7-1 54 0,-3 0 54 15</inkml:trace>
  <inkml:trace contextRef="#ctx0" brushRef="#br0" timeOffset="104848.87">23302 8860 660 0,'0'0'233'0,"0"0"-10"0,0 0 63 0,0 0 6 15,0 0-26-15,0 0-23 0,0 0 1 0,13-9-27 16,-11 8-81-16,-2 1 15 0,2-7-13 16,3 2-13-16,-4-1-2 0,1 0-13 0,3-1-20 15,-2 1 17-15,-1-3-40 16,1-1 28-16,2 1-3 0,-2-1 13 0,2-2-18 16,-1 0-21-16,-3 2 9 0,2-2-22 0,1 0 14 15,-3 1-18-15,4 4 17 0,-4-3-10 0,1 3-20 16,-2 1 18-16,2-1-16 0,0 2-2 15,-2 1-28-15,0 1 2 0,0 3 26 0,0 0-21 16,3-5 24-16,-3 5 68 0,0 0-38 0,0 0 21 16,0 0-36-16,5 12 7 15,-3-8-2-15,1 1-8 0,-2-2-17 16,-1 1 6-16,2-2-14 0,0 3 10 0,-2-5-5 16,3 5 4-16,0-2-14 0,0-3-11 0,-3 0 46 15,9 3-32-15,-4-3 24 0,-5 0-27 0,14-3 2 16,-7 3 0-16,1-4-10 0,1 1-8 0,-1-3 10 15,0 4 16-15,0-2-1 16,3 1-22-16,-4-1 25 0,1 1-2 0,0 0-5 0,-1 3 2 16,-2-2 15-16,-5 2-14 0,13 0-9 0,-13 0 34 15,7 2-16-15,-4 3 1 0,0-2-11 16,-1 2 5-16,0 0-25 31,-2 0 12-31,1 2-5 0,-1 1-84 0,3-3-10 0,-6 6-21 0,3-3-10 0,0-1-13 0,0 0-41 0,-1 3-4 16,1-3-14-16,-2 0 3 0,2 0-65 15,-2-1-63 1,2 1-46-16,0 0-41 0,0-3 0 0,2 2-47 0,0-1-229 0,2 0-3 16,-1-1 28-16,4 1 140 0,-4-1 267 15,4-2 174-15,-2 1 59 0,0-1-18 0,2-1 51 0,-7-1 67 16,11-2-13-16,-3-1 66 0,0 2 19 0,0-1 14 16,2-2 19-1,-3 1 25-15,1-3 57 0,2 2-8 0,-2-2 5 0,0-1-16 0,-1 0-12 16,-2 1 0-16,-2-1 18 0,2 0-131 15,-3 2 26-15,-1-1-10 0,1 0-11 0,-2 1-10 16,0 0-10-16,-2 2-26 0,1-1 3 0,1 4-11 16,-4-3-4-16,4 3 5 0,-10 0 61 15,10 0-13-15,-11 3-3 16,6 1-12-16,0-1-48 0,-1 2 4 0,-1 2 11 0,2-1-29 16,2 0-20-16,-2 0-8 0,3 1-23 0,-1 2-22 15,3-4 24-15,0 3-30 16,3-2-33-16,-1 0 5 0,3 0-20 0,0-3-9 15,3 3 14-15,0-1-11 0,-1-3-10 0,6 4 1 0,-2-5-7 16,-1 1 12-16,3-1-6 0,2 0-8 16,0-1 21-16,-2 1 3 15,2-2 2-15,0 0 15 16,-1 0-10-16,-1-2 10 0,2 2 8 0,-2-4 0 0,-1 4 8 0,-3-2 13 16,3-1 15-16,-2-1 10 15,-2 3 36-15,0-2-11 0,-3 0 1 0,1 1 28 0,-2-3 0 0,1 4 5 16,-2-2-3-16,-1 2-4 0,1-2 7 15,-3 4-16-15,0-3 1 0,0 3-6 0,0-4-2 16,0 4-10-16,0 0 20 0,-7-5-2 16,7 5-29-16,0 0 21 0,-14 5-18 0,11-3-5 0,-1 2 16 15,-2-1-19 1,2 1-20-16,-2 2 35 0,2-2-17 0,0-1-8 0,0 3 13 0,2-1-23 16,-4 1-2-16,6-4 12 0,-2 4-21 0,0-2-7 15,1-1 16-15,-2 2 1 16,3-1-1-16,0-4 14 0,0 7 1 0,0-7-3 15,3 2-5-15,-1 2 39 0,-2-4-39 16,0 0 15-16,5 3-5 0,-1-2 11 0,-4-1-14 16,0 0 11-16,9 0-5 0,-9 0 10 15,0 0-7-15,0 0 19 0,11-3 6 0,-11 3-25 0,5-1 50 16,0 0-35-16,-5 1 0 0,5-4 2 16,-5 4-13-16,7-2 6 0,-4-1 7 0,-3 3 1 15,6-1-1-15,-6 1-18 0,6-2 8 0,-6 2-13 16,6-3 11-16,-6 3-19 0,5-2 45 15,-5 2-6 1,8 0-18-16,-8 0-8 0,0 0 8 0,8 1-5 0,-8-1 18 0,5 4-21 0,-5-4-7 16,2 3 38-16,-1 2-13 0,-1-5-20 15,4 6 33-15,-4-4-26 0,0 3-17 16,0-5 15-16,3 6 5 0,-3-6-26 0,0 4 26 16,0-4-7-16,0 3-9 0,0-3 11 0,0 6-5 15,0-6 15-15,1 3 24 0,-1-3 6 16,0 0-12-16,2 3 24 0,-2-3-22 0,0 0 32 15,0 0-9-15,4 4-30 0,-4-4 36 0,0 0-18 16,6 0-18-16,-6 0 46 0,0 0-136 16,0 0 21-16,13-2-8 15,-13 2 41-15,7 2-33 0,-7-2-8 0,8 0 21 0,-8 0-18 16,8 1 10-16,-8-1-28 0,7 1-26 16,-4 0-18-16,2 1-28 0,-5-2-10 0,8 1 8 15,-4 1-39-15,-4-2-28 0,9 1-16 0,-7 2-63 16,4-2-33-16,-4 1-93 15,-2-2-23-15,8 5-481 0,-6-1 115 0,3 0 31 0,-4 1 123 16,5 1 64-16</inkml:trace>
  <inkml:trace contextRef="#ctx0" brushRef="#br0" timeOffset="105829.15">24031 9044 908 0,'0'0'366'0,"0"0"-15"15,0 0-31-15,0 0-36 0,-9 16-25 0,4-9-27 16,0 2-32-16,-1 2-3 0,-1 2-15 15,0 1-39-15,-2 1 31 0,0-1-58 0,1 0 1 16,0 2-2-16,0-1-33 0,1-3 18 16,-1 1-23-16,0 0-92 0,5-2 12 0,-2 2-10 15,2-2 3-15,-1-3 5 0,1 1-5 16,1-2 2-16,2 0 5 0,-2 0-30 0,2-2 33 16,-1-3-15-16,-1 2 10 0,2-4 12 15,0 0 1-15,0 0-8 0,0 0 8 0,0 0 10 16,0 0-11-16,0 0 4 0,-6-9-4 0,2 3 24 15,2 2-8-15,-2-1-10 0,-1 0-13 16,0-1 18-16,-3 0 2 0,4 4 13 0,-3-2-22 16,0 2 1-16,2 1-9 0,-5-2 18 15,5 3-9-15,5 0-4 0,-16 4-3 0,9-2 16 16,-1 2-19-16,3-2 21 0,-1 3-10 0,2 0 13 16,1-2-14-16,0 3-12 0,1-1 3 15,2 0-3-15,2 1 0 0,1-3-3 16,2 2 9-1,5 1 14-15,-1-4-30 0,2 3 15 0,0-2-10 0,5 0 18 0,-1-2-8 0,1-1-3 16,0 0-4-16,0-1-9 0,1 1 11 16,0-3 72-16,4 0 13 0,-6-3-21 0,3 2-11 15,-3-1-4-15,3-1-18 16,-5 0 15-16,-3 0-3 0,3-1-12 0,-3 1 25 16,-1 1-17-16,-3-1-6 0,0 1 16 0,-1 2-19 0,0-1-25 15,-2 2 11-15,-3 2 25 16,2-4-23-16,-2 4-16 0,0 0 19 15,0 0-6-15,0 0 0 0,0 0-9 0,-15 13 6 0,13-12 16 16,0 3-25-16,-2 1 20 0,1-3-2 0,1 4-19 16,-1-4-33-16,3 3 34 0,0-1-6 0,0-4-35 15,0 9 0-15,3-6 15 0,-2-1 23 16,1 2-8-16,4-2-20 16,-2 0 15-16,1 2 10 0,2-3-12 0,-1-1 15 0,1 0-10 15,-1 0-8-15,-6 0 8 0,18 0-6 0,-8-1 32 16,-2 0-4-16,-1-2-14 0,3 1 22 0,-4 1-22 15,2 1 22-15,-2-1 8 16,-6 1-25-16,9-3 17 0,-2 3 9 0,-7 0-1 0,9 3 13 16,-7-1-28-16,0 0 15 0,4 2 5 0,-4-3-20 15,-2-1 17-15,4 6 11 16,-3 0-46-16,-1-5 0 0,0 5-26 0,3-2-4 16,-3-2-40-16,2 3-1 0,-2-1-34 15,0-4-57-15,4 8-125 0,-4-6-63 0,1 2-569 16,-1-4 87-16,0 7 53 0,0-5 172 0,0-2 14 15,0 5 45-15</inkml:trace>
  <inkml:trace contextRef="#ctx0" brushRef="#br0" timeOffset="106404.97">24319 9342 1272 0,'5'-4'335'0,"-4"1"-30"15,1-1 12-15,3-2-66 0,-2 4-3 0,-1-2-33 0,1-1-20 0,0 1-11 16,-1 0-13-16,3-1-27 0,-2 3 4 0,1-2-27 15,-4 4-11-15,3-4-28 0,0 1 2 16,-3 3-48-16,3-2-62 0,-3 2-15 0,2-5-18 16,-2 5-63-16,0 0-9 0,0 0-53 0,0 0-72 15,0 0-13-15,0 0 8 0,0-6-95 16,0 6-335-16,0 0 23 0,6 0 164 16,-6 0-16-16</inkml:trace>
  <inkml:trace contextRef="#ctx0" brushRef="#br0" timeOffset="106574.37">24402 9269 373 0,'5'0'231'0,"-5"0"-4"15,0 0 45-15,0 0-73 0,5 0 6 0,-5 0-10 16,0 0 22-16,0 0 85 0,0 0-38 16,0 0-8-16,4 7-28 0,-6-2-16 15,2-5-7-15,-5 7-44 0,3-1 3 0,0 0-26 0,-1 0-5 16,-1 0-12-16,0 2-16 16,0 2-6-16,-2-2-45 0,0 2-49 0,1-2-30 15,-2-1-57-15,1 2-95 0,1-2-150 0,0 1-544 16,-2 2 108-16,4-4 121 0,-2 0 25 15,2-2 64-15</inkml:trace>
  <inkml:trace contextRef="#ctx0" brushRef="#br0" timeOffset="106700.71">24433 9276 596 0,'2'-2'205'0,"-2"-3"-39"0,2 3-46 0,-2 2-76 0,3-6-54 0,-3 1-85 0,3 4-425 16</inkml:trace>
  <inkml:trace contextRef="#ctx0" brushRef="#br0" timeOffset="107246.79">24588 9210 883 0,'0'0'271'0,"0"0"-20"0,0 0-21 0,0 0 1 0,0 0-24 16,0 0-23-16,-10 7-15 15,10-7-20-15,-3 8 73 0,2-4-32 0,-1 0-9 16,1 2 4 0,-2 2-39-16,3 1-6 0,-2-2-12 0,2 3-15 0,0-1-3 15,0 0-20-15,-1 1 12 0,0-1-30 0,1 0 40 0,-1 1-27 16,1-1-14-16,-3 0 16 0,3-2-40 0,-2 1-1 0,1-1-3 15,1 0 24 1,-2-2-31 0,0 0 5-16,-1 1 22 0,2-3-22 0,-1 2 21 0,0 1-37 0,0-3 4 0,-1 1 9 15,2-1-5-15,-3 0 16 0,2 0-34 0,1 0 8 16,1-3-10-16,-5 5 18 0,5-5-3 16,-2 2-18-16,2-2 3 0,-3 4 5 0,3-4-8 0,-5 2 11 15,5-2-1-15,0 0-20 0,-1 3 3 16,1-3 12-16,0 0-2 0,0 0-18 0,-4 3 7 15,4-3-2-15,0 0 11 0,0 0-27 0,0 0 3 16,0 0-15 0,0 0-10-16,0 0-26 0,0 0 5 0,0 0 0 0,0 0-38 0,0 0 15 15,0 0-18-15,0 0 28 0,0 0-9 16,0 0 9-16,0 0 0 0,0 0 29 16,0 0-16-16,0 0 13 0,0 0 12 0,0 0-9 15,0 0 35-15,0 0-28 0,-6 0 3 16,6 0 18-16,0 0 2 0,0 0 13 0,0 0-26 15,0 0 8-15,0 0-15 0,0 0-8 0,0 0-15 16,0 0-54-16,0 0-33 0,0 0-44 16,0 0-64-16,0 0-46 0,0 0-90 0,0 0-373 15,0 0 133-15,0 0 0 0,0 0 13 16</inkml:trace>
  <inkml:trace contextRef="#ctx0" brushRef="#br0" timeOffset="108186.47">24624 9250 867 0,'-5'-5'256'0,"5"5"3"0,0 0-26 0,0 0-18 15,-7 9-23-15,4-7-13 0,-1 5-38 16,-2-1 74-16,3 0-34 0,-2 2 6 15,-2 1-23-15,1 0 0 0,3 0-23 0,-4 0-11 16,3 1-7-16,0-1-13 0,1-3-38 16,-1 1 28-16,1 3-31 0,3-3 2 0,-1 0-25 15,-1-1-17-15,2 0 9 0,0-1 0 16,2-2 8-16,-1 2-10 0,-1-2-8 0,5 0 13 16,-5-3-12-16,5 1 9 0,0 1-2 0,-5-2-13 15,0 0 18-15,16-3 2 0,-11 0-22 16,1 0 22-16,1-3 9 0,2 2-1 0,-1-1-13 15,0-4-81-15,0 2 12 0,-1 1-10 16,-1 4 36-16,-1-3 0 16,2 0-8-16,-4 3 13 0,2-3-10 0,-2 4 7 0,0-3 6 15,0 3-3-15,-3 1 0 0,0 0 2 0,0 0 1 0,0 0 4 16,0 0-22-16,0 10-5 0,-1-7-24 16,-1 3-30-16,-1-2 10 15,1 1-28-15,0-1-54 0,-2 2-131 0,4 0-94 0,-2 2-205 16,2-4-166-16,0 2 10 0,0-1 105 15,0-3 94-15</inkml:trace>
  <inkml:trace contextRef="#ctx0" brushRef="#br0" timeOffset="108474.61">24882 9204 962 0,'2'-8'322'0,"0"3"73"0,2 0-37 0,-4 1-30 0,0 4-29 0,0-2-43 0,0 2-2 16,0 0-29-16,0 0-23 0,0 0-18 0,-15 11-94 16,11-4-8-16,-2 0-8 0,-1 2 0 15,2 2-30-15,-3 1-11 0,0 1-12 0,0 3-19 16,2-2-12-16,-1 0-13 0,0 1-46 0,2-1-41 16,-1 1-90-16,2-3-25 0,0 1-82 0,-2-2 17 15,3 1-447-15,-2-3 10 0,3 2 108 16,-4-4 61-16</inkml:trace>
  <inkml:trace contextRef="#ctx0" brushRef="#br0" timeOffset="108721.68">24764 9417 993 0,'4'-6'340'0,"1"1"-17"0,0-1-34 0,3 3-5 0,0-1-15 16,0-2-41-16,-1 1-19 0,3 3 12 0,2-2-42 15,-1 0 10-15,0-1-20 0,-1 1-74 0,-2 4-8 16,3-3-15-16,-3 0 4 0,1 2 9 16,-2 0-21-16,-1 1-8 0,-6 0 44 15,11 2-41-15,-7 2 20 0,1-2-33 0,-2 3 13 16,-1 1 3-16,2 1-37 0,-2-2 1 16,-2 1-19-16,0 2-30 0,0-2-12 15,0-2-35-15,0 5-14 0,0-4-59 0,-2 2-72 0,1 0-128 16,-6-1-16-16,7-1-470 0,-1 0 51 15,0-3 133-15,-3 3 51 0,4-2 82 16</inkml:trace>
  <inkml:trace contextRef="#ctx0" brushRef="#br0" timeOffset="109360.36">25041 9304 883 0,'0'0'366'0,"-4"-9"-11"0,4 7-42 0,0 2-75 16,-2-5-44-16,2 5-12 0,-2-5-3 0,2 5-58 16,-4-1-50-16,4 1-40 0,0 0-26 0,0 0-31 15,0 0-22-15,0 0-52 16,0 0-8-16,0 0-9 0,0 0 7 0,4 12-13 0,-2-8 31 16,-2-1 17-16,5 2 40 0,-3-4 35 15,-1 4 28-15,1 1 8 0,-2-2 15 0,0 2 49 16,2-3-8-16,0 4 33 15,-4-1-5-15,4 0-2 0,-4 0 20 0,0 0-15 16,2 1-8-16,-2 0-22 0,0-1 4 0,1 2 5 16,-2-3-22-16,3 3 22 0,-2-5-33 0,2 4 21 15,-2-3-21-15,2 1-8 0,0-2 8 16,0-3-23-16,0 7 49 0,2-4-28 0,-2-3 33 16,2 3-21-16,-2-3 13 15,0 0 18-15,0 0-18 0,0 0 0 0,16-6 18 0,-12 5-23 16,-1-5-58-16,3 5-17 0,-1-4-9 0,-1-1 17 15,2 0 19-15,-3 3 2 0,4-1 20 16,-2-2-10-16,-2 2-12 0,0 1 7 16,3 0 79-16,-5 0 1 0,-1 3-8 0,7-1 15 15,-7 1 2-15,3-1-2 0,-3 1-7 0,0 0 2 16,0 0-13-16,10 5-15 0,-6-3-3 16,-2 1 0-16,0 2-25 0,1-1 12 0,-1 1-12 15,-1-2-49-15,3 1 28 0,-1 0-5 16,0 1-46-16,2-1-15 0,0-1-16 0,-2 1-61 0,2-2 0 15,0-1-64-15,2 1-21 0,-2 0-43 16,1-1-66-16,2-1-106 0,-1-2-115 0,0 3-489 16,0 0 131-16,1-1 61 0,1 3 95 15,-2 0 157-15,3-2 385 0,1 1 106 16,2 1 97-16,-3-2 30 0,-2 2 70 0,2-1 45 16,0-1 98-16,0 1 18 0,-2 0 13 0,0-1-97 15,-3-1-19-15,3 2-10 0,-8-2 3 16,10 1-18-16,-5-1-54 0,-5 0-15 15,5 3-84-15,-5-3-93 0,0 0-266 0,0 0-382 0,0 0-30 16,0 0 85-16,-21 1 63 16</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6:07:12.199"/>
    </inkml:context>
    <inkml:brush xml:id="br0">
      <inkml:brushProperty name="width" value="0.05292" units="cm"/>
      <inkml:brushProperty name="height" value="0.05292" units="cm"/>
      <inkml:brushProperty name="color" value="#002060"/>
    </inkml:brush>
  </inkml:definitions>
  <inkml:trace contextRef="#ctx0" brushRef="#br0">7626 3023 1382 0,'2'-4'476'15,"-2"-2"-41"-15,0 3-36 0,3-1-17 0,-3 4-47 16,0-6-30-16,0 6-1 0,0 0-43 0,0 0-12 16,0 0-22-16,8 16-32 0,-8-3-6 0,3 2-17 15,-3 4-6-15,2 1-10 16,-4 7-38-16,-1 1-10 0,3 0 22 0,-5 12-48 0,-1 0-28 16,2 2-11-16,-2-3-38 0,1-2-28 15,-3 0-56-15,6-7-8 16,-4-5-43-16,2 1-27 0,1-8-53 0,0 1-20 0,-1 0-105 0,1-5-95 15,0-1-26-15,3-3-424 16,0-1 73-16,0-4 75 0,0 0 115 0,3-2 39 0</inkml:trace>
  <inkml:trace contextRef="#ctx0" brushRef="#br0" timeOffset="267.64">7773 3121 921 0,'7'-21'484'0,"0"4"-47"0,-1 3 27 0,-2 2-111 15,0 1-33-15,0 3-15 0,-3 2-6 16,1-1-25-16,1 2-21 0,-1 1-30 0,-2 4 0 16,0 0 5-16,0 0 35 0,5 16-32 15,-5-3-6-15,0 3 0 0,-2 2-7 0,2 8-129 16,-3 0-32-16,-2 2 19 0,2 12-24 0,-4 1-17 16,2 0-14-16,-3-1-29 0,3-2-12 15,-2-1-37-15,1-8-14 0,1-4-39 0,0 0-44 16,0-4-5-16,-1 2-35 0,4-3-44 0,-3-2-82 15,2-1-108 1,1-3-524-16,-1-2 107 16,-2-3 49-16,5 1 64 0,-2-4 92 0</inkml:trace>
  <inkml:trace contextRef="#ctx0" brushRef="#br0" timeOffset="684.76">7554 3391 860 0,'0'6'373'16,"-2"4"-25"-16,-3 0-35 15,4 5 45-15,-1 3-48 0,2 3 2 0,0 2-43 16,0 3-36-16,0 4-23 0,0-5-26 0,0 3-61 16,2-2-41-16,1-2 7 0,2-1 1 15,0 0 10-15,-1-7-13 0,5 0 59 0,-4-3-21 16,3-1 80-16,0-5 12 0,2-1-4 0,-2-3-8 16,2 0-67-16,3-3-28 0,0-3 10 15,2 0-5-15,3-6 11 0,-1 1-21 16,2-4-3-16,-1 0 13 0,2-1-15 0,-4-2-31 0,7-7 16 15,-2 0-14-15,-1 3-4 0,-2-5-18 16,3 0-8-16,-4 4-62 31,-4 2-2-31,2 1-61 16,-5 3-50-16,4 0-24 0,-4 2-57 0,0 0-57 0,0 1-37 0,1 4-160 0,-4 0-539 0,4 2 125 0,-1 0 30 16,-3 1 134-16,1 0 77 0,2-1 66 0,-2 3 94 0</inkml:trace>
  <inkml:trace contextRef="#ctx0" brushRef="#br0" timeOffset="1005.95">8421 3147 947 0,'-5'-3'407'0,"5"3"-47"0,0 0-22 0,0 0-10 0,0 0 15 0,-8 10 8 16,5-2-24-16,3 1-7 0,-2 4-133 15,0 3 3-15,-4 4-34 0,1 4-13 0,-2 10 13 16,-1 1-38-16,0-1-16 0,3-3 19 16,-1-4-24-16,-1-1-13 15,4-1-17-15,-4 1-44 0,4-4-13 0,-2-1-25 0,2-2-52 16,-1-1-50-16,1-5-14 0,3 1-48 0,-3-1 7 0,3-2-63 15,0-2-83-15,-2-4-50 0,4 2-502 16,-4-1 73-16,4-2 106 0,-2-2 113 16,0-2 17-16</inkml:trace>
  <inkml:trace contextRef="#ctx0" brushRef="#br0" timeOffset="1494.06">8449 3203 1118 0,'13'-9'415'0,"-3"2"-18"15,1 2-44-15,-4 0-28 0,1 4 18 0,-1 1-49 16,1 1-10-16,-3 1-30 0,0 2-19 0,-5 0 60 16,1 3-1-16,-2 2-46 0,-4 1-28 15,-2 2-23-15,-3 2-2 0,-1 4-3 0,-4 0-51 16,-4 7 5-16,5-5-16 0,3-3-7 0,-4 3-21 16,4-2-27-16,-1-2 14 0,4-2-9 15,-2-2-22 1,2 0-27-16,3-2 23 0,-2-1-13 0,4 0 0 0,-2-1 31 0,2-2-42 15,3 2 16-15,-2-3-10 16,4 1 31-16,-2 0-16 0,3-2 15 0,-1 2-19 0,3-3-22 16,0 2 34-16,1-1-10 0,1 0-3 0,1-1-13 15,-1 0 13-15,1 0-20 0,2-1 25 0,-2 0-59 16,0 0 44-16,2-1-10 0,-2 0-67 16,-1 0-8-1,1 0-7-15,0 2-83 0,0-3-22 0,-3 0-59 0,3 1-31 0,-4 0-30 0,-4-1-85 16,10 0-169-16,-4 0-499 15,-6 0 112-15,10 0 90 0,-10 0 59 0,8 0 90 16,-8 0 68-16,7 0 80 0</inkml:trace>
  <inkml:trace contextRef="#ctx0" brushRef="#br0" timeOffset="2569.41">8793 3345 1315 0,'-3'-3'417'0,"3"3"-17"0,-5-4-39 0,5 4-49 0,-5-1-23 0,5 1-35 0,-13 1-14 16,5 1-38-16,1 3-7 0,-1 0-6 15,-2 2-27-15,-1 0-32 0,2 2-4 0,-2 1 4 16,1 1-17-16,0 0-19 0,2 1-22 15,0-1 7-15,0-1-9 0,3 2-4 0,0-4-58 16,0 3 61-16,3-3-8 0,-1 0-53 0,2-1 13 16,1 0-1-16,1 0 13 0,2-2-5 0,1-1-17 15,-1 0 25-15,2-1-8 16,0-2 2-16,1 1 42 0,1-2-41 0,-7 0 48 0,15-5-15 16,-7 1 49-16,-2 1-11 0,1-1 13 15,1-2-38-15,-1-1 38 16,-2 1-43-16,3-2 38 0,-2 1-15 0,-1-2 76 31,2 2-25-31,-2 0 8 0,0 0-29 0,-2 1 11 0,3-1 2 0,-2 3-23 0,-1-3-5 0,2 3-74 16,-3 0-31-16,1 0 44 0,0 2-31 0,-1-1-21 15,0-1 21-15,-2 4-13 0,4-4 18 16,-4 4-25 0,2-2-8-16,-2 2-14 0,2-4 32 0,-2 4 18 0,0 0-49 0,0 0 30 0,0 0 6 15,6 7-15 1,-4-3 20-16,-2-4-6 0,1 8-22 0,1-4 8 0,0 0 9 0,-2 0 1 15,3 3-18-15,-1-2-42 0,1 0 22 0,-1 1 37 16,1 0-37-16,0-2 22 16,-1 1-41-16,1-1 55 0,2-1-30 0,-2 2-4 0,2-3 18 15,-1 0 20-15,-1 0-12 16,3 0 12-16,-2-1-20 0,-4-1 2 0,11-1 21 0,-11 1 10 16,10-2-23-16,-5 0 15 0,-2 0-4 0,2 0 9 15,-2-3 16 1,2 3 2-16,-2-2-2 0,1 0-28 0,-1 0-11 0,0 0 31 0,1 0 16 15,-1 3-42-15,-2-3 32 16,3 1-9-16,-4 3-4 0,2-4-42 0,-2 4 16 0,0 0 26 16,6-3-34-16,-6 3 5 0,0 0 21 15,0 0 13-15,0 0-32 0,0 0 29 0,10 7-28 16,-10-4 13 0,2-1-34-16,1 2 32 0,-3-4-17 0,5 6 27 0,-2-4-19 0,2 1-2 15,-2-2 8-15,2 1-19 0,-5-2 47 0,10 0 76 16,-3-1-60-16,-7 1-47 0,11-2 0 0,-5-1 0 15,1 1 0-15,0-1 0 16,1-1 0-16,-2-1 0 0,1 2 0 0,-2-1 0 0,3 0 0 16,-3 1 0-16,0-1 0 0,0 2 0 0,-2-2 0 15,2 2 0-15,-5 2 0 0,5-3 0 0,0 2 0 16,-5 1 0-16,5-1 0 0,-5 1 0 16,5-1 0-16,-5 1 0 0,0 0 0 15,0 0 0-15,9 5 0 0,-5-2 0 0,-1 1 0 16,2 2 0-16,0 0 0 0,-2 1 0 0,2 0 0 15,2 1 0-15,-1-2 0 0,1 1 0 16,1 0 0-16,-3-1 0 16,0-1 0-16,1 1 0 0,1-2 0 0,0-2 0 0,-1 1 0 0,2-2 0 15,-1-1 0-15,1 0 0 0,2-3 0 0,-2 1 0 16,2-3 0-16,0 2 0 0,-2-2 0 16,0-1 0-16,-1 1 0 0,1-2 0 15,0-1 0-15,0 2 0 16,-3-4 0-16,2 2 0 0,-2 1 0 0,1 1 0 0,-2-3 0 0,0 1 0 15,0 2 0-15,-1 1 0 0,0-2 0 0,1 2 0 16,-3 1 0-16,1 0 0 0,1 1 0 16,-3 3 0-16,0-5 0 0,0 5-326 15,-3-6-47-15,3 6-19 0,0 0-69 0,0 0-115 16,-10 1-532-16,10-1 102 0,0 0 133 0,-7 5 72 16,7-5 74-16,-4 2 39 0,4-2 68 0</inkml:trace>
  <inkml:trace contextRef="#ctx0" brushRef="#br0" timeOffset="2945.14">9669 3139 1338 0,'-2'-5'407'16,"2"5"13"-16,0 0-33 0,0 0-39 0,0 0-31 16,0 0-7-16,-2 11-44 0,1-3-33 0,1 2-8 0,0 0 46 15,-2 2-20-15,2 2-5 16,0 0-54-16,-3-1-38 0,3 0-52 0,0 2-33 15,-3-2-69-15,3 2-38 16,0-1-37-16,0-1-53 0,0-1-38 0,0 0-87 0,1-1-221 0,1-4-452 16,-2 1 68-16,3-1 80 0,-1 0 112 15,1-2 70-15,-1-1 43 0</inkml:trace>
  <inkml:trace contextRef="#ctx0" brushRef="#br0" timeOffset="3296.37">9675 3115 1133 0,'8'-15'428'0,"-4"0"15"16,4 5 0-16,0-1-36 0,2 3-31 15,0-1-20-15,3 2-42 0,0 1 4 16,3 0-83-16,1 3 47 0,1 3-47 0,3 1-14 15,0 2 22-15,-1 2-49 0,1 5 39 0,1 0-46 16,-1 4-41-16,-3-1 38 0,-3 2-107 0,-5 2 2 16,1 3-2-16,-8-3 5 0,-1 2 18 15,-5-1-31-15,-4 3 3 0,-4 0-19 16,-7 7 42-16,0-3-56 0,-2 0 27 0,-3-3-10 16,3-5-7-16,1 0-16 0,1-4-10 15,1-1-5 1,1-3-51-16,1 1-16 0,-1-5-25 0,4 2-38 0,-1-5-57 15,5 2-49-15,-2-4-33 0,4 0-64 0,-1-3-130 0,-1 2-146 0,6-3-461 16,1-1 138-16,2 1 92 0,1-2 72 0,3 0 64 16,1-1 69-16</inkml:trace>
  <inkml:trace contextRef="#ctx0" brushRef="#br0" timeOffset="4301.42">10226 3262 895 0,'0'0'305'0,"0"0"-23"15,0 0-1-15,5-3-10 0,-5 3 8 0,0 0-120 0,0 0 2 16,3-2 26-16,-3 2-25 0,0 0 40 15,4-3 33-15,-4 3 3 0,0 0 18 0,3-4-36 16,-3 4-10-16,0 0 13 0,0-4-44 0,0 4-10 16,0 0 0-16,0 0 3 0,-7-5-21 15,7 5 17-15,0 0-34 0,-10-1-17 16,10 1-25-16,-9 1 13 0,9-1 11 0,-10 0-40 0,5 3 6 16,0-2 10-16,0 0-28 0,-3 3-12 15,1-2 4-15,1 3-20 0,1-2 33 16,-2 2-49-16,4-1 32 0,1-2-27 0,-1 2-4 15,-2-1-14-15,5 0-9 0,0-3-14 0,-2 7-22 16,2-7 53-16,0 3-12 0,0-3-6 16,4 3 1-16,-4-3 17 0,6 2 3 15,-6-2-43-15,10-1 22 0,-10 1 0 0,13-4 3 0,-8 2 6 16,2 1 17-16,-1-3-41 16,-2 3 20-16,2-1 8 0,-1-1-30 0,0 3 15 15,-5 0-11-15,8-3 14 16,-8 3 2-16,7 0 0 0,-7 0-28 0,6 3 20 0,-2-2 3 15,-4-1 5-15,6 4-21 0,-4-1-7 0,4-1-23 16,-4-1 20-16,3 3-2 0,0-3-10 0,3 0 9 0,0-1 19 16,-1 0-8-16,1-1-13 15,2 0 31-15,1-3 54 0,1-1-24 0,2 0 37 16,-4-2 7-16,2 0-62 16,1-1 22-16,0-2 6 0,0 1 6 0,-3-3-18 0,0 0 21 15,1-2 40-15,-1-2-22 0,-2 1 33 0,-1-4-11 16,3 0 26-16,-2 1-46 0,-3 1 33 15,3 2-45-15,-3 0-27 0,-3 2 75 16,4 0-49-16,-2 3-28 0,-3 1 44 0,2 2 51 16,-1 0-34-16,-2 3 23 0,0 2-17 15,0 2 33-15,0 0-120 0,0 0-3 0,-10 15 0 0,4-4 0 16,2 2 0-16,1 0 0 0,-4 3 0 16,4 2 0-1,-2-3 0-15,2 4 0 0,3-2 0 0,2-2 0 0,-2 2 0 0,1-3-67 16,1 1-56-16,1-1-18 0,0-2-20 0,4 0-21 0,-2-3-10 15,0 2-18-15,3-5-23 0,0 1 1 16,0-2-47-16,2-2-36 16,-2 0-51-16,2-2-154 0,0-1 16 0,0 0-415 0,0-1 10 0,-2-1 139 15,0-2 94-15,1 1 51 0,-3 1 93 16</inkml:trace>
  <inkml:trace contextRef="#ctx0" brushRef="#br0" timeOffset="4522.96">10397 3150 1121 0,'-7'0'340'0,"2"-3"103"0,5 3-59 16,-5-1 0-16,5 1-41 0,0 0-36 0,0 0-38 15,0 0-11-15,0 0-4 0,0 0-11 16,20-3-10-16,-9 0-16 0,1 3-7 0,3-1-36 16,1 0-7-16,2 1 7 0,5-2-26 0,0 0-15 15,1 2-28-15,-2-1-5 0,1 0-36 0,1 0-46 16,-4-1-49-16,1 1-28 0,-1 1-53 15,-2 1-37-15,-1-1-20 0,-1 2-61 16,-1-1-77-16,-1 1-126 0,1 0-488 0,-2 1 66 16,-6-3 95-16,3 4 56 0,0-3 87 15,-2 2 33-15</inkml:trace>
  <inkml:trace contextRef="#ctx0" brushRef="#br0" timeOffset="4907.37">10926 3143 1405 0,'0'-5'366'0,"0"5"2"0,-2-5-19 0,2 5-35 15,-3-4-27-15,3 4-28 0,-10-1 12 0,10 1-54 0,-14 3 4 16,7 0-29-16,-1 2-6 16,0 0-6-16,-2-2 76 0,0 3-54 0,0 0 3 15,0 1-29-15,0 0-9 16,1 2 2-16,1-1-57 0,-2-2-2 0,6 1-23 0,-2 1-33 0,2-1 7 15,3-3-35-15,-1 2 0 0,4-2 20 16,-1-1-5-16,6 0-8 0,-2-2-5 16,5-2-18-16,0 1 11 0,1-1-11 0,1-2 5 0,2 0-79 15,1 0 39-15,0 0 12 0,-2 0-2 16,0 0 7-16,2 0 23 16,-4 1 19-1,-1 2 7-15,0-1 5 0,1 3-16 0,-1 1-7 0,2-1 0 0,-2 3 0 0,1 1-5 0,-3 1-28 16,2-1-13-16,-2 1-38 0,0 1-44 15,-1 0-34-15,1 0-32 16,1 1-41-16,-3-2-27 16,2 2-73-16,-1-1-113 0,-1 0-53 0,1 1-469 0,-2-2 71 0,1-2 221 15,-1 0-26-15,0-1 49 0,0 1 71 16</inkml:trace>
  <inkml:trace contextRef="#ctx0" brushRef="#br0" timeOffset="19300.68">8183 7433 742 0,'2'-2'327'0,"-2"2"-63"0,2-4-28 16,-2 4 12-16,0 0-31 0,0 0-40 0,0 0 7 15,-2 12-12-15,-3-6-39 0,2 4-10 16,-2-1 2-16,-2 3-15 0,-1 1-10 0,0 0-51 16,-2 6-18-16,-1-2-57 0,-3 2-48 15,3 0 5-15,-2 0-47 0,0 0-65 16,1-1-11-16,1 2-85 0,-1-1-253 0,-2 3-156 16,4-3 69-16</inkml:trace>
  <inkml:trace contextRef="#ctx0" brushRef="#br0" timeOffset="19631.05">8316 7527 967 0,'-8'9'292'0,"1"4"-44"0,-6 4-25 16,0 2-23-16,-8 9-19 0,1-3-45 16,-1 6-29-16,-4-1-66 0,4-2-51 0,-4 2-21 15,1 1-74-15,1-2-15 0,1-2-136 16,1-1-422-16,3-2 69 0,0-4 56 0</inkml:trace>
  <inkml:trace contextRef="#ctx0" brushRef="#br0" timeOffset="19936.93">7887 7626 1057 0,'-7'10'312'0,"7"2"-41"0,-5 4-7 0,2 6-11 0,-2 4-38 0,5 2-30 0,-2 1-11 16,2 3-28-16,2 7-8 0,4 1-10 0,6-6-21 15,4 1-15-15,4-7-15 0,5 0-20 16,4-7 4-16,4-3-20 0,6-6-26 0,7-5-17 16,0-1-60-16,10-8-30 0,16-4-38 0,5-6-32 15,0-4-91-15,0-4 7 16,0 1-486-16,0-3 102 0,-6-1 29 0,3-2 45 31</inkml:trace>
  <inkml:trace contextRef="#ctx0" brushRef="#br0" timeOffset="24157.39">20551 4512 1077 0,'-4'-4'274'0,"4"4"-33"15,0 0 2-15,-7-2-38 0,7 2-21 16,0 0-20-16,0 0-18 0,0 0-13 16,0 0-5-16,14 8-3 0,-10-5-28 0,4-1-15 15,0 3 21-15,0-2-29 0,4 2 10 0,1-1-12 16,1 0-5-16,2 2-9 0,2-1-11 0,1 0-22 16,1 1 80-16,3-4 0 0,-2 3-3 15,5-4-22-15,-2 3-24 0,0-3 16 16,-1-1 2-16,3-1 8 0,2-4-18 15,4 2-21-15,-2-1-4 0,8-6 9 0,0 2-4 0,-9-3-31 16,4-1 20-16,-5 1 8 16,-5 1-31-1,9-8 21-15,-7-1-11 16,1 0-12-16,-1-6 13 16,-1 0 4-16,-4-3-12 0,1-4-13 0,-4-2 10 0,-2-4-15 0,1-12 26 0,-9 6-24 15,5-11 34-15,-8 8-36 0,-4-1-18 0,-2-1 15 0,-6-8-2 0,-5 2 5 0,-1 1-3 16,-8 3 8-16,-4 0 5 0,-5 3 8 0,-4 5-21 15,-4 2-7-15,-4 4 10 16,-6 5 2-16,-5 4-12 0,0 3 12 0,-5 4 24 0,-5 7-19 16,-3 2 1-16,-4 8 12 0,-4 4 13 15,1 9-18-15,3 6-7 0,3 9 7 16,3 3 6-16,2 6-11 0,7 4 13 0,2 5 5 16,8 4-13-16,6 3-2 0,8 1 20 0,7-1-26 15,7 5 26-15,10-10-30 0,5 2-1 0,6-2 16 16,7 1-26-16,8 8-12 15,5-4-6-15,8-2-82 16,5 0 1-16,7-7-29 0,6 2 13 0,5-5-38 0,-1-3-21 0,1-3-87 0,1-1-82 16,-4-6 34-16,2 0-459 15,0-5 77-15,-10-5 54 16,-2-3 102-16</inkml:trace>
  <inkml:trace contextRef="#ctx0" brushRef="#br0" timeOffset="25876.41">21021 6951 732 0,'-1'5'309'16,"1"-5"-45"-16,0 7-16 0,1-3-12 15,1-1-88-15,5 2 1 0,-2 0 22 0,5-1-45 16,3 0-11-16,0 1 8 0,5-4 10 16,2-1-31-16,4 0 18 0,1 0-15 0,6-5-20 15,13 0 76-15,-1-2-10 0,2 0-20 16,-2-2 2-16,0-3-31 0,1-4 3 0,-1 2-3 15,6-7-4-15,-3-3-21 0,2-2-6 32,-1-2 6-32,-4-5-3 0,1-5-28 0,-6-4 3 0,0-8-16 0,-5-1-5 0,-6-6 18 15,-1-5-46-15,-6-4 0 0,-2-4-23 0,-5-5 8 16,-3 5 10-16,-7 1-5 0,-6 2 22 0,-9 3 4 16,-9 7-11-16,-7 4-2 15,-8 7 4-15,-6 5-7 0,-6 7 21 0,-4 10-21 0,-9 4-3 16,-3 8 13-16,-5 6-7 0,-4 9 10 0,0 7 2 15,-2 9-12-15,1 6 22 0,2 4-17 16,-10 17-6-16,5 10 9 16,8 4-16-16,7 6 20 15,9 3 3-15,14-9-16 0,5 4 11 0,9 1-10 0,5 3-1 16,10 0-2-16,4-1-5 0,10 2-20 0,5-7 9 0,9-1 3 0,5-3 26 16,5-4-43-16,3-2-17 0,7-7-6 0,-1-1-24 15,6-7-13 1,1 0-25-16,-1-6-51 0,3-5-70 15,-10-4-86-15,1-3-495 0,-2-4 85 0,-1-2 72 0,-2 0 40 0,-5-4 42 16</inkml:trace>
  <inkml:trace contextRef="#ctx0" brushRef="#br0" timeOffset="27437.59">17535 8620 1026 0,'3'6'299'0,"5"-1"-17"0,0-1-26 16,2-1-21-16,2 3-30 0,1-5 3 15,8 4-37-15,-3-3-10 0,5 0-25 16,0-2-13-16,2-4-13 0,4 4 10 0,1-6-20 16,11-1-18-16,1-4 15 0,-1 2-35 15,0-3-1-15,0-2 6 0,0-2-16 0,-1-2-3 16,1-1-22-1,6-6 15 1,-1-1 10-16,-2-4-28 0,-3 0 3 0,-2-2 10 0,-1-6-26 16,-3 2-79-16,-1-4 25 0,-3-3 3 0,0-1 0 0,-6-1 6 0,-2-3-6 0,-5-3 46 0,-2 0-16 15,-9 3 22 1,-4 1 4-16,-6-2 6 0,-7-8 17 0,-3 2-10 0,-8 2 8 16,-7 6 18-16,-5 4-6 0,-6 6 19 0,-7 5-18 15,-5 7-9-15,-3 6-6 0,-5 4 2 16,3 10-16-16,0 2 8 0,-2 6 16 15,-9 4-21-15,2 6-10 16,3 1-16-16,6 4 6 0,5 1-29 0,4 6-35 0,11-7-11 16,0 7-13-16,3-2-17 0,3-1-16 15,3-2-30-15,3 2-31 0,8-4-106 0,3-6 12 0,3 0-523 16,2-1 94-16,0 0 57 0,3-4 64 0</inkml:trace>
  <inkml:trace contextRef="#ctx0" brushRef="#br0" timeOffset="27882.77">17011 7519 529 0,'17'-6'231'0,"3"-1"-39"0,1 0-11 0,2-4-6 15,12-3-24-15,-1-3 0 0,4-2 5 0,-1-2-46 16,-1-2-13-16,7-2 16 0,-5 4-16 0,-5-3-7 16,6-6-27-16,2 0-4 0,-10 4-5 15,2-11 5-15,-2-3-21 0,-3-3 3 0,-7-4-7 16,-4-3 4-16,-6-6-12 0,-1-3-3 0,-4-3-5 15,-9-5 5-15,-2 1-8 0,-5-2 8 16,-6 2-20-16,-2 2 9 0,-5 2 4 16,-2 7 12-16,-4 5 3 15,-7 9 4-15,-2 5-17 0,-10 5-5 16,-2 7 23-16,-4 6-5 0,6 8 10 0,-4 4-11 0,-1 4-25 0,1 6 11 16,1 3 2-16,-10 6 18 0,4 5 2 0,1 5-10 0,4 1-12 15,4 1 12-15,2 2 2 0,7 3-12 16,8-4-23-16,3 1-28 15,5 2-8-15,5-2-33 0,3-3-34 16,8-4-53-16,3-2 12 0,2 1 1 0,4-3-95 0,2 0-448 16,0 1 7-16,6-4 139 0</inkml:trace>
  <inkml:trace contextRef="#ctx0" brushRef="#br0" timeOffset="28491.29">16882 5587 404 0,'23'-4'169'0,"0"-3"-21"0,3 0 24 16,9-4-21-16,4-3-21 0,5 0-2 15,9-7-2-15,-2-2-37 0,1-4 24 0,-1 1 0 16,3-1-29-16,-3-4 6 0,0 0-29 0,0 0 1 15,-4-5-14-15,2-1 1 0,-3-1 5 16,0 0-11-16,-5-5 29 16,0 2-18-16,-3-2-19 0,-4-1 22 0,-4-4-24 0,1 3 8 15,-3 0-5-15,-4-4-29 16,-4 1 16-16,-2-3 24 0,-5 10-19 0,-2-3-3 0,-7 0-22 0,-1-1 92 16,-3 1 2-16,-5-1-26 0,-1-2 14 15,-7-6-11 1,-3 1-7-16,-8 0-6 0,-2 6-2 0,-5 2-8 0,0 3 6 0,-4 8-9 15,1 9-7-15,-2 3-2 0,-4 3-4 0,-4 7 6 16,0 5-7-16,-7 1-6 0,-3 10 5 16,-13 7-7-16,-4 8-6 0,1 4 6 15,-4 8-8-15,-11 11 7 0,1 5-2 0,4 6 16 16,1 2-14-16,5 3 1 0,6 3-8 16,5-3-16-16,16-11 9 0,4 2-19 0,5-1-5 0,4 2-23 15,4-1-10-15,6-4-33 16,9-6-11-16,3-1-33 0,4 1-66 15,5 1-57-15,3-9-40 0,5 7-485 0,3-1 85 0,4-3 38 16,1-3 50-16</inkml:trace>
  <inkml:trace contextRef="#ctx0" brushRef="#br0" timeOffset="37827.68">21482 9050 1121 0,'0'-2'437'0,"2"-3"-25"15,-2 0-104-15,0 5-45 0,0-7-9 0,0 5-19 16,0 2-7-16,0 0-28 0,0-7-21 16,0 7 33-16,0 0-20 0,0 0-18 0,0 0-15 15,-2 20-11-15,2-8-25 0,0 3 0 0,0 1 79 16,0 4-28-16,-1 0-35 0,1 4 40 15,-3 2-133-15,-1 12-15 0,2-6-11 0,1-3 11 16,-2-2 2-16,3 2-12 0,-2-2-37 31,0-2-20-31,1 0-22 0,-4 1-19 0,5-4-21 16,-2-4-4-16,2 1-41 0,-1-4-47 0,0-3 1 0,1 1-88 0,-1-1-76 0,-1-1 20 0,2-3-150 16,-3-2-331-16,3-1 71 0,3-1 83 15,-3-1 56-15</inkml:trace>
  <inkml:trace contextRef="#ctx0" brushRef="#br0" timeOffset="38090.33">21607 9109 972 0,'0'-3'425'0,"0"-1"-33"0,0 4-16 0,0 0-53 16,0 0-1-16,0 0-17 16,7 15-47-16,-4-6-25 15,-1 4-20-15,0 4-98 0,0 2-8 0,0 0-4 0,-2 1-14 0,0 3-17 16,0 3-23-16,0 2-32 0,0-7-29 0,0 3-17 0,0 3-37 16,-2-3-31-16,1 2-72 0,0-6-64 15,-1 2-49-15,-2-5-48 0,2 2-489 0,1-2 89 16,-2-1 88-16,1-3 86 0</inkml:trace>
  <inkml:trace contextRef="#ctx0" brushRef="#br0" timeOffset="38495.71">21337 9363 1131 0,'6'13'328'16,"-4"-4"-3"-16,1 0-41 15,0 3-23-15,1 5-13 0,-1-2-46 16,3 3-12-16,3 1-14 0,0 0-4 0,-2-3-13 0,3 0-19 0,0 0-17 15,4-2 21-15,0 2-37 16,0-6 36-16,1 1-35 0,1-4-11 0,1-1 3 16,1-2-31-16,-2-2 8 0,4-2-8 0,1-1-15 15,2-4-24-15,2 0 4 0,0-4-1 16,9-4-41-16,-2-2 13 0,-5 4-45 0,-6-1-12 16,0 1 24-16,-1 0-74 15,-3-1-3-15,3 2-10 0,-6 1-100 0,-1-1-75 0,2 1-58 16,-7 1-417-16,5 2-13 0,-6-2 92 0,1-1 112 15,0 4 1-15</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1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6:08:57.775"/>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C00000"/>
    </inkml:brush>
  </inkml:definitions>
  <inkml:trace contextRef="#ctx0" brushRef="#br0">7944 1990 1561 0,'0'0'456'16,"0"0"-34"-16,0 0 10 0,5 9-45 16,-2 0-21-16,-3 0-36 0,3 3-18 0,-1 6-25 15,0 2-33-15,1 0-21 0,-1 7-6 16,-2-1-1-16,1 4-37 0,-1 0-23 0,2-2-35 0,-4 2-21 15,2-1 13-15,-1 0-21 0,-1 0-28 16,2-2-15-16,-3 1-28 0,3-8-33 16,0 2-29-16,0-3-26 0,-2-1-4 0,2-2-18 15,-2-2-24-15,1-4 6 0,1 0-105 0,0 0-29 16,-2-5-42-16,2 1-1 0,0-3-174 0,0-3 43 16,0 0-457-16,0 0 7 0,0 0 112 15,5-12 63-15,-5 5 60 0</inkml:trace>
  <inkml:trace contextRef="#ctx0" brushRef="#br0" timeOffset="407.91">7911 1965 1185 0,'17'-9'430'0,"4"4"-26"0,0 1-58 0,-1 4-19 0,3 2-35 0,3 2-3 16,2 3-22-16,8 3 45 0,0 3-41 16,0 0-30-16,0 3-100 0,-3 0-16 0,-2 1 8 0,-1 0-41 0,-4 4 0 15,-3 2 6-15,-7-4-11 0,-6 1 7 16,-3 1-25-16,-1 1 21 0,-6-1-21 15,-3 4 0-15,-7 11 13 0,-5 0 10 0,-4-1-23 16,-1-3-7-16,-9 9 12 0,-1-4-5 0,-1 0-15 16,-2-2 2-1,-6-1 24-15,7-8-47 0,-3-2 28 0,-5 4-15 0,4-6-20 16,2-1-41-16,2-5-24 0,1 0-17 0,5-5-16 0,8 0-66 16,-3-6-31-16,8-2-54 31,-1 2-25-31,3-2-169 0,-5 0-82 15,8-1-464-15,1-2 144 0,0 0 41 0,7 0 74 0,-8 0 100 0,8 0 31 0</inkml:trace>
  <inkml:trace contextRef="#ctx0" brushRef="#br0" timeOffset="1348.01">18346 1804 1126 0,'0'0'412'0,"0"0"-10"0,0 0-36 16,0 0-21-16,0 0-20 0,20-4-10 15,-7 1-56-15,3 2-1 0,4-3-20 0,3 1-25 0,0 1-19 16,8-2-20-16,-3-1-23 0,16-1-17 15,-3-1-30-15,0 0-11 0,0 0-19 16,5-3-36-16,0 4-43 0,0-1-31 0,1-1-25 16,-2 0-29-16,0-1-38 0,-5 0-56 15,-1 0-39-15,-9 3-81 0,-5-3-85 0,-8 3-489 16,-1 2 97-16,-4 1 90 0,-2 0 102 16,0 1 11-16</inkml:trace>
  <inkml:trace contextRef="#ctx0" brushRef="#br0" timeOffset="1558.81">19041 1765 1149 0,'-6'15'427'15,"4"-2"-117"-15,-1 1-5 0,2-1-26 0,1 1-31 16,0-1-28-16,1 1-13 0,-1 1-20 16,0-1-20-16,5 3-1 0,-2-1-23 0,0 2-2 15,1-6-36-15,-1 2-46 0,2-1-18 0,-4-1-39 16,3-1-50-16,-4-2-49 0,0 1-57 15,0-1-120-15,-4-1-102 0,1 0-407 16,-2-1 30-16,2-1 108 0,-7-1 66 0</inkml:trace>
  <inkml:trace contextRef="#ctx0" brushRef="#br0" timeOffset="1779.04">18764 2084 1305 0,'12'-2'328'0,"1"0"-21"0,3 0 31 0,6 0-39 0,7-2-35 16,2 1-13-16,15-4 7 0,0 4-17 0,5-2-34 16,1 1-33-16,1-2 0 0,-1 1-10 15,1-1-39-15,3 1 67 0,-7 2-48 16,0-1-24-16,-5 0-35 16,-10 1-19-16,-7 1-45 0,-5-1-19 0,-8 2-56 0,-3-1-40 0,-1 1-29 15,-3-1-28-15,-6 0 0 0,-1 2-82 16,0 0-77-16,-11-7-563 0,-2 5 87 15,-4-2 47-15,-10 0 94 0,-21-2 76 0</inkml:trace>
  <inkml:trace contextRef="#ctx0" brushRef="#br0" timeOffset="2783">13092 1654 688 0,'1'-2'241'0,"-1"2"-3"0,0 0-26 0,0 0-30 0,0 0-23 0,2 13 4 16,0-8-32-16,-2 4-13 0,3 1-13 16,-3 2-16-16,3 1-17 0,-1 8-26 0,1 3-28 15,4 13-16-15,-1 4-25 0,-1 1-41 0,0 5-40 16,0-1-88-16,-3 3-52 0,4 11-408 15,-2 3 9-15</inkml:trace>
  <inkml:trace contextRef="#ctx0" brushRef="#br0" timeOffset="5495.63">13128 2106 775 0,'0'0'279'0,"0"0"-69"0,0 0 18 0,0 0-18 0,0 0 5 16,0 0-16-16,0 0-101 16,0 0-4-16,0 0-9 0,0 0 12 0,0 13-23 0,0-13-2 15,0 6 15-15,0-1-28 0,0-1 61 0,0 1-5 16,0 2 8-1,3 0-2-15,-6-1-17 0,6 3-32 0,-3 1 25 0,2 1-22 16,-2 2-1-16,0-1-23 0,0 3 8 0,3 1-10 16,-3 2-3-16,2 2 5 0,1 0-15 15,-3 2 0-15,0 3-19 0,3-1 1 0,-1 2 13 16,-2 1-18-16,2-1 0 0,2 0 7 16,-4 4-10-16,0-1 3 0,2-1-10 0,-2 1 15 15,2 1-8-15,-2-2-8 0,0 1 19 16,3-1-18-16,-3 0 7 15,0 0 18-15,0 2-23 0,3-1-10 0,-6 0 18 0,3 1-1 0,0-1-4 16,0 2 15-16,0-3-18 16,0 2 3-16,0 0-3 0,0-1 10 0,0-2-22 15,0 0 9-15,0 3-2 0,0 0-18 0,-3-2 31 16,3 1-15-16,0 1-6 16,3 1 13-16,-3-1 10 0,0 1-15 0,0-1 0 0,0 10 16 15,3-7-11-15,-3-3-2 0,0 1-14 0,2-2 16 16,-2 12-23-16,2-8 18 0,-1-4-7 0,1 2 7 15,-2 0 0-15,3 8-18 0,-3 0 26 16,2-4-11-16,-1 5 0 16,1 1 3-16,0-2 6 0,-2-1 9 0,3-3-10 0,-1 3-15 15,-1 2 7-15,-1-5 26 0,0-7-15 16,0 2-3-16,2 0-13 0,-2 10 14 16,0-5-6-16,0 5 0 15,0 0 0-15,3 0-8 0,-1-8 5 0,-2 10 3 0,1-9 3 0,-1-4-1 16,0 13-9-16,0-9 30 0,2-2-21 0,-2 8 11 15,0-7-18-15,0-1-5 0,0 0 28 16,0-1-23 0,0 11-8-16,2-7 10 0,-2-3 21 0,0 8-23 0,0 2 13 0,0-8-1 0,0-2-9 15,0 9 12-15,0-5-7 0,0 4 7 16,0 3-5-16,-2-9 10 0,2-4-2 0,0 1-3 16,0 0-17-16,0 0 7 0,0 12 20 15,-2-3-22-15,2 0 12 0,-3 2-8 0,3-8-4 16,0 8 17-16,-3-9-7 0,1 9-6 15,1-1 4-15,-1-1-17 0,-1-1 27 0,1-5-11 16,0-4 5-16,1 1 0 31,-1 9-2-31,2-8-8 0,-3 0-3 0,3-2-2 0,-3 11 26 0,3-6-8 0,0-5-6 0,-2 2-9 16,2-2 12-16,-2 11-2 0,2-6-6 0,0-6-4 16,0 2 4-16,-3 8 6 15,3-4-75-15,0-6-7 0,0 2 2 0,0-2 6 0,0 1 17 16,0 1 11-16,0-1-8 0,0 1 30 0,-3-1-30 15,3 1 21-15,0-1-14 0,0 1 16 0,0 0 10 16,0-2-2-16,0 3 10 0,0-2-13 0,-2 2-8 16,2-1 16-1,-2 10 15-15,2-9-7 0,0-1-3 0,0-2 12 0,0 1-9 16,-1-2-11-16,-2 2 16 0,6 1-19 0,-3-1-2 16,-3 1 21-16,3 1 7 0,0 0-20 15,3 0 33-15,-2-4-31 16,-1 3 29-16,2-1-34 0,-2-1 8 0,0 1 2 0,2-3-12 0,-2 4 10 15,3-3 0-15,-3 3 17 16,0-1 6-16,0-2-28 0,3 3 15 0,-3-3-2 0,2 4 2 16,0-1-5-16,-2-2-8 0,1 2 8 15,1 9 0-15,1-5 10 0,-1-4 1 16,-2-2-4-16,0 2-14 0,1 0 12 0,-2-1-3 16,2 1-2-16,1 1 5 0,-2 10-15 0,0-1 23 15,0-7-13-15,2-4 8 0,-2 3-3 16,0 9-8-1,3-1 3-15,-3-6 5 0,2 5-10 0,-1 0 0 0,-1-7 13 0,2-1 7 16,-2 0-15-16,0 0-10 0,3 8 7 0,-3-3 3 16,0-5 0-16,2 8 13 0,-1-7 8 0,-1-2-26 15,0 13 2-15,2-5-2 16,-4 4 18-16,4-2-13 0,0 3 10 0,-2-5 3 0,0-4 2 16,0-5-2-1,3 11-8-15,-3-6-5 0,0 3-5 0,3 6-5 0,-3-4 22 0,2 3-1 16,-2-3-16-16,0 4 48 0,0-5-25 0,0-1-18 15,2 1 0 1,-2-2 3-16,0-6 22 0,0 10-12 0,1-8-5 0,1 9-6 0,1-1-10 16,-1-8 11-16,1-2-3 15,-3 11 8-15,3-9-3 0,-1 7-13 0,1-7 8 0,-1 9 23 16,3-3-15-16,-4 1-13 0,1-7 10 16,0 9 3-1,1-8-16-15,-3 6 3 0,3-7 10 0,-1 9-15 0,0-3 20 0,2-6 0 0,-2-1-7 16,-2 7 4-16,0-1-22 0,2 2 23 0,-2 1-8 15,3-1 2-15,0-1 21 0,-3-3-18 0,2 3-15 16,0-5 0-16,-2-3 12 16,0 10 4-16,1-1-12 0,1-6 1 0,1-2 23 15,-3-3-25-15,2 12 1 0,-1-2 9 0,1-5-8 16,0 5 7-16,4-1-2 0,-6-2-5 0,5 2 5 16,-3-4 8-16,-1-5 2 15,3 12-17-15,-1-2 14 0,0-7 3 0,1 7-20 0,-4-5 13 16,3-4-1-16,0-1 16 0,1 9-20 15,0 1 9-15,-2-5-7 0,3 4 16 0,0-6-16 16,0 6 0-16,1-1-23 0,-4-4 20 16,3-3 1-16,-2 7-1 0,-1-2-5 0,1-6 16 15,0 1 0-15,1 8-21 0,-1-5 18 16,-3-2-5-16,3 11 15 0,0-3-12 0,-1 1 0 0,0-6 9 16,1 7 1-16,2-1-8 0,-2 0 5 15,-3-7 6-15,3 7-6 16,1-7-18-16,-1-3 14 0,-3 9-6 0,3-4 2 0,1 6-2 15,-1-10-2-15,0 8-11 0,1-6 20 0,0 5-7 16,0-5-5-16,-3-4 16 16,6 9-9-16,-4-5-10 0,-1-3 24 0,1-1-14 0,2 6-9 15,1 4 12 1,-2-2 5-16,2-5-10 0,-4-2 26 0,1 7-8 0,2-4-24 0,0 4 4 16,0-6-8-16,-2-3 12 0,-1 0-7 15,4-1 8-15,-2 2-19 0,-1-1 24 0,2-1-8 16,-2 2-8-16,4 9 3 0,1-3 3 0,-3-3-6 15,0-5-13-15,0 0 11 0,-2 0 18 16,0-1-21-16,1-1 10 0,0-4-9 0,-2 0 1 16,0-2-27-16,1-1 7 0,0 1 3 0,-1-4-13 15,-2-3-33-15,2 0-21 0,-2-3-7 16,0-1-34-16,0-2-71 0,0-2-118 16,-2 0-461-16,2-3 28 0,0 0 98 0,0 0 122 15</inkml:trace>
  <inkml:trace contextRef="#ctx0" brushRef="#br1" timeOffset="12618.71">626 3310 1133 0,'0'0'459'0,"0"0"-24"0,0 0-44 15,0 0-17-15,0 0-31 0,-1 11-69 0,0-3 13 16,2 1-52-1,0 2-20-15,0 1-13 0,1 4-10 0,-2 1-30 0,3-1-37 0,-3 5-2 0,0-5-36 16,0 3-26-16,0 0-7 0,0-1-51 16,-3 1-26-16,3 0-29 0,0-5-50 15,-2 0-28-15,1-1-68 0,0 0-116 0,0-2-616 16,-1-4 116-16,2 1 41 0,-3-2 95 0,3-1 82 16,0-3 53-16</inkml:trace>
  <inkml:trace contextRef="#ctx0" brushRef="#br1" timeOffset="12942.02">550 3163 785 0,'17'3'290'0,"-6"0"-24"16,4-1-44-16,3 2-24 0,0 1-12 0,3 0-32 16,4 4 10-16,1-3-31 0,-1 3-10 0,2 1-23 15,6 2-8-15,-5-2 0 16,-2 0-2-16,-6 1-19 0,1 2 16 0,-4 0-15 16,1-1 20-1,-2 3 10-15,-6 0 16 0,-5 5 10 0,0-1-2 0,-4 3-14 0,-4 2 9 16,-5 14-17-16,-5-3-14 0,-10 11 10 31,-2-2-21-31,-6 0-25 0,-5 2 53 0,3-4-50 0,-1 4-26 0,1-2-93 16,-6 2-74-1,6-11-209-15,0 13-564 0,-1-4 128 0,3-2 16 0,1-1 87 0,7-10 58 0</inkml:trace>
  <inkml:trace contextRef="#ctx0" brushRef="#br1" timeOffset="16142.81">1239 3369 1059 0,'0'0'366'0,"0"0"-38"15,0 0-13-15,0 0-67 0,0 0-10 0,16-6-13 0,-11 6-35 16,2-2-16 0,1 0-13-16,1 0-10 0,3-2-43 0,0 4-37 0,-1-3-66 15,2-1-87-15,-3 3-145 16,3 0-211-16,-3-1-379 0,0 0 126 0,0 2 56 0,-2-2 62 0</inkml:trace>
  <inkml:trace contextRef="#ctx0" brushRef="#br1" timeOffset="16345.81">1417 3344 1366 0,'-3'2'384'0,"0"2"-48"0,0 2-6 16,1 1-59-1,-2 0-12-15,3 4-31 0,-2 2-29 0,0 0-17 0,1 0-26 16,2 1-13-16,-5 2-50 0,3-2-53 0,1-1-42 16,-1 6-47-16,0-4-94 0,-1-3-172 15,0 3-501-15,1-1 73 0,-1-1 52 0,-2 0 113 16,2-2 27-16</inkml:trace>
  <inkml:trace contextRef="#ctx0" brushRef="#br1" timeOffset="16528.08">1229 3668 1246 0,'-5'-2'466'0,"5"2"-57"0,-8-2-25 16,8 2-61-16,-5-1-26 0,5 1-31 0,0 0 3 0,0 0-54 15,0 0 10-15,15-7-15 16,-9 7-44-16,4-3-30 0,0 3-5 0,3-2-37 0,0 1-40 16,2 0-16-16,0-2-27 0,3 1-47 0,-2-2-43 15,2 1-83 1,3 0-122-16,-4-2-218 0,1 0-353 0,0 0 26 0,-2-2 135 0,1 1 70 15,-1-4 74-15</inkml:trace>
  <inkml:trace contextRef="#ctx0" brushRef="#br1" timeOffset="16737.59">1685 3295 1011 0,'0'0'545'0,"-1"-5"-49"0,1 5-76 0,0 0-28 0,0 0 5 16,0 0-67-16,0 0-26 15,0 0-27-15,0 14-37 0,0-5-9 0,1-1-19 0,0 5-33 16,1-1-28-16,1 3-20 0,-3 0-44 0,2 0-43 16,-2 2-93-16,0-1-28 15,1-1-41-15,-1 0-92 0,0 0-156 0,0-1-563 16,-1-1 95-16,1-1 91 0,-2-1 104 0,2-3 1 0,0-1 88 16</inkml:trace>
  <inkml:trace contextRef="#ctx0" brushRef="#br1" timeOffset="16959.53">1563 3487 1274 0,'-3'-2'405'0,"3"2"-37"0,-5-2-12 16,5 2-64-16,0 0-26 0,0-4-15 16,0 4-21-16,0 0-35 0,12-3-13 0,-4 2-21 15,0-1-8-15,2 1-27 0,1 0-37 0,2 0-2 16,4 0-43-16,-1-2-39 0,-1 1-31 15,5 1-25-15,1-3-61 0,0 2-70 16,2-1-118-16,-5 2-94 0,5 0-458 0,0-1 127 16,-1-1 57-16,2 1 69 0,-1 1 64 0</inkml:trace>
  <inkml:trace contextRef="#ctx0" brushRef="#br1" timeOffset="17309.39">2244 3322 1259 0,'-15'1'407'0,"8"1"0"0,-1-1-62 16,-2 2-27-16,-1 2-32 0,3-2-22 0,-2 4-18 15,2-5-57-15,1 5 14 16,-1-3-22-16,3 3-30 0,0-2-25 0,-1 1-16 16,4 0-3-16,0 1-22 0,2-4-3 0,0 2-13 15,2-1-31-15,1-3 16 16,2 0-8-16,0 2 21 0,1-1-19 0,-6-2 1 0,12 0-26 15,-7 2 10-15,2-2 0 0,1 1 16 0,0 2-5 16,0 1 17-16,-1 0-7 0,1 3 23 16,0 3-11-16,-3 0 113 0,3 5-5 0,-1-2-43 15,-1 3-19 17,-2 1-1-32,-1 0 37 0,0 1-40 0,-3-3-34 0,0 4 23 0,-3-1-25 0,-1 0-11 15,1 0-7-15,-3-4-34 0,1 3 11 0,0-2-69 0,-3-2-39 16,1-2-13-16,2-1-71 0,-1-1-16 0,1-1-30 15,0-3-136-15,-5 0-228 0,7-3-445 16,1 1 118-16,2-3 73 0,0 0 91 0,0 0 73 16,0 0 93-16,8-16 51 0</inkml:trace>
  <inkml:trace contextRef="#ctx0" brushRef="#br1" timeOffset="17529.64">2408 3356 1238 0,'0'0'484'0,"0"0"-23"0,6 9-34 0,-4-2-45 0,1 0-24 0,-1 3-7 16,-1 3-85-16,3 0-10 0,-4 0 13 15,1 2-62-15,1 0 0 0,-2-1-50 16,0 2-45-16,0-1-61 0,-2 0-45 0,2-2-35 16,0 0-70-16,-1-2-73 0,1-1-197 0,0 0-606 15,0-3 110-15,1-1 46 16,-1-1 146-16,2-2 92 0,-2-3 35 15</inkml:trace>
  <inkml:trace contextRef="#ctx0" brushRef="#br1" timeOffset="17634.4">2416 3313 1057 0,'0'-3'256'0,"0"3"-64"0,0-4-80 15,0 4-68-15,0 0-165 0,3-3-457 0,-3 3-11 16</inkml:trace>
  <inkml:trace contextRef="#ctx0" brushRef="#br1" timeOffset="18023.75">2624 3409 1172 0,'2'6'330'0,"-1"1"-18"0,1 0-25 16,1 2-39-16,-1-1-20 15,0 0-23-15,1 2-34 0,0-3 3 0,-1 1-23 16,-1 0-20-16,1-1 5 0,1-1-11 0,-1 0 26 16,-1 1-41-16,0-5 21 15,2 3-11-15,-3-2 26 0,3 0-62 0,-3-3 16 0,3 2 15 0,-3-2-25 16,0 0 25-16,0 0-20 15,12-7-3-15,-10 4 18 0,2-2 85 16,-2-2-24-16,1 0-12 0,2-2-21 16,-3 2-2-16,1-4-13 0,2 2-13 0,-2 0-21 0,-1 0 14 15,3 2-16-15,-2-3-28 0,2 3-36 0,-2-1-21 16,1 2-50-16,-1-1-6 0,2 1-61 16,-2 0-29-1,4 0-53-15,-4 2-56 0,3 1-95 0,-4 1-152 0,3-1-434 0,2 2 31 16,-7 1 104-16,10-1 110 0,-4 2 111 0,-6-1-11 15</inkml:trace>
  <inkml:trace contextRef="#ctx0" brushRef="#br1" timeOffset="18485.57">2936 3398 1128 0,'6'-3'351'0,"-4"-1"-41"0,1 0-3 16,0-2-38-1,-1 1-8-15,-1-2-3 0,1 3-22 0,0 0-6 0,-2 0 54 0,0 0-33 0,0 4 10 16,0-7-23-16,-2 5-36 16,2 2 1-16,0 0-40 0,0 0-22 0,0 0-20 15,0 0-9-15,0 0 6 0,-13 9-3 0,10-3-33 16,0 0-21-16,2 0-22 0,0 1-1 0,1-2-27 16,1 3-6-16,0-3 36 0,2 1-41 0,2 0 12 15,1-2-22-15,-1-1-28 0,0-3-3 16,5 0 28-16,-2 0-10 0,2-2-23 15,3-1 31-15,-3 0-16 0,1-2 3 16,1-1 10-16,-2 1 23 0,3-2 13 0,-5 0-16 16,2-1 39-16,0 2 10 0,-2-1-2 15,-3 1-36-15,3 1 7 0,-3 0 44 0,-2 0-2 16,2 2 7-16,-2-2-5 16,-1 3 0-16,-2 2 8 0,8-2-24 0,-8 2-12 0,0 0 18 15,7 4-16-15,-4 1-7 16,-1-2-3-16,1 2 23 0,0 5 13 0,1-3-36 0,-3 4 44 0,1-1-36 0,1 2 23 15,-3 0-3-15,0 1-12 16,0 1-19-16,-3 0-2 0,1-1-23 0,-1 0-46 16,-2 2-97-16,0-3-21 0,0 1-97 15,0-2-80 1,0 0-222-16,0-1-473 0,2 0 107 0,-2-2 102 0,2-2 56 0,-2 0 72 0,2-1 113 16</inkml:trace>
  <inkml:trace contextRef="#ctx0" brushRef="#br1" timeOffset="19013.8">3878 3313 1535 0,'0'0'464'0,"0"0"-55"0,0 0-25 0,0 0-28 16,0 0-36-16,0 17-18 0,0-9-26 0,0 1-30 15,0 1-44-15,-1 3-25 0,2-1-41 16,-1 0-62-16,0 2-49 0,0-1-55 16,0 0-47-16,0 0-41 0,0-3-115 0,-3 2-169 15,3-4-486-15,0 2 54 0,0-3 102 16,0-2 92-16,0 0 51 0</inkml:trace>
  <inkml:trace contextRef="#ctx0" brushRef="#br1" timeOffset="19166.96">3860 3222 793 0,'0'0'123'0,"0"0"-92"15,-8-3-95-15,8 3-487 0</inkml:trace>
  <inkml:trace contextRef="#ctx0" brushRef="#br1" timeOffset="19547.52">3996 3293 1197 0,'2'11'349'16,"3"4"-50"-16,-5-4-20 0,3 1-18 15,-1-1-46-15,2 0-2 0,0 0-6 0,-2 2-36 0,4-4-4 0,-4 3 2 0,1-2 0 16,2-1-13-16,-3-3 18 0,1 1 18 0,0-2 28 16,-1 0-8-16,-2 0 32 0,2-1 47 0,1-1-6 15,-3-3 17 1,4 3-149-16,-4-3-15 0,0 0-22 0,10-6-4 0,-6 2 24 0,2 0-23 0,-2-2-19 15,4 1 14-15,-2 2-3 16,-1-2-34-16,2 0 27 0,-2 2 81 0,3 0-38 16,-2 2-11-16,1-1-35 0,0 2 28 0,-7 0-52 15,11 1 22-15,-3 0-27 16,-1 3-7-16,1-3-5 0,-3 2 10 0,0 2-34 0,0-1-63 16,-2-1-33-16,0 2-27 0,-1 0-52 15,1-2-55-15,-1 2-51 0,1-1-23 0,-1-1-69 0,1 2-105 16,-6-1-235-16,6-2-387 15,2 1 130-15,-3-1 73 0,-2-2 117 0,8 1 64 16,-8-1 71-16,8-1 73 0</inkml:trace>
  <inkml:trace contextRef="#ctx0" brushRef="#br1" timeOffset="19869.45">4514 3121 1745 0,'-3'-12'446'16,"0"3"-21"-16,3-2-19 0,-2 3 9 15,-1 3-41-15,1 0-11 0,-1 2-45 16,1-1-26-16,1 1-19 0,1 3 40 0,0 0-34 0,0 0-44 16,-17 11-7-16,12-2-23 0,2 4 23 15,-5 2-62-15,3 7 31 0,-3 1-31 16,4 5 6-16,-2 9-54 0,3 6 15 0,1 2-28 15,-3 1-36-15,5-1 15 0,-3 1-89 16,1-2 26-16,2-1-42 0,0-2 21 0,-3 0-13 16,3-8-33-16,0-6-48 0,-2 0-16 0,2-6-57 15,0-1-17-15,-1 1-44 0,-1-4-30 0,2-2-50 16,0-2-22-16,0-2-110 16,-8-2-100-16,8-1-464 0,0-2 88 0,3-2 105 15,-3-2 84-15,0-2 84 0,0 0 44 0</inkml:trace>
  <inkml:trace contextRef="#ctx0" brushRef="#br1" timeOffset="20344.06">4311 3640 1287 0,'0'-5'356'0,"0"5"-23"0,0 0-31 0,0 0-39 0,0-5-7 0,0 5-20 16,5-4-16-16,-2 2 46 0,4-1-33 0,1-2 0 0,2 1-49 15,-1-2-5-15,3 0-12 0,-2-3-11 0,6 0-33 16,-3-1 12 0,1 1-24-16,2 0-19 0,-3-1 0 0,0 1 10 0,0 0 6 0,-6 2 7 15,4 2-26-15,-4 0 16 0,-1 0 6 16,1 2-99-16,-4 1 14 0,2-1-11 16,0 3 6-16,-5 0 27 0,8 3-22 15,-4-2 20-15,-1 3-15 0,2 1-8 0,0 1-16 0,1 0 1 16,1-1-5-16,-2 0 30 0,3 2-36 15,0-4 16-15,0 2-5 0,2-1 10 0,0-2-23 32,-2 0 23-32,5-1-13 0,-3-1 28 15,1-1-13-15,1-1 6 0,0 0 46 0,-2-3 33 0,1-1-18 0,-1-1 33 16,-2 1 11-16,-3-1-19 0,0 1 85 0,-2-3-66 0,0 1-29 0,-1 0-25 16,-2 2 59-16,-2-3-54 0,-1 2-44 15,-2 0 11 1,-3 1-11-16,0 1-56 0,-2 2 8 0,0 1-72 0,0-1-36 0,-1 3-97 15,1 0-71-15,-2 1-96 0,-17 4-268 16,17-1-463-16,1 0 104 0,1 2 126 16,-3-1 54-16,6-1 109 0,1-1 78 0,4 0 35 0</inkml:trace>
  <inkml:trace contextRef="#ctx0" brushRef="#br1" timeOffset="21232.62">5729 3383 1075 0,'0'0'455'16,"-3"-5"-66"-16,1 3-15 0,-1-1-28 0,3 3-52 15,-8 0-20-15,8 0-34 0,-10 3-25 16,3 0-12-16,2 3-29 0,-3 0 0 0,0 3-16 16,-2 1-4-16,2 1-11 0,0 2 14 0,1-1-58 15,1-1-17-15,-1 1 8 0,4-4-18 0,-2 3-16 16,2-3 0-16,3 0-20 0,0 1 5 15,0-4-8 1,0-1 6-16,3 0-16 0,-3-4 15 0,5 2 3 0,-5-2-18 0,0 0 8 16,16-7 28-16,-12 2-29 0,4 0-9 15,-2-3 17-15,1 0 39 0,1-2-90 0,-3 0 6 16,2 1 63-16,-1 0-10 0,-1 0 0 0,0 2 15 16,0 0-12-16,-2 1-3 0,0 0-15 0,-1 3 41 15,0-1-52-15,1 1 16 0,-3 3-5 16,3-3-6-16,-3 3 8 0,0 0-20 0,8 6 23 15,-6 0-23-15,-2 1 5 0,2 1-54 0,1 0 0 16,0 1-28-16,-1 1-43 16,-1 2-3-16,0-3-13 0,2 2-59 0,0-3-15 15,-1 3-18-15,-2-3-13 0,3 1-87 0,0-1-135 0,-1-1-121 16,1-1-266-16,-1 0 28 0,1-2 62 16,2-1 99-16,-3 1 62 0</inkml:trace>
  <inkml:trace contextRef="#ctx0" brushRef="#br1" timeOffset="21690.42">5929 3204 931 0,'0'0'397'15,"0"0"-13"-15,0 0 33 0,0 0-30 0,0 0-62 0,0 0-16 16,0 15-35-16,0-8-41 0,0 2-18 15,-3 0 3-15,3 1-26 0,0 1-28 16,0-1-39-16,0 4 16 0,0 0-26 16,0-1-2-16,0 1-13 0,0 0-11 0,3-2-22 0,-3-3-6 15,0 1 8-15,0-2 13 0,3 0 8 16,-3-1-8-16,0-1 17 0,0-1 17 0,2-1-14 16,0 0 21-16,-2-1-3 0,0-3 0 0,8 2-20 15,-8-2-13-15,10 2-20 0,-4-4 22 16,-6 2 6-16,13-1-13 0,-6 1-3 15,0 0-7-15,4 0 0 0,-1 0 15 0,-2 3-39 0,2-2 29 16,0 0-8-16,-2 1-7 0,0 1 2 16,-3-2 5-16,1 1-10 0,-2 2 25 15,-1-3-102-15,0 4 3 0,-3-1 7 16,0 1 3-16,-3-1 0 0,0 2 8 0,-2 0 9 0,-2-2-45 16,-1 0 59-1,0 1-3-15,1-2-23 0,-3 2-28 0,1-1-41 0,1-2 17 0,-1 1-45 16,4-2-41-16,-3 3-39 0,2-2-48 0,1-1-39 15,0 1-61 1,5-2-25-16,0 0-127 0,-7 0-70 0,7 0-444 0,0 0 113 16,0 0 103-16,13-6 99 0,-6 0 26 0,4-1 84 0</inkml:trace>
  <inkml:trace contextRef="#ctx0" brushRef="#br1" timeOffset="22025.76">6177 3364 1254 0,'0'0'281'0,"0"0"-25"0,10 0-10 15,-10 0 0-15,0 0-39 0,6 7-38 0,-4-2 5 16,4 0-20-16,-3 1-24 0,4-2-12 16,-2 3 5-16,1-1-39 0,1-1 1 15,3 1 9-15,-2-2 9 0,0-1-34 0,2 1-26 16,-2-2 16-16,2 1-18 0,0-3 16 0,-2 0-4 16,-3 0 139-16,5-2-59 0,-4-1 3 15,0 2 59-15,-2-3-49 0,0 2-49 0,-1-2-5 16,0-1 33-16,-3 2-7 0,0-3 5 15,-3 1-28-15,1 3-8 0,-1-4-21 0,-2 0 32 0,2 2-19 16,-2 1 0-16,-2-1-35 0,-1 2 10 16,3 1-3-16,-1-2-36 31,-1 3-2-31,7 0 10 0,-11 0-38 0,4 1-1 0,2 2-22 0,2-1-47 0,-2 2-20 0,0-2-15 0,2 0-44 16,0 2-41-16,-1 1 3 15,1-2-41-15,3-3-23 0,0 7-162 0,3-4-498 16,-3-2 96-16,0-1 73 15,7 6 107-15,-2-5 76 0</inkml:trace>
  <inkml:trace contextRef="#ctx0" brushRef="#br1" timeOffset="22634.14">6504 3297 1400 0,'0'0'409'0,"0"0"-12"0,0 0-39 0,0 0-30 0,-14 9 7 0,11-5-69 15,1 1-12-15,-3 1-14 0,2 0-14 0,1 0-60 16,0 1 21 0,1-1-41-16,1 1-26 0,1-2-5 0,-1 1-30 0,2 0 2 15,-2-1-21-15,2-2 16 0,1 0-7 0,2-2-24 16,-5-1 13-16,10 2-8 0,-2-3 11 16,-8 1 7-16,11-5-38 0,-4 3 15 0,0-1 36 15,-1 0-31-15,2-1 18 0,-4 1-15 16,2 1-46-16,-3-1 15 0,1 1 26 0,-4 2 0 15,6-3-11-15,-6 3-9 0,5-3-6 0,-5 3-5 16,0 0 23-16,10 3-18 0,-10-3-28 0,7 4 31 16,-6 0-21-16,4-1-25 0,-2 2 35 15,2-2-30-15,-2 2 18 0,4-1-29 16,-4 0-20-16,4-1 21 0,-2 0-3 0,1 0-13 16,1-3 18-16,0 0-18 0,1-3-5 0,1 0 33 15,0-2-25-15,2 0 18 16,-1-1 15-16,0 0-3 0,-2-2 42 0,2 0-9 0,-2-4-2 0,0 1 39 15,1-1 20 1,-3 0-20-16,-1-2-9 0,0-3 22 0,0 2-3 0,-2-4 17 16,2 1-35-16,0-1 46 0,-2 5-23 0,-1 0-59 15,0 3 54-15,-2 0 12 16,3 1-32-16,-3 2 12 0,0 0-3 0,0 4 1 0,0 2-24 16,0 2-25-16,0 0 49 0,0 0-34 15,-3 13 8-15,3-4-2 0,-2 3 7 0,2 4 28 0,0-2 28 16,-2 6-2-16,4-1-51 15,0 3 33-15,1-1-23 0,2 2-59 16,-2-1 0-16,4 1 0 0,-1-6 0 16,-1 1 0-16,0-4 0 0,0 0 0 0,3-2-62 0,-3-1-63 15,2-4-60-15,-1 0-9 16,-1-2-49-16,1-2-8 0,1-1-31 0,-2-2-81 0,-5 0-101 0,8-4-168 16,-3 1-422-16,2-2 112 0,-1-1 97 0,-2 0 105 15,-1-1 36-15,2-1 123 16</inkml:trace>
  <inkml:trace contextRef="#ctx0" brushRef="#br1" timeOffset="22932.4">6685 3239 962 0,'0'0'430'0,"0"0"8"0,-5 2-19 15,5-2-19-15,0 0-24 0,0 0-87 0,0 0-33 16,0 0 16 15,21 0-47-31,-9 0 0 0,1 0-10 0,3-2-41 0,1 1-5 0,7 0-8 0,1-2-10 0,3 0-28 0,3 0-8 0,0 0-7 16,13-3-16-16,-9 1-2 0,-7 2-16 15,-4 0-10-15,-1 1-18 0,-2-1 0 0,-4 1-28 16,-1 0-8-16,-1-1 8 0,-5 3-41 16,1-2-8-16,-1 2-30 0,-3-2-41 15,1 0-14-15,-8 2-45 0,8 2-26 0,-8-2-46 16,5 2-115-16,-5-2-174 0,0 0-374 0,0 0 62 15,-5 7 73-15,2-2 96 0,-2-3 71 16</inkml:trace>
  <inkml:trace contextRef="#ctx0" brushRef="#br1" timeOffset="25219">7562 3267 908 0,'1'-5'376'0,"-1"5"-33"0,0 0 47 16,0 0-1-16,9 13-67 0,-6-6-15 16,2 1-38-16,-2 4-33 0,1-1-24 0,-1 3-5 15,2 3-10-15,-2 2-61 0,2-3-3 0,-3 3 8 16,1-2-41-16,0 2-8 15,-3-3-20-15,2-2-11 0,-2-1-5 0,1 0-10 0,-1-2 39 16,0 1-44-16,0-4 5 0,0 0 13 16,-1 0 25-16,1-4-20 0,0 1 3 0,-2-1 25 15,2-4-10-15,0 0-10 0,0 0 25 16,0 0-20-16,0 0 12 0,-6-17 26 0,6 9-7 16,1-3 5-16,-1-2-29 15,2-1 8-15,1 0-2 0,-3-1-42 0,3-2 14 0,1 0 12 16,2 1-79-16,-2-1-10 15,2 3-19-15,2-2-2 0,-1 2 6 0,-1 2-19 0,1 3-58 16,1 2 4-16,-3 1-40 0,0 0-11 16,2 2-10-16,1 1-28 0,0 0-25 15,-3 2-29-15,1 1-89 0,1 1-121 0,0 2-463 16,-1-1 49-16,2 0 92 0,-1 1 59 0,-2 3 94 16</inkml:trace>
  <inkml:trace contextRef="#ctx0" brushRef="#br1" timeOffset="26149.85">7952 3319 954 0,'-3'-4'400'0,"3"4"-29"0,0 0-46 0,0 0-26 0,-10 0-9 0,10 0-47 0,-8 6-23 15,1-2-18-15,1 1-13 0,2 0-17 16,-2 0-16-16,1 5-18 0,-1-1-15 15,2 1-13-15,-2 0-7 0,2 1-11 0,1-1-15 16,0-1-13-16,1-1 0 0,0 0-23 0,1 0 7 16,1-1-12-16,0 0 5 0,1-2-13 15,-1-1 13-15,2-1-10 0,0 1-11 16,-2-4 3-16,8 0 8 0,-8 0 20 0,0 0 3 0,12-6 13 16,-8 2 2-1,0-1 18 1,-1 0 12-16,0-2 19 0,0 0 72 0,-1-1 22 0,0 2-48 0,1-1-3 0,-3-1-33 0,3 2 3 15,-3-1-70-15,2 1 1 0,0 0-9 16,-2 0 9-16,0 2 9 0,3 0-40 0,-3 0-15 16,0 4 30-16,1-4-36 0,-1 4 28 0,0 0-22 15,0 0 12-15,0 0-21 0,0 0-9 16,0 0-6-16,4 13 8 0,-4-7-10 0,3 0 0 16,-3 0-16-16,3 1 13 0,-3 2-20 0,4-2 0 15,-1-1 5-15,0 2-31 0,-1-1 33 16,1-1-28-16,2-1 21 0,-3 1-5 15,1 0 4-15,3-3 29 0,-2 0-46 0,2 2 41 16,-2-4-11-16,2-1 16 0,-6 0-13 0,10 0 13 16,-10 0 10-16,10-4-25 0,-5 1 38 15,1 1-8-15,-2-1 8 0,2-1 13 16,-1 1 10-16,-2-1 0 16,1 2 12-16,-1-3-7 0,0 3-5 0,-1-1 5 0,1 0-7 0,-1-1-1 15,-2 4 3-15,5-2-31 0,-2-2 16 16,-3 4-3-16,0 0-8 0,5-3-7 0,-5 3 18 15,0 0-11-15,0 0-12 16,0 0-14-16,0 0 37 0,0 0-31 0,8 5 18 0,-5-2-13 0,-3-3-13 16,2 5 28-16,-2-5-35 15,2 3 27-15,1 0-9 0,-3-3-1 0,3 3-12 0,-3-3 15 16,5 4 10-16,-5-4-12 0,5 1-14 0,-5-1 21 16,0 0-2-16,10-1-26 15,-10 1 28-15,5-4-8 0,-2 2 3 0,2-1-2 0,-3 0 25 0,-2 3-8 31,6-5-20-31,-4 3 5 0,1-2 8 0,0 1 33 0,-3 3-46 0,4-3 10 16,-4 3 5-16,3-2 3 0,-3 2-3 0,0 0-5 16,5-2-36-16,-5 2 31 15,0 0 16-15,0 0-29 0,8 4 10 0,-6-1-7 0,-2-3-8 16,6 3 6-16,-4 1-6 0,-2-4-3 0,5 2 11 16,1-2 18-16,-6 0-1 0,0 0-12 15,7 0 33-15,-7 0-7 0,7-1 4 0,-7 1 14 16,8-3-11-16,-5 1 15 15,0-1 29-15,0 0-5 0,1 1-44 0,-1-3-3 0,-3 3 31 0,3-2-22 16,-1 2-22-16,0-3 21 16,1 3-2-16,-2-3-11 0,1 2-12 0,-2 3-31 15,0-4-47-15,2 0-24 0,-2 4-50 16,3-6-58 0,-3 6-54-16,3-2-44 0,-1-2-89 0,1 1-123 0,2 1-530 0,-1 1 118 0,4 1 53 15,-2-2 121-15,-6 2 41 0,15-1 69 0</inkml:trace>
  <inkml:trace contextRef="#ctx0" brushRef="#br1" timeOffset="26651.48">8954 3038 1118 0,'0'0'392'0,"0"0"-21"0,0 0-36 0,0 0-30 0,-5 13-26 0,3-5-21 15,1 3-22-15,1 2 58 0,0 2-40 0,-2 2-4 16,2 1-40-16,0 2-20 0,-2-1-26 0,2 1-31 16,0 1 2-16,-3-5-25 0,6 3 8 15,-3-4-23-15,0 0 5 16,0 0-29-16,2-4 19 0,0 0-21 0,-1-1-13 0,1-2-15 15,-2-1 18 1,3 0-26-16,-1-1 3 0,-2-3 0 0,2 0 23 0,-2-3-39 0,0 5 14 0,0-5 2 16,0 0 12-16,0 0-27 15,0 0 38-15,0 0-21 0,-10-11-15 0,3 7 15 0,2 0-38 16,-1-1 18-16,-1 2 23 0,-1 0-7 16,0-1-4-16,0 1 14 0,-2 2-13 0,3 0-11 15,-1 1 8-15,-2 0-12 0,2 0 27 0,0 2-15 16,-2 1-20-16,2 0 15 0,1-1-13 15,2 3 13-15,-3-1-2 0,5 1-19 16,-1 0 16-16,0 0-8 0,4 0-22 0,-2 1 32 16,2 0-28-16,2-3-10 0,2 2 21 0,-2-1-64 15,3-1-9-15,0 0-4 0,3-1-59 16,2-1 13-16,-3-1-57 0,4 0-5 0,2-1-68 0,-2 1-119 16,3-2-169-16,2-2-452 0,-1 2 125 15,-1-1 66 1,1-1 75-16,2 1 68 0,-1 0 70 0</inkml:trace>
  <inkml:trace contextRef="#ctx0" brushRef="#br1" timeOffset="27471.09">9308 3321 1133 0,'0'0'392'0,"0"0"-51"0,0-5-68 0,0 5-1 0,-3-3-24 15,3 3-12-15,-2-6-4 0,-3 3-11 0,5 3 70 16,-5-2-17-16,2 0-36 0,-2-1 3 15,5 3-13-15,-13 0-108 0,8-1 5 16,5 1-14 0,-15 1-22-16,7 2 14 0,0-1-34 0,0-1 30 0,-2 2-19 0,3 0 9 0,-1 1-48 15,2-1 44-15,-1 2-39 0,2-3 13 16,0 2 7-16,0 1-17 0,2-3-16 0,-2 4-25 16,2-2-16-16,3-1-17 0,0 0-21 15,0-3 10-15,1 6 2 0,1-4-4 0,-2-2 2 16,8 1 0-16,-8-1-5 0,12-1 11 0,-6 0 9 15,-6 1 1-15,12-1-6 0,-4-1 16 0,0 1-5 16,-3 1 20-16,1-2-5 16,0 2-13-16,2 0 15 15,-8 0 6-15,16 0 0 0,-9 0-18 0,1 0-3 0,0 2-8 0,2-4-22 16,0 2 2-16,0-1 0 0,-1-2 23 16,3 0-20-16,1-1 12 0,0-1 3 0,0-3 10 15,-1 2 18-15,1-2 8 0,0-2 36 16,-2 1-6-16,1-2 21 15,-2-1 3-15,0 1 22 0,-4 1 37 0,1-5-52 0,-1 1 23 16,-1 1-20-16,-2-1 28 16,1-4-5-16,-1 5 5 0,0 0-21 0,-1 1 31 0,0 0-20 0,-2 3 31 0,0 1-60 15,1 1 8-15,-1 3-7 16,0 2-6 0,0 2-7-16,0 0 18 0,0 0-13 0,-3 11-13 0,1-3 7 0,-1 1-14 0,0 3 17 15,3-1-84-15,-2 4 51 0,2-2-5 16,0-1-28-16,2 1-18 0,1 1-21 0,0-3-36 15,-1 1-20-15,3-3-28 0,-2-3 0 0,0 2-23 16,2-1-28 0,0-2-6-16,0-1-22 0,0-1-13 0,0-1-44 0,0-1-31 0,1 0-117 15,-6-1-36 1,10-2-491-16,-6 0 130 0,2-1 51 0,-4-1 46 0,1 1 62 0</inkml:trace>
  <inkml:trace contextRef="#ctx0" brushRef="#br1" timeOffset="27696.09">9338 3175 1295 0,'0'0'407'15,"0"0"-44"-15,-7 0-17 0,7 0-21 16,0 0-23-16,0 0-44 0,0 0 62 16,0 0-48-16,0 0 9 0,15-6-32 0,-7 3-27 15,2 2 6-15,3-1-36 0,0-2-41 0,2 1 10 16,1-1-48-16,-3 2-62 0,5-2-7 47,-1 1-57-47,1-1-54 0,0 1-17 0,-2 1-67 0,-1 1-87 0,1 0-126 0,-4 0-591 0,-1 2 98 0,4 1 53 0,-7-2 80 0,2 4 71 15,0-1 67-15</inkml:trace>
  <inkml:trace contextRef="#ctx0" brushRef="#br1" timeOffset="28143.83">9897 3207 1028 0,'-4'-1'413'0,"4"1"-47"0,-8-3 61 0,8 3-43 16,-13 1-5-16,6 2-69 0,-1-1-11 0,0 2-33 16,1 1-74-1,-1-1-30-15,0 1 4 0,0-1 23 0,3 3-56 0,-2-1-15 0,4-3-5 16,-3 2-21-16,4 2-10 0,0-3-5 16,-1 0-34-16,0 0 3 0,3-4-12 15,3 5-22-15,-3-5 16 0,5 2 21 0,-5-2-5 0,0 0-14 16,13-3 4-16,-6 0 30 0,1 1-23 15,0 1 25-15,-3-3 3 0,5 4-12 0,-2 0-4 16,0-2 11-16,3 2-10 16,-1 0-18-16,0 2 13 0,0-2-14 0,0 2-6 0,0 0-19 0,1-2-44 15,1 1-4-15,-2 0-49 0,1 0-31 16,-1-1-46-16,0 2-51 16,-2-1-48-16,2-7-185 0,-2 8-520 0,0-2 75 0,-1 1 117 15,-1-1 78-15,2 2 40 0,-4-1 74 16</inkml:trace>
  <inkml:trace contextRef="#ctx0" brushRef="#br1" timeOffset="31616.2">10838 3136 1379 0,'0'0'330'0,"-2"-5"11"0,2 5-24 16,0-3-40-1,0 3 7-15,0 0-31 0,-2-4-2 0,2 4-51 0,0 0 7 16,0 0-28-16,0 0-7 0,0 0-47 0,0 0-10 0,0 0 8 15,0 0-13 1,-3 10-23 0,3-5 16-16,0-5-11 0,0 7-23 0,0-3 64 0,0-1 0 0,0 1-43 0,3 1-19 0,-3-2-14 15,2 1 2 1,0-2 5-16,-2-2-8 0,4 4-15 0,-4-4 7 0,2 5 1 0,-2-5-18 16,2 2 0-16,-2-2 30 0,0 0 13 0,8 2-41 15,-8-2-17 1,0 0 43-16,3 0-29 0,-3 0-17 0,5 3 33 0,-5-3 11 15,7 3-32-15,-4-1 1 0,2 2-3 0,-2 0-5 16,0-1-18-16,1 1 5 0,2 0 23 16,-2-1-102-16,2 1 10 0,-4-2 28 0,4 0-25 15,-2 1 32-15,2-2 11 0,-6-1 34 16,10-1 38-16,-3-2 22 16,-1 2 29-16,-1-2 28 0,2-1 21 0,1-1 25 15,-3 0-59-15,1-2 39 0,-1 0-21 0,0 1 19 0,0-2-47 0,0 1 20 16,-2-2 3-16,2 2-53 0,-1-1-16 0,0 2 33 15,-2-1-48-15,0 0-24 16,1 2-4-16,0 0-52 0,-3 2-69 16,2-2-5-16,-2 0-8 0,3 3-84 0,-3 2-56 0,2-5-16 15,-2 5-30-15,0-4-78 0,0 4-158 0,3-1-488 16,-3 1 29-16,0 0 165 0,0 0 13 16,0 0 104-16,0 0 39 0,0 0 94 15</inkml:trace>
  <inkml:trace contextRef="#ctx0" brushRef="#br1" timeOffset="31989.88">11134 2916 1182 0,'0'0'376'16,"0"0"-22"-16,0 0-40 0,0 0-4 16,-1 16-44-16,-1-8-20 0,2 0-36 15,0 1-13-15,0-1 3 0,0 2-39 0,0-1-7 16,0 2-16-16,2 0-13 0,-1-1 1 15,-1 1-19-15,0 0-2 0,0 0-20 0,0-3 14 16,0 1-27-16,2 0 5 0,-2-3-8 0,0 0 10 16,0 1 70-16,0-5-3 0,0 2 48 15,0-4-27 1,2 7-37-16,-2-7 29 0,6 1 12 0,-6-1-58 0,8-1 30 0,-8 1-53 0,7-2 2 16,0 1 36-1,-7 1-56-15,9-2 10 0,-9 2 20 0,10 0-30 0,-5 2 10 0,2 1-11 16,-1-1-35-16,2 1 38 15,-3 2-53-15,2 0-6 0,1 1 6 0,-3-2 2 16,0 2-62-16,0-3 9 0,1 3-60 0,-2-1-33 16,2-1-43-16,-1 0-6 0,-3 0-17 0,3-2-34 15,-2 2-23-15,0-3-161 0,-3-1-204 0,5 4-400 16,-5-4 107 0,0 0 98-16,8 0 84 0,-8 0 79 0,7-6 37 0</inkml:trace>
  <inkml:trace contextRef="#ctx0" brushRef="#br1" timeOffset="32155.36">11387 3051 1215 0,'3'-2'502'0,"-3"2"-108"0,0 0-41 0,0-4-10 16,0 4-23-16,0 0-33 15,0 0 0-15,3 11-59 0,-1-8 12 0,-2 4-25 16,0-1-23-16,0 3-33 0,0 1 25 0,0-1-15 0,0 0-43 16,-2 1-45-16,2-1-73 0,-3 1-64 15,3-3-49-15,-3 2-77 0,3-5-212 0,-4 4-561 16,3-1 105-16,-2 2 49 0,1-6 90 0,2 2 94 15,-2-3 46-15</inkml:trace>
  <inkml:trace contextRef="#ctx0" brushRef="#br1" timeOffset="32262.98">11413 3029 757 0,'-6'-4'174'0,"6"4"-135"0,-2-3-124 0,2 3-473 0</inkml:trace>
  <inkml:trace contextRef="#ctx0" brushRef="#br1" timeOffset="32563.2">11544 2984 1328 0,'-3'9'394'0,"3"-6"-30"0,-3 3-26 0,1 2-52 0,0-2-22 16,1 4-8-16,-4 1-18 0,3-1-49 0,2 1-10 16,0 1-7-16,-2-1-31 0,2-1-24 0,2 1 11 15,-2-1-5-15,2-1 51 0,1 1-17 16,0-2-12-16,-1 0-9 0,3-2-16 16,-2 1-30-16,1-2 7 0,2-1-17 0,-3-1-29 0,2 0-33 15,0-1-21-15,0 0-28 0,0-1-25 16,-5-1-16-16,10 0-25 0,-10 0-31 15,10-3-48-15,-4 1-119 0,-2-3-132 0,4 1-487 16,-2 1 92-16,-1-3 65 0,2 2 45 16,-2-3 80-16</inkml:trace>
  <inkml:trace contextRef="#ctx0" brushRef="#br1" timeOffset="33221.85">11752 2841 1126 0,'0'0'420'0,"0"0"-19"0,4 13 65 16,-4-7-41-16,0-1-33 0,1 1-16 0,-2 3 8 15,1 1-61-15,0-3-27 0,-2 4-4 16,2-1-25-16,0 0-35 0,-2 0-9 0,2 0-23 16,0 0-42-16,0 1-30 0,-3-5 0 0,3 1-64 15,0 0 16-15,-1-1 22 0,1 0-28 16,0-1 60-16,0-1-27 0,0-4-15 0,4 5 103 15,-4-5-34-15,4 1 28 0,-4-1-45 0,6 0 30 16,-6 0-5-16,10 0-59 0,-10 0 38 16,7 0-137-16,-3 3-11 0,3-3 0 0,-2 2 0 0,0 2 0 15,3-2 0-15,0 4 0 16,2 1 0-16,-2-1 0 0,0 1 0 16,2-1 0-16,-3 3 0 0,1-1 0 0,0-1 0 0,0 0 0 15,-1-1 0 1,0 0 0-16,-1-1 0 0,-2 0 0 0,-1-2 0 0,2 1 0 0,1-1 0 15,-4 0-111-15,0 0-96 0,-2-3-62 0,1 4-5 16,-1-4-58-16,-1 6-45 0,-3-5-127 16,-1 3-82-16,-1-3-458 0,1 1 89 0,-3-1 102 15,-4 2 55 1,1-3 102-16,-4 0 58 0</inkml:trace>
  <inkml:trace contextRef="#ctx0" brushRef="#br1" timeOffset="34143.98">10695 3087 1110 0,'0'0'372'0,"0"0"-55"16,0 0-35-16,0 0-24 0,0 0-7 0,0 0 0 15,0 0-36-15,-2 13-41 0,-1-6 0 16,3-2-23-16,0 3-8 0,0 0-25 0,0 2 2 16,3-4-102-16,-3 3 5 0,2-2-13 0,0-1 24 15,-1 3-6-15,1-2-8 0,1-1-14 16,-1 0 32-16,4 0-7 0,-4-3-29 15,3 0 19-15,0 0-19 0,-2-1 6 16,2 0 23-16,-5-2-19 0,13-4 11 0,-8 3 8 0,2-1-3 16,1-1-5-16,-3-3-18 0,1 3 6 15,1-3-1-15,-2 1-5 0,1-2-5 0,-2 2-28 16,2-2-8-16,-2 1-30 0,0-1 2 16,-2 2-8-1,1-1-31-15,2 2-83 0,-5 1-86 0,3-2-25 0,-1 2-514 0,0 0 48 16,-2 3 162-16,3-2 7 0</inkml:trace>
  <inkml:trace contextRef="#ctx0" brushRef="#br1" timeOffset="35970.21">1826 4216 1110 0,'0'-6'510'0,"0"2"-3"0,0 0-65 0,0 4-42 0,-2-4-83 16,2 4-17-16,0 0-29 0,0 0 11 16,0 0-9-16,0 0-68 0,-2 15-13 0,-1-7 3 15,6 3-106-15,-3 1-7 0,0 3-2 0,-3 1-14 16,3 3-15-16,0 0 3 0,-3 5-16 15,3-5-50-15,-2 2 1 0,2 2-27 0,-3-4 28 16,3 1-16-16,0-3-10 0,0-2 21 16,0 1-23-16,1-4 7 0,-1-2-5 0,2 0 13 15,-2-2-5-15,0 2 12 0,0-3-12 0,0-4 10 16,0 2 16-16,2-1-21 0,-2-4 20 0,0 3 6 16,0-3-1-1,0 0 6-15,0 0 5 0,0 0-8 16,-13-7-13-16,6 5-7 0,2-4 2 0,-3 0 13 0,-2 1 5 15,0-1 5-15,0 1-2 0,0 0-3 0,-1 1 16 0,1-1-21 16,-3 3 23-16,2 2-31 0,1 0 18 16,-3 0 3-16,0 2-13 15,1 2-10-15,-1-1 25 0,2 3-2 0,-1 0 2 0,2 3-2 0,2-1-13 16,0-1 31-16,3 4-16 0,0-4-15 16,3 1 18-16,1 0-23 0,-1 1 3 0,2-2 14 15,2 0-7 1,0 0-10-16,2 0 23 0,3 1 0 0,-1-4-15 0,2 1 4 15,1 0-1-15,-1-2-4 0,5 0-12 0,-3-2-13 0,3-1-26 16,-1 0-15-16,2-1-23 0,0 0-23 16,0-3-23-16,3 2-39 0,-4-2-12 15,5 2-44-15,-2-2-92 16,-1 1-28-16,-5 1-41 0,4-1-430 0,0 0 74 0,2 2 128 0,-6-1 52 16</inkml:trace>
  <inkml:trace contextRef="#ctx0" brushRef="#br1" timeOffset="36299.25">2032 4546 1430 0,'0'-6'379'0,"-3"0"-13"16,3-1-20-16,-3 2 61 0,1 0-64 0,0 0 2 16,-1-1-35-16,0 0-39 0,1 2-7 0,0 1-8 15,-2-1-28-15,2 3-54 0,2 1-23 16,-5-5-5-16,5 5-11 0,0 0-19 0,0 0-4 15,-10 6-20-15,7-1-7 0,0 1-6 0,1 0 24 16,0 2-60-16,-1-1 31 0,2 1-35 16,1 0 32-16,0 0-37 0,0-1-19 0,4 3 34 15,-2-4-67-15,0 1 5 0,1-1-20 0,2 0-8 16,0-2-10-16,-2-1-3 16,4-1-20-16,1 1-26 0,0-2-23 0,2-1-26 0,0-1 9 15,1-1-40-15,-1 1-47 0,2-4-57 31,2 2-90-31,-4-2-110 0,5 0-407 0,-2 2 72 0,1-3 85 0,-2 1 78 0,3-3 80 16</inkml:trace>
  <inkml:trace contextRef="#ctx0" brushRef="#br1" timeOffset="36679.68">2314 4407 962 0,'0'0'363'0,"-10"1"-17"0,10-1-39 16,-3 5-38-16,0-3-26 0,3-2 21 15,0 9-11-15,0-5-7 16,3 3-116-16,-3 2-7 0,2-1 10 0,3-1 0 0,-2 3-28 15,2 2-10-15,0-3 18 0,0 2-11 0,-2 1-23 16,4-1-12-16,-1-2 25 0,-4 1-28 16,1-2 16-16,-3 0 24 0,3 2-40 0,-1-2 26 0,-2-1 23 15,-2 1 22-15,2-3 16 16,-3 2-10-16,0-3-31 0,1 1 41 16,-3 1-92-16,2-4 5 0,-4 2-10 0,2-1-85 0,2 0-43 15,-4-1-49-15,7-2-46 0,-8 4-100 16,5-4-163-16,-2 0-490 0,5 0 32 15,0 0 116 1,0 0 71-16,0 0 83 0,0 0 60 0</inkml:trace>
  <inkml:trace contextRef="#ctx0" brushRef="#br1" timeOffset="37214.53">2462 4431 1218 0,'-2'-4'417'0,"2"4"-25"0,0 0-31 0,-10 0-34 0,10 0-20 16,-5 6-22-16,5-6-40 16,-3 7-25-16,0-3-15 0,3 3-23 0,-3 1-16 0,2 1-17 15,1-1-24-15,1 3-10 0,0-3 1 0,1 3-19 16,2 0-5-16,0-1-13 16,-1 1-22-16,1 1-1 0,2-4-23 0,-1 2-10 15,-2-3 0-15,2 1-7 0,-2-2-16 0,2-1 5 0,-1 1 15 16,-1-2-20-16,2-1 21 15,-2-2-11-15,2 0 5 0,0 1-7 0,-5-2 15 0,10-3 13 16,-5 1-18-16,0-2-8 0,3-2 31 16,-3 2 5-16,1 0-31 0,1-3 16 15,1 2 2-15,-3-1 11 0,0 4-18 0,2-3 7 16,-1 1 8-16,-1 1-18 16,0 2 20-16,3-2-30 0,-3 2 15 15,-5 1-15-15,13 0 31 0,-8 2-16 0,0 1-3 0,2-1-7 16,1 3 13-16,-2-2-16 0,-1 1 6 0,0 3 15 0,0-3-23 15,0 3 10-15,0-1-13 0,-2-3-3 16,2 1 1-16,-3 2 28 0,1-5-26 0,0 3 31 16,0-3 10-16,-3-1-15 15,4 5-26-15,-4-5 49 0,0 0-10 0,6 1-8 0,-6-1 23 16,0 0-21 0,4-7 6-16,-4 7-11 0,4-5 9 0,-2-1-27 0,-2 1-5 0,2-2-4 15,1 1-22-15,-1 0-9 0,1 3-34 31,-1-3-43-31,-1 2-11 0,1-1-35 0,1 1-34 0,-1 0-27 0,1 0-60 0,2 1-79 0,-2 2-120 16,2-4-246-16,-1 3-200 16,2-2 59-16,1 1 123 0,-1-1 72 0,-1 1 87 15</inkml:trace>
  <inkml:trace contextRef="#ctx0" brushRef="#br1" timeOffset="37338.33">2860 4478 831 0,'5'0'395'0,"-5"0"-22"15,0 0-27-15,0 0-18 0,5 4-80 0,-2-2-20 16,-3-2-16-16,4 9-2 0,-3-3-44 15,2-2-7-15,-1 3 5 0,0 2-28 0,1-3-8 16,-3 2-1-16,3 3-57 0,-3-4-14 0,2 4-33 16,-2-4-44-16,0 1-89 0,0 2-158 15,-2-3-121-15,-1 1-433 0,3-1 54 0,-2-1 97 16,1-2 88-16,1-1 78 0</inkml:trace>
  <inkml:trace contextRef="#ctx0" brushRef="#br1" timeOffset="37948.92">2937 4219 1023 0,'2'6'433'0,"1"1"-95"0,-1-1-54 0,1 6-26 16,0-3-12-16,1 5-8 15,2 1-25-15,1-1 40 0,3 3-7 0,-2-2-13 0,-2 3-34 16,4 1-17-16,-5-2-31 0,1 1 5 0,1-3-20 15,-2 3-13-15,3 0-10 0,-6-4-16 16,1 2-23-16,2-4-13 0,-3-2 19 0,1 2-26 16,0-4-8-16,-1 0 20 0,-1-1 14 15,1-1-6-15,0-1-18 0,-2-3 41 0,0-2 8 16,0 5-18-16,0-5-2 0,0 0 7 16,0 0-26-16,0 0-17 0,0 0 0 0,3-17-11 15,-3 12 3-15,3-3-10 0,1 1 15 16,-1 1-5-16,2 0-105 0,1-1 13 0,-1 1-3 15,2 1 21-15,-2 1 2 0,3 1 0 0,0 2 16 16,0-2-16-16,-1 2 3 0,0 0 7 16,-7 1-2-16,14 2 11 0,-10 1 7 15,2-1-6-15,-1-1 29 0,-3 3 21 0,1 1-16 16,0-2 15-16,-1 3-15 0,-4-1 15 0,2 1-38 0,-3 1 47 16,0 0-19-16,-1 0 0 0,-2-2 8 15,1 1-21-15,0 0-35 0,0 0 9 0,-2-1-37 16,1 1-34-1,1-3-39-15,-3 1-47 0,4-2-40 0,0 0-63 0,-1 1-141 16,0-3-69-16,5 0-477 0,0 0 101 0,0 0 81 16,-3 3 149-16,3-3 20 0,0 0 75 0</inkml:trace>
  <inkml:trace contextRef="#ctx0" brushRef="#br1" timeOffset="38264.94">3357 4489 1154 0,'6'-8'394'0,"-2"2"-38"16,2-1-26-16,-4 0-112 0,0 0 2 0,-1 2 26 0,2 0-47 15,-3-1 80-15,0 1-28 16,0-1-5-16,0 4-24 0,0 2 4 0,-3-7-6 16,2 3-44-16,1 4-7 0,0 0 11 0,-10 1-32 15,10-1-20-15,-7 6-10 0,4-1-24 16,1 0-12-16,0 2 5 0,-1-1 18 0,3 2-33 15,-3 2 0-15,3-2-8 0,0 2-13 0,0-1 23 16,3-1-30-16,-1 3 7 16,-1-3-26-16,3 0 19 0,-1 0 28 0,0 0-47 15,1-3-50-15,2 1-6 0,-2-1-46 0,0 1 3 0,0-4-26 16,-1-2-15-16,-3 0-5 16,8 1-75-16,-8-1-74 0,0 0-140 0,10-3-554 15,-10 0 73-15,0 3 91 0,0 0 59 0,-3-6 95 16,3 6 59-16</inkml:trace>
  <inkml:trace contextRef="#ctx0" brushRef="#br1" timeOffset="38812.93">3670 4349 1118 0,'0'0'366'0,"-10"-2"-23"0,10 2-33 0,-8 0-16 0,8 0-53 0,-10 2-11 0,10-2-28 16,-8 1-38-16,6 1-18 0,-1 2-5 0,0-2 0 15,1 3-24-15,2-1-12 0,0 1-20 0,0 0-3 16,0 2 25-16,2-1-33 16,1 1-12-16,0 1-6 0,1-1-2 0,-1-1 2 0,2 1-4 15,-2-1 19-15,2 0-2 0,-3 1 29 16,1-4 1-16,0 2 86 0,-3 0-16 0,3-3 12 16,-3 4-7-16,0-2-43 0,-3 2 0 15,0 0-9-15,-2 1-22 0,0-1-64 0,-3 1-41 0,1 0-31 16,-3 0-87-16,2-1-74 0,0 0-113 15,-2 1-693 1,2-3 64-16,3 1 76 0,-3-3 123 0,3-1 67 0,0 3 77 0,5-4 63 16</inkml:trace>
  <inkml:trace contextRef="#ctx0" brushRef="#br1" timeOffset="39300.85">4291 4100 1203 0,'0'0'417'0,"0"0"-5"0,2 14-33 0,-2-6-121 15,2 1-12 1,-1 4-28-16,1 0-26 0,1 1-26 0,-1 4 5 0,1-1-22 0,2 3 48 16,-5-1-38-16,3 0 22 0,-1 1-47 0,0-2-12 15,-1 1 29 1,2-1-41-16,-3-1-10 0,2-4-33 0,-2 0-1 0,2-1 19 16,-2-1-70-16,3-2-35 0,-3-2-6 0,0-1-35 15,0 0-39-15,3-1-38 0,-3 1-80 16,0-4-99-16,0-2-70 0,2 3-506 0,-2-3 133 15,0 0 10-15,0 0 82 0,0 0 58 0</inkml:trace>
  <inkml:trace contextRef="#ctx0" brushRef="#br1" timeOffset="39851.15">4444 4090 1098 0,'0'0'348'0,"0"0"-21"15,0 0-19-15,0 0-12 0,1 13-40 0,0-7-18 16,0 3-5-16,1 0 52 0,-2 2-35 16,3-2-24-16,-3 3 17 0,0 0-38 15,1 1-26-15,0 0-26 0,0 0-84 0,1 1-5 0,-2-3-7 16,0 4-9-16,3-3-2 15,-1-3 11-15,-2 1 7 0,0-3 15 0,1-1 16 16,1 0-13-16,-2 0 69 0,2-3-5 0,-2 1-6 16,3 1 6-16,-3-5 0 0,3 2-8 0,-3-2-12 15,5 1-44-15,-5-1 5 0,8 0-3 16,-8 0-27-16,10 4-9 0,-3-7-2 16,-7 3 18-16,11 0-5 0,-6 0-10 0,2-1-24 0,-7 1 16 15,13 0-20-15,-7-1 27 0,2 0-37 16,1-3-11-16,-1 1 23 0,-3 0-10 0,3 1 10 15,0-4-8 1,-4 2-7-16,4 1-6 0,-3-3 16 0,-2 1-13 0,2 3 21 0,-3-3 56 16,2 2-44-16,0 0 47 15,-4 3 9-15,3-4-7 0,0 2 21 0,-3 2-26 0,0 0-39 16,0 0 26-16,0 0 31 0,0 0-31 0,7 9-48 16,-7-5-14-16,3 2 47 0,-3-1-26 0,2 1 18 15,0 0-38-15,1 0 8 0,0-1-16 16,-2-1-57-16,1 2-7 0,0-2-5 0,1-1-21 15,-3 1-43-15,2-2-36 16,-2-2-12-16,0 0-42 0,1 5-20 0,-1-5-36 16,0 0-51-16,0 0-152 0,0 0-593 0,0 0 87 0,0 0 103 15,0 0 81-15,-21-8 82 0,13 5 57 16,-2 0 66-16</inkml:trace>
  <inkml:trace contextRef="#ctx0" brushRef="#br1" timeOffset="40082.49">4124 4281 1087 0,'0'0'451'0,"-8"0"-49"15,8 0-16-15,0 0-15 0,0 0 39 0,0 0-47 16,0 0-20 0,20-6-46-16,-7 3-10 15,3 0-36-15,4-1-8 0,3 2-5 0,-2-3-25 0,10 0-106 0,10-4-20 0,2-1 0 0,-2 2-18 0,0-2 16 16,-2 3-34-16,-8 0-28 0,-5 1-33 15,-4 3-31-15,-3-2-36 0,1 1-48 0,-7 1-65 16,-3 1-125-16,3-6-120 0,0 8-535 16,-6 0 192-16,-1 4 20 0,-2-4 24 0,1 1 71 15,1 1 51 1</inkml:trace>
  <inkml:trace contextRef="#ctx0" brushRef="#br1" timeOffset="40690.87">5567 3884 1233 0,'0'0'351'0,"-10"10"-13"16,10-2-41-1,-3 3-26-15,3 2-25 0,-2 1-18 0,2 5-13 16,0 3-16-16,2-2-17 0,-2 4-31 0,0-2-8 0,0 3-35 15,1 0 17-15,1-3-27 0,1-2-22 16,-1-1 19-16,-1-2-44 0,1-3 3 0,0-1 2 16,1-1-4-16,-1-2-1 0,1-2-33 15,-3 0 0-15,2-2-1 0,-2 1 14 0,1-3 0 16,1 1 38-16,-2-5-41 0,0 0 8 0,0 0-8 16,-5 2-7-16,5-2 4 0,0 0 29 0,-12-5-26 15,6 2 18-15,-2 1 3 0,1-1 2 16,-1 2 8-16,-2-3-23 0,0 4 5 0,0-1 5 15,1 1 18-15,-3 1-5 0,-1 3-13 16,0-1-5-16,1 1 87 0,1 1-13 16,1-2-20-16,-3 2 17 0,5 1-4 0,0 1-39 0,0-2 28 15,1 1-15-15,4-1-95 16,-1 2 31-16,3-4-20 0,1 3-6 0,1-1 8 16,1 0 15-16,1-2 1 0,4 1-11 15,-1-2 2-15,1 2-37 0,3-3-32 0,0 1 1 16,1-2-36-16,2 0-37 0,-1-2-19 0,1 1-34 15,3-3-51-15,-3 0-51 0,2-1-103 0,-4 1-102 16,4-2-445-16,2 0 99 16,-4 1 59-16,0 0 98 0,0 0 56 0</inkml:trace>
  <inkml:trace contextRef="#ctx0" brushRef="#br1" timeOffset="41420.61">5870 4179 1223 0,'0'0'353'0,"0"-4"-33"16,0 4 16-16,0-6-16 0,0 6-39 0,-5-4 1 15,5 4-14-15,-8-3 86 0,5 3-70 16,3 0-49-16,-10 0-9 0,10 0 1 16,-10 1-30-16,5 1-5 0,0 2-12 0,-1-2-106 15,-1 2 0-15,1 2 23 0,2-3-48 0,-2 2 10 16,2-1-8-16,-2 0 13 0,1 1-31 0,2-1 16 15,1-1 7-15,-1 2-48 0,1 0 17 0,2-5-12 16,2 5-18-16,-2-5 15 0,3 3-2 16,-1 1 15-16,-2-4-33 0,8 0 30 15,-8 0-2-15,10-4-10 0,-10 4 7 0,11-1-7 16,-6 0 12-16,2 0-25 0,1-1 18 0,-2 1 5 16,1 1-26-16,-2-2 31 0,3 2-20 15,-8 0 5-15,13 0-1 0,-8-3 11 16,2 3-18-16,-1-1 8 0,2-1-13 0,-1-1 2 0,0 0 8 15,1-1 8-15,1 1-20 0,1-4-22 16,0 1 42-16,-3-2-5 0,4 0 5 16,-1-3 28-16,-3 1-3 0,1 1 21 0,0-1 13 15,0-2 25-15,-1-3-31 0,-2 4 34 16,0-6-18-16,-1 4 36 0,-2 0-23 16,2 1-1-16,-3-1-37 0,2 1 71 0,-3 5 2 0,2-3 11 0,-2 2 30 15,2 1-2-15,-2 1-43 16,0 0-9-16,0 3-6 0,0 3-70 0,0 0-41 15,0 0 0-15,0 0 0 0,-4 17 0 0,0-6 0 16,4 2 0-16,0 0 0 0,0 1 0 16,0 3 0-16,1 1 0 0,4-3 0 15,-3 2 0-15,1-2 0 0,2 0 0 16,0-2 0-16,0-1 0 0,1-3 0 0,-1 1-223 0,0-3-38 16,0-1-26-16,0 0-59 15,0-2-58-15,1-7-187 0,-1 5-507 0,0 1 81 0,-5-3 122 16,10-2 65-16,-10 2 147 0,5-3 89 0,-3-1 0 0</inkml:trace>
  <inkml:trace contextRef="#ctx0" brushRef="#br1" timeOffset="41614.5">5898 4087 1005 0,'-5'0'428'0,"0"-2"58"0,5 2-33 0,0 0-51 15,-8-1-38 1,8 1-37-16,0 0-20 0,0 0-25 0,0 0-3 0,0 0-51 0,0 0 0 15,11-7-1-15,-1 5-42 0,0-1-55 16,3 0-2-16,2 0-33 0,3-1-36 0,0-2-34 16,3 2-35-16,4-4-54 0,0 3-28 15,-1-1-67-15,2 1-104 0,-4 2-160 0,6-2-506 0,-4 3 38 16,-1-3 126-16,0 4 61 16,0-2 90-16,-3 3 64 0</inkml:trace>
  <inkml:trace contextRef="#ctx0" brushRef="#br1" timeOffset="42015.8">6493 4010 1361 0,'-10'2'476'0,"2"1"-51"0,-4 2-46 16,1 0-26-16,1-1 18 0,0 1-33 0,-1 1-33 16,1-1 0-16,3 1-62 15,1-1-49-15,-1-1 11 0,1 0-44 0,1 1 8 0,5-3-36 16,-3 2 13-16,3-4-31 0,0 0 19 16,6 6-96-16,-1-6 8 0,-5 0-18 0,16-5 36 15,-7 4 16-15,4-3-22 0,-3 2 58 16,-2-2-37-16,2 1 59 0,1-3-7 0,1 2 12 15,-4 0-28-15,0 0 18 0,0 1 0 0,-1 1-12 16,-1 1-42-16,1 1-12 16,-2-4 43-16,1 4-8 0,-6 0-46 15,12-1-48-15,-9 0-44 0,-3 1-48 0,10 1-39 0,-10-1-79 16,8 1-57-16,-3 3-81 0,-5-4-231 0,5 0-532 16,-5 2 125-16,2 3 69 0,-2 0 80 0,3-3 87 15,-3 2 48-15,0 0 90 0</inkml:trace>
  <inkml:trace contextRef="#ctx0" brushRef="#br1" timeOffset="42370.2">7039 4044 1195 0,'3'-3'443'0,"-3"3"-41"0,0 0-21 16,0 0-43-16,4 11-26 0,-4-6-38 15,0 2-36-15,3 0-10 0,0 3-41 0,-3-3-11 16,2 1-37-16,-2 2-58 0,1-2-55 0,-1 1-52 16,2-1-27-16,0 0-80 15,-2-1-108-15,-2-1-158 0,2 1-492 0,2-1 138 16,-2-1 62 0,0-3 67-16,0-2 38 0</inkml:trace>
  <inkml:trace contextRef="#ctx0" brushRef="#br1" timeOffset="42485.21">7036 3970 624 0,'-12'0'-84'0</inkml:trace>
  <inkml:trace contextRef="#ctx0" brushRef="#br1" timeOffset="42816.68">7111 3994 1003 0,'2'6'343'0,"1"2"-10"16,-1-1-19-16,1 0-34 0,0 2-17 15,-1-1-22-15,0 1-6 0,1-1-35 0,0-1-8 16,-1-1-10-16,1 1 58 0,-3-1-7 15,3-1 3-15,-1-2-21 0,0 2-5 0,1-4 17 16,2 3 24-16,0-4-54 0,-5 0-20 0,11 0 2 16,-11 0-2-16,13 0 15 0,-8-3 0 15,2 2-5-15,3 1-24 0,-4-1-9 0,4 0-18 16,-3 1 22-16,1 0-53 0,2 0-13 0,-1 0 8 16,1 2 13-16,0-1-39 0,-2 2-28 15,2 0-51-15,-2 0-26 0,-1 0-40 0,1 1-42 16,-3 1-56-16,2-2-54 15,-1 2-117 1,-8 0-359-16,6 1-384 0,2-2 88 0,-2 1 101 0,-1-1 109 0,2-2 106 0,-2 2 70 0,2-2 28 16</inkml:trace>
  <inkml:trace contextRef="#ctx0" brushRef="#br1" timeOffset="43343.13">8188 3858 985 0,'-3'-2'381'0,"-2"-2"-22"0,5 4-29 15,-10 0-33-15,10 0-26 0,-16 5-12 16,6-2-24-16,-2 2-27 0,1 0-9 16,1 0-22-16,0 1-16 0,-1 0 0 0,1 0-35 15,2 1-14-15,1-1 16 0,1 1-38 0,2 0-11 16,1 0-4-16,3 0-9 0,0 2-10 16,2-2 3-16,-1 1 26 0,3 3-37 0,1-3-2 15,1 3-7-15,1-2 22 0,3 1-22 16,-2-2-3-16,0 3 2 0,2 0 8 0,-2-4 8 15,-1 2-3-15,1 1-8 0,-2-2 19 16,-2-2 81-16,-1 2 18 16,0 0-17-16,-3-1 68 0,0-1-76 0,0 1 35 0,-6 0-30 15,-1 1-46-15,-1 2 7 0,-2-4 21 0,-5 2-3 16,-1 0-25-16,1 1-36 0,-1-3-10 16,-1 0 20-16,-1 1-15 15,2-1-49-15,1-2-31 16,2-1-17-16,-2 2-29 0,4-4-56 0,1 1-18 15,0-1-28-15,2-1-49 0,0-2-10 0,4 0-41 0,1-1-69 0,0 0-133 0,3-3-69 16,3 0-361-16,2-3 15 16,3-1 100-16,2-2 80 0,5-1 66 0,0-3 64 15</inkml:trace>
  <inkml:trace contextRef="#ctx0" brushRef="#br1" timeOffset="44189.48">8106 4009 867 0,'12'-7'307'0,"-4"1"-53"0,0 4 9 0,-3-2 14 0,-2 4 38 15,-3 0 15-15,0 0-23 0,10 6-25 0,-8-2-106 0,1-2 32 16,-1 5-32-16,1 3-22 0,-1-3-21 15,-1 1 8-15,1 4-24 0,1-1-14 16,0 1-14-16,1 0 27 0,-1 0-34 0,2-2-8 16,0 1-28-16,0 0 38 0,1-4-35 0,-2 1-21 15,2-1-5-15,-1-2 5 16,0 2-2-16,2-4 2 0,-1 0-20 0,2-3 17 0,2 0 6 16,-3 0 2-16,1-3-7 15,0-1 79-15,0 0 36 0,-3-3-57 0,4 0 11 0,-5-2 2 16,0-2-7-16,-3 0-6 0,-1 2 24 15,-1-1 7 1,-3-1-41-16,0 1 0 0,-3 1-2 0,2 1-3 0,-3 0-51 0,3 3 20 16,-3 0 16-16,-1 2-31 0,0-2-25 0,2 4 22 0,-1 1-5 15,0 0 8-15,1 0 3 0,-1 0-34 0,3 0 1 32,-3 3-4-32,3-2 19 0,0 1-33 0,0 0 9 0,5-2-4 0,-5 5-19 15,5-4-2-15,0-1 21 0,-2 5-13 0,2-5-6 16,7 3 32-16,-2-2 14 15,0 1-35-15,2-1 8 0,1 0 17 0,1-1-23 16,1 1 32-16,0 2-32 0,2-3 5 0,-2 2 14 0,4 0 35 16,-4 0-28-16,3 0 5 15,0 0-23-15,-1 3 21 0,-2-4-3 0,1 3 10 0,-3-1-10 16,1 1-13-16,-1-2-2 0,0 3 25 16,0-2-18-16,-1-1-22 0,-1 0 35 15,-2 1-26-15,0 0 42 0,0-2-11 16,-1 1 0-16,-3-2 8 0,8 3 15 0,-3 0-12 0,-5-3 15 15,5 0 10-15,-5 0-3 0,0 0 11 16,0 0-44-16,10-4 31 0,-10 4-2 16,6-4-21-16,-4 0 15 0,1 1 5 0,2 0-20 0,-3-1 18 15,3-1 5-15,0 2-28 0,-2 0-8 16,2-1 0-16,0 3 16 0,-2-2-14 0,2 1 16 16,-5 2-25-16,8-3 27 15,-4 3-22-15,-4 0-16 0,11 0 18 0,-6 3 3 0,0-1 10 31,0 2 10-31,0-2-18 0,-1 4 18 0,0 1-12 0,2-2-24 0,-2 0 41 0,-1 1-20 16,0 1-16-16,1-1 1 0,-3 0 4 16,1 0-19-16,1-2 58 0,-3 2-47 0,2-3 14 15,-1 2 20-15,1-3 26 0,-2-2 30 0,3 7-20 16,-1-6-28-16,-2-1 54 0,0 0-13 0,3 4-47 16,-3-4 14-16,0 0 43 0,0 0-56 15,10-5 35-15,-8 3-38 0,4-2-2 0,-2 1 30 16,0-2-30-16,1 2 17 15,2 1 6-15,-2 0-39 0,1-2-5 0,2 2 24 16,-2 2-22-16,0-3 37 0,-6 3-11 0,12 0-20 0,-4 0 7 16,0 3 24-1,0-3-21-15,-1 1-36 0,1 1 34 0,0 2-21 0,0-3 0 16,-3 1 0-16,2 1 0 0,1-1-26 0,-3 1-7 16,1-1-31-16,-2-1 2 0,-1 4-15 0,2-4-74 15,-2 1 5-15,-1 3-89 16,1-2 0-16,-1-1-29 0,1 0-38 0,-3-2-90 0,3 6-140 15,-1-3-490-15,-2-1 70 0,0-2 100 0,3 5 99 16,-3-5 85-16,2 1 44 0,-2-1 68 16</inkml:trace>
  <inkml:trace contextRef="#ctx0" brushRef="#br1" timeOffset="44478.99">8824 4178 870 0,'4'-7'438'0,"2"1"-16"0,-4 0-31 16,1-1-48-16,2 1-69 15,-2-2-38-15,2 1-1 0,-3-3 1 0,0 2-11 0,-1-2 18 16,1 1 70-16,1 2 9 0,-3 1-2 0,0 0-51 16,-3 0-31-16,3 1 5 0,-2 3-28 15,2 2-26-15,-1-5-12 0,1 5-3 0,0 0-31 16,0 0 3-16,0 0-13 0,-10 12-40 0,8-7 19 31,0-2-12-31,2 4-8 0,0-1 13 0,0-1-36 0,0 1-10 0,0 0-3 16,0 0 34-16,2 0-44 0,0 0-23 0,1-3-15 15,0 1-6-15,1 1-58 0,-1-2-39 16,2 1-43-16,-2-2-33 0,2-1-29 0,0 2-87 16,1-1-281-16,-2 0-576 0,2 1 158 15,-1-3 83-15,2 1 74 0,-1 0 102 0,-1-1 92 32,5 0 31-32</inkml:trace>
  <inkml:trace contextRef="#ctx0" brushRef="#br1" timeOffset="45229.94">9913 3934 1374 0,'-2'16'379'0,"2"-10"-23"0,0 3-26 0,-3 3-54 0,3 2-33 0,0 2-27 16,3-3-4-16,-6 1-23 15,6 2-50-15,-3-3 9 0,0-1-15 0,2 0-18 16,-2-3 6-16,2 1-24 0,-2-2-28 0,1 1 5 16,-1-1 8-16,2-1 18 0,-2-4 13 0,3 2-14 15,-1-2-68-15,-2-3-15 0,3 1 27 16,-3-1-15-16,0 0 8 15,10-4 25-15,-8-1-4 0,4 1-21 0,-1-2-6 0,0-3 16 16,3 1-17-16,-1 0 6 0,1 2-4 16,0-4-5-16,-3 5 17 0,2 1-27 0,1-2 19 0,-2 2-14 15,-1 2 15-15,2-1-3 0,1 3-13 32,-8 0 39-32,11 3-28 0,-4-1-8 0,-2 2 13 0,0 0-8 0,0-1 21 0,-2 2-29 0,2-2-2 15,-2 2 13 1,2 0-6-16,-3-2-17 0,1 0 0 0,-1 0 33 0,1 1 0 0,-3-4 12 15,5 3 4-15,-3 0 22 0,-2-3 64 16,3 3 47-16,-3-3-3 0,0 0-23 16,0 0-11-16,0 0 6 0,0 0-3 0,11-8-33 15,-9 3-8-15,0-1-33 0,1 0 38 0,2 2 3 16,-2-4-44-16,2 4 44 0,0-2-30 16,1 2-93-16,-2-1 0 0,2 3 0 0,-1 1 0 15,3-2 0-15,-1 2 0 0,-7 1 0 16,15 4 0-16,-7-3 0 0,2 4 0 0,-2-3 0 15,0 2 0-15,2 3-34 0,-3-2-37 0,1 2-22 16,-2-1 27 0,1-2-62-16,-2 4-74 0,0-4 5 0,0 2-18 0,1-1-59 0,-4 1-36 0,3-1-13 15,-2-2-127-15,0 0-100 16,-1 0-464-16,3 0 98 0,0-2 73 0,-5-1 91 16,11 0 53-16,-4-1 69 0</inkml:trace>
  <inkml:trace contextRef="#ctx0" brushRef="#br1" timeOffset="46015.31">10498 3981 1210 0,'-1'-5'397'0,"1"0"-28"0,-2 0 25 0,0 2 41 0,-1-1-56 0,0 2-8 0,-2-1-66 16,5 3-1-16,-10-1-45 0,3 1 12 0,1 3-38 16,-4-1-36-16,5 3-18 0,-3 1-33 0,0 1-8 15,1-1-17-15,-1 2 25 16,0 1-11-16,0-1-27 0,1 0-39 0,2 2-8 0,0-4 11 15,2 1-21-15,-2 0 5 0,2 0-25 16,1-2 10-16,-1 1-8 0,1-3 1 0,2 2 1 16,2-1-35-16,-2-4 16 0,5 2 9 15,-5-2 6-15,0 0-26 0,11-2 8 16,-11 2 10-16,10-4-5 0,-5-1-13 0,-2 2 54 16,4-4-28-16,-1 2 7 0,-1 0-28 0,2-2 24 15,-4 1 17-15,2 1-28 0,0-2 13 16,1 4-34-16,-4-2 37 0,0 1 14 0,1 3-40 0,-3 1-5 15,5-4 25-15,-5 4-10 16,0 0 5-16,0 0 0 0,0 0 1 0,0 0-4 0,8 8-12 16,-8-5 10-16,2 2-20 0,-2 0 35 15,1-2-10-15,3 1-25 0,-4 2 17 16,3-3-25-16,-1 1 31 0,-2 1-6 0,1-3-33 16,1 2 36-16,-2-4-38 0,3 4 7 0,-3-4 14 15,2 3-14-15,-2-3-2 16,3 3 17-16,-3-3 21 0,2 3 6 0,-2-3-50 0,0 0 50 15,0 0-37-15,0 0 29 0,13-6 9 16,-8 6 1-16,-2-4-31 0,-3 4 24 0,5-3-17 16,-2 3 4-16,-3 0 4 0,7-4-2 15,-7 4-10-15,8-2 30 0,-8 2-38 0,0 0 0 16,10 2 23-16,-10-2 13 0,5 4-15 16,-2-2-11-16,0 3-2 0,-1-3 17 15,1 2-22-15,-1-1-8 0,3 1-1 0,-4 1 9 0,1-3 23 16,3 0-24-16,-5-2 34 0,3 5-8 15,-3-2 8-15,0-3-18 0,5 3 41 0,-5-3 5 16,2 4-10-16,1-3-54 0,-3-1 0 0,0 0 0 16,5 2 0-1,-5-2 0 1,0 0 0-16,0 0 0 0,0 0 0 0,10-7 0 0,-7 5 0 0,-3 2 0 0,5-4 0 0,-2 1 0 0,1 0 0 16,-1 1 0-16,2 1 0 15,-5 1 0-15,11-2 0 0,-11 2 0 0,10 2 0 0,-5 0 0 16,2 0 0-16,-1 3 0 15,1-1 0-15,-1 2 0 0,1-2 0 0,-2 1 0 0,-2 0 0 16,2 1 0-16,0-1 0 0,0 1 0 16,-2-3 0-1,0 1 0-15,-1-1 0 0,0 2-134 0,-1-2-47 0,-1-3-16 0,5 3-72 0,-5 2-41 16,0-5-51-16,2 2-130 0,-2-2-103 0,0 0-466 16,0 0 110-16,0 0 62 15,0 0 146-15,0 0 76 0,0 0 39 0,5-9 95 0</inkml:trace>
  <inkml:trace contextRef="#ctx0" brushRef="#br1" timeOffset="46816.49">10800 3981 1415 0,'0'0'417'0,"0"0"-110"0,0 0-10 0,0 0-20 0,3 15-37 16,-1-9-12-16,-2 1-18 0,0 2-23 0,3-2-5 15,-3 0-3-15,0 0-33 0,0-1-16 16,3 1 3-16,-3-1-15 0,0 0 8 16,2-1 12-16,-2 0 18 0,0-2 113 0,0 2-34 0,0-5 29 15,2 3 7-15,-2-3-38 0,0 3-46 16,0-3-18-16,0 0-10 0,0 0 10 0,9-6 2 16,-5 1-7-16,-1 2-36 0,4-2-8 0,-1 0-2 15,-1 1 5-15,0 1-62 16,0-2 62-16,0 3-118 0,0-1-10 0,1 1 46 15,1 2 10-15,-7 0-12 0,11 1-42 0,-7 1 21 16,2 1 33-16,2 2-53 0,-3-3 9 16,2 3-32-16,-2 1 32 15,1-1-48-15,-4 0-2 0,4 0-36 0,-4 1-21 0,0-2-10 0,1 2-31 16,0-2-51-16,-3 1-31 0,0-1-23 16,2 1-27-16,-2-2-60 0,0 1-10 0,-2 2-103 15,4-3-25-15,-2 1 31 0,0-4-33 31,0 6 9-31,2-3-60 0,-2 1 145 0,0-4 141 0,0 5 41 0,3-3 84 0,-3-2 59 16,0 0 47-16,3 4 37 0,-3-4 32 0,0 0 63 16,5 0 1-16,-5 0 22 0,0 0 3 0,10-3 8 15,-5 1-3-15,0-4 8 16,1 1-3-16,-2 0-5 0,2-2 26 0,2-2-13 0,-4 0-8 16,4 0-15-16,-3-2 87 0,1 2-28 0,-2-2-18 15,2 0-1-15,-1 2 29 0,-2-1 0 16,-1 3 3-16,0 0-11 0,-1 0-28 0,1 2-22 15,1 0 32-15,-3-1-23 0,2 4-58 16,-2 2 2-16,0-6-26 0,0 6-17 16,0 0 12-16,0 0-4 0,0 0 4 0,0 0-5 0,0 0 16 15,0 0-24-15,0 0-32 0,0 14 7 16,2-8 5-16,-1-2 2 0,4 3-9 16,-2 0 9-16,2-1 9 0,0 1-19 0,0 1 11 15,0 1-16 1,0-1-7-16,0 2 9 0,-2-3 11 0,0 0-12 0,1 1-16 0,-3 2-8 0,4-3-31 15,-5 0 24-15,2 0-13 0,1-1 17 16,-3-2 14-16,2 2 4 0,-2-3 6 16,3 0-59-16,-3-3-10 15,3 3 20-15,-3-3 20 0,0 0-4 0,0 0 7 0,0 0-31 0,10-7 6 0,-6 1 20 16,0-2 15-16,0 1-38 16,2-4 23-1,1-1-13 1,1-1-38-16,0-1 5 0,0 1-3 0,2-1-48 0,-2 0 7 0,-1 1-37 0,3 0-42 0,-2 0-36 0,0 2-38 15,2-1-26-15,-2-1-89 0,-1 1-239 0,-1 3-478 16,2-1 148-16,-1 2 62 0,-2-3 102 16,3 2 54-16,-4-1 59 0,4 1 72 0</inkml:trace>
  <inkml:trace contextRef="#ctx0" brushRef="#br1" timeOffset="47498.07">13518 2919 1354 0,'0'0'440'0,"7"8"-15"15,-6-4-23-15,-1 3-36 0,2 1-39 0,1 3 3 0,-1 2 37 16,-1 1-53-16,1 5-40 0,0-1 3 0,-2 3-60 16,0-5-30-16,0 1-13 0,0 2-30 0,0-4-60 15,0 1-43-15,0-2-92 0,0 0-39 16,0-2-33-16,0-2-25 0,0-1-113 0,3-1-126 16,-3-1-578-16,0-2 121 0,3 0 68 15,-3 0 54-15,0-5 75 0,4 1 68 0</inkml:trace>
  <inkml:trace contextRef="#ctx0" brushRef="#br1" timeOffset="47809.95">13559 2829 1297 0,'15'4'338'0,"-10"-1"-23"15,3 0-41 1,5 3-69-16,0 0-44 0,2 0 16 0,3 1-39 0,3 2-8 0,4 0-2 16,-2-1 13-16,3 2-26 0,-3-1 18 15,0 2 6-15,0 0-17 0,-5-1-1 0,0 2-6 0,-5 0-5 16,0-2 13-16,-6 4-26 0,-1 0-7 0,-4 2 25 16,-2-1-28-16,-5 4 20 15,-3 3-25-15,-10 8 51 0,0-1 13 0,-5 1-59 16,-2 1-38-16,1-1-39 0,-1 0-102 0,-9 9-77 15,11-7-281-15,-3 0-500 0,-6 4 85 16,6-8 135-16,0 2 34 16,-2-2 84-16,3 0 77 0</inkml:trace>
  <inkml:trace contextRef="#ctx0" brushRef="#br1" timeOffset="50558.24">14579 3027 870 0,'-2'-4'361'15,"2"4"-57"-15,0 0-14 0,0 0-37 0,0-4 5 16,0 4-40-16,0 0-16 0,12-4-28 0,-4 2-2 16,0 1-26-1,5-3-16-15,2 0 88 0,-2 1-31 0,5-1-46 0,0 1-19 0,2-2-14 16,-2 0-6-16,3 2-53 0,-4-3-54 0,1 3-18 16,-5 0-41-16,3-1-57 15,-3 1 11-15,-3 1-23 0,0 0-5 0,-2 1-13 16,0-2 41-16,-4 1-3 0,0 1 24 0,-4 1 58 15,4-3 13-15,-4 3 23 0,0 0 3 16,0 0 38-16,0 0-8 0,0 0 16 0,0 0 28 16,-18 7-10-16,13-3-13 0,-2-1 10 15,2 4-18-15,-1-2 23 0,1 2-7 0,-2 1-34 16,1 0 5-16,1 2-12 0,-2-1-8 0,1 3 13 16,1-2-14-16,-2 2 7 31,-1 1-12-31,1 0-17 0,1-1 15 0,-2 0-2 0,-2 0-10 0,3-3 4 0,-4 1 16 0,4-1 3 0,-3-2-11 15,0 2 26-15,2-2 43 16,2-1 11-16,-1-3 14 0,-1 1 4 0,2 0 25 16,-1-1-51-16,2-1-31 0,2 0 3 0,-4 1-13 15,4-1-10-15,3-2 22 0,-7 4-35 16,6-1-2-16,1-3 7 0,0 4 0 0,0-4-5 16,3 5 5-16,2-4-5 0,3 1 12 0,-3 0-14 15,0-2-16-15,3 1-21 16,2-2-30-16,3 1-39 15,-2 0-35-15,1 0-39 0,-2-2-128 0,3-2-89 0,2 3-510 0,-2-4 80 0,0 1 86 16,3 1 70-16,-1-4 92 0</inkml:trace>
  <inkml:trace contextRef="#ctx0" brushRef="#br1" timeOffset="50810.12">15066 2953 1123 0,'-2'-3'471'0,"2"3"-54"0,0 0 8 0,0 0-133 16,-10 10 2-16,7-1-40 0,-2-3-16 0,3 3-13 16,-4 3-12-16,4 2-29 15,-1 1-5-15,-2 4 41 0,2 0-5 0,1-1-25 16,-1 1-14-16,1 0-43 0,2-2-30 0,0-1-42 16,0-2 8-16,2 0-5 0,1 0-69 15,2-4-8-15,-2 1-17 0,-1-1-24 0,3-3-28 16,0 0-2-16,0-2-42 0,1-3-61 0,-2 0-151 15,0 0-163-15,3-2-436 0,-7 0 118 16,10-5 79-16,-4 0 77 16,-2-1 87-16</inkml:trace>
  <inkml:trace contextRef="#ctx0" brushRef="#br1" timeOffset="51029.68">14928 3115 1348 0,'-8'0'392'0,"8"0"-54"0,0 0-16 0,-7 0-27 0,7 0-21 16,0 0-21-16,0 0-40 0,0 0-21 16,0 0-6-16,0 0 70 0,15 6-25 0,-7-6-19 15,2-1-51-15,2 1-63 0,4-1-21 16,-1-1-72-16,1 0-77 0,-1 0-61 16,3 1-172-16,0-2-532 0,3 2-23 0,-3 0 126 0,-3-2 60 15,3 1 55-15,0 1 84 0</inkml:trace>
  <inkml:trace contextRef="#ctx0" brushRef="#br1" timeOffset="51801.28">15772 2984 1236 0,'-3'5'425'0,"0"0"-31"15,3 1-43-15,0 0-49 0,-2 2-11 16,2-1-45-16,-2 4-51 0,2-3-19 0,0 1-12 31,0 0 10-31,2-1-56 0,-2 2-21 0,0-4 8 0,0 2-15 0,0-1-3 16,2-2-18-16,-2 2 5 0,0-4 36 0,0 0-41 15,0-3-20-15,0 6 30 0,0-2-40 0,0-4 22 16,0 0-10-16,0 0 3 16,0 0-3-16,0 0-2 0,0 0 25 0,6-10-28 0,-4 5-2 15,1-1 12-15,-1 0 0 0,3-1 11 16,-2 1-31-16,2 0-23 0,-2 2 27 0,4-2-22 16,-2 3 5-16,1-2-25 0,-2 2 30 0,2 1-10 15,-1 0 2-15,3 1-12 16,-8 1 25-16,12 3-15 0,-6-2 3 0,-2 1 10 0,2 3-24 15,-1 0-12-15,0-2 5 0,-2 1 23 16,2 1 18-16,-3-1-28 0,1 1 12 0,-1 1-17 16,1-2 15-16,0-2 33 15,-3 3-91-15,2-3 35 0,1 1 18 0,-3-3 17 0,3 7-1 16,-1-6-11-16,-2-1 13 0,2 4 30 16,-2-4 67-16,0 0 5 0,0 0-15 0,0 0 3 15,0 0-24-15,0 0-15 0,10-9-2 0,-7 3-1 16,0 4-2-16,1-3-44 0,0 0 29 15,1 2-8-15,2-2-18 16,-2 1 30-16,1 1-42 0,2 2-1 0,-1-2 23 0,-2 3-31 16,3 0 11-16,2 1-13 0,-2 1-18 0,2 0 26 15,-3 2-3 1,1 0 0-16,2 0-31 0,-2-1-15 0,0 4-15 0,-1-3-57 0,-1 2-10 16,-1 0-59-16,3-1-28 0,-3 0-2 0,0 2-47 15,0-4-25-15,0 1-54 16,1-2-133-16,1 2-164 0,0-3-387 0,-1 0 152 0,2-1 25 15,2-2 88-15,0 1 58 0,1-2 87 0</inkml:trace>
  <inkml:trace contextRef="#ctx0" brushRef="#br1" timeOffset="52138.71">16338 3033 1123 0,'0'-4'440'0,"0"0"11"15,-2 0-100-15,1-1-42 0,1 5-45 0,-4-3 5 16,4 3-31-16,-8-3-18 15,8 3-18-15,-10 3-15 0,4-1-3 0,-1 2-45 0,-1 0-14 0,2 2 6 16,-3-1-16-16,4 1-5 0,-3 0 5 16,0 1-13-16,3 1-33 0,-2 0 6 15,4 0-27-15,-2-1 6 0,2 0-39 16,1 2-17-16,2-4-1 0,0 0 3 0,2 0 28 16,-2 0-45-16,3-1-4 0,4-3 19 0,-4 0 4 15,4 1 3-15,-7-2 5 0,11-3 1 16,-3 2-1-16,-3-3 36 0,2 1 28 0,-2-1-20 15,3 1-13-15,-2 0 5 0,-2 0 8 0,2 0-16 16,-4 2 75-16,3-3 35 0,-2 3-33 0,-3 1-12 16,5-1-24-16,-5 1-15 0,7 3-2 15,-4 0-29-15,0 2 5 0,0-1-30 16,-1 2-23-16,0 0-29 0,1 2-48 16,-1-3 10-16,-1 1-72 0,1 1-66 0,0-2-105 0,-2-1-207 15,4 0-477-15,-2 0 131 0,2-2 36 16,0 1 146-16,-4-3 53 0,10 0 52 0</inkml:trace>
  <inkml:trace contextRef="#ctx0" brushRef="#br1" timeOffset="52395.31">16513 2928 1128 0,'0'-12'487'0,"2"0"-57"0,-2 4-18 0,2 0-100 0,1 4-35 15,-3 0-9-15,3 2-37 0,-3 2 9 16,0 0-4-16,0 0 25 0,5 12-18 0,-5-3-18 15,3 0 21-15,-1 4-10 0,-2 1-16 0,0 2 41 16,2 2-21-16,-2 2-4 16,0 3-72-16,-4 0 5 0,1-2 5 0,0 4-46 0,-2-6-41 15,2 0-39-15,-1 0-53 0,1-3-20 16,-2-1-11-16,3-4-13 0,-2-1-64 0,2-1-30 0,2-2-39 16,0-4-89-16,0 1-121 15,0-4-137-15,6 2-506 0,-6-2 106 0,0 0 113 0,17-8 48 16,-9 1 79-16,5-3 85 0</inkml:trace>
  <inkml:trace contextRef="#ctx0" brushRef="#br1" timeOffset="52700.62">16807 2870 1387 0,'0'0'445'0,"0"0"-38"15,-18 7-20-15,11 0-29 0,-6-1-38 16,5 3-13-16,-7 0-10 0,-1 4-20 0,-1-1-106 0,1 1 26 15,3 3-15-15,-2-2-39 16,2-1-20-16,1 0 31 0,3-1 4 0,-1 1-22 16,0 0-18-16,5-3-18 0,-2-1-13 0,1 3 7 15,3-2 6-15,-2-1-31 0,3-1 100 16,1 1-2-16,-1-4-9 0,4 2-22 0,-1-1 2 16,4 0-10-16,0-1-36 0,1-2-25 0,1 2-3 15,-2-3-10-15,5-1 15 0,-2 2-23 0,2-6-21 16,-2 3-42-16,2 0-68 15,1 0-12-15,-4-3-29 0,3 2-17 16,0-2-18-16,1 2-21 16,-1 0-25-16,0-1-34 0,3 0-87 0,-2 1-117 0,1 0-576 0,1 1 112 0,-3 0 77 15,4 0 80-15,-4-1 37 0,0 1 91 16</inkml:trace>
  <inkml:trace contextRef="#ctx0" brushRef="#br1" timeOffset="53293.87">16915 3150 1272 0,'2'-5'304'0,"4"-1"-9"0,-4-2-24 0,1 2-23 0,2 0-2 15,-2-1 5-15,2 2-31 0,-3-4 3 16,-1 2-24-16,0 4 24 0,-2-3-16 0,1 2-7 15,1-2-5-15,-1 6 60 0,-2-4-29 16,0 0-4-16,2 4 6 0,-6 0-26 0,6 0-7 16,0 0-8-16,-12 5-23 0,9-2-6 0,0 3-12 15,-1-1-5-15,1 2-56 0,-2 1 17 0,3 1-12 16,2-3-21-16,-1 2-5 0,1 2-11 16,1-3-7-16,-1 1-110 0,4-1-10 0,-1 2-10 15,2-2-24-15,0-1-2 16,0-2-20-16,3 0-27 0,2 0-17 0,0-3-2 0,-1 1-6 15,3-4-10-15,0 1-13 0,1-2-5 0,3-4-5 16,2 2-12-16,-3-2-4 0,1-1 9 16,-1-2 12-16,1 1 25 0,-1-1 4 0,-2-3 48 15,-3 3 22-15,1 0 63 0,-4-1 9 16,0 2 42-16,-1-2 33 0,-4 3-16 0,1-1 44 16,-3 2 21-16,3 1 4 0,-3 1 27 15,0 1-32-15,-3 0-7 0,3 4-3 0,-3-5-7 16,3 5 4-16,-5-1 1 0,5 1 12 0,0 0 1 15,-3 10 7-15,1-3-10 0,2 1 5 16,0-1 31-16,0 4-3 0,2 1 18 16,1 0-10-1,0 2-16-15,-1-1 21 0,1 0-5 0,0 3-15 0,-1-4-8 0,2 1-31 0,-3-3 15 0,-1 1-17 16,0-1 7 0,-1-1 8-16,-3 1-28 0,-1-2-52 0,0-1-51 0,-1 0-38 15,-1 2-58-15,-1-3-65 0,1 1-113 0,-1-4-258 16,0 2-389-16,-1-1 120 0,0-1 67 15,-1 0 133-15,2 0 10 0,-2 0 56 0</inkml:trace>
  <inkml:trace contextRef="#ctx0" brushRef="#br1" timeOffset="54972.52">17876 2991 1092 0,'0'0'482'0,"0"0"-73"0,-4 16-15 15,4-10-38-15,0 1-54 16,-1 1-33-16,1 1-33 0,-1 0-11 0,1 1-26 15,-2 0-53-15,2-1-25 0,-2 1-39 0,2 0 7 16,0-1-73-16,0-1-34 0,-2 1-49 16,2-2-56-16,0 3-138 0,0-8-87 0,0 4-517 15,0-2 148-15,-3 0 39 0,6 0 66 16,-3-4 77-16</inkml:trace>
  <inkml:trace contextRef="#ctx0" brushRef="#br1" timeOffset="55115.06">17879 2914 929 0,'0'0'274'0,"0"0"-52"0,-3-5-81 0,3 5-190 0,0 0-114 0,0 0-454 0,0 0 33 15</inkml:trace>
  <inkml:trace contextRef="#ctx0" brushRef="#br1" timeOffset="55503.45">17943 3053 1254 0,'3'10'361'16,"-3"-3"25"-16,2 0 3 0,1-3-43 15,-3 2-13-15,2-2-13 0,-1 0-18 0,-1-1-21 16,2 0 6-16,-2 1-49 0,0-4-64 0,5 4 20 16,-5-4-22-16,3 3 17 15,-3-3-12-15,0 0-21 0,0 0-20 0,15-5 120 0,-10-1-36 16,3 1-10-16,-1 0 5 0,4-1-41 0,-1-1 10 16,-2 4-33-16,2-2-7 15,0 3-37 1,0-2 16-16,0 3-16 0,-2 1-30 0,2 1 5 0,-1 1-113 0,1 0 37 0,-2 0-12 0,-1 3 6 15,1-1-41-15,-1 2 26 16,-1 0-21-16,-2 1-46 0,-1 2-25 16,2-4-37-16,-2 2-42 0,-1-1-27 0,1 0-33 0,-3 1-33 15,3-1-46-15,-1-3-181 0,-4 3-81 16,4-2-408-16,3-2 114 0,-2 1 72 0,-3-3 57 16,8 0 114-16,-8 0 73 0</inkml:trace>
  <inkml:trace contextRef="#ctx0" brushRef="#br1" timeOffset="55796.45">18399 2906 1464 0,'3'-16'394'0,"-6"3"-31"16,6 0-30-16,-3 0-8 0,-3 1-48 16,6-2 73-16,-3 4-12 0,0 0 10 0,-3 0-23 15,3 1-25-15,0 1-24 0,-2 5-53 0,2-2-21 16,0 1 23-16,0 4-12 0,0 0-6 15,0 0-5 1,-8 12-30-16,6-2 5 0,-1 2-19 0,-2 5-12 0,0 5-33 0,2 4 2 0,-2 3-5 16,0 9 8-16,2 0-54 15,-1 2 43-15,3-1-63 0,-1 0-83 0,2-7 4 16,0-5-9-16,0 1-33 0,0-2-17 0,0-5-24 16,0 1-18-16,-3-4-53 0,6-2 7 15,-3-1-18-15,0-2 1 0,0-3-37 0,0 1-45 16,0-4-93-16,0-1-146 0,-3 1-450 0,3-1 102 15,0-3 42-15,-2 0 109 0,2-3 82 0,-3 5 52 16</inkml:trace>
  <inkml:trace contextRef="#ctx0" brushRef="#br1" timeOffset="56344.59">18256 3290 870 0,'0'0'356'0,"0"-4"-36"15,0 4-39-15,5-7-15 0,-2 4-28 0,4-2-20 16,-2 1-16-16,5-1 18 0,-1-2-53 0,6 2-6 16,-2-4-20-16,2-1-13 0,3 1-11 15,0-4-4-15,2 0-3 0,-1 1-13 0,-2-1-22 16,1-1-19-16,-2-2 26 0,-1 0 13 0,0 0-39 16,-5 3-13-16,-1-2-4 0,1 0 7 15,-5 0-8-15,4 1 13 0,-5 2 8 16,-2 0-20-16,0 2 14 0,-1 1-24 0,-1-1 4 0,0 1-23 15,0 4 11-15,0-2-9 0,-1 3 6 16,-1 0-2-16,2 4-16 0,-6-4 13 16,6 4-3-16,-7-1 10 0,7 1 1 0,0 0 7 0,-7 5-33 15,4-2 12-15,0 1-14 16,1-1 4-16,2 3-7 0,0-2-11 0,0 2 19 16,0 1 4-16,0-2 4 15,2 2 1-15,1-1-7 0,0 1-5 0,-1 0 5 0,3 1-2 16,0 1 17-16,1 0-23 15,-2 1 8-15,-1 0 3 0,3 0-24 0,-2 1 6 0,-1-3 12 16,0-1-7-16,1 3 23 0,0-1-16 16,-2-2-4-16,0-1-3 0,1 0-1 0,-3-1 24 15,3 0 51-15,-1-1-23 0,-2 0-3 0,2 0 26 0,-2-4 11 16,1 4-14-16,-1-4 13 16,0 0 29-16,7 0-14 0,-7 0-4 15,0 0-1-15,5-6 3 0,-2 2 8 0,-1 0 0 0,1-3 17 16,0 1-20-16,0-1-25 0,1 0-16 15,-1 1-12-15,2-1 12 0,-1 0-8 0,-3-1-63 16,6 2-44-16,-3-2-18 0,1 2-36 16,0-1-20-16,0 1-46 0,2 1-60 0,0-1-68 15,-1-3-202-15,2 5-385 0,-3 1 3 0,3 0 134 16,0 1 124-16,2-1-4 0,0 1 63 0</inkml:trace>
  <inkml:trace contextRef="#ctx0" brushRef="#br1" timeOffset="57564.9">18823 3132 716 0,'2'-4'366'0,"2"-2"-38"16,-3 3-3-16,2-4-28 0,1 2-26 0,0-4 13 0,-2 2-20 16,0 0-21-16,-1 1-10 0,-1 0-18 0,2 0 0 15,-2 1-84-15,0 0 2 16,0-1-18-16,3 3 0 0,-3 0-36 0,0 3-7 16,-3-6 10-16,3 6-20 0,0 0-1 0,0 0-30 15,0 0 7-15,0 0 0 0,-11 12-2 16,9-6-8-16,0-3-15 0,-1 2-5 0,3 2 10 15,0-1-26-15,0-1 3 0,-1 1-10 0,1 0 4 16,0-2 6-16,1 0 10 0,-1 1-5 16,0-5-5-16,0 5 5 0,3-2 0 0,-3-3-18 15,2 4 26-15,-2-4 2 0,6 1-2 0,-6-1 0 16,7 0-21-16,-7 0 5 0,0 0 18 16,10-5 11-16,-4 3-1 0,-2 1 9 15,-4 1-40-15,11-2 19 0,-8 1 2 0,-3 1-5 16,10-1-5-16,-5 0 23 0,-5 1-10 15,10 0-8-15,-10 0 18 0,8 2-12 16,-8-2-4-16,8 1 9 0,-4 1-6 0,-1 1-8 0,-3-3 4 16,5 2 19-16,-2 0-12 0,-3-2-5 15,5 6 17 1,-3-5-17-16,-2-1 23 0,3 5-6 0,-3-5 6 0,3 2 33 0,-3-2 0 0,0 0 8 16,0 0 94-16,3 5-7 15,-3-5 7-15,0 0 13 0,0 0-18 16,0 0-22-16,0 0 17 0,0 0 8 0,0 0-52 0,10-7 21 15,-8 4-30-15,-2 3 15 0,5-3-24 16,-5 3 11-16,5-3-15 0,-5 3-16 16,0 0-25-16,0 0 35 0,11 2-7 0,-11-2-28 15,9 1 22-15,-3 2-20 0,-3 0-17 16,1-1-1-16,2-1 8 0,-1 3-18 0,-2-1-18 0,3 0-2 16,-5-1-29-16,4 2-25 0,-2-3-46 0,2 1-37 15,-3 1-47-15,1-1-32 0,-3-2-15 16,5 5-66-16,-5-5-90 0,5 1-199 15,-1 0-470-15,-4-1 65 0,0 0 141 0,10-1 90 0,-10 1 63 16,10-2 90-16,-5-1 79 0</inkml:trace>
  <inkml:trace contextRef="#ctx0" brushRef="#br1" timeOffset="59485.89">19305 2957 1054 0,'-1'-4'463'0,"-1"1"-56"16,2 3-38-16,-6-3-23 0,6 3-39 0,0 0-15 0,-12 4-34 15,6 0-5-15,0 1-27 0,0 0-45 16,-2 2 14-16,4 2-11 0,-4-1-38 0,0 3-5 16,3-3-3-16,-1 3-25 0,-1-2 25 15,4 0-38-15,1-1 25 0,0 0-27 16,1 0 12-16,-2-1-18 0,3 0-10 0,0-1-82 15,0 1-21-15,3-1 11 16,-2-2-23-16,-1 2-21 0,4-2 0 0,-1 0-20 0,2-1-51 16,0 1-52-16,0-4-36 0,0 2-76 0,3-2-105 15,2 1-118-15,-2 1-351 0,0-2 113 16,0-2 47-16,2 4 65 0,-3-2 60 0</inkml:trace>
  <inkml:trace contextRef="#ctx0" brushRef="#br1" timeOffset="59813.25">19420 3091 959 0,'5'-3'300'0,"0"-2"-16"16,0 0-18 0,-2-1 29-16,5 0 17 0,0-1-31 0,-6 1-17 0,5-1-13 0,-4-1-8 15,-1 0-7-15,2 0-67 0,-2 1-6 0,0-2 24 16,-2 4-28-16,0-1-31 15,-2 0 13-15,2 1 10 0,-3 2-21 0,0-2-20 16,-1 4-15-16,4 1 7 0,-10-1-22 0,10 1 7 0,-11 4 5 16,6-1-23-16,0 0-2 0,-1 4 4 15,2-1-4-15,-2 0 15 0,2 1-11 0,3 2-17 16,-4-3 15-16,5 2-18 0,-2-1-17 0,2 2-9 16,2-2 24-1,0 0-23-15,2-1-9 0,0 1-9 0,2-2-36 0,1 1-41 16,0-2-41-16,2-1-16 0,1-1-63 0,0-1-57 15,3 2-107-15,4-3-187 0,-6 1-361 16,5-2 59-16,-2 1 84 0,-3-3 113 0,4 2 51 16,-2-1 18-16</inkml:trace>
  <inkml:trace contextRef="#ctx0" brushRef="#br1" timeOffset="60873.81">20507 2904 1087 0,'-2'-5'348'0,"2"5"-71"0,-3-4-24 0,-2 3-9 15,5 1-22-15,-8-4-7 0,3 4-15 0,5 0-39 0,-10 0 6 16,2 4-16-16,0-1-8 16,1 0 3-16,-4 1 64 0,4 3-31 0,-3-2 10 0,0 1-43 15,2 1 0-15,-1 1-23 0,2-1-31 31,-1-1 18-31,1 1-10 0,1-1-18 0,2 1-13 0,1-2 31 0,-2 1-26 16,5-1-23-16,-1-2 8 16,1 2 3-16,0-5-6 0,3 6-5 0,0-5-30 0,-3-1 19 0,10 0 1 15,-10 0-20-15,10-1 12 0,-3-2-12 0,-3 1 7 16,1-2 26 0,3 1-26-16,-1-1-5 0,-2 1 0 0,1 0 0 0,-2 0-8 0,2 0 8 15,-2 1-5-15,-1-1 10 16,-3 3-12-16,7-2-6 0,-7 2-8 0,0 0 19 0,9 4 28 15,-7-1-24-15,1 0 8 0,0 0-25 16,1 1-18 0,-1 2-8-16,0-3-18 0,4 2 3 0,-4-1 0 0,2-1-6 0,0 1-2 0,3-1 8 15,-1-1-5-15,-1-1 20 0,2-1-5 16,-1-3 20-16,1 1 1 0,2 0-16 0,-3-1 7 16,1 0 4-16,-3-3 12 0,1 0 15 15,2-3 8-15,-1 1 3 16,-2-1-8-16,-2 1 3 0,2-2 20 15,0-3 8-15,-3 1-19 0,3 0 4 0,-2-1-29 0,0-2-48 16,0 2 7-16,-1 3-20 0,-2 1 33 0,2 0 8 0,1 2-8 16,0-2 5-16,-3 4-8 15,2 1 1-15,-2 4-11 0,0 0 16 0,0 0 30 16,0 0-30-16,0 0 2 0,0 0 23 0,0 0-25 0,-2 13 18 16,-1-6-16-16,0-2 8 15,3 1 23-15,-2 1-31 0,2-2-8 0,-2 1 39 16,2-2-13-16,-1 1-15 15,1-1 0-15,-1 0 15 0,1-4 26 0,-1 5-21 0,-2-2 0 16,3-3 29-16,0 5-1 0,0-5-13 0,5 2 14 16,-5-2-3-16,5 1-8 0,-5-1 0 15,8 0 13 1,-8 0-21-16,12 2-7 0,-6-2 18 0,-1 3-8 0,3 0 0 0,-3 0-28 16,4 0 23-16,-3 1 23 0,0-1-26 15,-1 3 1-15,0 0-1 0,0-1 26 0,-3 1 5 16,2-1 13-16,-2 1-21 0,-2 1 21 0,0-2-21 15,-1 2 3-15,-1-2-2 0,-3-1 7 16,3 2 5-16,-4-1-2 0,1 0-31 0,-1-2-8 0,-1 2 5 16,-3-1-20-16,5-2-38 0,-3 2-1 15,1-2-22-15,-1 0-37 0,2 1-61 0,-1-1 0 16,2-2-48-16,5 0-26 0,-8 2-113 16,5 0-109-16,3-2-493 0,0 0 29 0,0 0 136 15,0 0 35-15,0 0 75 0,0 0 94 0</inkml:trace>
  <inkml:trace contextRef="#ctx0" brushRef="#br1" timeOffset="61978.3">20817 2884 1087 0,'0'0'389'0,"0"0"-23"0,0 0-38 15,0 0-34-15,-2 12-12 0,2-8-26 0,0 2-31 16,0 1-38-16,0-1-23 0,0 0-5 0,2 0-16 15,-2 3-18-15,0-3-15 0,4 1-10 0,-3-1 23 16,0 0-20-16,1-2-32 16,3 1-9-16,-2-1 27 0,-1-1-30 0,3-3-3 15,2 1-7-15,-7-1 13 0,9 0-22 0,-9 0 37 16,10-3-3-16,-5 2-15 0,-2-2-5 16,3-1 2-16,-4-2 19 0,0 1-14 0,2 2 3 15,-3-4-72-15,-1 1 19 0,0 0-40 16,0-1 37-16,-5 1-10 0,5-1-1 0,-3 0 21 15,-2 2-3-15,3-1 3 0,-1 3 8 0,-2 0-44 16,2-1 26-16,3 4-24 0,-10 0 19 16,5-2 4-16,5 2-1 0,-10 2-12 0,5-2 6 15,-1 4 11-15,2-2 2 0,-2 2-16 16,3 0-28-16,-4 0 18 0,5 1-17 0,-1-2-1 16,0 1 3-16,1-2-8 0,1 3 21 15,1-5-16-15,0 6 5 0,0-2 14 0,0-4-14 16,3 4 8-16,0-1-13 0,-3-3 6 0,7 2 22 15,-7-2-15-15,8 0 8 0,-8 0 2 16,10 0-7-16,-10 0-6 0,10 0 14 0,-4-1-6 16,-2 0 18-16,2-2-7 0,-6 3-6 0,10-2 0 15,-5 1-7-15,-5 1 25 16,10-3-18-16,-6 0 11 0,2 2-11 0,-2-1 6 0,-4 2 12 16,7-2-15-16,-1 1 15 0,-6 1 11 0,7-4-11 15,-4 3-15-15,-3 1 0 0,6-1-3 16,-6 1 13-16,4-1-18 0,1-2 26 0,-5 3 0 15,0 0-8-15,5-2 8 0,-5 2-6 16,3-3 32-16,-3 3-21 0,0 0 5 16,5-3 7-16,-5 3 1 0,0 0-8 0,5-2 8 15,-5 2-3-15,0 0 26 0,3-3-3 0,-3 3-33 16,0 0 25-16,0 0-2 0,0 0-12 16,0 0-4-16,0 0-2 0,4-2-2 15,-4 2 4-15,0 0-4 0,0 0 2 0,0 0 25 0,0 0-32 16,0 0 20-16,1 8-11 0,-1-8-32 15,0 7 7-15,0-4 10 0,0-3-3 16,0 6-9-16,2-4 4 0,-2 2 4 0,0-4-17 0,3 6-1 16,-3-4 17-16,0-2-13 0,3 6 8 15,-1-5-15-15,-2-1 7 0,5 4 0 16,-5-4 26-16,9 0-5 0,-9 0 7 16,8 0-32-16,-8 0 9 0,9-3 8 15,-4 2 16-15,0-1-34 0,1-2 13 0,-2 2-3 16,2-1 42-16,1-1-44 0,-2 2-8 0,-2 0 8 0,2 0 23 15,-5 2-16-15,8-4-12 0,-5 3 20 16,-3 1-25-16,0 0 7 0,10 2 11 0,-6 1 7 16,-4-3-10-16,8 2-13 0,-4 0 31 0,0 1-23 15,0 0-3-15,0 0 11 0,-2-1-8 16,3-1-6-16,1 2 9 0,-6-3-1 16,10 0 14-16,-10 0-4 0,12-4 1 0,-4 1-5 15,0-2 4-15,0-1 16 0,2-1 13 16,0 1 2-16,-1-4-4 0,0 2 2 15,-1-2 7-15,2 0 29 16,-2-1-13-16,0-3-16 0,-1 2 29 0,2-5 40 0,-1 0 29 16,-4 1 20-16,1 0-20 0,2 1-15 0,-4 2 17 0,2 1 23 15,-2 3-38-15,-1 1-18 0,0 1 3 0,0 2-31 16,-2 2 33-16,0 3-79 0,0 0 56 16,0 0-38-16,-7 13 10 0,2-4-21 15,3 2-30-15,-1 1 21 0,-2 2-34 0,5 2 0 0,-2-2 0 16,2 1 0-16,2 0-3 15,1-1-51-15,-1 0-12 0,1-1-21 16,3-2-52-16,-2 1-42 0,1-3-24 0,2-1-13 0,-3-2-45 16,3-1-21-16,1-2-52 0,-1 1-135 0,0-3-207 15,-1-1-277-15,0 0 46 0,-6 0 93 16,10-3 68-16,-6 1 93 0,-3-3 64 0</inkml:trace>
  <inkml:trace contextRef="#ctx0" brushRef="#br1" timeOffset="62211.49">21123 2794 1290 0,'0'0'412'16,"-8"0"-10"-16,8 0-39 0,0 0-15 0,0 0-28 16,0 0-20-16,0 0-29 0,20-6-38 0,-8 4 2 15,-3 1-22-15,7-2-47 0,0 0-17 0,2 1-16 16,1-3 5-16,1 2-36 0,-1-2-35 15,-2 4-57-15,-2-4-25 0,2 3-65 0,-3-3-48 16,-1 1-61-16,3 1-185 0,-4-1-378 0,0 3-103 16,-3 0 79-16,-1-3 72 0,2 3 64 15,-2 0 62-15</inkml:trace>
  <inkml:trace contextRef="#ctx0" brushRef="#br1" timeOffset="62742.27">22037 2596 1602 0,'0'0'484'0,"-5"12"-26"15,0-4-67-15,3 4-88 0,0 1-32 0,1 4-20 16,-2 3 15-16,-1 3-54 0,2 3-25 0,-2 3-5 15,1 6-44-15,-4-3 11 0,5-3-42 16,-3 6-38-16,1-4-5 0,2-8-10 0,0-1-21 16,0-2-25-16,1-3-31 0,0-3-8 15,-1 0-33-15,0 0-48 0,2-3-24 0,-2-1-33 16,2-1-128-16,0-3-102 0,-1 1-356 16,2-2-59-16,-1-1 84 0,0-4 54 0,2 4 54 15</inkml:trace>
  <inkml:trace contextRef="#ctx0" brushRef="#br1" timeOffset="63314.1">21974 2944 1087 0,'0'-17'407'0,"2"3"-23"0,0 0 34 0,2 0-1 16,0 0-56-16,4-1-18 0,-3 4-21 16,3 0-74-16,0 2-32 0,2 1-25 0,-2 0 48 0,2 3-63 15,0 1 1-15,0 2-24 0,-2 2 93 16,2 0-59-16,-2 2-5 0,-1 1 12 0,-1 1-20 15,-1 1-12-15,1-2 37 0,-4 5-27 0,-2 0-37 16,0 0 4-16,-3 3-11 0,-2-3-21 16,0 3-17-16,-1-2-6 0,-1 0-2 15,-1 0-18-15,1-1-46 0,-1 1 2 0,0-3-68 16,0 0-37-16,1-2-2 0,-1 2-23 16,4-3-38-16,-4 0-24 15,4 0-56-15,0-2-33 0,4-1-53 0,0 0-35 0,0 0-129 0,0 0 20 16,0 0-42-16,8-14-431 15,-4 10 163-15,4-4 0 0,2 2 95 0,0-4 71 0,1 1 387 16,3-1 225-16,-2-1 147 0,2 1 65 16,-5 3 14-16,1-2 35 0,0 3 3 0,-2-1-54 15,-1 2-31-15,-1 1 9 0,1 1 1 16,-2 2-12-16,0 1-5 0,-5 0-16 0,0 0 3 16,11 4-18-16,-6-1-13 0,0 2-12 15,-1 0-19-15,0 1-4 0,0 0-16 16,2 0-18-16,-1 1-15 0,1-1 12 0,1-3 3 0,-2 2-18 15,0 0 3 1,3-2-8-16,0 0-10 0,1-1-8 0,-1-2 21 0,-1 0 5 16,-7 0 15-16,12-3 10 0,-5 0 77 0,-2-1 3 15,-2-1-3-15,3 1 21 0,-4-3-36 0,2-1-29 16,-4 2 11-16,0-2-13 16,0 0-28-16,0 2 5 0,-2-1-84 0,2 1-3 15,-2 1-16-15,0 2 9 0,-2 0-14 0,1 1-2 16,3 2-13-16,-12 0-23 0,12 0-17 0,-10 3-14 15,4-1-12-15,1 0-47 0,0 1-35 16,2-1-36-16,-1 1-123 16,-1 0-118-16,5-3-379 0,-3 3 39 0,3-3 110 0,0 0 18 15,0 0 105-15</inkml:trace>
  <inkml:trace contextRef="#ctx0" brushRef="#br1" timeOffset="63776.5">22427 2616 1389 0,'0'-5'423'0,"0"2"-50"0,0-1-35 0,0 4-48 0,0 0-9 16,0 0-35-16,0 0-13 0,0 0-23 0,4 15 35 15,-3-6-4-15,-1 4-21 0,-1 3-43 0,1-1 7 16,0 7-30-16,0-1-29 16,0 4 8-16,0 4-20 0,0-1 12 0,0 1-61 0,0 1-18 15,1-3 21-15,-2 1-39 0,1-1-2 0,0-6-37 16,0 1-14-16,-1-2 27 15,1-2-17-15,0-4-23 0,0-1 4 16,0-2 22-16,0-2 29 0,0 0-11 0,0-5 19 0,1 0 1 0,-1-4 10 16,1 4 5-16,-1-4 7 15,0 0 1-15,7-10 35 0,-3 2-7 16,0-2-5 0,-1-2-1-16,3-2-1 0,1-4 11 0,-2-4 1 0,3-1 23 0,0 0 13 0,7-8-18 15,-7 7-31 1,2 5-89-16,0 2 7 0,3 0 26 0,-5 3-29 0,2 3 19 0,-2 4 10 0,0 0 4 15,-1 2-4-15,1 1-3 16,-3 2 24-16,0 1 9 0,-5 1 26 0,7 6-2 16,-7-4-13-16,0 5-1 0,-2-1-24 0,-3 2 9 15,0 0 0-15,-5 5-12 0,-1-4-29 0,-4 4-43 16,4-2-56-16,-3 0-41 0,0-3-11 0,1 3-51 16,-1-3-71-1,3-1-31-15,3-3-213 0,-1 1-524 0,1-2 115 0,0 0 81 16,5-2 60-16,-2 0 81 0,5-1 57 15</inkml:trace>
  <inkml:trace contextRef="#ctx0" brushRef="#br1" timeOffset="64589.04">22747 2763 1041 0,'-2'-5'384'0,"2"5"49"0,0 0-47 0,0 0-22 16,0 0-34-16,0 0 3 0,0 0-57 16,0 0-30-16,0 0 5 0,0 0-39 0,0 0-20 15,-6 9-7-15,4-5-14 0,0 0-40 0,2-4 2 16,0 6-33-16,0-2 22 0,-2 1-24 15,2-1 9-15,2-1-38 0,-2 1 0 0,2 0-28 16,0 0 16-16,-1-1 2 0,2-1-11 0,-3-2-7 16,4 5 28-16,-1-3-33 0,-3-2-8 15,6 1 8-15,-6-1-10 0,7 1-14 16,-7-1 1-16,0 0 10 0,11-3 8 0,-7 2-16 16,-1-1 19-16,-3 2-6 0,5-3-10 0,-5 3 23 15,6-2-16-15,-6 2-17 31,6-2-21-31,-6 2 34 0,0 0-16 0,6 5-13 0,-4-1 0 0,-2-4 57 0,1 6-54 0,-1 0-18 16,2-3 2-16,-2 2 16 0,4 0 8 0,-2-2-16 16,0 2-7-16,3-4 37 0,-2 2-27 0,3-2 3 15,-6-1 24-15,9-1-1 32,-1-2 22-32,2 0 1 0,0-3 19 0,-2-2 1 0,0-2-87 0,2-1 59 0,-2 1-16 0,2-4 11 0,-3 0 15 15,1-2 2 1,-2 2 19-16,1-3-21 0,-2 0 10 0,0-2-5 0,2 0 8 15,-3 2 15-15,-1-1-10 0,-1 4 5 0,3 2 20 16,-3-1-30-16,1 6 7 0,-1-3-22 16,0 5-16-1,-1 2 13-15,-1 3-8 0,0 0-8 0,0 0 52 0,0 0-26 0,-8 14-10 0,6-3 66 16,-3 1-7-16,2 0 12 0,-2 1-22 16,4 4-8-16,-3 0-41 15,-1 0-57-15,5 2-5 16,-1-4-43-16,1 0 0 0,0 0-33 0,0-2-21 0,1-1-51 0,1 1-21 0,3-4-7 15,-2 0-5-15,4-1-26 0,1-3 0 0,0-2-36 16,3 1 0-16,1-2-4 0,1-4-14 0,2 1-130 16,0 1 5-16,-1-5 7 15,3 3-470-15,-1 0 102 0,-1-2 38 0,1 1 95 16,-1-1 67-16</inkml:trace>
  <inkml:trace contextRef="#ctx0" brushRef="#br1" timeOffset="65048.33">23261 2759 473 0,'4'-3'243'0,"-1"-2"108"0,2 1-3 0,-4-1-13 16,-1 1-68-16,0 4-24 0,-1-5-8 0,1 5-15 15,-5-3-15-15,2 1 10 0,3 2 44 16,0 0-11-16,-15 1-43 0,15-1-3 16,-10 4-10-16,2-2-15 0,1 0-14 0,1 1-14 0,1-1-31 15,-2 2-19-15,2-3 24 0,1 2-15 16,-2 0-37-16,0 0 14 16,1-1-21-16,2-1-31 0,1 3 11 0,0-1 2 0,0 0-39 0,2-3-7 15,-4 3 29-15,4-3-12 16,0 0 17-16,6 3-24 0,-6-3-30 0,7 2 17 15,-2-1 11-15,1 0 15 0,0 1-31 0,0-2-5 16,-1 1 23-16,3 0-27 16,0 1 27-1,0-2-41-15,-1 0-5 0,-7 0 18 0,18-2-5 0,-8 0 28 0,0-1-17 16,2 0 4-16,0-3 46 0,1-4-20 0,4 2-8 16,-4-1 19-1,3-1 17-15,-3-2-49 0,-1-1 18 0,1 1 14 0,-3-2 35 0,0 2 35 0,1-3-9 0,-1 1 28 16,-2-1-13-1,1-1-18-15,-1 1 33 0,-1-2 11 0,-1 3-11 0,-3 2-10 16,2 2 18-16,0 1-18 0,-2 0-46 0,-1 1 3 16,1 5-19-16,-3 0-4 0,0 3 4 15,0 0 4-15,0 0-14 0,0 0 8 0,-3 13-18 16,1-4 0-16,-1 1-23 0,0 1 21 16,1 0-28-16,2 1-27 15,-2 2-83-15,2 1-24 0,0 0-38 0,-3-1-31 0,3 0-25 0,0-2-44 16,0-1-38-16,0-2-90 0,0 0-118 15,0-3-455-15,0 1 53 0,3-2 139 0,-3 0 95 16,0-1 43-16,0-4 64 0</inkml:trace>
  <inkml:trace contextRef="#ctx0" brushRef="#br1" timeOffset="65364.94">23392 2631 1315 0,'-2'-3'476'0,"2"3"-20"0,0 0-62 0,0-6-33 0,0 6-31 0,6-5-23 16,-3 2-48-16,5 0-24 0,2 0-22 16,3-2-42-16,-3 0-7 0,7 1-38 0,-1-3-6 15,2 2-23-15,0 0 3 0,3-1-8 16,-3 1-7-16,2 2 4 0,-4 0-7 16,-1 1-5-16,1 0 10 0,-4 2-49 0,1 0 21 15,0 1 8-15,-2 0 2 0,-1 2 43 31,0 1-1-31,-2 1-4 0,-1 0 31 0,1 3-28 0,-1 1-20 0,-2 0-11 0,-1-1-4 0,0 2-96 16,-1-1-5-16,-2 1-22 0,-1-2 9 0,0 3-60 16,1-4-27-16,-2 1-48 0,0 1-64 15,-2-1-108-15,-5 0-181 16,6-2-494-16,2-2 148 0,-1-1 46 0,1 1 105 0,0-4 44 0,0 0 56 16</inkml:trace>
  <inkml:trace contextRef="#ctx0" brushRef="#br1" timeOffset="66096.14">23972 2539 1277 0,'-4'6'430'0,"0"1"-41"0,1 1-18 16,-1 3-51-16,0 0-26 0,1-1 65 0,0 2-47 15,-1-2-38-15,1 1-3 0,3 0-43 16,-1-1-41-16,-1-1-18 0,2-1 7 0,2 0-17 15,-1-1-59-15,-1-2 25 0,3 0-2 0,1-2-5 16,-1 0-31-16,4-1-10 16,-3-2-11-16,-4 0 14 0,15-4-1 0,-8 0-17 15,1-1 2-15,-1 0-24 0,-3-2-11 0,3-2 17 16,0-1-26-16,-4-1 8 0,2 1 39 0,-4-1-16 16,1 2-13-16,1-1-4 0,-3 3-37 15,-3-3 42-15,1 2 9 0,-1 1-30 0,-2 1 3 16,4-1-16-16,-6 3-8 0,3-1 44 15,-2 2-69-15,3 1-3 0,-1-1 24 0,4 3 4 16,-8-1-20-16,7-3 10 0,1 4 16 0,-5-3-19 16,5 3 4-16,-4-2 22 0,4 2-5 15,0 0-31-15,0 0 1 0,0 0 32 0,0 0-22 16,0 0 2-16,17 0 8 0,-17 0-3 0,11 5-7 16,-4-3 36-16,0 1-3 15,0 2-16-15,1-2-2 0,0 3-2 0,-2-1 37 0,-1 1-12 16,2 0-2-16,0 0 7 15,-3 0-18-15,2 0 16 0,-4 0-3 0,4 1-92 0,-4-1 7 16,2 0 24-16,0-3 35 0,-2 2-12 16,0-1 12-16,1-1 34 0,0 0 8 15,0 1 4-15,-1-3 93 0,-2-1 17 0,10 0 24 16,-10 0-75-16,15-1 16 0,-7-3 8 0,1 2-34 16,0 0-13-16,-1 0 31 0,2-1-20 15,0 3-47-15,-2-1 24 0,2 1 33 0,-2 1-34 0,3 2-33 16,-1 0-7-16,0 1-23 0,-3 2-19 15,1 0-35 1,2 0-41-16,-4 2-28 0,2-1-24 0,-4 0-48 0,1-1 18 0,-2 0-100 16,1 1-48-16,-4-1-157 0,0 3-419 15,0-2-147-15,0-1 162 0,0-2 8 0,-2 1 102 16,0 0 79-16,0-1 72 0</inkml:trace>
  <inkml:trace contextRef="#ctx0" brushRef="#br1" timeOffset="69455.67">14943 3782 1195 0,'-2'-6'338'0,"2"1"-5"0,0 0-1 16,0 2-14-16,-3-3-6 0,3 6 36 0,0-4-48 16,0 4 22-16,0 0-17 15,0 0-8-15,0 0-128 0,0 16-3 0,3-9-28 16,-3 4-2-16,0 2-13 0,2 1-18 0,1 3-21 0,-1 2 18 16,1-1-20-16,0-2-7 15,1 2-11-15,2-4 2 0,-1 3-15 0,0-4 6 16,0 0-34-16,3-1 23 15,-3-2-21-15,3-2 14 0,-1-1 2 0,1-3-11 0,0-3 9 16,0 0 9-16,-1-2-9 0,1 0 53 0,0-5-38 16,0 1 69-16,-1-1-21 0,0-1-23 0,-1-1 14 15,-1-3-29-15,3 0 23 16,-3-1-18-16,-2-1 10 0,1-1-2 0,-1-2-16 0,0 3-2 16,-1-3-31-16,0 3 6 0,-1 1 30 0,1 0-57 15,-2 1-7-15,0 1-18 0,3 1-43 16,-3 1-54-16,2 3-29 0,-2-1-58 15,3 1-10-15,0 4-57 16,-3 1-31-16,5-4-89 0,-5 4-153 0,10 4-480 0,-5-3 134 16,2-1 66-16,4 1 85 0,-3-1 59 0,2 0 89 15</inkml:trace>
  <inkml:trace contextRef="#ctx0" brushRef="#br1" timeOffset="69758.78">15364 3715 1635 0,'-10'0'394'0,"4"4"-43"0,2-3-18 0,1 1-26 16,-2 2-56-16,0 1-16 16,2 1-27-16,2 0-24 0,-1-1-15 0,2 3-13 0,2-1-5 15,-1 1-20-15,4 3-32 0,0-3 1 16,1 3 18-16,1 1-41 0,0-4-16 0,-1 2-5 16,2-2 24-16,-3 2 2 0,2-2 5 0,-4 0-18 15,4 2 26-15,-6-3 12 0,1 1 21 16,-2 2-2-16,0-3-29 0,-2 1 13 0,1 1-8 15,-6 0-10-15,2 1 6 0,0-3-14 0,-3 2-28 16,1-2-15-16,-1 2-46 0,-2-2-31 16,1 1-48-16,-1-1-49 15,2 0-31-15,-2-2-54 0,5-2-50 0,-2 0-157 0,-3 0-92 0,7-3-448 16,3 0 164-16,0 0 7 16,-6-9 82-16,7 1 75 15,1 1 36-15</inkml:trace>
  <inkml:trace contextRef="#ctx0" brushRef="#br1" timeOffset="69891.53">15405 3819 1062 0,'5'0'412'0,"-5"0"-28"0,8 0-77 0,-8 0-41 16,9 6-20-16,-3-3-21 0,-1 2 13 15,0 1-59-15,0 1 1 16,-2 3-27-16,2-3-58 0,1 2-21 0,-2 3-64 0,-1 0-35 16,0 1-131-16,1 2-152 0,-3-2-421 15,1 0-47-15,1-1 90 0,-3-3 108 0,2 1 40 16</inkml:trace>
  <inkml:trace contextRef="#ctx0" brushRef="#br1" timeOffset="70040.81">15485 3759 770 0,'0'0'276'0,"0"0"-84"0,0 0-148 0,0 0-187 15,0 0-462 1</inkml:trace>
  <inkml:trace contextRef="#ctx0" brushRef="#br1" timeOffset="70418.53">15561 3821 1103 0,'1'6'417'0,"1"2"-38"0,-2 2-29 0,2-1-32 0,1 2-19 16,-3-1 3-16,3 2-66 16,1-2-16-16,-1 1-18 0,2 2-28 0,-2-2-10 0,2 1 8 15,-3-3-11-15,1 0 18 0,0-2 5 0,-1-1 60 16,-1 0 27-16,1-2 18 16,0 1-102-16,1-1 13 0,0-2-19 0,-3-2-1 15,2 4-37-15,-2-4 33 0,0 0-17 0,10-9 51 16,-7 6 43-16,2-4-50 0,3 2 1 0,-3-1-65 15,3 0 7-15,-1 1 0 0,1 0-146 16,-1 1 0-16,1-1 0 0,0 0 0 0,0 3 0 16,-1 1 0-16,3-1 0 15,-4 2 0-15,4 0 0 0,0 2 0 0,-2 1 0 16,-1 0 0-16,1-1 0 0,0 3 0 0,-3-2 0 0,3 1 0 16,-1 1 0-16,-1-2 0 0,-1 2-128 0,0 0-149 31,0-3-43-16,-2 2 3-15,2-3-62 0,0 1-177 0,0-1-2 0,0 1-448 0,1-4 39 0,-6 2 130 0,12-2 46 16,-6 0 90-16,1-2 86 0,1 0 85 0</inkml:trace>
  <inkml:trace contextRef="#ctx0" brushRef="#br1" timeOffset="70864.67">16031 3831 1105 0,'0'0'348'0,"-6"-4"-2"0,1 4-21 16,5 0-20-16,0 0-14 0,-10 0-19 0,10 0-21 16,-5 4 20-16,2-2-51 0,-2 3-10 15,2 1-28-15,1 1-3 0,-1 2 13 0,1 3-44 16,2 3 24-16,0 0-1 0,0 4-32 0,0 3-19 16,2-1-13-16,-4 3 9 0,4 1 4 15,-2 1 5-15,-2 1-27 0,0 0 50 0,-1 0 8 16,-5 9-30-16,0-9-11 0,0-3-5 0,-2 0-10 15,3-5-11-15,-3 1-9 0,-1-5-6 16,4 0 10-16,-1-4-17 0,3-3-6 16,0-2-15-16,-1 0 16 0,1-6-21 0,3 1 5 15,2-1-77-15,0 0-10 0,-10-10 8 0,10 3 10 16,0-1 10-16,2-3-25 0,1-1 22 16,2-1 19-16,0-2-11 0,2-1 6 15,-1 0-16-15,4-2 33 0,-3 0-5 0,3 2-40 0,1 0 22 16,-1 0 16-16,0 2-21 0,1 1-5 15,-1 0-3-15,0 0-35 0,-2 1-23 16,0 3-26-16,0 1 0 0,-3 1-23 0,2 0-10 0,-1 1-8 16,-1 0-21-16,2 0 9 0,-4 1 4 15,2 2-15-15,-2 0-18 0,1-2 6 16,-1 2-70-16,-2 0-110 0,-1 3 0 0,0 0-156 0,0-3-328 16,0 3 80-16,0 0 86 15,0 0 42-15,0 0 92 0</inkml:trace>
  <inkml:trace contextRef="#ctx0" brushRef="#br1" timeOffset="74017.64">16813 3701 1215 0,'0'0'395'0,"-3"-4"-35"16,3 4-14-16,0 0-31 0,0 0-8 0,0 0-20 0,-5 15-39 16,5-7 85-16,0 3-54 0,-2 2-41 15,2-1 13-15,0 3-16 0,-1-1-43 16,1 1-8-16,0 1-25 0,-3 3-8 0,3-2-46 0,0 0-26 15,-2-3-9-15,2 1-27 0,0 0-22 16,0-1 14-16,0-4-70 0,0 3-45 16,0-5-9-16,0 2-29 0,0-2-43 0,2-1-95 15,-2 1-113-15,-2-2-128 0,4-2-406 0,1 1 56 16,-3-5 140-16,3 1 72 0,-3-1 24 16,0 0 114-16</inkml:trace>
  <inkml:trace contextRef="#ctx0" brushRef="#br1" timeOffset="74598.6">16938 3737 1080 0,'0'4'312'16,"0"2"-33"-16,-2 3-5 0,2-2-13 16,0 1-41-16,0 1-2 0,-1 1-19 0,1 0 4 15,0-1-19-15,-2 1-20 0,2 2 10 0,0-3-34 16,-3 1-14-16,3 0-11 0,0-1-23 15,0 0 18-15,-2 0 3 0,2-2 15 16,0-1 8-16,0 0 84 0,0-3-21 0,0 2 29 16,0-5-20-16,0 7-55 0,0-4 21 0,0-3-79 15,2 3-13-15,-2-3-3 16,0 5-10-16,0-5-15 0,3 5 20 0,-3-5-28 0,3 3-10 16,-3-3 20-16,5 3 3 0,-3-2-31 15,-2-1 6-15,10 1 12 0,-5-1 13 0,-5 0-16 16,11-2-17-16,-1-1-3 0,-3 1 10 15,2-2-10-15,-1 2-13 0,1-3 16 0,-1 2-18 16,0-2 12 0,0-1-4-16,-1 0-9 0,-2 1 9 0,1 0 22 0,1-1 23 0,-2-1 24 15,1 4 15-15,-4-2-44 0,3 1 18 0,-2 2 3 16,-1 0-26-16,-2 2-2 0,0 0 10 0,0 0 2 16,0 0-5-16,0 0-27 0,8 8 22 15,-8-3 10-15,3 1-10 0,-3-2-28 16,2 1-7-16,0 1-8 0,-2 0-26 0,4 0-18 0,-2-1-36 15,0 0-48-15,1-2-16 0,-1 3-35 16,-1-2-52-16,1-1-15 0,-2-3-3 0,5 4-51 16,-5-4-33-16,0 0-115 0,3 1-41 15,-3-1-512-15,0 0 81 0,0 0 132 16,0 0 81-16,-3-11 126 0,3 11-26 0</inkml:trace>
  <inkml:trace contextRef="#ctx0" brushRef="#br1" timeOffset="74835.23">16803 3809 1205 0,'-4'-3'405'0,"4"3"-22"0,0 0-45 0,0 0-23 0,0 0-31 16,0 0 62-16,14-3-29 0,-4 1 3 0,2 1-51 15,1-4-131-15,3 4-12 0,-1-3-29 16,5 1 5-16,1-1-12 0,0 0-18 0,0 0-21 15,-4 0-15-15,3-1-54 0,1 2-51 16,-3-3-29-16,-2 5-63 0,-1-3-126 0,3-3-107 16,-2 6-494-16,1-2 141 0,-1 1-1 0,1 1 121 15,2-3 105-15</inkml:trace>
  <inkml:trace contextRef="#ctx0" brushRef="#br1" timeOffset="75218.25">17717 3619 1154 0,'-14'2'417'16,"0"2"-51"-16,7-2-15 0,-3 1-6 16,4 0 16-16,-2-1-43 0,4 1-11 0,-2 2-41 0,1-1 0 15,5 0-51-15,-2 2-25 0,2 0 17 16,2 0-28-16,1 0-28 0,2 1 13 0,0 1-8 15,3 1-53-15,2-1 17 0,0 0 10 0,1 2-4 16,4-1-21-16,-5 2 28 0,3-3-8 16,-3 3 26-16,0-3 13 15,-2 2 44-15,-3-2-57 0,3 2-3 0,-6-3 18 0,1 1-7 0,-6 2 5 16,3-2-46-16,-7 3-67 16,2-1-26-16,-5 1 9 0,-3 0 4 0,2 1-25 15,-4-2 15-15,2-1-23 0,-3 0-23 0,-1-1 23 16,2-1-43-16,-3-1-3 15,5-3-51-15,2 3 10 0,-2-2-49 0,3-3-58 0,0 2-29 16,3 0-27-16,-1-1-80 0,0-2-36 16,6 3-103-16,2-3-119 0,0 0-421 0,-6-4 98 15,6 4 80-15,0 0 137 0,0 0-2 0,13-8 53 16</inkml:trace>
  <inkml:trace contextRef="#ctx0" brushRef="#br1" timeOffset="76192.12">18012 3688 1057 0,'0'0'448'0,"0"0"-47"16,-5-4-24-16,5 4-50 0,0 0-32 0,-10 3-29 15,10-3 0-15,-10 2-35 0,5 3-6 16,-1 0-31-16,1-2-2 0,-2 4-20 15,-1-1-24-15,3 1 54 0,-3 3-4 16,2-3-14-16,-1 4-33 0,4-5-13 0,-1 2-23 0,1-1 6 16,3 1-19-16,-3-3-5 0,3 1-25 0,0-1-16 15,3 0-7-15,0-1 25 0,-1-1-10 16,3-1-10-16,0 2 18 0,1-4-49 0,-1 1 15 16,-5-1 5-16,12-2-7 0,-6-1-5 0,1 0 23 15,-2 0 0-15,1-3 10 0,-1 3 2 16,2-3 49-16,-4 1 8 0,3-1-38 15,-4 0 14 1,0 1 24-16,3 2-48 0,-4-3 47 0,1 2-45 0,0 1 15 0,-2-1-2 0,0 4 7 16,3-6-15-16,-3 4-36 0,0 2 26 0,3-4-11 15,-3 4 3-15,0 0-53 0,0 0-11 16,0 0 0-16,0 0 0 0,0 0 0 16,0 0 0-16,-6 12 0 0,6-12 0 15,-2 7 0-15,2-2 0 0,0 0 0 0,2 1 0 16,-2-1 0-16,3 0 0 0,-3 0 0 15,3-1 0-15,-1 2 0 0,0-4 0 0,-1 2 0 0,1-1 0 16,1 0 0-16,1 0 0 0,-4-3 0 0,6 4 0 16,-6-4 0-16,5 1 0 0,-5-1 0 15,0 0 0-15,10-1 0 0,-4 0 0 16,-2-3 0-16,0 2 0 0,0-1 0 0,-1 0 0 0,2-1 0 16,-2 2 0-16,2 1 0 0,-2-2 0 15,-1 0 0-15,3 0 0 0,-5 3 0 16,5-4 0-16,-2 1 0 15,-3 3 0-15,5-1 0 0,-5 1 0 0,0 0 0 0,8 1 0 0,-8-1 0 16,7 3 0-16,-4-1 0 0,1 0 0 16,-3 1 0-16,4 0 0 0,-3 1 0 0,-1-1 0 15,4 0 0-15,-3 0 0 0,1 0 0 0,-3-3 0 16,2 7 0-16,1-6 0 0,0 1 0 16,-3-2 0-16,2 3 0 0,-2-3 0 15,6 2 0-15,-6-2 0 0,2 4 0 0,-2-4 0 0,0 0 0 16,0 0 0-16,0 0 0 0,5 0 0 15,-5 0 0-15,0 0 0 0,0 0 0 16,8-5 0-16,-8 5 0 0,5-2 0 0,-5 2 0 16,3-4 0-16,-3 4 0 0,0 0-3 15,8-1 6-15,-8 1-16 0,4 0 18 0,-4 0-23 16,0 0-10-16,8 1 61 0,-8-1-53 16,5 2-6-16,-5-2 36 0,5 2 8 15,-5-2-13-15,5 1-30 0,-5-1 30 0,5 2 8 0,-5-2-31 16,0 0-8-16,8 0 29 0,-8 0 12 0,0 0 16 15,5 2-16-15,-5-2-7 0,0 0-1 0,8-1-1 16,-8 1-6-16,0 0 0 0,8-1 0 16,-8 1 0-16,7-1 0 0,-7 1 0 15,0 0 0-15,8-1 0 0,-8 1 0 0,0 0 0 16,8 0 0-16,-8 0 0 0,5-1 0 0,-5 1 0 16,0 0 0-16,0 0 0 0,7-2 0 0,-7 2 0 15,0 0 0-15,6-1-126 0,-6 1-227 16,0 0-177-16,7-1-706 0,-6 1 127 15,-1 0 172-15,4-5 65 0,-1 2 117 0,0 0 102 0,-1-4-2 16,1 1 32-16</inkml:trace>
  <inkml:trace contextRef="#ctx0" brushRef="#br1" timeOffset="76627.98">18461 3550 1205 0,'0'-4'479'0,"0"4"-44"16,0-5-46-16,0 5-15 0,0 0-6 15,0 0-53-15,0 0-3 0,0 14-48 0,0-6-23 16,3 3 7-16,-3-1 87 0,0 7-86 0,0-2 9 16,0 6-17-16,0 1-34 0,0 0-7 15,0 5-47-15,0-4 11 0,-3-1-31 16,3 1-28-16,0-3-20 0,0 2-3 16,0-3-13-16,3-5 13 0,-6 0-3 0,3-1-25 0,3-2-6 15,-3 0 14-15,0-3-24 0,0-1 8 16,0-1 21-16,0-2-19 0,0-2 22 0,0-2 32 0,0 0-36 15,0 0-9-15,0 0 30 0,6-11-18 16,-4 3-3-16,0 0-7 16,3-8-5-16,-2 3-49 0,2-1-20 0,2-3 15 0,1 0-23 15,0 1 7-15,-1 2 39 0,1 0 11 0,-3 4-39 16,3-1 23-16,0 3-3 0,-1 2 11 16,-2 1 12-16,3 4-12 0,-3-3-26 15,-5 4 0-15,0 0 0 0,11 7 0 0,-9-2 0 16,0 2 0-16,-2 0 0 0,0 2 0 0,-2-1 0 15,0 2 0-15,-4 0 0 0,2 2 0 16,-2-1 0-16,-2 0 0 0,3-2 0 0,-2 1 0 0,-1-2 0 16,3-1 0-16,-1-1 0 0,-1-2 0 0,2 2-264 15,0-4-194 1,-1-2-210-16,1 0-507 0,5 0 79 0,0 0 141 0,-4-5 100 0,3-1 100 16,1 2 67-16,1-2 35 15,1-4 92-15</inkml:trace>
  <inkml:trace contextRef="#ctx0" brushRef="#br1" timeOffset="76838.83">18733 3523 1448 0,'0'0'548'0,"0"0"-33"0,0 0 35 0,8 9-20 16,-6-2-46-16,-2 1-31 0,2 3-54 15,-1 0-23-15,1 1 0 0,1 2-163 16,0 4-34-16,-3-1 3 0,2-1-49 0,-2 4-67 15,0 1-12-15,0-1-31 0,-2-2-74 16,2 2-77-16,-3-1-77 0,0 0-51 0,1-1-135 0,-1-4-111 16,3 2-519-16,-2-2 125 0,2-2 82 0,-3-1 151 31,3-3 33-31,3 0 44 0</inkml:trace>
  <inkml:trace contextRef="#ctx0" brushRef="#br1" timeOffset="77133.11">18929 3715 1167 0,'1'-11'430'0,"-1"3"-21"0,3 1 52 15,-3 1 25-15,0 1-66 0,0 3-44 0,0 2-20 16,0 0-10-16,-8-1-100 0,8 1-19 16,-10 3-14-16,5 1-14 0,0 3-1 0,-3 0-30 15,3 4-14-15,0-3-16 0,0 2 54 0,1 3-7 31,0-3-40-31,2 2 9 0,-2-1-21 0,4 0-13 0,-2 0-9 0,2-3 17 0,2 3-44 16,2-4 3 0,-2 1-15-16,0-1-36 0,4-1 7 0,-1-1-30 0,2 0-34 0,1-4-45 15,0 0-57-15,-1-1-66 0,5 0-85 16,-3 0-87-16,-1 0-238 0,2-1-507 0,0 0 151 16,3 1 64-16,0-1 118 0,0-2 44 0,-1 2 102 15,4 0 51-15</inkml:trace>
  <inkml:trace contextRef="#ctx0" brushRef="#br1" timeOffset="78126.12">19889 3447 1581 0,'0'0'451'0,"0"0"-8"15,0 0-52-15,-5 16-35 0,3-8-28 16,-2 4-36-16,2 0-31 0,-3 2-34 16,2 3-9-16,1 2-3 0,-1-1-102 0,-2 1-24 0,3 2-20 15,-3 2-7-15,0 1-31 16,2-5-14-16,0 1 1 16,1-5-30-16,2 0 14 0,0-1 1 0,0-3 7 0,-1 1-7 0,1-4-16 15,0 0 26-15,0 2-24 0,-2-4 19 16,2 0 18-16,0-3-6 0,-2 1-17 0,2-4-6 15,-3 5 3-15,3-5-8 0,0 0 13 0,0 0 3 16,-17-6 25-16,11 6-20 16,1-3-15-16,-1 2 7 0,-1 0 15 0,7 1-7 0,-11-1 20 15,4 1-28-15,0 0-2 0,1 2 17 0,-1 2 14 16,2-4-9-16,-1 4 14 16,1 0 4-16,0 1-7 0,0 1-26 0,3-3 18 0,1 2 19 15,0-1-24-15,1 2 0 0,1-2-23 16,0 0 18-16,1 0-16 0,3-1-43 15,-2 2-25-15,1-3 14 16,2 2-47-16,-1-2-37 0,1 2-25 0,1-3-3 0,-2 0-18 0,-5-1-43 16,12 0-52-1,-4-2-30-15,-2 1 31 0,-1-2 38 0,0 0 23 0,0 0 18 0,1-4 43 16,1 1 57-16,0-2 43 0,-1 1 46 16,-1-3 19-16,5 2 30 0,-3-2 25 15,1 1 1-15,0 0 20 0,-3 1 5 0,3 1 13 16,-3 1-3-16,2 0 3 0,-4 4-18 0,3-1 21 15,-2 3-11-15,-4 0-13 0,11 3 3 16,-6 0 0-16,0 2-7 0,-2 2-19 0,2-1 3 16,-3 5-10-16,3-2 13 0,-2 3 4 0,0-1 16 15,1 0-28-15,-3-1-15 0,1 1 4 16,-2-3-2-16,3 1 23 0,-2-3 24 16,0 0 22-16,0 1 20 0,-1-5 1 15,2 2-3-15,-2-4 16 0,2 2-34 0,-2-2 23 0,0 0 77 0,0 0-10 16,8-9-11-16,-6 1-40 15,2 0-11-15,0 2 16 0,-1-3-49 0,4-2 46 0,-4 1-25 16,3 1-31-16,2-1-24 16,-4 2-40-16,2 0-15 0,1 1-29 0,-2 1-71 15,3-1-19-15,-3 2-40 0,3 0-3 0,0 0-33 16,-1 2-56-16,0-1-77 0,3 2-169 0,-2-1-584 16,-2 3 100-16,4-3 100 0,-2 3 64 15,1 0 51-15,0-2 92 0,-1 1 54 0</inkml:trace>
  <inkml:trace contextRef="#ctx0" brushRef="#br1" timeOffset="79430.78">20302 3688 1167 0,'-5'1'353'0,"0"1"-33"0,-1 2-23 15,-4-2-18-15,5 3-23 0,-5 0-23 16,3 0 61-16,-2 2-28 0,1 0-23 0,1 1-20 15,0 1-28-15,-1-1-34 0,5 0 23 0,-4 2-38 16,4-3-23-16,-2 1-15 0,2 1-16 16,1-2 5-16,2-1-23 0,-3 1-12 15,3-4 2-15,0 2-34 0,3-1 6 0,-3-4-3 0,4 6 6 16,-1-6-21-16,-3 0 18 0,0 0-6 16,14-4-7-16,-10 3 0 0,2-3-2 0,1 0-19 15,-2-1 39-15,-2-2-12 16,2 1-12-16,-2 0 9 0,2-3 7 15,-2 1 6-15,-1 1 17 0,3 0-18 0,-2-3 6 0,-3 3 7 16,2 0-38-16,0 1 30 0,1 1-12 0,-3 1-3 16,3-1 24-16,-3 1-19 0,0-1-10 0,0 5 25 15,2-3-37-15,-2 3 12 16,0 0 23-16,0 0-39 0,0 0 11 0,0 0 13 0,0 0-21 16,0 0 47-16,-5 11-16 0,5-11-8 15,-3 7 5-15,3-3-12 0,0 1-52 0,0 0 39 16,3 0-26-16,-3 1 13 0,0 0 3 0,3-4-18 31,-1 3 27-31,1-2 6 0,0 1 0 0,-1-2 0 0,3 1 20 0,-2-1-27 16,2 0 1-16,0-1-29 0,0 1 9 0,-5-2 18 0,13-2 8 15,-8 1-18-15,0-1 23 0,0 0-10 16,3-1-23-16,-3 0 20 16,3-1 13-16,-1 1 43 15,-2-2-14-15,-2 1-6 0,2 1-26 0,0-2 47 0,-2 3-13 16,1-2 2-16,-3 2 23 0,4-3-46 0,-3 2 65 0,-2 3-14 15,6-5-12-15,-4 2-11 0,-2 3 3 32,1-3 8-32,-1 3-41 0,2-3 7 0,-2 3 8 0,0 0-23 0,2-5 26 0,-2 5-21 0,0 0-15 15,0 0 7-15,0 0-2 0,0 0-25 0,0 0 14 16,0 11 6-16,0-11 0 16,0 7-18-1,3-3-8-15,-3-4 44 0,1 7-42 0,-1-2 11 0,1-3 0 0,0 2 16 0,1-1-19 16,2 0 6-16,-2 0-14 0,2 1 4 0,-1-3 25 15,-3-1-21-15,5 2 44 0,0 1-28 0,-5-3 0 16,8 0-3-16,-8 0 8 16,8 0-23-16,-8 0 28 0,10-4-5 0,-5 2-6 0,4-1-4 15,-5 0 25-15,1 2-20 0,0-4-20 0,0 0 9 16,1 2 16-16,-2-2 5 16,2 1 10-16,0 1-51 15,-4-2 47-15,2 3-24 0,-1-1-10 0,0 1 5 0,-3 2-6 0,5-4 12 0,-3 2-9 16,-2 2 11-16,5-3-24 15,-5 3 11-15,0 0-10 0,0 0 2 0,0 0 16 16,0 0 15-16,6 8 23 0,-6-8-41 0,2 4 0 16,-1-1 0-16,0 3 0 15,0-3 0-15,1 2 0 0,1-1 0 0,-1-1 0 0,-1 2 0 16,3 0 0-16,-1-3 0 0,-3 3 0 0,5-2 0 16,-3 0 0-16,1-1 0 15,0 2 0-15,-1-2-16 0,-2-2-4 0,8 3 12 0,-8-3 8 16,5 2 18-16,0-2-13 0,-5 0-20 0,8 0 20 15,-8 0-8-15,0 0 26 0,10 0-38 0,-10 0 10 16,8-5 28 0,-5 5-15-16,-3 0-8 0,5-3 0 0,-3 0 0 15,3 1 0-15,-2-2 0 0,-3 4 0 0,6-5 0 0,-4 2 0 0,3-1 0 16,-2 1 0-16,-1-1 0 16,3-1 0-16,0 2 0 0,0-3 0 0,0 2 0 15,-2 1 0-15,0-1 0 0,2 2 0 0,0-2 0 16,-2 1 0-1,-1 1 0-15,-2 2 0 0,8-2 0 0,-3 1 0 0,-5 1 0 0,0 0 0 16,10 1 0-16,-5 0 0 0,-2 2 0 16,-3-3 0-16,7 6 0 0,-4-3 0 0,0 1 0 15,0 2 0-15,-1 0 0 0,0-2 0 16,3 0 0-16,-4 1 0 0,1-2 0 0,0 0 0 0,1 1 0 16,-3 0 0-16,0 1 0 0,3-3 0 15,-1 1 0-15,-2-3 0 0,4 2 0 16,-4-2 0-16,0 0 0 0,8 0 0 0,-8 0 0 15,6-4 0-15,-1 1-44 16,1 0 39-16,1 0 2 0,-2-3-2 0,3 2-2 16,0-1 32-16,-1 2-15 0,1-1 16 0,-1 2-29 0,-1 1 9 15,1 0-6-15,-1-2 0 0,-6 3 0 16,14 3 0-16,-8-2 0 0,-1 1 0 16,3 2 0-16,-3-1 0 0,0 1 0 0,1 1 0 0,-2-1 0 15,-1 0 0-15,0 1 0 0,-1-2-26 0,1 2-143 16,-1 0-67-16,1-2-68 0,-1 2-90 15,0 0-185-15,2 0-534 16,-1-2 50-16,-1 0 142 16,3-1 53-16,2 2 98 0,3-3 81 0,1 0 80 0</inkml:trace>
  <inkml:trace contextRef="#ctx0" brushRef="#br1" timeOffset="80044.22">21497 3787 1095 0,'0'0'374'0,"0"0"-41"0,10-12-14 0,-3 7 12 15,2-2-34-15,-2 0-18 0,3-3-21 0,-2 2 13 16,0-2-30-16,2-3 5 0,-2-1 0 0,0 0-14 15,-2-2-9-15,0-1-5 0,-1 0 2 16,0-1-38-16,0-6-31 0,-1 0 38 0,-2 4-35 16,-2-3 15-16,0 6 97 0,2 1-72 0,-2 1 19 15,2 1-24-15,-2 4-10 0,2 0-28 16,-2 2-5-16,-2 3 3 0,0 3-11 0,2 2-25 16,0 0 4-16,0 0 1 0,-11 19-33 0,4-4-1 15,4 2-63-15,-4 5-21 0,2 3 0 16,-5 11 0-16,2 2 0 0,0 4 0 15,1 1 0-15,1 0-8 0,1-2-54 0,-2 3 14 16,4-1-34-16,3-2 0 0,-3-10 3 0,3-5-34 16,0-5-10-16,3 1 13 15,-3-7 8-15,0 1-8 0,0-2 2 0,0-1 11 0,3 0-36 16,-3-3-6-16,2-4-6 0,-2 1-6 0,0-1-44 16,2-3-7-16,-2-3-49 15,3 3-2-15,-3-3-70 0,3 1-104 0,-3-1-65 0,0 0-432 16,0 0 67-16,2-11 130 0,0 5 87 15,-2 0 28-15,0 1 51 0</inkml:trace>
  <inkml:trace contextRef="#ctx0" brushRef="#br1" timeOffset="80296.67">21425 3906 1428 0,'0'-6'402'0,"0"1"-34"16,0 0-38-16,2 2 3 16,1-6 59-16,2 2-21 0,0 1-2 0,-2 0-75 15,2 1-25-15,3-2-26 16,-3 1-87-16,6 2 3 0,-2-2-26 0,-1 0 10 0,2-1-30 0,-2 3 12 16,0-1-27-16,0 0-32 0,-4 4-4 15,2-2-52-15,1-1-46 0,-2 2-18 0,1-2-58 16,-1 4-55-16,2-3-43 0,-2 0-105 15,1 2-130-15,0 0-471 0,-2-2 66 0,1 1 87 16,2-1 110-16,-4 0 93 0,4 1-24 0</inkml:trace>
  <inkml:trace contextRef="#ctx0" brushRef="#br1" timeOffset="81498.05">21684 3684 1535 0,'0'0'469'0,"0"0"-24"0,0 0-48 16,0 11-44-16,2-6-2 0,-2-1-116 0,2 2-22 15,-1 3-6-15,2 0-33 0,1 1 21 16,-3 2-47-16,4 1-25 0,-5-2 23 16,4 0-31-16,-3 0-7 0,4 0-1 15,-2-3-25-15,-3 2 2 0,4-2-30 0,-1-1 18 0,-2-2 46 16,1 0 33-16,-2 1-21 0,0-4-4 0,2 0 7 15,-2-2-18-15,0 0 100 0,6 2-31 16,-6-2-20-16,0 0 15 0,7-10-35 0,-2 4-1 0,0 0-25 16,0-2 33-16,1-1-57 15,-1-1-37-15,3 0-9 0,-1 1-12 0,0-2-20 0,1 3-37 16,-2-2-25-16,1 1-54 16,-1 3-41-16,1-1-15 0,-2 2-43 0,1-2-22 15,0 4 27-15,-2-3-80 0,3 3-49 0,1-1-73 16,-2 1-165-16,-2 0-7 0,4 1-400 0,0-1 111 31,0 0 56-31,6 2 115 16,-7-2 547-16,-3 2 175 0,2 1 64 0,-6 0 84 0,7-1 37 0,-7 1 29 0,7 1 4 0,-7-1-85 15,3 4-8-15,0-2 18 0,-3 3 85 0,2 0-3 16,-2-2-43-16,2 4-11 0,-2 0 5 16,0 2-15-16,0-2-2 0,1 1-24 15,-1 1-25-15,2 0 8 0,1-1-49 0,-1 0 0 16,1 0 0-16,0-2-21 0,2 0 26 0,1 0-10 15,0-4-10-15,0 2-14 0,-1-2-96 0,3-2 40 16,1 0-9-16,-1-1-6 16,1-1 23-16,1-3 87 0,-3 0 16 0,0 0 2 0,1-2 38 15,-5 1 6-15,3-2-26 0,-2 0 13 16,-4 0 0-16,3-2-44 0,-3 4 18 16,-3-3-20-1,1 2-18-15,0 1-29 16,-1-1-9-16,-3 4 20 0,1-3-31 0,-2 3 15 0,1 1-14 0,-1 0-16 0,-1 1-42 0,1 1-24 15,7 0 9-15,-13 1-10 0,7 1-76 0,2-2 10 16,-2 2-26-16,6-2-15 0,-10 3-24 0,8-2 37 16,2-1-39-16,-2 2 8 15,2-2 13-15,0 0-3 0,0 0 20 0,0 0 9 0,9 4 6 16,-9-4 4-16,8 0 35 0,-8 0-20 16,13-1 15-16,-8-2 11 0,2 3 10 0,2 0 40 15,-1-2 6-15,-2 1 18 16,2-1-1-16,0 1 4 0,-3 1 12 0,3 0 15 0,0 0 11 0,-1 0-14 15,-2 1 6-15,1 1-5 0,1 1 21 0,0-3 9 16,-1 4-25 15,-1-2 15-31,1 2 16 0,-2 0-26 0,2 1-10 0,-2 0 33 0,-1 0-36 0,0-1-22 0,1 1 32 0,-3 2-30 16,4-2 0-16,-2-1 43 0,-1-1 3 16,1 1-13-16,-1 0 0 0,-1-1-13 0,1 1 11 15,-2-4 22-15,2 3 6 0,2 1-11 0,-3-2 9 16,-1-2-12-16,1 4-9 0,-1-4 38 15,4 1-5-15,-4-1-33 0,0 0 4 0,0 0-7 16,8 0 11-16,-8 0 17 0,6-4-10 0,-6 4-5 16,7-2-8-16,0 0 8 0,-4-1-21 15,3 0-10-15,-2 0 3 0,4 1-8 16,-2-3 23-16,1 3-5 0,-2-2 26 0,0 2-36 0,0-1 7 16,1 2 0-16,-6 1 19 0,7-1-37 0,-7 1 39 15,8 1-33-15,-8-1-8 16,8 1-18-16,-4 2 0 0,0-1 0 0,-4-2 0 15,7 4 0-15,-7-3 0 0,0-1 0 16,7 3 0-16,-6 0 0 0,-1-3 0 0,5 2 0 16,-5-2 0-16,3 3 0 0,-3-3 0 15,0 0 0-15,0 0 0 0,0 0 0 0,0 0 0 0,12-3 0 16,-12 3 0-16,0 0 0 0,0 0 0 16,10 0 0-1,-10 0 0-15,6-1 0 0,-6 1 0 0,7 1 0 0,-1 0 0 16,-6-1 0-16,10 3 0 0,-5-1 0 0,-2 1 0 0,3-2 0 0,-2 0 0 15,0 0 0-15,-4-1 0 16,8 4 0-16,-5-4 0 16,-3 0 0-16,7 3 0 0,-7-3 0 0,6 1-108 0,-3 1-194 0,-3-2-54 15,4 1-148-15,0 0-684 0,-4-1 82 16,0 0 170-16,10 1 55 0,-10-1 98 0,15-1 58 16,-2 0 60-16,2-2 107 0</inkml:trace>
  <inkml:trace contextRef="#ctx0" brushRef="#br1" timeOffset="81983.92">23139 3405 1261 0,'0'0'443'0,"0"0"-10"0,-6 10-47 16,5 0 55-16,0 3-40 0,0 2-19 0,-2 3-24 15,1 5-61-15,2-2 0 0,-1 8-28 16,-4 9-39-16,5-6-107 0,-4 7-23 0,1 2-31 15,-2-4-31-15,3 1-58 0,2-7-44 0,-3-5-15 16,3 0-19-16,0-3-25 16,2-4-40-16,-2 0-60 15,0-3-46-15,1-1-66 0,-1-1 12 0,-1-2-194 0,2-1-286 0,0-2 35 16,0-2 187-16,-1 2 5 0,0-5 71 0</inkml:trace>
  <inkml:trace contextRef="#ctx0" brushRef="#br1" timeOffset="82257.88">23066 3818 982 0,'-2'-22'397'15,"3"1"-8"-15,2 2-23 0,1 1-20 0,4-5-36 0,0 8-24 0,3-4-2 0,-3 6-30 16,4 1-29-16,2 0 11 16,-4 2 4-16,0 3-25 0,2 4 87 0,-1 0-56 15,-1 1 7-15,0 2-30 0,-1 0 0 16,0 1-31-16,-4 1-8 0,1 1-25 0,0 4-16 15,-4-4 5-15,-2 2 6 0,-2 4-11 0,-4 0-22 16,0 1-93-16,-4 0-15 0,0 1-26 0,-3-1-26 16,0 1-65-16,1-1-1 0,-2-2-41 15,0 2-23 1,0-3-10-16,4 0-19 0,0-2-29 0,3 1-29 0,1-3-82 0,1 0-131 0,0-2-25 16,5-1-417-16,0 0 128 15,0 0-8-15,0 0 107 0,0 0 50 0</inkml:trace>
  <inkml:trace contextRef="#ctx0" brushRef="#br1" timeOffset="82564.07">23309 3632 1113 0,'6'5'381'0,"-6"1"-53"0,0-3-21 16,2 1-46-16,-2 2 3 0,2 1-26 0,-2-1-13 15,3 2-58-15,-1-1-11 0,-1 0-21 0,1 2-7 16,2-2-38-16,-2-1 5 0,2 0-85 0,-1-1-8 15,2-1 34 1,-2-1-15 0,4-1 15-16,-4-1-16 0,-3-1 29 0,13 0 25 0,-13 0 64 0,10-3 6 0,-3 0-1 0,-3 0 18 15,0-3 18 1,-1 2-35-16,2-2-4 0,-4-1-1 0,0 0-16 0,0 0-3 0,-2 0-2 16,0 1-26-16,-2 0-31 0,3 1 21 15,-3 0 10-15,0 0-38 0,-1 1-5 0,-2 1 17 16,1 1-97-16,-2 1-20 0,1 0-18 15,-1-2-20-15,3 3-24 0,4 0-87 0,-14 0-66 0,6 0-146 16,8 0-538-16,-10 0 29 0,10 0 153 16,-8 0 77-16,8 0 84 0,0 0 67 15</inkml:trace>
  <inkml:trace contextRef="#ctx0" brushRef="#br1" timeOffset="83050">23465 3424 1185 0,'1'-5'471'0,"1"1"-26"0,-2 4-33 0,0 0-15 0,0 0-36 16,10 6-23-16,-7 1-34 0,2 3-35 0,-1 2-10 15,-2 1-19-15,2 3-30 0,-1 6-13 0,4 2-13 16,-1 1-38-16,-3 3 0 16,5 7-102-16,-4-4 10 0,0-5-47 0,-2 1 14 15,0 1-16-15,0-1-21 0,0 1 14 0,-2-1-44 16,1-3-3-16,-1-5 24 0,0 1-32 31,-1-2 4-31,1-4 32 0,0 0 16 0,0-3 5 0,0-1 36 0,0-2-8 0,1-2 13 0,-1-1 5 16,0-5 26-16,-1 3-29 0,1-3 34 15,0 0 28-15,0 0 33 0,0 0-36 0,-2-19-30 16,4 11 38-16,-1-5-30 16,4 0 12-16,-2-5-10 0,2-1 15 0,0-3-18 0,1 0-5 15,1-2 6-15,-2 2-29 0,3-1 18 16,2 0-15-16,-2 2 18 0,2 0-11 15,-5 7-15-15,3 1-13 0,0 2-17 16,-2 2 40-16,0 3-28 0,-1 2-2 0,2 0 33 16,-3 3-8-16,1 1-20 0,-5 0-6 0,7 4 24 0,-7-4-3 15,1 7-3-15,-1-1-14 0,0 1-1 0,-3-1-16 16,-2 4-4-16,-3-2-28 16,3 0-29-16,-3 2-56 0,-4 0-46 0,3-2-51 15,0 0-52-15,1 0-35 0,-1 1-72 0,2-9-227 16,0 3-421-16,1 1 77 0,2-1 47 0,1-1 140 15,3-2 31-15,0 0 87 0,0 0 71 0</inkml:trace>
  <inkml:trace contextRef="#ctx0" brushRef="#br1" timeOffset="83830.3">23872 3584 1182 0,'0'0'461'0,"0"0"-49"0,0 0-28 15,-14 6-39-15,13-2-32 0,-3 0-50 0,4 1-27 16,-3-1-19-16,3 1-7 15,0-2-71-15,0 2-45 0,0 0-4 0,0-5-6 0,0 8-4 16,0-4-19-16,3-1 1 0,-3 1-19 0,0-1 11 16,4 0-26-16,-3 0 0 0,4 0 28 15,-5-3-22-15,8 3 7 0,-3-3 0 0,-5 0-18 16,10 0 10-16,-10 0-18 0,13-3 16 0,-6 0 15 16,-1 0 0-16,1 2 3 0,-1-2-16 15,1 2 0-15,-2 0-2 0,-2-3-3 0,-3 4 18 16,10 0-20-16,-10 0-16 0,13 4 16 15,-10-2-3-15,3 1-8 32,-2-1-17-32,1 1 2 0,-2 1 2 0,1-3-7 0,2 3 5 0,-2-3 5 0,2-1 21 0,-6 0-13 15,12 0 35-15,-5-1 52 0,1-3 18 0,-2 1-29 16,2-3 62-16,0 2 3 0,0-4-80 0,-1 0 21 16,1-1 23-1,-1-3 33-15,0 1-64 0,1-4 38 0,-2-3-5 16,-1 1-22-16,0 0 19 0,-2 0-27 0,3-1-16 0,-4 4-5 15,2 1 16-15,-2 0 66 0,0 4-16 0,0 0-37 16,-2 0 2-16,0 4 15 0,0 1-46 0,0 4-20 16,0 0-49-16,0 0 0 0,0 0 0 0,-6 14 0 15,2-3 0 1,2 1 0-16,-2 2 0 0,1 2 0 0,-4 0 0 0,4 0 0 0,-4 2 0 16,6-3 0-1,-3 2-195-15,2-4-25 0,2-1-13 0,0 0-18 0,-1-2-25 0,2-1-9 16,3 0-17-16,-1 0-66 0,4-2-144 0,-1-1-23 15,1-3 95-15,-3 1-274 0,5-3-103 16,-1 1 34-16,2 0 117 0,3-4 52 0,-3 1 66 16</inkml:trace>
  <inkml:trace contextRef="#ctx0" brushRef="#br1" timeOffset="84264.48">24329 3589 844 0,'4'-6'341'0,"0"1"-78"0,-2-1 6 0,-1 3-3 0,2-1 54 15,-3 4-5-15,0-5-31 0,0 5 39 16,0 0-67-1,0 0-39-15,-11 0-2 0,11 0-28 0,-10 5 10 0,5-5-120 0,0 4 0 16,0-2 5-16,-3 2-16 0,3-1 3 16,-1 3-23-16,1-2-10 0,0 1 13 0,1-2-11 15,-2 2-15-15,4-3-20 0,-1 2-8 0,1-1 0 16,-2 0 0-16,4-3-3 0,-2 6 10 16,2-6-32-16,0 0-11 0,3 3 20 0,-3-3 3 15,8 0 16-15,-8 0-19 0,12 0 16 16,-6 2-10-16,-6-2-16 0,10 1 16 15,-5-1-6-15,2 0 14 0,-7 0-9 0,11 0-4 0,-4 1-16 16,0-1 23-16,-1-1-10 0,0 1-13 16,1-1 3-16,1-2 23 0,2 1 12 0,-2-1 11 15,0-1-3-15,4-2 39 0,-2 1 23 16,1-2 17-16,-1 0 11 0,-2-4 43 16,2 0 14-16,0 0 17 15,-1 1-8-15,-1-5 5 0,-2 5 27 0,0-5 78 0,2 1-28 0,-1 1 49 16,-1 1-89-16,-4 1 19 0,3 1-30 0,-1 4-12 15,-1-3-37-15,1 2-12 0,-2 4-23 16,-2-1 20-16,0 4-23 0,0 0-31 0,0 0-17 16,0 0-62-1,7 16 0-15,-7-6 0 0,1 2 0 0,-1 4 0 0,0-3 0 16,0 2 0-16,-1 4 0 0,1-3-182 0,-3 3-77 16,1 1-53-16,0-2-128 0,0-1-331 0,-2-3-329 0,2 0 86 15,-1-2 123-15,1-2 146 16,-1-2 85-16,1 1 28 0,0-4 25 0,1-1 87 15</inkml:trace>
  <inkml:trace contextRef="#ctx0" brushRef="#br1" timeOffset="84585.27">24445 3583 1343 0,'0'-4'479'0,"2"0"-54"0,1 0-49 0,0 0-30 16,2-1-47-16,1 1-38 15,2-2-25-15,-2 2-42 0,7-3-2 16,-5 0-20-16,5 1-8 0,-1 0-44 0,-1-1-2 0,4 1 5 16,-5 3-21-16,4-2 0 0,-2 0 14 15,0 4-81 1,-2 0 14-16,-2-1 2 0,1 2 34 0,-1 0 9 0,1 2 86 0,-1 1-12 0,-1 3-1 16,-1-2 7-16,2 3-5 15,-3 1-16-15,0-1-22 0,-2 2 35 0,-1-1-35 0,2 0-36 16,-3 1-29-16,-1 0-45 0,0 1-29 0,0-2-53 31,0 2-80-31,-5-2-72 0,3 0-166 0,0 1-330 0,-2-1-312 0,1-1 48 0,1-3 154 16,0-2 118-16,-1 2 43 0,3-4 39 15,0 0 81-15</inkml:trace>
  <inkml:trace contextRef="#ctx0" brushRef="#br1" timeOffset="84688.98">24722 3469 918 0,'0'-5'210'0,"0"5"-94"16,0-5-175-16,0 5-507 0,0 0 26 16</inkml:trace>
  <inkml:trace contextRef="#ctx0" brushRef="#br1" timeOffset="85227.17">24881 3490 1200 0,'0'0'445'0,"-3"10"-33"0,1-4-40 0,1-1-4 0,-1 0-43 16,0 2-35-16,-1-1-42 0,3 2 3 15,-2-1-18-15,1-1-23 0,0 1-24 0,1-2-14 16,-1 2-24-16,1-4-27 0,0 3 9 16,1-1-43-16,0 0 0 0,0-3 23 15,-1-2-7-15,5 5-29 0,-1-5 5 0,-4 0-4 0,9 1-14 16,-9-1 21-16,12-2-10 15,-6-3-1-15,0 3 21 0,-2-4-35 0,1 0 27 0,2 0-17 16,-4-1 9-16,3-1-55 0,-4 0 25 0,0 1 26 16,1-1-34-16,-2 2-2 0,-1 0-5 15,1 0-26-15,-1 0 2 0,-1 2 19 0,0 0-39 16,1 4 23-16,-3-9-17 0,3 6 22 16,-2 0-10-16,2 3-23 0,-2-2 13 0,2 2-5 15,-1-5-13-15,1 5 5 0,0 0 8 0,0 0 2 16,0 0 16-16,0 0 5 0,0 0-26 15,0 0 15-15,0 0 9 0,0 0-40 16,0 0 24-16,5 13-2 0,-2-11 17 0,-1 2 5 16,-1 0-10-16,3 0-7 0,-2 0 38 15,-1 1-41-15,2 1 2 0,1-2 26 0,-3 1 0 16,4-2 5-16,-2 3-5 0,-1-4 16 0,3 3 27 16,-2-2-2-16,2 0-10 0,-2 1 151 0,3-1-24 15,-2-1-9-15,1 1-47 0,2 0-30 16,-1-3 59-16,-1 0-49 0,2 4 12 0,0-4-27 15,-1 0-87-15,2-2-3 0,0 2 0 0,3-2 0 16,-1-1 0 0,0 1-31-16,0 0-141 0,4-1-22 0,-3-1-78 0,3 1-88 0,2 2-170 15,-1 0-609-15,-1-1 133 0,-1-1 89 0,-2 2 57 16,-1 0 72 0,0 1 84-16,-7 0 72 0,-3 0 66 0</inkml:trace>
  <inkml:trace contextRef="#ctx0" brushRef="#br1" timeOffset="86504.75">488 6234 1804 0,'0'0'556'0,"-3"-3"-157"0,3 3-20 0,0 0-29 0,0 0-14 16,6-6-42-16,-1 5-5 16,0-1-20-16,3 2-36 0,2 2-3 0,0 0-20 0,3 1-43 15,0 1-1-15,-1 1 16 0,-1 1-26 16,2 2-10-16,-3-1-23 0,-2 4-26 15,-1 0 21-15,-1 1-6 0,-3 1-48 0,-1 0 16 16,-3 2 9-16,-1 2-27 0,-3 2 22 0,0-3-51 16,0-1 13-16,-1 2-17 0,-1-4 30 15,-1 1 51-15,1-1-8 16,-1-2 3-16,2-3-5 0,-1 1-8 0,4-2-33 16,-1 1 18-16,1-3-39 0,0-1 3 0,0 0 10 0,2 2-36 0,1-2 14 15,1-2-4-15,2 3 37 0,0-3-34 16,2 2-31-16,0-3 42 0,2-1-27 0,4 0-37 15,-1 0 7-15,3-4-38 16,0 1-19-16,-1-3-24 16,2 1-52-16,1-2-18 0,1-1-59 0,-2-1-41 0,2-1-54 0,-5-1-142 15,1 0-91-15,-2 1-486 0,0-1 77 0,-4 3 105 16,1-1 98-16,-4 0 70 0,0-2 99 16,-3 0 37-16</inkml:trace>
  <inkml:trace contextRef="#ctx0" brushRef="#br1" timeOffset="86711.16">611 5952 1092 0,'11'4'564'0,"-6"-2"-6"0,4 5-59 0,5 4 10 0,1 3-53 16,8 9-3-16,3 1-44 0,2 3 9 15,-2 2-63-15,2-1-12 0,-2 3-23 0,-3 1-41 16,-3 4 0-16,-1-4-71 0,-5 4-24 0,-1 0-69 15,-5 0-23-15,-5 2-61 0,-3-5-44 32,-3 5-74-32,-4 0-64 0,-4 3-74 0,-7 6-87 0,-5-2-218 0,0 1-548 0,3-11 118 15,-6 7 85-15,-2-4 92 0,2-6 66 16,-8 4 100-16,-2-4 74 0</inkml:trace>
  <inkml:trace contextRef="#ctx0" brushRef="#br1" timeOffset="90264.97">1308 6229 1456 0,'0'8'520'0,"-2"-1"-62"0,0 5-49 16,1-4-22-16,0 4-26 0,1 0-49 16,-1 1-48-16,1 0-26 0,-3 1-67 15,6 0-45-15,-3-1-47 0,0-3-38 0,0 2-31 0,0 0-43 16,0 0-69-16,0-1-126 0,-3-2-74 16,1 2-144-16,2-4-442 0,-1 2 95 15,2-3 91-15,-2-1 96 0,1 0 25 0</inkml:trace>
  <inkml:trace contextRef="#ctx0" brushRef="#br1" timeOffset="90610.33">1203 6230 1425 0,'0'0'453'0,"6"-5"-35"0,1 0-17 16,-1 5-37-16,1-3-54 0,6-1-37 0,0-2-17 0,3 4-61 16,1-2-39-16,3-3-46 0,1 2-64 15,0 0-146-15,2 2-7 0,-2-3-185 16,-1 2-553-16,0 2 29 0,-4-1 84 0,-4 1 64 16,-1 2 69-16</inkml:trace>
  <inkml:trace contextRef="#ctx0" brushRef="#br1" timeOffset="90856.88">1185 6456 1177 0,'-2'2'525'0,"2"-2"-36"15,-5 4-44-15,5-4-112 0,0 0-26 0,0 0-31 16,13 5-25-16,-6-5-5 0,1 0-23 15,2-3-57-15,0 2-5 0,3-3-10 0,1 0-51 16,3-1-44-16,1 0-33 0,0-2-46 0,0 1-48 16,2-1-50-16,-1-1-73 0,-1 0-213 15,2-1-479-15,-4 3 90 0,1-4 59 0,-1 1 110 16,1-1 64-16</inkml:trace>
  <inkml:trace contextRef="#ctx0" brushRef="#br1" timeOffset="91129.79">1793 5982 1377 0,'0'0'514'16,"0"0"-38"-16,0 0-23 0,-5 13-43 0,5-7-52 16,-3 4-12-16,3 2-39 0,-2 2 33 15,0 0-56 1,2 5-20-16,-3 0-34 0,3 4-25 0,-1 3-15 0,0 0-32 0,0 0 4 0,1-3-45 15,0 0-7-15,0-2-17 0,2-2-47 16,-1 0-23-16,2-1-41 0,-1-3-18 16,1-1 0-16,-1-4-18 0,3-2-17 0,0-1-44 15,-2-4-57-15,2 2-51 0,1-4-92 0,1-1-140 16,-4-1-533-16,-3 1 79 0,7-5 87 16,-2 0 85-16,-4 2 64 0,1-4 74 0</inkml:trace>
  <inkml:trace contextRef="#ctx0" brushRef="#br1" timeOffset="91370.71">1634 6203 1249 0,'0'0'499'0,"-7"3"-115"0,7-3 18 0,0 0-26 0,-3 3-33 0,3-3-18 0,0 0-49 0,0 0-15 15,10 6 6-15,-5-4-37 0,3-1-35 0,2-1-21 16,1-1 59-16,4-2-39 0,0 2-12 15,3-3-44-15,1 1-46 0,1-2 3 0,-2 0-41 16,0 1-47-16,-1-1-32 0,-1 1-39 0,-5 2-31 16,1-1-66-16,-2 1-93 0,-2 0-191 15,2 1-548-15,-4 1 97 0,1 0 79 0,-2-2 108 16,-5 2 93-16,8-1 6 0</inkml:trace>
  <inkml:trace contextRef="#ctx0" brushRef="#br1" timeOffset="92886.82">2367 6006 972 0,'0'0'402'0,"0"0"64"0,0 0-39 16,-2 20-35-16,2-10-52 0,0 0 9 15,0 7-68-15,-2 0-33 0,2-2-17 0,-3 5 2 16,3 3-39-16,-3-3-27 0,-1 0 9 0,1 3-20 15,3-2-35-15,-3 1-1 0,1-4-12 16,0 0 2 0,1-3-41-16,-2-2 7 0,3-2 4 0,0 1-6 0,-2-3 18 0,2 0 21 0,0-3 17 15,0 1-4-15,0-4 25 0,2 2-10 16,-2-5-31-16,0 0 18 0,0 0-16 16,0 0 21-16,11-11-23 0,-8 5-17 0,4-1-32 15,-2 0 13-15,0-1-30 0,3-2-1 0,2 2 16 16,0 0-5-16,0 0-72 0,1 3 15 15,-1 0-12-15,-2 0 25 16,2 5-25-16,0 0 12 0,0 0 16 0,-2 3-10 0,0 0 25 16,0 2-10-16,-1 1-39 0,-2 0 14 0,0 2-27 15,1-2-1-15,-1 3-32 0,-3 0-58 16,1-2-16-16,-1 2-69 0,-2 0-36 0,1-1-40 16,1-2-78-1,1 1-138-15,-3 1-127 0,2-3-385 0,0 1 121 0,1-1 94 0,0-1 64 16,-1-2 88-16,4-1 58 0</inkml:trace>
  <inkml:trace contextRef="#ctx0" brushRef="#br1" timeOffset="93181.98">2665 6314 1026 0,'2'-9'463'0,"4"-1"-35"0,-4 0-6 15,0 1-115-15,-1 3-12 0,-1 0-16 16,0 0-16-16,-1 4 24 0,1-4-41 15,-2 2-3-15,0 2-31 0,-1-1-38 0,3 3 13 16,-8-2-38-16,8 2-21 0,-9 5-8 0,6 1-5 16,-3 1-12-16,1-2-9 0,0 4 14 15,-2 1-39-15,4-1 10 0,-2 2-10 0,2 1-20 16,3-4 7-16,-2 3 3 0,4-3-26 16,1 3 16-16,-1-5-23 0,3 1 17 0,-2 1-20 15,5-1-15-15,2-3-11 0,0 1-27 0,0-4-37 16,0 3-33-1,1-4-38-15,2-2-54 0,-2 0-69 0,3 0-95 0,-3-2-143 0,2 0-448 16,-1 0 92-16,1-3 87 16,-3 2 54-16,1-2 161 0,-1 0-18 0</inkml:trace>
  <inkml:trace contextRef="#ctx0" brushRef="#br1" timeOffset="93558.78">2904 6062 1328 0,'-1'-6'404'0,"1"6"-20"0,-2-5 41 15,2 0-13-15,0 5-7 0,0-6-39 0,0 6-31 0,-3-3-38 16,3 3 0-16,0 0-41 0,0 0 3 0,0 0-19 31,0 0 1-31,0 15-34 0,0-5-10 0,0 0 23 0,0 6-46 0,0 1-18 16,0 4 13-16,0 0-18 0,0 7-25 0,0-2 17 15,0 2-33-15,0 1-5 0,0 1-5 16,0-4-56-16,-2 3 9 0,1-4-50 0,1-5-16 16,1 0-30-16,-1-2-37 15,-1-4-4-15,2 0-47 0,1-4-30 0,-2 0 25 16,3-3-28-16,-3-2-51 0,5-2-30 0,0 1-91 0,-5-4-119 15,5-1-270-15,-5 1-263 16,10-6 113-16,-4 2 58 0,-3-3 90 16,1 1 90-16,-1-4 23 0</inkml:trace>
  <inkml:trace contextRef="#ctx0" brushRef="#br1" timeOffset="94126.73">3083 6030 1003 0,'0'0'527'0,"0"0"-61"0,-2 16-62 15,2-6-14-15,2 1-58 0,-2 3-30 0,2 4 6 16,-1 2-40-16,1 4-27 0,1 2-13 16,-3-1-36-16,2 1-8 0,-1 3 0 0,-1-2-40 15,4 1-4-15,-1 0-22 0,-3-3-15 0,0 1-11 16,2-4-59-16,-1-1 0 0,1-2-5 16,0-3 6-16,1-2-9 0,-3-1-14 15,0-1-14-15,3-3 57 0,-3 2-8 0,0-5 2 16,0 1 34-16,2-2-94 0,-2-1 47 0,3-2 14 15,-3-2-3-15,0 0 13 0,0 0 15 16,0 0 36-16,0 0-38 0,-3-19 12 0,3 8-22 16,0-2 20-16,0-2 5 0,3-7 2 15,-3 3-22-15,3 0-8 0,1-1-8 0,-1 1-13 16,3 0-7 0,1 2-5-16,-2 2 7 0,1 4-10 0,1 0-8 0,-2 3 11 0,0 2 7 15,2 3-20-15,-3 1-5 0,1 2-6 0,-5 0 11 16,7 5 10-16,-4-1 23 15,-1 1-23 1,-2 2 8-16,0 1 10 0,-3 1-31 0,-1 2 11 0,-2-3-29 0,2 4 0 0,-4-1-30 16,0-3-1-16,0 3-48 15,1-4-12-15,-1 1-55 0,0 1-41 0,1-3-32 0,1-3-40 0,-1 2-93 16,1 0-147-16,2-3-74 0,3-2-420 16,1 0 120-16,0 0 75 0,0 0 110 0,0 0 20 15,0 0 85-15</inkml:trace>
  <inkml:trace contextRef="#ctx0" brushRef="#br1" timeOffset="94417.38">3344 6231 1167 0,'-5'2'361'0,"5"-2"-3"0,-5 5-48 0,5-2-29 0,-2 0-4 0,2 3-32 0,0 1-40 0,2-3-5 15,0 4 10-15,1-1-21 0,0-1-10 16,0 1-25-16,-1-1 7 0,3 4-84 0,-3-4 13 16,1 2 15-16,0-2 5 0,-3 1 18 15,0 0-18-15,0 0-13 0,-3 0-13 16,0 2 16-16,-1-3-31 0,-4 1 13 0,0 1 5 0,1-3-7 16,-1 1-70-16,1 0-69 0,-1-1-41 15,0-2-84-15,3 1-185 0,-1-2-603 0,2 1 91 16,-2-2 95-16,6-1 41 0,-8 1 77 15,8-1 77-15</inkml:trace>
  <inkml:trace contextRef="#ctx0" brushRef="#br1" timeOffset="94792.19">3849 6162 1297 0,'0'0'407'0,"0"0"-5"0,-2 13-54 16,1-7 5-16,0 0 19 0,2 3-24 15,-1-2-54-15,0 3-17 0,-1 1-34 0,1-2-18 16,0 1-20-16,0-1-34 0,0 0-27 0,0-1-47 16,0 0-25-16,0 0-11 15,-1 0-38-15,2-1-43 0,-1-1-29 0,0 0-43 16,0-2-21-16,-1 0-81 0,1-4-124 0,1 4-114 15,-1-4-439-15,0 0 60 0,0 0 53 16,0 0 54-16,0 0 105 0</inkml:trace>
  <inkml:trace contextRef="#ctx0" brushRef="#br1" timeOffset="94938.33">3852 6045 752 0,'0'0'169'16,"-3"-1"-151"-16,3 1-218 0,0 0-358 15</inkml:trace>
  <inkml:trace contextRef="#ctx0" brushRef="#br1" timeOffset="95285.09">3944 6169 1144 0,'1'7'425'0,"0"-1"-47"15,0-1-19-15,1 0-42 0,1-1 16 0,-1 1-98 16,1-1-7-16,0-2-3 0,-1 4-27 16,1-5 27-16,2 2 10 0,-2 0-25 0,-3-3-18 15,5 0-13-15,-5 0 11 0,9-3-16 0,-3 0 77 16,-1 2-6-16,1-3-47 15,1 2-42-15,0 1 15 0,1-3-20 0,2 3-28 0,-2 0 5 16,2 0-8-16,1 1 6 0,-3 0 7 0,2 2-28 16,0-2 15-16,-2 0-35 15,-1 4-34-15,1-2-61 0,0 1-16 0,-3 1-66 16,3-1-69-16,-1 0-44 0,-4 2-28 0,3 0-102 16,-2-4-188-16,2 5-544 0,-2-4 74 15,2 2 138-15,-2-3 82 0,-1 0 97 0,-3-1 67 16,11 1 28-16</inkml:trace>
  <inkml:trace contextRef="#ctx0" brushRef="#br1" timeOffset="95998.26">4598 6001 970 0,'0'0'366'0,"-7"0"-3"0,7 0-35 0,0 0 58 15,-11 11-50-15,6-5-4 0,0 1-1 16,2 2-65-16,-1 2-10 0,1 0-34 0,0 3-9 16,-1-3-6-16,3 4-22 0,-2 1-22 15,3-2-30-15,-2 0-22 0,4 1 22 0,-2-1-39 16,3-1-4-16,2-2 20 0,-2-1-38 16,2 1-16-16,0-1-13 0,2-5 32 0,-1-1-27 15,-1 1 6-15,2-4-21 0,1 1 11 0,0-4-13 16,-1 1-6-16,1-3 16 15,0 0-28-15,-3-1 7 0,0 0-20 0,0-3 23 0,-2-2 6 16,-3 2 14-16,1-2-25 0,-1 1 13 0,-1-3-6 16,1 0-7-16,-5 0 10 0,2-1-22 15,-2 0-6-15,2 2 17 0,-1 0-22 16,1 3 0-16,3-1 23 0,-3 0-15 16,1 1-29-16,2 4-2 0,-2 1 7 0,4-2 9 15,0 3-14-15,-2 2 16 0,0 0-11 16,8 0 24-16,-8 0-13 0,11 7-6 0,-4-4 9 0,3 3 4 15,-2 5 1-15,2-2-19 16,1 1 24-16,1 2-24 0,-4 1-2 0,5 0 36 0,-5 3 7 16,2-3-12-16,-3 1-5 0,-2 2-1 0,1-3-12 15,-1-2 0-15,-3-1 20 0,1 0 21 16,0-1-1 0,-3-2 52-16,2 0 33 0,0-2-2 0,-2 0 33 0,0-1-49 0,0-4 18 0,0 0-30 15,0 0 15-15,0 0-6 0,0 0 4 16,0 0 4-16,3-15 1 0,-3 7-45 15,3 0-27-15,-1-4 23 0,-1 0 0 0,1 0 12 16,3-4-53-16,-2 1 2 16,2-2-7-16,-2 3-41 0,4-3-31 0,-2 4-28 0,0 0-49 15,0 2-3-15,1 2-76 0,-1 1-51 0,2 1-116 16,-5 3-229-16,4 0-498 0,-4 3 149 16,4-1 92-16,-6 2 116 0,7-3 48 0,-7 3 76 15,13 0 55-15</inkml:trace>
  <inkml:trace contextRef="#ctx0" brushRef="#br1" timeOffset="96944.31">5132 6023 1075 0,'-6'0'345'0,"6"0"24"0,-15 2-57 16,8 0-18-16,-1 4-7 0,3-1-34 0,-6 2-27 0,4 0-16 16,-1 1-13-16,-3 2-33 0,3-3-11 15,1 4-17-15,0-3 5 0,1 3-31 16,1-3-13-16,0 1-8 0,3-3-14 0,-1 1-22 16,3-4 63-16,0 2-55 0,0 1-10 15,0-6-2-15,2 4 12 0,1-3-12 0,-3-1-11 16,8 0 14-16,-8 0 17 0,10-4-3 0,-5 3 1 15,1-5 25-15,1 3 5 0,-2-1-20 0,1-2 2 16,-2 2 16-16,2 1 5 0,-2-2-95 16,-1 0 18-16,2 2-10 0,1 3-8 0,-6 0-2 15,10-1 12-15,-10 1 3 0,7 6-13 16,-1-2 28-16,-2 6-30 0,-1-2-1 16,2 3 19-16,-2 3-1 0,-3 2-2 0,3 0-8 15,-6 5-4-15,3 0 1 0,-3-1-12 0,-1 3 18 0,-2 2-11 16,-2-3-7 15,1 1 13-31,-1-4-18 0,0 2-13 0,0-5 18 0,1 1 10 0,-1-4 8 16,3-2 4-1,0-3 12-15,-1-1-4 0,2-1-22 0,-2-1 33 0,2-4-13 0,1 1-8 0,3-2-2 16,0 0 0-16,-10-6-16 0,7 2-5 0,3-4-2 0,0 0 8 0,0-3 4 16,2-1-27-16,2-3-1 15,0 0 0 1,2-3-38-16,1-2 18 0,3 4-66 0,1-3-24 0,-1 0 3 0,5 2-54 15,-2 2-51-15,0-1-123 0,-6 2-123 0,7 3-435 0,-2-2 116 16,4 3 30-16,-6 0 69 0,5-2 82 16</inkml:trace>
  <inkml:trace contextRef="#ctx0" brushRef="#br1" timeOffset="97883.93">5401 6000 1167 0,'-6'1'348'0,"-1"2"-31"0,-1-1-48 16,3 4-13-16,0-2-21 0,-3 3-32 0,0 0-32 15,-1 0-10-15,1 1-15 0,0 2-5 0,3-1-8 16,-5 3-10-16,1 0 5 0,2-1-51 16,2-2 2-16,-1 2-5 0,2 0 1 15,1-2-27-15,0-1 11 0,1 0-36 0,0 0 3 0,1-2-8 16,1 0-8-16,3-3 8 0,-3 2-16 15,3-2 34-15,2-2-33 0,-5-1 10 0,8 0-1 16,-8 0 1-16,10-5-18 0,-3 3 28 0,-1-3 0 16,1-1-2-16,-2 0 4 0,3-3 1 15,-5 0-8-15,4-1 15 0,-5 2-7 16,1 0 4-16,0 0 6 0,-1-1 0 0,1 2 2 0,0 0 6 16,-3 0-3-16,2 2 13 15,-1 1 5-15,-1 0-8 0,0 4-10 0,-1-5-3 16,1 5 11-16,0 0-6 0,-5-3-2 0,5 3-23 15,0 0 10-15,0 0 8 16,0 0-18-16,-8 10 5 16,8-6-18-16,-2-2 28 0,2-2-33 0,-1 8-5 0,1-4-10 0,0-4 23 0,0 6-13 15,0-6 10-15,3 5-16 16,-3-5 6-16,3 3 8 0,-3-3-11 0,3 3 21 0,-3-3 20 16,0 0-30-16,0 0 22 0,12-3-30 15,-12 3-5-15,0 0 28 0,10-2 0 16,-7 1-5-16,-3 1-3 0,11-3 26 0,-7 2-8 15,-4 1-43-15,8-1 25 0,-8 1 13 0,8 0 8 16,-1 0-29 0,-7 0-4-16,11 1 12 0,-6 2 0 0,0-2 3 0,1 1-8 15,-2 2-3-15,1-2 9 0,-2-1-9 0,2 3-12 0,-2-1 13 16,2 1 22-16,-5-2-22 16,3 3 17-16,-1-3-17 0,0 1 2 0,-2-3-13 0,3 7 13 15,0-6 6 1,-3-1-1-16,2 4-2 0,-2-4 2 0,2 2 23 0,-2-2-2 15,0 0-13-15,4 4 20 0,-4-4-12 0,0 0-8 16,0 0 10-16,0 0-15 0,7-9 30 0,-4 7 75 0,-1-4-21 16,3 1 34-16,-2-1-34 15,2 2-5-15,0-2 5 0,-2 1 6 0,2-1-19 16,0 1 3-16,0 1-10 0,0 1-16 0,0-1 16 16,-2 3-10-1,2-1-26-15,0 0 0 0,0 0-23 0,-5 2 40 0,10 0-9 0,-10 0-103 16,8 3 6-16,0-2 17 0,-3 1-33 0,0-2 15 15,0 3-17-15,0-1-8 0,-2-1-24 16,2 3-32-16,-2-3 20 0,2 3-36 16,-2-2-3-16,-3-2-7 0,7 2-10 0,-4 2-29 15,-1-3-17-15,-2-1 7 0,5 1-28 0,-5-1-15 16,0 0 5-16,11-1-44 0,-11 1 44 0,7-5 28 16,-4 3 15-16,2-3 16 15,0 1 12-15,0 1 49 0,1-2 47 0,-1-1 50 0,3 3 41 16,-1-3 47-16,-4 2-16 0,4 3 41 15,-2-3-10-15,-2 1 30 0,2 0 3 0,0 1-15 16,-5 2 2-16,5 0-20 0,-5 0 5 0,0 0-10 16,11 4-3-16,-6-3 2 15,-3 2-1-15,-2-3-6 0,5 5-18 0,-2 1-21 0,-1-4-17 16,-1 2-44-16,1 1-38 0,0-2-26 16,-2 2-120-16,1-1-131 0,1-2-491 0,-2 3 82 15,0-5 74-15,3 6 82 16,-3-6 43-16</inkml:trace>
  <inkml:trace contextRef="#ctx0" brushRef="#br1" timeOffset="98043.21">5818 5901 934 0,'0'-6'118'16,"0"6"-229"-16,0 0-380 0</inkml:trace>
  <inkml:trace contextRef="#ctx0" brushRef="#br1" timeOffset="98876.54">5939 6025 1197 0,'5'0'364'0,"-5"0"-62"0,0 0-20 0,10 6-1 0,-9-4-58 15,4 2 7-15,-3 2-40 0,-1-3-19 16,3 2-20-16,-4 1 0 0,3 0-31 0,-1-2 11 15,-1 1-24-15,-1-1-22 0,2 1 15 16,-2 0-13-16,2-2-10 0,-2 2 7 16,0-5-5-16,0 5 16 0,0-5 2 0,0 0-10 15,3 3-10-15,-3-3-10 0,0 0-8 0,0 0-3 16,0 0-5 0,11-7 16-16,-7 5-8 0,2-2 12 0,-3 1-27 0,4-2 7 0,-2 1-18 15,3 2 31-15,-3-1-33 0,3 1-16 0,1 0 8 16,-1 2 18-16,0 2-20 15,0-2 4-15,-3 5-9 0,3 0-6 0,0 2-2 16,-1 0 10-16,-2 5 5 0,-3-1-13 0,1 0 18 0,-3 4-8 16,0-2-4-16,-5 4-19 15,0 0 19-15,0-1 9 0,-3 0-12 0,0 0 18 16,-2-2-16-16,0 1-2 16,0-2 7-16,-1-1-15 0,3-3-12 15,1-1 27-15,-1-1-9 0,1-4 29 0,-1 2-40 0,3-2 3 0,-1-3 10 16,6 0-6-16,0 0 9 0,-7-6 7 0,7 3-5 15,0-2-16-15,3 0 27 16,-1-2-17-16,1 1-4 0,4 0 30 0,1-1-7 0,-3 0-21 16,5-1 21-16,0-1 0 0,1 2-8 15,2 0-49-15,0 0 6 0,2 0-37 0,0 1-32 16,-2-1-67-16,1-1-72 16,0 1-51-16,2 0-110 0,-3-1-82 0,2 2-451 0,-2-2 49 0,-1-1 85 15,1 1 112-15,1 1 34 16,-2-3 104-16</inkml:trace>
  <inkml:trace contextRef="#ctx0" brushRef="#br1" timeOffset="99048.56">6359 6012 1190 0,'3'-4'391'0,"-3"4"-60"0,0 0-29 15,0 0-26-15,0 0 93 0,0 0-31 0,0 0-24 16,0 11-22-16,0-5-28 16,-3 2-36-16,3 1-26 0,-2 0-28 0,0 0-20 0,2 1 7 15,-1 1-33-15,1-1-31 0,-2 0-38 0,-1 1-41 16,1-2-51-16,1 2-39 0,-1-1-110 15,0-2-151-15,-1 0-381 0,3 0-174 0,-2-3 79 16,1-1 77-16,1-1 59 0,0-3 79 0</inkml:trace>
  <inkml:trace contextRef="#ctx0" brushRef="#br1" timeOffset="99161.96">6370 5949 660 0,'-3'-5'177'0,"3"5"-106"0,-2-3-176 0,2 3-491 0</inkml:trace>
  <inkml:trace contextRef="#ctx0" brushRef="#br1" timeOffset="99500.74">6487 6008 1356 0,'0'8'492'0,"0"-1"-24"15,1 1-48-15,1-2-110 0,-2 0-8 16,0 1-41-16,0-1-18 16,0 1-28-16,3 0-23 0,-3-3-18 15,0 1 10-15,0-1-48 0,0 1 0 0,2 1-6 0,-2-5 8 0,0-1 16 16,1 5-31-16,-1-5 12 0,2 2-30 0,-2-2 49 16,0 0-34-16,0 0 8 0,0 0 3 0,10-4-11 15,-5 0-5 1,-5 4 16-16,3-5-29 0,2 4-7 0,-2-3-16 0,-3 4-2 15,4-3 20-15,2 3-28 16,-6 0 1-16,8-1 1 0,-8 1 3 0,10 1-20 0,-10-1-33 0,10 2-14 16,-2-1-43-16,-3 3-38 0,0-3-56 15,0 3-52-15,0-3-15 0,0 1-64 0,-2 1-41 16,2-2-75-16,0 1-165 0,-2 1-469 0,2-2 176 16,0 0-32-16,-5-1 109 0,7 0 108 15,-7 0 10-15,9 0 133 0</inkml:trace>
  <inkml:trace contextRef="#ctx0" brushRef="#br1" timeOffset="99828.71">6780 5971 980 0,'-8'9'374'0,"8"-4"-6"0,-2 0-30 0,2 5-18 16,-3 1-5-16,3 3 15 0,0-1 46 0,0 5 29 15,3 2-32-15,-3 0 4 0,-3 5-37 0,1 3-68 16,0-2-6-16,-2 0-31 16,-1-1-15-16,0 0 0 0,-2 0-38 0,1-4 5 0,-2 0-28 15,1-6-16-15,0-2 0 0,4-2-40 0,-3 2-19 16,2-8 6-16,1 0-41 0,1-4 12 16,2-1 16-16,0 0-34 0,0 0-12 15,5-17-11-15,-2 6 4 0,4-4-55 0,3-3-10 16,3-1-31-16,2-8-5 0,3-2-28 15,0 1 0-15,0-2 3 0,0 1-18 0,3 3-39 16,-1 1 16-16,-2-1-65 0,-2 9-9 0,1 2-113 16,-2-3-164-16,-1 6-520 0,-2 1 118 15,-1 3 64-15,-1-2 49 0,2 2 107 0,-4 2 59 16</inkml:trace>
  <inkml:trace contextRef="#ctx0" brushRef="#br1" timeOffset="101841.85">7459 5982 1459 0,'0'-2'463'0,"3"-2"-84"15,-3-1-44-15,0 5-38 0,0 0-10 0,0 0 20 16,0 0-46-16,0 0-8 16,5 11 70-16,-5-4-8 0,0 1-39 0,0 3-23 15,-2 0-9-15,1 2-47 0,-1 1-5 0,-3 3-13 0,0 1-23 16,-1-1-61-1,-1-1-21-15,0 2-51 0,1 0-49 0,-2-2-20 0,3 0-79 16,-3 1-41-16,1-3-65 0,4-2-109 0,-7 0-180 16,5-3-409-16,5 1 28 0,-3-4 110 15,3-1 136-15,-2-2 15 0,2-3 77 0</inkml:trace>
  <inkml:trace contextRef="#ctx0" brushRef="#br1" timeOffset="102670.85">7759 5886 1223 0,'0'-5'361'0,"0"5"-23"0,0 0-26 0,0 0-102 15,0 0-18-15,-13 6-18 0,9-3-15 16,-2 3-24-16,1 1-12 16,-2 3-5-16,1-1-21 0,-1 0 8 0,-1 3-25 0,2-3-11 0,-1 3-8 15,0 1-20-15,4-2 10 16,-4 1-7-16,4-3-8 0,0 1-34 0,0-3 1 16,1 0 27-16,2 0-35 0,0-1 3 0,0-1 17 15,2-1-23-15,-1-2 3 0,4 0 18 16,-3 1-5-16,-2-3-1 0,0 0 9 0,0 0 4 15,15-6 16-15,-9 1 67 0,-2 0 7 0,2-2 23 16,-1 1-18-16,0-1 10 0,-2 0 31 16,-1-1-25-16,1-1-21 0,2 2 0 15,-3 0-15-15,1-3 7 0,-3 3-4 0,1 0 12 0,1 1-8 16,0 0-25-16,-2 2-21 0,0-1 0 16,0 0-20-16,3 1-5 0,-3 4 23 15,0 0-21-15,0 0 16 0,0 0-29 0,0 0 18 16,0 0 3-16,0 0-38 0,0 0-18 0,-5 12 33 15,5-7-18-15,0 0-16 16,0-5 32-16,0 6-27 0,0 0 4 0,0-3 2 0,2 1-3 16,-2-4 13-16,0 6-26 0,0-3-60 0,0-3 17 15,3 4-16-15,-3-4 26 32,3 2 6-32,-3-2-1 0,0 0 8 0,4 3 0 0,-4-3 3 0,0 0 7 0,0 0 16 0,11-3 7 15,-11 3 16-15,7-1-16 0,-7 1 13 16,8-1-10-16,-8 1 18 0,5-1-31 0,-5 1 21 15,8 0-9-15,-8 0 9 0,8 0 2 0,-8 0 13 16,8 2-38-16,-4-2 35 16,-4 0-7-16,8 6 4 0,-5-6-27 0,-1 4 20 0,1-2 3 15,2-1 2 1,-5-1 13-16,5 4-13 0,-2-1 6 0,-3-3-11 0,2 4 33 16,1-1-10-16,-3-3-2 0,0 3 25 0,0-3 11 15,5 2 14-15,-5-2 17 0,3 3 19 0,-3-3-9 0,0 0-39 16,0 0 20-16,10-5-15 0,-8 0 28 15,3 4-15-15,-2-3-20 0,2 1 20 0,-2 1 12 16,2-1-53-16,0 2 11 0,0-4 12 0,0 5 17 16,3 0-19-16,-3-2-14 0,3 2-9 15,-8 0-16-15,12 2-3 0,-4 0-9 16,-2 1-24-16,-1-1-18 0,2 2-33 0,-2 1-18 16,0-2-15-16,-2 2-67 0,2-1-23 0,-2 0-74 15,2 1-33-15,-5-1-98 0,3-3-122 16,1 4-487-16,-3-2 169 0,4 2-15 15,-1-4 174-15,2 4 30 0,-1-4 36 0,3 4 72 0</inkml:trace>
  <inkml:trace contextRef="#ctx0" brushRef="#br1" timeOffset="103730.87">8211 5950 839 0,'0'-4'405'0,"0"4"-29"16,0 0-23-16,0-5 28 0,0 5-32 0,0 0-63 0,-5-3-14 16,5 3-50-16,0 0-86 0,-8-2 5 15,8 2-6-15,0 0-19 0,0 0-9 0,-13 3 1 16,8 2-4-16,0-3-1 0,2 2-26 0,-2 1-11 15,0-2-7-15,0 1-21 16,0 2-2-16,2-3 21 0,-2 2-1 0,3 0-10 16,-1 1-20-16,0-3-8 0,1 2 2 0,2 0 3 15,-2-1-10-15,2 0-21 0,-1 0-5 16,1-4 8-16,1 6 5 0,-1-6 0 16,4 2-13-16,-4-2 3 0,6 1 5 0,-6-1 0 0,0 0 18 15,10-1-13-15,-10 1-8 0,5-1 6 16,-5 1-6-16,5-5 18 0,-5 5-23 0,5 0 13 15,-5 0-7-15,0 0 17 0,0 0-15 16,10 2-3-16,-7 1 11 16,-3-3-1-16,7 1 19 0,-4 3-9 0,2-3-29 0,-5-1 27 0,8 2-15 15,-8-2 5-15,8 0-5 0,-8 0 20 16,10-4-15-16,-3 0 10 0,-1-1 11 0,2 2-3 16,-4-3 17-1,2 0 19-15,-1-3 105 0,2 1 2 0,-1 1 5 0,-1-5 6 0,0 1 5 16,0 3-16-16,-2-3 5 0,2-2-15 15,-3 3 0-15,0-4-36 0,2 1 13 16,-2-1 8 0,-2 1-21-16,2 0 11 0,-2 1-11 0,0 1 8 0,3 2-21 15,-3 0 1-15,0 1-42 0,0 3 8 0,0 0-20 0,0 2-3 16,0 3 31-16,0 0-57 0,0 0 31 0,0 0-12 16,-5 13-44-16,3-7 33 0,-1 3-23 15,2 3 31-15,1 0-29 0,-2 2-25 0,2 1-38 16,0-2 7-1,0 2-43-15,2-2 31 0,-2 1-13 0,4-4-11 0,-2 1 60 0,3 0-37 16,1-3 34-16,1 0 5 0,0-2-33 0,1-1 10 16,0-3-1-16,0 1 19 0,2-2-13 0,-2-1 36 15,-1 0-23-15,3-1-10 16,-4-2 30-16,4 1 3 0,-5-3 41 0,1 3-13 0,1 1 20 16,-2-3-20-16,-3 2-2 0,4 1 2 0,-1-1 18 15,-5 2-34-15,5-2 17 0,-5 2-14 16,5-1 13-16,-5 1-36 0,7 0 5 15,-7 0-7-15,0 0 5 0,0 0-11 16,8 1 26-16,-8-1-5 0,0 0-20 0,8 1-1 0,-8-1 6 16,0 0 12-16,8-3-2 0,-3-1 23 15,0 3-13-15,-5 1-20 0,8-4 10 0,-3 2 7 0,0 2 1 16,-5 0 0-16,8-3 9 0,-8 3 22 16,12 3-22-16,-8-1 22 0,2 2 4 15,0 4 16-15,-1 2-54 0,0-1 41 16,0 3-5-16,0 0-13 0,-4 1 13 0,1 4-11 0,1-2-33 15,-3 1 32-15,0-1-45 16,0 3-7-16,-3-1-59 0,0-1-26 0,1 1-33 0,-3-4-46 16,2-1-43-16,1 1-62 0,-1-2-74 15,3-4-133-15,-2-1-551 0,4 1 126 16,-2-1 28-16,3-4 158 0,1 1 60 16,2-3 43-16,-6 0 80 0</inkml:trace>
  <inkml:trace contextRef="#ctx0" brushRef="#br1" timeOffset="104897.4">8680 5906 1223 0,'0'-5'438'0,"0"5"-57"16,3-6-25-16,-1 4-34 0,0-1-32 0,-2 3-19 16,8-4-15-16,-8 4-3 0,8 1-38 0,-8-1-7 15,8 5-19-15,-5-2-112 0,4 2 7 16,-5 0-2-16,3 2-18 0,-2 1 3 0,0-2-18 16,-1 1 15-16,0 1-24 0,-2 0 17 0,0-1-3 15,1-1-16-15,-1 1 23 0,0-1 3 16,-1-3 23-16,2 1 70 0,-1 2 24 0,0-6-45 15,-1 7 20-15,1-7-23 0,0 2 0 16,0-2-15-16,0 0-5 0,0 0-14 0,0 0-12 16,0 0-30-16,8-12 7 0,-5 8 31 15,2-1-19-15,0-2-12 0,0 2-10 0,1 0-10 16,-1 2-6-16,0-2-12 0,2 2 4 16,-1 1 1-16,-2 0-26 0,2 2 5 0,-6 0 39 15,13 2-18-15,-6 3 5 0,1 1-29 0,-3-1-25 16,1 4 5-16,-2 2 29 0,2 2-1 15,-2-2-7 1,-3 4-3-16,1 0-10 0,-4 0 15 16,1 1-5-16,-1 3 18 0,-5 0-25 0,2-3 17 0,-5 2 16 15,1 1 0-15,2-4-34 0,-4-2 16 0,3-3-8 0,1 0 23 0,0-2-18 16,-1-2 1-16,3-1 22 0,-1-3-20 0,-1 1 33 16,2-3-34-16,5 0-17 0,0 0 5 15,-10-6 13-15,10 0-21 16,-3 0 34-16,6-5-36 0,-1 4 38 0,1-4-46 0,2 1 15 15,2 0 14-15,1-2-6 0,-2 3-8 0,4-2 6 16,2 0-13-16,-4 3 22 16,2 1-30-16,1-2 8 15,1 2 15-15,1-2-28 0,-3 1-25 0,3 1-55 0,-2 1 14 0,1-2-44 16,-2 2-44-16,3-2-15 0,-5 3-49 16,2-2-4-16,0 1-137 0,-2-1-99 0,2 0-533 0,-2 1 65 15,0-1 68-15,-1 2 129 16,1-4 30-16,0 2 95 0</inkml:trace>
  <inkml:trace contextRef="#ctx0" brushRef="#br1" timeOffset="105057.09">9090 5887 995 0,'0'0'425'0,"0"0"-13"15,3-3-92-15,-3 3-23 0,0 0 5 0,0 0-15 0,0 0-39 16,-3 16 36-16,3-10-12 0,0 1-4 16,0 0-42-16,0 2-11 0,0 0-39 0,-3 1-12 15,3-1-54-15,-2 1-23 0,2-1-23 0,-2 2-66 16,-1-3-75-16,3 1-56 0,0-1-123 15,-3-1-200-15,3-1-504 0,-2 0 190 16,0-4 27-16,2-2 73 16,0 4 94-16</inkml:trace>
  <inkml:trace contextRef="#ctx0" brushRef="#br1" timeOffset="105189.13">9087 5842 1169 0,'0'-7'397'0,"-2"3"-46"0,0-1-49 0,2 3-49 0,0 2-71 0,-3-5-54 0,3 5-69 0,0 0-149 0,-11-2-148 16,11 2-514-16,0 0 91 16,0 0 75-16</inkml:trace>
  <inkml:trace contextRef="#ctx0" brushRef="#br1" timeOffset="105504.1">9172 5849 1356 0,'-3'6'384'0,"3"2"-20"0,0-2-39 0,0 2-41 0,-2 1-26 0,4-1-2 0,-4-1-20 16,2 1 35-16,0 0-23 0,0 0-25 0,0-2 2 15,0 1-40-15,0-2-1 0,2-2 26 16,-2 1 61-16,3 1-66 0,-3-5-11 16,1 3 14-16,-1-3-111 15,0 0 11-15,7 0 27 0,-7 0-17 0,10-3 48 0,-5-1-35 0,0 1-18 0,1-1 2 16,1 1-28-16,1 0 15 15,-3-1-25-15,3 1-13 0,0 1 2 0,-3 0-7 16,4 1 0-16,-1 0 5 0,0 1-36 0,0 2-17 16,-3-2-22-16,3 3-27 0,-1 0-31 15,-1-3-34-15,-1 4-42 0,2-2-30 0,-2 3-47 16,3-3-32-16,-5 1-71 0,1-2-94 0,2 1-122 16,-1 1-439-16,0-2 112 0,-2 0 13 0,4 0 82 15,-7-1 90-15,11 0 84 0</inkml:trace>
  <inkml:trace contextRef="#ctx0" brushRef="#br1" timeOffset="106043.03">9595 5838 1313 0,'0'0'427'0,"-5"-4"-22"0,5 4-119 0,-8-1-30 15,3 0-15-15,5 1-21 0,-10 0-5 0,10 0-36 16,-11 1-15-16,7 1-28 15,-2 1 9-15,2-2-6 0,0 2-14 0,0 0-7 0,1 2 2 16,-2 3 18-16,0 0 1 0,2 1 22 0,1 3 69 16,1 3-28-16,-1 1-7 0,0 3-8 15,2 0 5-15,0 1-26 0,-3 1-43 16,0 3 8-16,1-2-11 0,-4 0 5 0,-1 1-17 0,0-2 15 16,-1 1-36-16,-3-3-5 0,1 0 0 15,0-6-11-15,2-1-7 16,0-3-23-16,3 1 0 0,-2-5 13 0,4-3-49 0,1-2 13 15,2 0 20-15,0 0-43 0,2-13 33 16,1 6-12-16,5-7 7 0,2-3-21 16,2-1-4-16,6-7 7 0,0 6 3 0,0-5-6 0,5 1-12 15,-2 0 0-15,-3 5-16 0,0 3-7 16,-3 0-6-16,3 2-53 16,0-4-2-16,-3 4-24 0,1 5-23 0,-1-3-25 0,-2 2-24 0,3 0-22 15,-1 1-88-15,-2 2-114 0,-5-1-126 16,2 2-461-16,0 2 82 15,0-3 125-15,-5 1 65 16,1 4 68-16,1-4 75 0</inkml:trace>
  <inkml:trace contextRef="#ctx0" brushRef="#br1" timeOffset="108749.52">10328 5768 941 0,'-2'-4'423'0,"0"0"-60"0,2 4-7 16,-6-7-26-16,3 5-33 0,1 1-54 15,2 1-15-15,-10-4-23 0,4 4-18 16,6 0 20 0,-10 4-51-16,3-3-7 0,-1 4-24 0,1-1 8 0,1 1 6 0,-1 4-29 15,-1-2-34-15,0 1-4 0,0 3 15 0,1-3-33 0,1 3 28 16,-1 0-41-16,2-2 0 0,0 1 5 16,2-1-36-16,-2-1 13 15,5 0-26-15,-3 0 19 0,3-4-21 0,0 2 0 0,3-2 7 16,-3 1-15-16,3-4 34 0,-1 2-31 0,-2-3 20 15,8 2-23-15,-8-2 23 0,10-1 13 16,-10 1-30-16,8-5 7 0,-1 0 15 0,-1 3 16 16,1-4-8-16,-2 1 13 0,-2-1-8 15,2 2 23-15,0-1-90 0,-2-2 4 0,0 0 12 16,1 2 0-16,-1-4 30 0,0 3-20 0,-3 0 3 16,2 2 0-16,-2-1 18 0,3-1-1 15,-3 1-12-15,2 3 13 0,-2-4 5 16,0 6-6-16,1-6 11 0,-1 6-25 0,0-3-11 15,0 3 25-15,0 0-30 0,0 0 18 0,0 0 15 16,0 0-15-16,0 0-2 0,0 0 2 16,0 0-6-16,-1 16 11 0,1-12-2 0,0 0-3 15,0 0 0-15,1 1-39 0,-1-2 24 16,0 1-11-16,0 0 13 0,2 0 18 0,-2 2-31 16,2-6 8-16,-2 5 15 0,0-5-4 0,3 6 14 15,-3-6-30-15,3 5 23 16,-3-5-3-16,2 3 21 0,-2-3-18 0,2 2 10 0,-2-2-20 15,0 0 30-15,0 0-7 0,10-2-1 16,-10 2-9-16,0 0 20 0,8-3-5 16,-5 0-8-16,2 1 7 0,-2 0 17 0,2 0-14 15,-5 2-2-15,5-3-3 0,-3-1 0 0,-2 4 1 16,6 0 14-16,-6 0-17 0,8-3 40 16,-8 3-42-16,5 0 6 0,-5 0 11 0,0 0-7 15,10 3 4-15,-10-3-25 0,7 0 13 16,-4 2 20-16,0 1-13 0,-3-3 3 0,7 5-10 15,-4-2 0-15,0-2 4 0,-1 2 1 0,0-1-10 16,1 2 30-16,-3-4-33 0,5 1 20 16,-5-1-12-16,3 6 2 0,0-5 29 15,-3-1-19-15,2 4 24 0,-2-4 81 0,0 0-7 16,8 1-3-16,-8-1 23 16,0 0-20-16,7-4-5 0,-7 4-44 0,6-3 46 0,-2 0 0 15,-4 3-23-15,8-2-12 0,-2 1-27 0,-2-3 9 16,-4 4 2-16,9 0 5 0,-9 0-10 15,10 0-28-15,-3 4 7 16,-4-3-20-16,2 1-28 0,0 0 20 0,0 0-36 0,0 0-38 16,-2 3-12-16,2-1-50 0,-2-2-30 0,2 2-51 15,-2-1-42-15,1 1-106 0,-1-2-152 0,2 0-486 16,0 1 25-16,-5-3 177 0,8 1 74 0,-8-1 57 16,7-1 64-16,1-3 43 15</inkml:trace>
  <inkml:trace contextRef="#ctx0" brushRef="#br1" timeOffset="109138.31">10800 5646 1003 0,'0'0'379'0,"0"0"33"0,0 0-18 0,8 10-23 16,-5-4-53-16,-1 2-39 16,0 0-11-16,-1 3-12 0,1 1-36 0,1 0-30 0,-1 2-8 15,1-1-19-15,-1 0-29 0,1 1-47 0,0-1-6 16,-1 0-9-16,0-4-23 15,2 1-6-15,-2-1-7 0,-2-2 20 0,2-1-15 16,-2-1 16-16,3 1-21 0,-3-6 10 0,0 0 2 16,-3 5 1-16,3-5-21 0,-5 2-2 15,5-2-3 1,-10-1 0-16,10 1 25 0,-10-1 6 0,10 1-10 0,-10-3-3 0,4 3-16 16,-2 2 26-16,1-1-22 0,2 0-6 15,-3 2 10-15,3-1 8 0,-3 4 15 0,3-2-10 16,0 1-10-16,0-1 20 0,0 3-61 0,-1-2-36 15,6 0 26-15,-2-1 17 0,0 2 4 16,2-2-1-16,0 2-3 0,0-3 11 0,2 2-13 16,3-1-3-16,-2-2 19 0,2-1-34 0,0 2 15 15,3-3-22-15,-8 0-14 0,13-1-45 16,-3-1 2 0,-2 0-28-16,2-1-59 0,-2 1-79 0,4-1-159 0,1-1-558 0,-3-1 59 0,3 0 225 15,2 1-28-15,-2-5 66 0,3 2 70 16</inkml:trace>
  <inkml:trace contextRef="#ctx0" brushRef="#br1" timeOffset="109391.69">11421 5491 1246 0,'0'0'520'0,"0"0"17"0,0 0-20 0,0 0-48 0,0 0-34 0,2 20-28 15,-2-11-41-15,0 2-26 0,0 3-66 0,0 3 3 16,1 3-9-16,-1 0-42 0,0 3-24 16,0-2-5-16,2 2-64 0,-2-2-36 0,0 2-51 15,0-3-43-15,-2 2-67 0,2-1-49 16,0-1-48-16,0-5-41 0,-1 0-46 0,1-2-136 16,-5 2-190-16,3-5-388 0,2 0 97 0,-1-2 46 15,-1-2 79-15,2-1 87 0,-2-2 67 16</inkml:trace>
  <inkml:trace contextRef="#ctx0" brushRef="#br1" timeOffset="109746.88">11349 5746 1036 0,'0'-4'466'0,"0"4"-38"16,3-9-24-16,1 7-71 0,-1-2-36 15,4 0-23-15,-1 0-19 0,4-1-19 0,-2 2-39 16,5-2-25-16,-1 1 9 0,1 2-40 0,-3 1-15 15,4-1-24-15,-2 0-7 0,-1 4 7 16,1 1-23 0,1-1-4-16,-2 4-4 0,-1 0-27 0,0 3 7 0,0-1-8 0,-2 1-73 15,2-3 4-15,0 3 11 0,0-1-13 16,1-1-3-16,-4 0 10 0,3-1 6 0,1-1-3 16,2 0 21-16,-2-4-14 0,1-1 35 15,1 0 1-15,-1-1 3 0,4-3 26 0,-4-1 5 16,2 0 10-16,-2-2 51 0,-1-1-22 0,-3 1 27 15,-3 0 11-15,2-3-44 0,-4 2 23 16,-1 0-5-16,-2-2 0 0,-2 4-13 16,-3-1 80-16,-1 1-80 0,-2 4-5 0,-2-2-69 0,-2 4-43 15,-1 0-87-15,0 3-24 0,-2 0-115 16,2 2-166-16,-3 1-660 0,1 1 94 31,-2 1 102-31,0 1 85 0,3-2 75 0,3 0 68 0,-2 0 41 0</inkml:trace>
  <inkml:trace contextRef="#ctx0" brushRef="#br1" timeOffset="110753.82">1360 6994 1318 0,'0'0'432'16,"0"0"-43"-16,0 0 18 0,0 0-122 15,-3 17-30-15,6-9-16 0,-3 4-30 0,0 2-24 16,3 0 4-16,1 5-10 0,-4-1-25 0,3 0-6 15,0 2-27-15,-3 0-14 0,2 0-7 16,-2 1-3-16,2-3-20 0,-1 1-39 16,-1-2-7-16,0 0-13 0,0-2-41 0,0-2-8 0,3 0-35 15,-6-1-8-15,2-2-54 16,1-1 2-16,0-2-86 0,0 3-60 0,-1-7-135 16,0 2-404-16,1 1 0 0,-2-4 155 15,2-2 44-15,0 4 57 0</inkml:trace>
  <inkml:trace contextRef="#ctx0" brushRef="#br1" timeOffset="111046.69">1319 7038 1018 0,'0'-12'469'0,"0"-1"-42"0,0 7-45 0,3-1-19 0,-1 1-53 0,3 4-13 0,0-1-3 15,0 2-20-15,3 2-10 0,2 2-47 16,0 0-35-16,4 2 12 0,-2 2-86 0,1 1-18 15,0 3-14-15,0 1 4 0,-3-1 4 16,-2 2-5-16,-3-2-15 0,0 2 18 16,-3 0-33-16,-2 1 2 0,0-2-12 0,-2 1 25 15,-3-2-21-15,0 1-15 0,-1-2 0 16,-1 1-5-16,-1-2-40 0,3 0 1 0,-5-3-9 16,2 1-34-16,-2-1-23 0,2 0-49 0,1 1-22 15,-1-6-37-15,0 4-25 0,0-5-64 16,3 0-115-16,5 0-100 0,-8-6-340 0,7 4 37 15,0-3 119 1,3-1 79-16,1-2 39 0</inkml:trace>
  <inkml:trace contextRef="#ctx0" brushRef="#br1" timeOffset="111346.19">1506 7063 696 0,'10'0'251'0,"0"0"-16"0,-2 1 11 0,0 4-21 16,0 0-15-16,-1-1 84 0,1 4-22 15,0-1-14-15,0 1-20 0,-1 0-18 0,0 1-10 16,-1-1-18-16,-1 2-25 15,1-1-9-15,-2 2-14 0,-1-2 4 0,0 2-17 0,-1-5-8 16,0 1-6-16,1 2 4 0,-3-5-11 0,3 4 66 16,-1-4-127-16,-2 1 46 15,0-5 25 1,0 5-20-16,0-5 17 0,0 0-35 0,0 0-7 0,0 0-1 0,0 0 21 0,0 0-21 0,0-14 5 16,0 6 70-16,-2 1-14 15,2 0-17-15,0-2-21 0,2-1-17 0,-1 2-9 16,0-3-20-16,2 0 1 0,2 3-34 15,1-3-8-15,-3 4-41 0,4-4-30 0,0 5-29 16,1-1-33-16,0 4-35 0,2-3-9 0,-2 1-43 16,5 0-122-16,-1 4-129 0,-1 0-543 15,4 0 132-15,-2-2 19 0,-1 3 113 0,4 4 116 16,-3-3 7 0</inkml:trace>
  <inkml:trace contextRef="#ctx0" brushRef="#br1" timeOffset="111841.24">1903 7238 1046 0,'3'-6'346'0,"-1"0"0"16,2-1-37-16,-2 1-14 15,0-2-27-15,1 1-22 0,-3-2 72 0,3 1-29 16,-3-2-23-16,0 0 36 0,-3-1-59 0,3 3-12 15,-3-3 25-15,1 4-24 16,0-2 9-16,1 3-36 0,-2 1-41 0,3 0-24 0,-2 1 11 16,2 4-40-16,-5-2 19 0,5 2-5 15,0 0-117-15,0 0 20 0,-7 13-25 16,6-5 17-16,1-2-27 0,0 4-6 0,-2-1 15 0,4 1-43 16,-2-1-20-16,1 2 0 0,1-3-26 15,3 3-31-15,0-1-10 0,-2-3 5 16,2 1-2-16,0-2-24 15,3-1-27-15,-1-2-29 0,2 0-44 0,1-1-106 0,-1-2 17 0,-3 0-100 16,9-3-391-16,0-1 25 0,3-2 141 16,-2-1 31-16,4-4 61 0</inkml:trace>
  <inkml:trace contextRef="#ctx0" brushRef="#br1" timeOffset="112119.58">2185 7051 893 0,'-4'-2'310'0,"-2"-2"-24"0,1 4 62 16,5 0-64-16,-8 0-17 15,8 0-11-15,-9 0-23 0,6 3-47 0,-2-1-4 16,2 3-15-16,0-1-16 0,0 4-23 0,2-2 25 16,2 3-38-16,2-2-7 0,0 3 20 15,2-2 20-15,0 5-20 0,0-2 10 0,1 0-17 16,1-1 9-16,-1 1-9 0,1 0-86 16,-2-3 12-16,0 5 4 0,-2-6 8 0,-1 2 25 15,1-1 16-15,-3-2-3 0,-3 2 11 0,1 1-14 16,-1-2-17-16,-4 1-10 0,-1-1 12 15,0-1-5-15,-2 0-25 16,0-1-34-16,-1 1-35 0,1-4-13 0,0 1-42 0,0-1-37 16,2-2-47-16,0 0-59 0,1 1-91 15,-1-7-160-15,8 6-462 0,-8 0 68 0,8 0 82 16,-3-1 85-16,3 1 48 16,0 0 93-16</inkml:trace>
  <inkml:trace contextRef="#ctx0" brushRef="#br1" timeOffset="113107.17">2339 7257 1116 0,'0'0'407'0,"0"0"-21"0,0 0-33 0,0 0-7 0,0 0-100 0,0 0-19 0,8-13-17 0,-8 7 5 0,3 0-10 16,-1 3 74-16,-1-6-23 0,1 3-5 0,-2 2-36 16,2-4-33-16,-2 1 17 0,0 1-40 0,0-1-16 15,0 4 8-15,-2-2-30 16,2 1-4-16,0-1 9 0,0 5 4 0,-2-7-40 15,1 6 12-15,1 1-33 0,0 0-5 0,0 0-7 16,0 0-32-16,0 0 11 0,0 0 10 16,-8 8-2-16,7-4-16 0,1 1-36 0,0-5-12 15,-1 8 30-15,1-2-23 0,0-2-25 0,1-1 10 16,0 3 25-16,0-2-33 0,1-1 13 16,-2 1 16-16,0-4-14 0,3 6 19 0,-1-5-16 15,-2 3 5-15,0-4 8 0,3 4 2 0,-3-4 18 16,5 5-9-16,-5-5-1 15,3 0 10-15,-3 0-25 0,5 1 18 0,-5-1 9 0,0 0-24 16,9 0-3-16,-9 0-1 0,0 0 14 16,9-1-3-16,-9 1 0 0,7 0 13 0,-7 0 17 15,5-1-17-15,-5 1-13 0,8-1 18 16,-8 1-3-16,5-3-7 0,0 1 20 0,-5 2 6 16,8-4-11-16,-6 2 0 0,-2 2-3 0,8-1-2 15,-8 1 20-15,8-1-9 0,-6-2-22 16,-2 3 16-16,8-1-5 0,-8 1-8 15,0 0 8-15,8 0-28 0,-8 0 28 16,8 1 10-16,-8-1-23 0,8 4 23 0,-3-3-22 16,-1 0 37-16,-1 3-7 0,2-3-26 0,-2 3-10 15,2-1 10-15,-5-3 1 0,5 4-1 0,-3-2 0 0,-2-2 0 16,6 5 11-16,-4-4 45 0,-2-1-20 16,3 2 21-16,-3-2-8 15,5 3-69-15,-5-3 2 0,0 0 39 0,8 2-11 0,-8-2 1 16,3 0-9-16,-3 0 27 0,0 0-8 15,0 0-19-15,0 0 6 0,12-4 23 16,-7 3 10-16,-5 1-45 0,5-2 22 0,1 1-23 0,-1 0-3 16,-5 1-20-16,13 0 26 0,-6-2-13 15,0 4 33-15,2-2-20 0,1 2 5 16,0-2-34-16,-2 1-2 0,2 0-41 0,-2 2-18 16,-1-3-20-16,1 0-11 0,0 2-40 15,0-2-21-15,-1-2-26 0,1 2-15 0,0-3-33 16,2 1-24-16,-2-4-7 0,2 0-18 0,0-1-15 0,-2 1-8 15,-1-1 16-15,1-3 55 0,0 3 24 16,0-4 23 15,-1 3 61-31,0-4 39 0,-1 0 25 0,-1-2 64 0,0 1 16 0,-2 1 48 0,-1-2 15 0,1-3 32 0,-3 4 1 0,3-1 19 16,-3 1 31-16,2 1-6 0,-2 2 11 16,0 1 2-16,0 1-3 0,0 1-35 0,0 4 5 15,0-1-11-15,0 4 11 16,0 0-23-16,0 0-3 0,0 0-7 0,0 18-3 0,0-8-2 15,2 2-4-15,-1 4-24 0,4-2 2 0,-3 3 0 16,3 1-26-16,0-1 3 16,-2-2-24-16,2 3-65 15,-2-5-39-15,2-1-13 0,0 1-44 0,-3-3-40 0,1-1-34 0,2-2-100 16,-3-1-130-16,2-1-432 16,-2-1 84-16,1-2 25 0,-3-2 77 0,5 1 82 0</inkml:trace>
  <inkml:trace contextRef="#ctx0" brushRef="#br1" timeOffset="113386.16">2644 7069 1131 0,'0'0'386'0,"0"0"-7"0,0 0-31 0,0 0 16 0,0 0-77 0,23 0-14 16,-9-1-19-16,0-3-21 0,3 3-26 0,3-3-7 15,8 1-16-15,-2-3 5 0,4 1-17 0,1-2-11 16,10-2 47-16,-3-1-9 0,-4 3-40 16,-8 1-8-16,2-1-5 0,-5 1-31 0,0 0-5 15,-6 0-10-15,-3 1-31 0,-1 4-46 0,2-4-49 16,-7 5-25-16,1-5-43 0,0 4-45 16,-2 0-17-16,-2 0-102 0,0 0-144 15,-2-1-589-15,-3 2 136 0,0 0 18 16,0 0 121-16,5 4 40 0,-5-4 74 0</inkml:trace>
  <inkml:trace contextRef="#ctx0" brushRef="#br1" timeOffset="115336.85">3826 6881 1333 0,'0'0'351'0,"0"0"-6"0,0 0-35 16,-2 14-21-1,2-4 3-15,0-1-54 0,0 3-28 0,0 4 0 0,0-1 51 0,2 4-59 16,-2-1-10-16,1 2-18 0,-1 0-15 0,2 1-46 15,1-2-8-15,-1 0-36 0,-2-5 15 16,2 3-30-16,1-4-11 0,0 0-9 16,-1 0-14-16,3-2 3 0,-2-3 5 0,-2-1-2 15,1 2 0-15,0-5 30 0,1 2-18 0,-3-3 3 16,2-1-20-16,-2-2 27 0,0 0-25 16,0 0-7-16,0 0 9 0,0 0-2 0,0 0 11 15,1-12-16-15,-1 12-13 0,-6-10 48 16,2 1-24-16,-3 3 12 0,0-5 10 0,0 3-3 15,-1 1-17-15,0-1 23 0,0 0-18 0,-2 4-24 16,-1-1 14-16,1 0 7 0,3 5-7 16,-3 0 0-16,2 0-11 0,-2 3 26 15,2 0-16-15,0 2-14 0,0 2 27 0,1-1-7 0,0 4 7 16,4-3-20 0,-3 1-5-16,4-1-13 0,0 1 13 0,-1 1 12 0,6-1 16 15,-3-3-20-15,2 3 30 0,1-3-28 0,4 1 8 16,-2 1-13-16,3-3 28 0,2-2-39 0,0 2-19 15,3-2-9-15,-2-2-30 16,4 0-13-16,-2 0-41 16,3-1 3-16,-1-2-70 0,2 1-56 0,0 0-107 0,3-3-126 0,-2 0-519 0,-1 0 51 15,-1 3 135-15,-1-3 124 16,-1 4 86-16,0-4-30 0</inkml:trace>
  <inkml:trace contextRef="#ctx0" brushRef="#br1" timeOffset="115934.86">4196 7114 970 0,'2'-3'419'0,"-2"3"-30"0,0 0-38 15,-2-6-3-15,2 6-89 0,-3-4-34 16,3 4-20-16,-2-2-8 0,2 2-3 15,-8-3-2-15,3 3-43 0,5 0-3 0,-8-1-3 16,8 1-10-16,-10 4 3 0,2-2-36 0,1-1 17 16,1 3-9-16,-1 2-21 0,-1-3-10 15,2 2-8-15,-1 0-10 0,0 1 12 0,1 0-24 16,1 0 17-16,-2 0-29 0,4 0-17 16,-3 0-10-16,4 0-18 0,0-1-18 0,-1 0-24 15,3 0 22-15,0 0-4 0,0-5-1 0,3 8 1 16,-1-8 4-16,-2 0 4 0,10 3-10 15,-7-3-10-15,-3 0 26 0,15-3 4 0,-10 1-2 16,3 1-7-16,0-2 20 0,0 2-16 0,-1-1 16 16,1 0-10-16,-1 0-6 0,1 0 26 15,0-1-10-15,0 2 31 0,1-3-34 16,2 0 3-16,-1-1 18 16,0-2-8-16,-2 1-8 0,2-1 11 0,-1-2 23 0,0 0 33 15,2-2 18-15,-1-1 15 0,-2 2 0 0,0-2 98 16,-4 1-1-16,4-3-12 0,-5-1 20 0,2 1 11 15,-3 1-70-15,1-1 16 16,-1-4-1-16,1 4 6 0,-2-1 13 0,1 3 2 0,-2 3-61 16,0-2-77-16,2 4-8 0,-2 0 3 0,0 2 7 15,0 2-9-15,0 3 30 0,0 0-6 16,0 0-47-16,0 0 17 0,-4 16-23 16,3-6 8-16,-1 3 5 0,1 1-70 0,1 5 9 15,0 0-26-15,0 0-46 0,0 2-44 0,1-1-25 16,4-2-29-16,-3-2-20 0,1 2-28 0,0-5-46 15,-1 0-64 1,1 2-100-16,-1-6-138 0,1 1-361 0,0-2 125 0,1 0 51 0,-1-1 67 16,-2-3 77-16,1 1 69 0</inkml:trace>
  <inkml:trace contextRef="#ctx0" brushRef="#br1" timeOffset="116132.11">4229 7026 1461 0,'0'-5'433'0,"0"5"-37"0,0 0-47 16,0-4-55-16,0 4 16 0,5-4-65 0,0 3 9 0,-5 1-44 15,13 0-90-15,-5 0-18 0,2-1-12 16,0 1-31-16,1 0-52 0,4 0-14 0,0-3-65 16,0 2-2-16,3 1-72 0,-2 0-148 15,1 0-188-15,0 0-275 0,0 1 2 0,-1 2 61 16,1-3 57-16</inkml:trace>
  <inkml:trace contextRef="#ctx0" brushRef="#br1" timeOffset="116458.47">4704 7007 1210 0,'-13'1'428'0,"7"2"-93"15,-2-2-18-15,-2 2-35 0,0 1-34 16,0-2-12-16,2 3-3 0,1-1-36 0,-3-2-31 15,2 3 1-15,0-3-42 0,3 4 11 16,-1-3-13-16,2-1-16 0,-1 3 72 0,2-4-48 16,0 1-6-16,3-2 8 0,-2 5-23 0,2-5-7 15,0 0-3-15,0 0-24 0,13 1-14 16,-13-1 15-16,0 0-3 0,15-2 0 16,-8-2-15-16,1 2-13 0,0 1 41 0,-1-2-54 0,1 2 11 15,0 1 12-15,0-1 0 16,-1 1-27-16,-1-1 22 0,1 0 8 0,-7 1-26 15,13 1-43-15,-5 0-42 0,-5-1-32 0,4 1-54 0,-4 3-77 16,1-3-179-16,-1 4-628 16,0-3 147-16,-3 3-1 0,2-2 116 0,1 1 54 15,0 3 89-15</inkml:trace>
  <inkml:trace contextRef="#ctx0" brushRef="#br1" timeOffset="116833.34">5344 6900 1236 0,'0'0'491'0,"-7"8"-112"0,7-8-26 16,-1 9-15-16,-1-5-46 0,2 3-18 15,0 1-33-15,0-1-11 0,0 1-38 0,0 3-15 16,0-3-55-16,0 2-19 0,0-2-26 15,0 0-44-15,0 1-13 0,0-2-25 0,0 0-56 16,0 0-37-16,-2-2-32 0,2 2-70 16,0 0-125-16,-3-3-366 0,3-2-110 15,-3 2 82-15,1-1 48 0,2-3 69 16</inkml:trace>
  <inkml:trace contextRef="#ctx0" brushRef="#br1" timeOffset="116963.93">5301 6839 637 0,'-3'-1'223'0,"3"1"-116"0,-5-5-99 0,-1 5-146 16,6 0-403-16</inkml:trace>
  <inkml:trace contextRef="#ctx0" brushRef="#br1" timeOffset="117301.68">5418 6852 1092 0,'3'10'464'0,"0"-2"-34"0,-1 2-49 16,1-2-25-16,-3-1-33 0,3 3-21 15,-1-3-31-15,0 0-20 0,1-1-87 0,0 1 20 0,-1-2-10 16,0 2 13-16,1-2-54 0,0-3 49 15,0 3-39-15,2-4 41 0,0 1 3 0,-5-2-31 16,10-2 18-16,-5 1-25 0,2-1 2 16,1-1-10-16,1 1 15 0,-2-2 56 0,3 3-15 15,-2-3-25-15,-1 2-19 0,2 1 21 0,0 0-23 16,-1 1-107-16,0 0-3 0,-1 0-8 0,1 0-46 16,-2 0-30-16,1 1-36 0,-2 1-37 15,0 1-63-15,1-1-41 16,-2 0-77-16,0 3-107 15,-2-2-183-15,3 2-493 0,-2 0 172 0,-1-1 81 0,3-2 46 0,-2 2 87 0,1-2 101 16,4-1 17 0</inkml:trace>
  <inkml:trace contextRef="#ctx0" brushRef="#br1" timeOffset="117741.38">6247 6813 1374 0,'-3'-6'443'0,"3"6"-49"0,0 0-53 0,0 0-19 0,-16 6-15 16,12-2-35-16,1-1-27 0,-2 2-32 0,0 0 15 16,2-2-39-16,-1 2 18 15,3 1-61-15,-1-4-20 0,2 3-4 0,0 0-68 16,0-5-3-16,2 5 13 0,3-4 0 16,-5-1-5-16,8 0 15 0,-8 0 16 0,13-5 2 15,-5 3 5-15,1-3 24 0,2-1-19 0,-3 4 75 16,2-4 22-16,-2 3-17 0,2 0-15 15,-2-1-11-15,-1 3-5 0,1 0-26 0,2 0 8 16,-2 1 8-16,-3 1-49 0,3 0 11 0,-1-1-27 16,1 2 1-16,-3 1-90 15,3 0-56-15,-3 1-8 0,0-2-99 16,-2 3-62-16,0-3-92 0,-1 3-264 0,0 1-525 0,1-2 118 0,0-2 123 16,-3 4 49-16,2-4 79 0,1 3 90 15,2-4 50-15</inkml:trace>
  <inkml:trace contextRef="#ctx0" brushRef="#br1" timeOffset="120059.21">6339 6820 837 0,'-3'0'381'0,"1"-6"-25"0,2 6 2 0,-6-5-10 0,4 3-25 16,-3 1-42-16,5 1-32 0,-13 0-27 0,13 0-17 15,-13 5-28-15,3-2-11 0,0 3-7 16,0 0-8-16,-1 1-18 0,1 4-10 0,-2-3-11 15,2 1 9-15,-1 1-19 0,1 0-17 16,0 4 12-16,-1-4-46 0,4-1 23 0,-1 2-7 16,3 0-16-16,0-2-13 0,2 0 3 0,0 0 21 15,3-2-34-15,-2 0 3 0,4 2 15 16,-2-3-34-16,3-2 1 0,-1 0-8 0,4-2-48 16,-1 1 12-1,0-2-7-15,2-2-3 0,3-3 5 0,-2 1 13 0,2-2 2 0,1-2 11 16,1-2 33-16,-1 2 18 15,2-6-13-15,-2 2 16 0,-1-2 15 0,0 1-13 0,0-1 15 16,0 0-10-16,-5 2 1 0,3 1 40 16,-3 1 8-16,0 2-24 0,-2 1 55 0,2 0-3 15,-2 4 13-15,-1 0-34 0,3-1-17 16,-5 3 22-16,8 5-30 0,-5-1 39 0,1 1-27 16,-1 0-25-16,2 4-28 0,0-2 21 15,0 0 7-15,3 1-46 0,-2 1-36 0,1-2-56 0,1 1-36 16,2-1-25-16,0 0-55 0,-2-1-35 15,2-1-77-15,1 1-197 16,1-1-563-16,1-3 120 0,2-1 41 0,1 1 175 0,-3-2 24 16,5-2 103-16,-1 1 44 0</inkml:trace>
  <inkml:trace contextRef="#ctx0" brushRef="#br1" timeOffset="121690.82">6908 6814 998 0,'0'0'394'0,"0"0"-18"16,0 0-23-16,0 0-15 0,0 0-30 0,-3 16-50 16,3-9-5-16,-2 0-17 0,2 2-39 15,0 0-13-15,0 3-53 0,-2-4-3 16,2 3-16-16,-3-3 6 0,3 3 0 0,-1-4-16 15,1 2-25-15,0-1-5 0,0-4 15 0,-1 2-13 16,1-1-18-16,0 0 8 0,0-2 16 16,0-3-70-16,-1 6-38 0,1-6 30 15,0 5-2-15,0-5 13 0,0 0 13 0,0 0-24 16,0 0 14-16,0 0 7 0,6-14 5 0,-4 9 8 16,1 0-11-16,-1-2 19 0,3 4-21 0,-2-3-21 15,-1 0 24-15,4 1-13 0,-4 0 2 16,3 4-2-1,-2-1 0-15,2-1-18 0,-5 3 0 0,8 0 28 0,-8 0-13 0,10 3-2 16,-5-2 12-16,0 1 6 0,0 1-21 0,-2-1 31 16,2 0-24-16,-2 2-9 0,-1-2 15 15,0 3 2-15,1-5 24 0,0 4 94 0,-3-4 0 32,4 3 13-32,-4-3-5 0,4 5-20 0,-4-5 14 0,4 1-1 0,-4-1 4 15,0 0-15-15,0 0-8 0,0 0 6 0,9-5-29 0,-7 2 8 16,3-2 5-16,-2 1-8 0,1-1-109 15,-1 1 14-15,2-2-19 0,1 1 14 0,-1 2 11 16,2-2 10-16,-2 3-10 0,0 2-8 16,3 0-8-16,-8 0 24 0,13 2 2 0,-5 0 5 15,0 4-10-15,-3-1-8 0,2 1 3 16,-2 3-34-16,1-1 16 16,-2 0 18-16,2-1-21 0,-4 1-20 0,1 0-54 0,0 0-2 0,-1-2-29 15,0 1-81-15,-2-1-67 0,1 0-36 16,1 0-49-16,3 0-94 0,-2-3-123 0,2 1-474 15,0-2 116-15,3 1 76 16,0-1 77 0,2-2 95-16,0 0 66 0</inkml:trace>
  <inkml:trace contextRef="#ctx0" brushRef="#br1" timeOffset="122893.84">7357 6980 1336 0,'2'-5'422'0,"1"0"-41"15,-1-2 1-15,1 0-55 0,0 0-7 16,-1-2 13-16,-2 1-120 0,0 1-19 0,0 1-20 16,1-1-2-16,1 0 4 0,-2 1 1 15,-2 2-3-15,1-3-5 0,-1 1-13 0,-1 4 5 16,0-1-35-16,3 3 12 0,0 0-33 15,-9 0-21-15,9 0 21 0,-9 7-23 0,5-2-5 16,1 1-16-16,0 0 3 0,1 4-33 16,-1-2 2-16,0 0-12 0,1 1 12 0,2-1-15 15,0 0 28-15,2 2-18 0,-1-2-30 0,4-1-19 16,0 0 24-16,-2 1-16 0,4-4-7 16,1 1-29-16,2 0-20 0,0-4 20 15,0-1-10-15,1 0 6 0,2 0-19 0,2 0-15 16,-2-2-3-16,2-3-2 0,-2 1 8 15,0 1 17-15,0-3 19 0,-1-1-16 0,1 0 10 16,-2-2 10-16,-1 2 1 0,0 2 7 0,-4-1-15 0,1 0 23 16,-2-1-13-16,0 1 18 0,-2 0 20 15,-1 3 16 1,1-2-11-16,-3 0 29 0,0 2-3 0,0 3 8 0,-3-6-5 0,1 2-6 0,2 4 6 16,-5 0-23-16,5 0 2 15,0 0 10-15,-13 0-9 0,8 5 2 0,0-4 10 16,0 4 0-16,-1 0 0 0,1-2-23 0,0 4 15 15,0-2-7-15,2 1 33 16,-2 0-21-16,3 0 3 0,-1-1-5 0,1 0-13 0,1-2 0 16,1 3-5-16,-2-2-5 0,2-4 21 0,2 7-4 15,-1-5-9-15,1 2-6 0,-2-4 24 16,5 1 20-16,-5-1-39 0,0 0 6 0,8 0-8 16,-8 0 0-16,0 0 5 0,13-5 5 15,-11 4-5-15,1-4 24 0,2 3-1 0,-2-2 8 16,2 1-13-16,-2-2 25 0,1 1-14 15,0 3 14-15,0-4-2 0,-1 3-12 0,-1-2 17 16,1 1-3-16,-1-1-2 31,1 3 16-31,-3 1-31 0,3-5 2 0,-3 5 3 0,4-3 2 0,-4 3-23 0,1-4 16 0,-1 4-13 0,5-1 15 16,-5 1-10-16,0 0-12 0,0 0 22 16,0 0 0-16,0 0-20 0,10 6-3 0,-10-6 1 15,2 5-9-15,-1-3 1 16,1 2 15-16,-2-4 71 0,5 6 6 0,-4-4-8 15,1 3-33-15,0-2-1 0,1 1-9 0,0 1 5 0,-1-3-9 16,0 0 42-16,2 3-38 0,-2-2-16 0,0-1 18 16,1 0-38-1,-3-2 23-15,3 6-14 0,-3-6 30 0,4 3-1 0,-4-3-31 16,3 1 52-16,-3-1-37 0,0 0 34 0,0 0-18 16,13-6 11-16,-10 5-27 0,2-3-7 15,-3 3 3-15,-2 1 12 0,8-5 14 0,-5 5-4 16,-3 0 11-16,4-6-49 0,-1 6-69 0,-3 0 21 15,5-1-11-15,-5 1-2 16,0 0 10-16,0 0 3 0,10 0 2 0,-10 0 5 0,0 0 18 16,8 1 13-16,-8-1-7 0,3 6-11 0,-3-6 8 15,5 0 12-15,-5 0-9 0,0 4 4 0,0-4-15 16,0 0 39-16,7 1-34 16,-7-1 33-16,0 0 21 0,6 1 23 0,-6-1-25 15,0 0 99-15,0 0-26 0,10-6-22 0,-7 6 18 0,2-3-108 16,-2 0 0-1,-3 3 0-15,9-2 0 0,-3-1 0 16,-6 3 0-16,7 0 0 0,-7 0 0 0,13 2 0 0,-8-1 0 0,1 0 0 16,-1 0 0-16,0 0 0 0,0 2 0 15,0-1 0-15,0 1 0 0,0-1 0 16,-2 0 0-16,2 1 0 0,-2-2-169 0,-1 2-144 0,-2-3-45 16,5 4-116-16,-5-4-176 0,-2 4-479 0,4-3 103 15,-2-1 115-15,0 0 86 16,13-4 58-16,-13 4 78 0,8-6 113 0</inkml:trace>
  <inkml:trace contextRef="#ctx0" brushRef="#br1" timeOffset="123062.34">7964 6877 1146 0,'0'0'461'0,"0"0"-67"0,0 0-18 16,3 12-30-16,-3-6-103 0,0 0-35 15,0 1-34-15,0 2-26 0,-2-2 6 0,2 1-67 0,-1-3-21 16,1 3-94-16,-2-2-67 0,-1 0-99 15,1 2-541-15,2-3-69 0,-3 0 136 16,1 0 64-16,-1-4 85 0</inkml:trace>
  <inkml:trace contextRef="#ctx0" brushRef="#br1" timeOffset="123189.12">7939 6801 732 0,'-3'-2'7'0,"3"2"-539"0</inkml:trace>
  <inkml:trace contextRef="#ctx0" brushRef="#br1" timeOffset="123884.03">8085 6892 793 0,'0'0'343'0,"3"13"-26"0,-1-10-32 15,-2 2 40-15,0 1-26 0,3-1-20 16,-3 1-15-16,0 0-52 0,0-2-25 15,0 2 18-15,2-1-13 0,-2 1-44 0,0-1 44 0,0-2-23 16,0 2-38-16,0-5-29 0,0 5 21 0,0-3 31 16,0-2 4-16,2 4-17 0,-2-4 0 15,0 0 12-15,0 0 47 0,0 0-67 16,4-11 23-16,-2 9 16 0,-2-2-44 0,2 1-3 0,1-3 13 16,2 2-15-16,-2-2-28 15,-1 4-11-15,4-3 1 0,-4 3-34 0,3-1 13 16,0 2-2-16,-2 0-1 0,-3 1 3 0,13 0-18 15,-13 0 13-15,12 1-36 0,-4 0-5 16,-3 3-8-16,-2-3 36 0,4 4-2 0,-1-2-24 16,-2 2-43-16,2-1-46 15,-3-2-61-15,2 2-19 0,-2-1-40 0,1 1-72 0,-1-2-24 16,2 2-116-16,0-2-122 0,-2-1-454 0,2 2 32 16,0-2 131-16,-5-1 118 0,8-1 58 15,-8 1 32-15,10-4 66 16</inkml:trace>
  <inkml:trace contextRef="#ctx0" brushRef="#br1" timeOffset="124626.98">8513 6876 1121 0,'-7'-6'422'16,"2"1"-18"-16,-1 2-61 0,-2-1 3 0,1 3 20 16,-1 0-31-16,-2 0-30 0,2-1-23 15,0 1-29-15,1 1-30 0,7 0 2 0,-13 0-43 16,8 1-42-16,0 2-7 0,5-3-15 0,-8 5-10 15,6-4-3-15,2-1-21 0,-1 8 3 16,2-4-20-16,1 3 7 16,3 0-10-16,-2 0 8 0,2 3 2 0,-2-1-31 0,4 4-4 15,-4-1-1 1,5 4 13-16,-3-1-30 0,2 3 2 0,-2-1 0 0,-2-1-5 0,-1-1 7 16,-1-1 1-16,-1-1 33 0,-1 0 7 0,-1 1-12 15,-1 0 28-15,-2-3-69 16,0 1 7-16,-2-1 3 0,1 0-40 0,-4-3 65 0,2-1-22 15,1 0-1-15,-1-2 21 0,0 1-20 0,0-2-6 16,1-1-35-16,-1-1-34 0,0-1-15 16,3-1-38-16,5 0-13 0,-13-3-46 15,9 2 5-15,1-5-44 0,0 5-41 0,1-3-68 16,2 1-111-16,0-3-97 0,2-1-415 0,1 0 100 16,2-3 62-16,0-1 86 0,5-2 98 15,-2 0 23-15</inkml:trace>
  <inkml:trace contextRef="#ctx0" brushRef="#br1" timeOffset="125532.27">8701 6656 1049 0,'0'-10'558'0,"0"3"-59"0,0 1-20 0,-4 3-18 0,4-2-57 0,-2 1-43 15,2 4-26-15,0 0-28 0,0 0-28 16,0 0-38-16,-12 12-6 0,9-2-40 15,0 2-34-15,-1 3 18 0,3 2-17 0,-1 3-32 16,-1 2 14-16,1 4-19 0,1 1 0 0,1 2-43 16,-2-1 0-16,-1 2 21 0,3 0-27 15,-3-2-29-15,3 1 27 0,-4-2-41 0,1 1-33 16,-2-5 3-16,-1 1 14 0,2 0-11 16,-2-7-6-16,1-2 28 0,-2-2-13 0,2-1 6 0,-1 0-11 15,-2-2 0-15,1-6-28 0,2 1 13 16,-3-1 28-16,3-2-43 0,0-2-3 0,5 0 28 15,-11-5-10-15,7 3-16 16,1-2-7-16,0-3 51 0,1 4-49 0,2-4 11 0,0-2 0 0,2 1 22 16,1-3-40-1,2 0 7-15,3 1 24 0,0-6-49 0,-1 3 30 0,3-1-4 16,4-3 12-16,1 2 5 16,0-2-25-16,0 3 15 0,-2-3 8 0,0 4 17 0,0 1-30 15,-3 0 11-15,0 3 12 0,-1-1 15 0,0 3 0 16,-1-1 1-16,-3 2 19 0,1 0 14 0,-1 2-23 15,0 1-24-15,-1-1 16 16,-1 3 44-16,-3 1-21 0,0 0-36 0,6 7 31 16,-4-5-11-16,1 3-4 0,-3 0-6 0,0 1-7 15,2-1-6-15,-2 2-17 0,3-1 30 16,-3 0-15-16,5 0 0 16,-5-3 3-16,3 2 17 0,1 0-25 0,-1-3-3 0,0 1 26 0,1-1 3 15,2-2-8-15,-6 0 5 0,10 0-8 16,-10 0-15-16,11-5 5 0,-3 3 18 0,-2-3 2 15,0 0-22-15,2-1 12 16,-4 3 5-16,4-2-20 0,-5 0 10 0,2 3-28 0,-2-3 36 16,2 1 12-16,-2 3-12 0,1-1-20 0,-4 2 7 15,0 0 12-15,0 0-24 0,10 2 27 16,-6 1-30 0,0-1 9-16,-3 2-22 0,4-2 3 0,-3 2 14 0,1-1-37 0,2 2 7 15,-2-4 10-15,4 0 44 16,-2 2-23-16,-5-3-13 0,11-3 5 0,-2 2 15 0,-1-3-17 0,1-1 7 15,1-4 44-15,0 1-16 0,-2-3 26 16,4-2 5-16,-2 0 3 0,-2-1 35 16,3-4-2-16,-4 1 8 0,0 2-16 15,1-2-92-15,-5-2 18 0,3-1 13 0,-2-2 2 16,-1 2-23-16,-3 1 44 0,3 1 15 16,-1 3-12-16,-2 3 25 0,2 1 36 0,-2 2 2 15,3 4 11-15,-6 0-29 0,3 5 16 0,0 0-56 0,0 0-44 16,-4 13 0-16,1-2 0 15,0 4 0-15,1 6 0 0,-1 4 0 0,3 1 0 16,0 0 0-16,0-1 0 0,3 1 0 16,2-1 0-16,0-1 0 0,3 0 0 0,-1-3 0 0,6-3 0 15,-3 1 0-15,1-6 0 0,-1-1 0 0,2-1 0 16,-1-4 0-16,-1-2 0 16,3-1-157-16,-3-1-32 0,3-3-49 0,-3 0-13 0,1-1-25 15,1-2-98-15,-2 1-169 0,3-3-550 16,-2 3 118-16,-1-2 71 0,-3-2 67 0,1 1 75 0,0 0 81 15,0-3 125-15</inkml:trace>
  <inkml:trace contextRef="#ctx0" brushRef="#br1" timeOffset="127529.97">9949 6748 824 0,'0'0'325'15,"0"0"-18"-15,0 0-23 0,0 0-18 0,0 0 54 16,0 0-15-16,0 0-24 0,3 15-40 0,-1-9-21 16,-2 3-46-16,2 0-5 15,-2-1-15-15,0 1-37 0,3 0-1 0,-3-2-4 16,3 4-9-16,-1-3-11 16,-2 2-13-16,1-2-12 0,1 0-16 0,0 1-10 0,-2-2-5 15,0 0-6-15,0-2 4 0,3 1 12 0,-3-3 2 16,0 3-1-16,1-3-14 0,-1-3 33 0,2 6-22 15,-2-6-13-15,0 0-3 0,0 0 2 16,0 0 14-16,0 0-6 0,0 0-12 16,5-11 10-16,-2 5-13 0,1 1-10 0,-1-2 7 0,0 0-10 15,2 0 11-15,0-2 20 16,3 1-11-16,-4 1 11 0,2 1-28 0,-1 1 26 16,0 0-4-16,2 1-24 0,-1 0 1 0,-1 3 4 15,0 1-6-15,3 0 16 0,-8 0-8 16,10 1 12-16,-7 3-12 0,4-1 3 0,-2 1-1 15,-2-2-12-15,0 3 38 0,1 1-54 0,-1-1 34 16,0-2-21-16,-1 3 21 0,-1-1-6 16,1 0 11-16,1-3-3 15,-3 2 28-15,0-4-61 0,2 4 18 0,0 0 18 0,-2-4-11 0,0 0 29 16,0 0 12-16,0 0-2 0,0 0 5 16,0 0 0-16,3-11 8 0,0 8-21 15,-3-2-25-15,3-1 22 0,1 0 11 0,-1 0-31 16,2-1 8-16,1 2 10 0,-2 0-31 15,4 2 37-15,-3-1-17 16,3 3-14-16,0 0-1 0,-1 1 90 0,1 0-15 0,-1 1 18 0,1 3-39 16,-2-3-53-16,1 4-4 0,1-2-42 15,-3 2-8-15,2-1-70 0,1-1-17 16,-2 2-44-16,-1 0-33 0,0-3-21 0,2 3-32 16,-1-2-47-16,1 2-128 0,-4-5-108 15,7 3-475-15,-2-2 150 0,2-1 32 0,0-1 116 16,1-2 76-16,-1 3 60 0</inkml:trace>
  <inkml:trace contextRef="#ctx0" brushRef="#br1" timeOffset="127987.29">10585 6721 895 0,'2'-6'302'0,"-2"2"64"0,0-1-28 16,-2-1-5-16,2 2-18 0,-3 2-23 0,1-3-21 0,2 5-28 15,-8-1-105-15,3 1 8 0,5 0-18 16,-15 4-23-16,5-2 16 0,-1 2-24 0,-2 1 0 16,3 0 0-16,-1 2-10 0,-1 2 3 15,1-2-18-15,1 1-13 0,0 2 7 16,2-1-17-16,0 1-24 0,1-3 1 0,2 1 2 0,0-1 8 16,0-1-28-16,2 0-8 0,3-1 5 15,-2 1 13-15,2-5-8 0,2 5-15 16,-2-6 10-16,5 0 21 0,-5 0-3 0,10 0-3 15,-10 0 6-15,10-5-14 0,-4 3 9 0,2-4 7 16,-4 1 21-16,2-1-21 0,1 2 18 16,-1-5-10-16,1 2 28 0,-4 1-23 0,2 0 18 15,0 1 5-15,-3 1-11 0,1-1 9 16,2 0 4-16,-3 2-15 0,2-1-20 16,-4 4 8-16,2-1-19 0,-2 1 24 0,0 0-14 0,0 0-14 15,0 0 12-15,8 8 0 0,-6-5-2 0,-1 0-14 16,1 1-4-16,0-1-8 15,1 2-8-15,0 0-53 0,-1-2 20 0,0 1-36 0,2-1-2 16,-2 1-26-16,3 0-36 0,-2-3 8 16,1 0-28-16,-4-1-26 0,8 5-59 15,-5-4-84-15,4-1-62 0,-1 0-455 0,-6 0 28 16,10 0 105-16,-5 0 59 0,-5 0 94 16</inkml:trace>
  <inkml:trace contextRef="#ctx0" brushRef="#br1" timeOffset="128395.46">10726 6670 1141 0,'0'-3'392'0,"0"3"17"15,2-3-55-15,-2 3-37 0,0 0-18 0,0 0-37 0,0 0 14 0,3 11-74 0,-3-6 16 16,0-1-24-16,0 4-25 0,0-1-20 0,0 1-14 0,3 0-17 15,-3 1 13-15,0-1-26 0,0 0-11 16,0 2-2-16,0-2-15 0,0-2 8 0,0 1-39 16,0 0 23-16,0-2-5 0,0-1 25 0,0 2 32 15,0-3-106-15,2 2 3 0,-2-5 8 16,0 3 20-16,0-3-10 0,0 0-16 0,0 0 18 16,0 0-12-16,10-8 7 0,-7 5-5 15,2-3-12-15,0 1 32 0,0-2-4 16,0 1-13-16,3 1 2 0,-3 2-2 0,3-2 17 15,-3 4-30-15,0-3 8 0,3 4 2 0,-8 0 8 16,10 4 0-16,-4-3-24 0,1 4 32 16,-2-2-49-16,3 3 15 0,-3 1-20 0,0-1-36 15,-2 1-23-15,4-1-21 0,-4 0-30 16,-1 1-39-16,4 1-7 0,-4-2-85 16,1 1-87-16,0-4-87 0,1 2-504 0,-1 0 38 15,-3-3 164-15,3 2 67 0,1-2 40 0,-4-2 55 16</inkml:trace>
  <inkml:trace contextRef="#ctx0" brushRef="#br1" timeOffset="128798.27">11000 6693 962 0,'0'0'351'0,"0"0"-47"15,0 0-9-15,0 0-50 0,0 0 4 0,0 0-14 16,0 14-10-16,0-8-25 0,0 2-21 0,0 0-12 15,0 1 12-15,0-2-38 16,0 3-16-16,0-3-2 0,3 0-13 0,-3 0-3 16,0 0 3-16,0 0-35 0,2-1 40 0,-2-1 8 15,0 0 125-15,0-5-28 0,2 7 23 16,-2-6-48-16,0-1-6 0,4 3-30 0,-4-3 7 16,0 0 1-16,10-6-21 0,-5 1 28 0,0 0-18 15,0 0-20-15,1-1-6 0,-2 2 31 16,4-5-46-16,0 5-33 0,-3-1 16 15,2 0 48-15,-1 0-57 0,-1 2 8 0,0 0-45 16,2 3 1-16,-7 0 6 0,11 3 13 0,-4 0-13 16,-1 2-21-16,-1 1 1 15,2-1-21-15,-4 2-34 0,2-1 3 0,-2 1 1 0,-1 0-88 16,1 1 2-16,0 1-17 0,-1-2-69 16,0 1-34-16,-2 2-48 0,3-3-31 0,-3 0-125 15,3-1-157-15,-1 1-485 0,0-1 68 0,1-2 138 16,0-2 78-16,2 3 81 0,0-3 62 31,0 1 89-31</inkml:trace>
  <inkml:trace contextRef="#ctx0" brushRef="#br1" timeOffset="129299.92">11369 6844 865 0,'5'-6'315'0,"-2"-2"-19"0,-1-2 94 16,1 4-55-16,0-2-20 0,-1 1-26 0,-2-4 16 16,0 4-3-16,0-4-57 0,3 2-81 15,-6-1 13-15,3 4-24 0,0-1-4 0,-2 0-14 16,2 2-22-16,-2 0 7 0,1 3-15 0,-4 0 5 16,5 2-38-16,0 0-11 0,0 0-9 15,-15 4 24-15,10 1-40 0,2 0-31 0,-2 2-30 16,2 0-16-16,1-2-15 0,2 1-26 0,-2 2-18 15,4-3-5-15,-2 2 10 0,0-1 16 16,2-1 7-16,0 1 31 16,2-3-43-16,0 2 25 0,2-2 3 0,-1 0 35 0,0-1 6 0,0 0 25 15,0 0-28-15,3-2 44 0,-3 0 27 16,0 1-22-16,2-1 2 16,1 1 19-16,-2 2 22 0,1-1 13 0,-1 2-21 0,1-2 9 15,-4 3-4 1,2 0 4-16,0 2-14 0,-2-2-2 0,-1 0-23 0,1 3 2 0,-3 0 6 15,2-1-9-15,-2-2 9 0,0 2-13 0,0-3 4 16,0-1 22-16,0 2-16 0,2 0 2 16,-2-5 44-16,1 3-36 0,-1-3 19 15,0 0-40-15,0 0 6 0,0 0 33 0,15-8-23 16,-10 3-18-16,3-2 8 0,-3-2-15 0,2-1-26 16,2-2 38-16,3-1 10 0,-2-5-37 15,4 3-37-15,1-2-54 16,-3-1 14-16,-1 5 27 0,-1-5-48 0,0 4-38 15,3 0-78-15,2-14-166 0,-1 14-631 0,-2 2 114 16,-2 3 123-16,1-1 77 0,-1 2 30 0,0-2 93 16</inkml:trace>
  <inkml:trace contextRef="#ctx0" brushRef="#br1" timeOffset="131921.74">13610 5646 1384 0,'5'-2'300'0,"3"-3"-8"0,-3 4-13 15,0 1-29 1,0-1-9-16,-5 1 2 0,13 2-41 0,-10 2 26 0,2-1-74 0,-2 1 17 16,-1 3-27-16,-2-1-11 0,0 5-15 0,-5-4-1 15,2 4 16-15,-5-1-30 0,1 2-6 0,-3 1-5 16,0 0-10-16,-1-2-18 15,1 1 13-15,3-5-16 0,-1 3 6 0,2-2-16 0,-1-2 13 16,1 0 10-16,2 1-20 0,1-2-8 0,0 0-2 16,1-2 27-16,2 2-17 15,0-5 2-15,5 6-7 0,-2-3-3 16,2 1-13-16,2-2-5 0,1 1 80 0,3-1-29 0,-1-2-22 0,2 0-32 16,-1 0-32-16,4 0-16 0,-2-3-49 15,2 1-13-15,0 1-58 0,-4 0-44 0,1-3-110 16,-1 1-153-16,-3 0-497 15,0 1 84-15,1-3 93 16,-4 3 122-16,-1-4-12 0,-2 0 79 0</inkml:trace>
  <inkml:trace contextRef="#ctx0" brushRef="#br1" timeOffset="132142.34">13856 5450 1379 0,'13'20'499'0,"0"4"-81"16,2 2 9-16,1 6-20 0,-1 3-13 0,3-2-25 0,-5 4-123 15,0 0-42-15,-6 2-7 0,-1-2-40 16,-4-1-4-16,-5 3 16 0,-4 0-26 0,-4 2-84 16,-3-4-31-16,-7 9-56 0,3-10-59 0,-8 8-38 15,1-2-121-15,1-14-107 0,3 4-538 16,-3-2 41-16,0-1 111 0,1-2 22 0,0-4 41 15</inkml:trace>
  <inkml:trace contextRef="#ctx0" brushRef="#br1" timeOffset="135460.79">14697 5600 1098 0,'-2'-5'471'0,"2"5"-11"16,-2-5-30-16,2 5-33 0,0-4-56 15,0 4-24-15,0 0-12 0,0 0-26 0,0 0-3 16,2 14-23-16,-4-8-43 0,2 2-20 16,2 3-37-16,-2 0 6 0,0-1 2 0,-2 3-51 31,1 2-18-31,1-4-7 0,-3 3-36 0,3-1-57 0,-2 0-10 0,0-1-33 0,1 2-46 15,-4-3-60-15,3-3-40 16,1 2-48-16,-1-1-165 0,0-2-499 0,-1 2 19 0,0-5 127 0,-1 2 67 16,1-2 79-16,2-2 38 0</inkml:trace>
  <inkml:trace contextRef="#ctx0" brushRef="#br1" timeOffset="135583.03">14659 5472 647 0,'0'0'202'0,"0"0"-171"0,-8 6-154 16,8-1-435-16</inkml:trace>
  <inkml:trace contextRef="#ctx0" brushRef="#br1" timeOffset="135893.17">14925 5375 967 0,'0'0'461'0,"0"0"25"0,6 7 0 0,-6-1-43 0,2 0-136 0,-2 3-15 0,0 2-5 16,0 0 0-16,0 4-57 0,-2 2 8 15,-1 1-28-15,3 3-5 0,-3 3-26 0,1 0-20 16,-1 1-34-16,1-3 3 0,2 1-31 0,0-1-10 16,0-2-5-16,5-1-48 0,-3 0-1 0,4-4-26 15,-1 1-40-15,2-3-5 0,-2-1-65 16,3-5-14-16,0 0-16 0,0-1-31 16,-1-1-46-16,1-4-38 0,0 0-65 0,0 1-60 15,-4-4-157-15,4 2-315 0,-8 0 87 0,10-3 144 16,-7-1 20-16,0 1 39 15</inkml:trace>
  <inkml:trace contextRef="#ctx0" brushRef="#br1" timeOffset="136126.43">14785 5666 1392 0,'-8'-4'466'0,"8"1"-39"0,0 3-17 16,2-4-62-16,3-1-82 0,3 1-43 0,0-3-26 15,5 2 0-15,5-2 49 0,2-2-57 0,3-1 1 16,3 2-21-16,-1-2-82 16,1 2-13-16,0-2-51 0,-1 2-49 0,-2 2-27 15,-4-1-22-15,-1 1-99 0,-1 1-169 0,-3 3-553 16,-2-1 80-16,-2 1 53 0,0 0 74 0,0 2 111 16</inkml:trace>
  <inkml:trace contextRef="#ctx0" brushRef="#br1" timeOffset="136741.34">15928 5531 1110 0,'-5'-1'436'0,"-3"1"-22"0,0-2-40 15,8 2-21-15,-18 4-23 0,8 1-15 0,0-3-95 0,-1 4-23 16,-1 1 3-16,2-1-34 0,-1 0-7 15,1 4-8-15,2-1-20 0,-2-1-6 0,2 1-38 16,3 0-7-16,0-1 9 0,2 0-12 16,1-2-8-16,2 1-13 0,0-1-10 0,3-3 13 0,-1 0-18 15,3-1 26-15,0-2-21 0,-5 0-8 16,18-2 19-16,-8-2-29 0,0-1 8 0,-1-2 25 16,3 0-5-16,-4-1 26 0,5-4-8 15,-5 5 6 1,-1-3-1-16,1 2 16 0,0 1 64 0,-3 1 2 0,0 0-28 0,0 1-13 0,0 0 26 15,0 3-20-15,-5 2-50 0,6-1 34 16,-6 1-35-16,0 0-14 0,7 6-28 16,-4-1-25-16,-1 0-23 0,-1 0-62 0,1 1-38 0,0 0-41 15,-2 1-54-15,3-1-51 0,-3 1-134 16,3 2-157-16,-1-4-498 0,0-2 106 0,2 2 119 16,-2-3 60-16,0 2 105 0,4-4 66 15,-6 0 36-15</inkml:trace>
  <inkml:trace contextRef="#ctx0" brushRef="#br1" timeOffset="137028.93">16127 5271 1425 0,'0'-2'451'0,"0"2"4"0,0 0-107 0,0 0-20 0,0 0-16 0,-2 18-33 0,2-9-33 16,0 5 2-16,0 2 42 0,0 2-16 15,0 4-31-15,0 1-26 0,0 2-38 0,2 5 19 0,-4-4-40 16,2 5-4-16,0-2-52 0,-2-1-4 16,2-2-58-16,0 0-40 0,-3-5-25 15,3-2-24-15,0-3-20 0,0-1-23 16,0-3-8-16,0-2-43 0,0 0-65 0,3-4-132 0,-1-4-100 16,0 2-505-16,2-3 70 0,-4-1 109 15,0 0 86-15,10-5 58 0,-7 2 82 16</inkml:trace>
  <inkml:trace contextRef="#ctx0" brushRef="#br1" timeOffset="137514.62">16327 5250 1379 0,'0'0'420'15,"0"0"-26"-15,0 0-46 0,-7 12 13 0,4-3 51 16,1 3-53-16,-3 5 9 0,2 2-150 0,-1 6-26 15,1-3 0-15,-2 2-31 0,-1 4-25 0,3-3 17 16,-1 1-53-16,-1 1-26 0,2-2-33 16,1 3-71-16,-1-8-45 0,2 1-42 15,1-5-17-15,0-2-19 0,1-1-16 0,4 0-8 16,-3-7-7-16,4 1-44 16,-1-3 11-16,2-1-24 0,1-3 67 0,0-1 23 0,2-2 15 15,-2-1 31-15,2-3 49 0,0 0 61 0,0 0 21 16,1 0 56-16,-3-3 30 0,-1 4 47 15,1 1 10-15,-3 1 13 0,1-1-11 0,-2 1 3 16,-1 3 16-16,-3 1-44 0,5-1-13 0,-5 1-26 16,0 0 1-16,5 6-3 0,-5 0-16 15,0 0-30 1,0-1 26-16,0 2-6 16,3 0-2-16,-1 0-36 0,0-1 18 0,2 1-19 0,0-1 4 0,2-1-16 0,-1-2 16 0,3 1-21 15,-1-4 0-15,0 1-5 0,1-2 25 16,3-2 19-16,-3 0 17 0,2-1 39 0,-5 1 35 15,5-3-12-15,-5 0 43 0,-2 1-15 0,0-1-15 16,-1 0 5-16,-4-1-14 0,-1 2-19 16,0 2-24-16,-2-3-22 0,-2 0 14 0,1 1-25 15,1 1-12-15,-2 0-44 0,-1 0-31 16,0 3-69 0,1 0 0-16,-1 0-59 0,0 1-85 0,8 0-45 0,-12 1-113 0,1 0-185 0,6 0-513 15,0 0 132-15,2 2 102 16,3-3 93-16,-3 3 82 0,3-3 33 0,0 0 64 15</inkml:trace>
  <inkml:trace contextRef="#ctx0" brushRef="#br1" timeOffset="138181.37">16707 5512 1205 0,'0'-4'410'0,"0"4"-42"0,0 0-30 0,0 0-20 0,0 0-50 0,0 0-22 16,-2 12-21-16,2-7-12 0,-2 0-34 15,2-1 26-15,0 1-52 0,0 1 1 0,0 1-18 16,0-1-24-16,2-1-15 0,-2 1-2 0,2 0-8 16,-2 0-23-16,3-4 21 0,0 2-42 15,-1-1 26-15,3 1-23 0,0-3 16 16,-5-1-16-16,11 0 18 0,-4 0-69 15,-7 0 5-15,11-1 30 0,-4-2-22 0,-2 2 46 0,1-2-8 16,-1 0 36-16,2 2 43 0,-2-1 47 16,1-2-65-16,-2 2 16 0,2 1-15 0,-1-2-6 15,-5 3-33-15,7-2 31 0,-4-1-36 0,2 1 8 16,-5 2 25-16,8-2-25 16,-3 1 2-16,0-2-84 0,-5 3 22 0,8-2 42 0,-3-1 20 15,-3 1 11-15,4 1 4 16,-6 1 68-16,5-5 47 0,-5 5-83 0,7-1 17 15,-4 0 5-15,-3 1-87 0,0 0-17 0,8-3-6 16,-8 3-12-16,5-1-9 0,-5 1-12 0,0 0 23 16,0 0-15-16,0 0 0 0,0 0-34 0,5 5 39 15,-5-5-36-15,5 1 33 0,-5-1 11 16,1 5-44-16,1-3-13 0,-2-2 28 0,2 4 8 16,-2-4 18-16,3 2-10 0,-3-2-8 0,3 3-41 15,-3-3 48-15,0 0-17 0,0 0 20 0,12-3 11 16,-7 1-3-1,0-2-8-15,-2 2 8 0,2-3 3 0,-2 4-14 0,2-4-7 0,-2 1-2 16,1-1 22-16,2-1-28 0,-2-2 21 16,0 1-5-16,2 0 2 0,-2 1-28 0,0-2-7 15,-1 1 17-15,0 0-48 16,0 1-49-16,1 0-57 0,0-1-40 0,0 2-59 0,1 1-26 16,-2 1-45-16,2 0-24 0,-2 0-105 0,-1 3-94 15,3-1-467-15,0-1 65 0,-5 2 128 16,0 0 86-16,13 2 68 0,-7-1 63 0</inkml:trace>
  <inkml:trace contextRef="#ctx0" brushRef="#br1" timeOffset="138439.19">17238 5374 1479 0,'0'0'389'0,"-10"0"-54"0,10 0-30 0,-8 1-23 15,1 1-37-15,4 2-22 0,0 0-11 0,-1 1-27 16,3 4-11-16,-2-2-21 0,3 1-27 0,0-1-8 16,0 3-1-16,3-3 6 0,-2 4 26 15,1-2-34-15,0 1 0 16,1-2 36-16,0 0-18 0,-1 1-20 0,-2-2 30 0,0 0-12 0,0-1 7 16,-2 2-26-16,-1-2 1 0,-2 1-13 15,-3 1-34-15,-2 0-50 0,2-2-42 16,-2 1-38-16,2-1-61 15,0 1-75-15,-4 0-156 0,6-3-186 0,-4 2-380 0,2-3 42 16,2 1 66-16,0-3 94 0,-2 3 50 0,3-3 81 16</inkml:trace>
  <inkml:trace contextRef="#ctx0" brushRef="#br1" timeOffset="140387.31">17970 5368 1113 0,'0'0'376'16,"0"0"-28"-16,0 0-38 0,0 0-26 16,0 15-46-16,0-8 8 0,1 2-18 0,0-2-46 15,-1 1-34-15,2 2 8 0,0-1-15 16,1-2-34-16,0 3-9 0,-1-3 2 0,1 0-19 0,2-1 47 16,-2 0-58-16,4-1-6 15,-2-3 30-15,0 2 19 0,0-3-70 0,1-1 16 16,-6 0 18-16,10-2 54 0,-6-3 38 0,2 1 51 15,-3-3-26-15,2 1-20 0,-2 0 5 16,1-1 34-16,-1 0-70 0,0-1 29 0,-1-1-14 16,2 3-53-16,-3-2-7 0,0 3-6 0,-1-1-31 15,2-1-38-15,-2 2 11 0,0 2-93 16,2-3-67 0,-2 2-43-16,3 2 3 0,-3 2-41 15,5-4-70-15,-5 4-173 16,8-2-605-16,-5 2 113 0,-3 0 97 0,12-1 75 0,-4-1 79 0,0 2 33 0</inkml:trace>
  <inkml:trace contextRef="#ctx0" brushRef="#br1" timeOffset="140667.68">18261 5308 1016 0,'0'0'404'16,"0"0"-40"-16,0 0-108 0,0 0-23 15,0 0-18-15,0 0-24 0,7 16-16 0,-3-12-7 0,0 5-19 16,2 0-8-16,-1 2-16 0,3-2-7 15,-1 1 2-15,1 3-12 0,-3-1-14 16,0 0 16-16,0-1 6 0,-2-1-11 16,-1 0-16-16,1-1 3 0,-3 1 6 0,-3-3-4 15,1 1-14-15,-1 1-11 0,-2-2-15 0,0 0-6 0,0 0-35 16,-1 0-23-16,-1-3-24 0,2 1-37 16,-3-2-34-16,3 1-90 0,0-4-186 15,3 2-507-15,2-2 74 0,-6 2 41 0,6-2 102 16,0 0 136-16</inkml:trace>
  <inkml:trace contextRef="#ctx0" brushRef="#br1" timeOffset="140871.1">18704 5124 1318 0,'0'0'558'0,"0"0"-123"0,0 0-31 0,6 9-15 0,-3-2-25 0,-3 3-39 0,2-1-26 15,0 4-27-15,1 2 2 0,0 3-39 0,-1 1-22 16,0 1-50-16,0 0-29 16,-1 3-27-16,-1-2 24 0,0 2-75 0,3 1-95 0,-6-3-58 15,3 2-67-15,0-3-117 0,-3 1-195 0,3-2-482 16,-2-3 73-16,0-3 127 0,-1-2 72 31,3 1 64-31,0-4 72 0</inkml:trace>
  <inkml:trace contextRef="#ctx0" brushRef="#br1" timeOffset="141284.73">18646 5388 1156 0,'0'-4'359'0,"5"1"-39"15,-2-2-44-15,4 0-17 0,2-1-16 0,0 0-41 16,4 2-25-16,0-5-3 0,2 2-46 15,2-1-13-15,-1 2-13 0,-3 0-15 0,-1 1-5 0,-1 0 3 16,-1 2-26-16,1-2 5 0,-4 4 12 16,1 1 19-16,-8 0-21 0,10 2 6 0,-4 2-32 15,-2 2 32-15,-1-3-19 0,0 4 13 16,0-1-35-16,-1 3 4 0,4-2 90 0,-2 0-10 16,1 0-33-16,0 1 12 0,3 1-25 0,-3-4 10 15,3 2-31-15,2-5 8 16,0 3 64-16,0-5-48 0,0 1 37 0,1-1 19 0,-1 0 13 15,3-1-6-15,-2-1 41 0,-4-2 11 0,3-1-11 16,0 0-46-16,-4 2-23 0,-1-3-25 16,-2-1-29-16,-1 2 9 0,-4-2 19 0,-1 1-45 31,-4 0-42-31,-1 1-68 0,-1-1-39 0,-5 4-49 0,3-3-84 0,-2 4-66 0,1 0-157 16,-1 2-568-16,0 0 69 0,0 1 77 15,2 2 94-15,-1 1 155 16,4-3-14-1,3 3 80-15</inkml:trace>
  <inkml:trace contextRef="#ctx0" brushRef="#br1" timeOffset="142978.57">19640 5108 837 0,'0'0'399'0,"0"0"-51"0,-15 6-23 16,10 1-15-16,-3-1-13 0,1 4-18 15,-2 3-39-15,1 0-22 0,-2 1-31 16,-2 5-23-16,4 0-1 0,-2-1-32 0,2 1 5 0,3 0-57 15,0-3 16-15,0 0 12 0,3-2-130 16,0 0 10-16,-2-2 18 0,4-3-7 0,3 1-8 16,-1-1 25-16,-1 1-25 0,3-4 7 0,2-1 6 15,-1-2 7-15,3-1-13 16,0-2 14-16,0 0 14 0,1-3 1 0,-1 1 7 16,1-1 16-16,0-3-3 0,1 0 15 0,-2 0 3 15,0-2 5 1,-2 2-5-16,0-1 0 0,-1 1 18 0,0 0-8 0,1-1 6 0,-3 3-14 15,-1-1-7-15,0 3 0 0,-2 2-26 0,6-2-7 16,-6 2-11-16,0 0 16 16,0 0-5-16,2 9-11 15,-2-3 3-15,2-1 5 0,-2 1-51 0,3 0-3 0,0 0-12 0,-1 0 2 16,1 0 2-16,2-3 16 16,0 1-10-16,0 2 18 0,0-3-16 0,1 0 23 0,1-2-12 15,-2-1 7-15,3 0 5 0,-3-3 16 0,3 2 20 0,-1-2 8 16,-1 0 2-16,-1 0 21 15,0-3-31-15,-2 0 11 0,-1 1-6 16,0-3 0-16,-2 2 1 0,0 0-14 0,0-1-10 0,-4 1 1 16,3-1-4-16,-1 1 19 0,-1-1-16 15,0 1-13-15,-1 0-17 16,-1 0 2-16,-1 1-18 0,4 0 0 0,-1 2 8 0,-2 0-8 0,5 0 3 16,-5-1-10-16,5 4-21 0,-4-3 20 15,4 3-10-15,-4-3 19 0,4 3-12 16,0 0-4-16,0 0 28 0,0 0-5 0,0 0-10 0,0 0 20 15,0 0 10-15,0 0-10 16,21 4-10-16,-13-3 33 0,-1 0-18 16,1 4 21-16,-3-5-26 0,3 5 8 0,0-3-6 0,-1 2-17 15,0-1 23-15,-1 0-5 0,-1 1 12 16,3 1-7-16,-2 0 12 0,-2 0 19 0,1-1-31 16,0 1-1-16,-2-1 11 0,-1-2-10 0,1 3 20 15,0-2-12-15,2 0-11 16,-5 0 28-16,3 1 1 0,-3-4 4 0,4 5 1 15,-4-5 2-15,4 1 5 0,-4-1-8 0,2 2 1 0,-2-2-6 16,0 0 36-16,0 0-15 0,0 0-8 16,0 0-17-16,12-7-9 15,-9 6 39-15,0-1-23 0,3-1 13 0,-6 3-29 0,8-5 14 16,-7 4 7-16,-1 1-16 0,8-2-12 0,-4 1 0 16,-4 1 21-16,8-2-11 0,-8 2 18 15,12 2-5-15,-12-2-31 0,6 2 33 0,-3-1-20 16,2 3 8-16,-2-2 0 0,2-1 2 0,-2 3 21 15,-3-4-34-15,7 1 13 16,-5 3 6-16,-2-4-1 0,5 3-2 0,-2-2 25 0,-3-1-15 16,3 3 36-16,-3-3-21 0,0 0 24 0,0 0 10 15,0 0 7-15,14-4 0 16,-13 2-20-16,4-1 23 0,-2 0 8 16,2-1 4-16,-2 1-14 0,1-1-3 0,0 3-29 0,0 0 11 15,2-2 0-15,-6 3 0 0,10-2-16 16,-5 2-9-1,-5 0-1-15,8 4-13 0,-1-3 19 0,-2 0-3 0,0 0 2 0,-2 3-46 0,2-2-20 16,0 1-41-16,-2-1-59 0,2-1-20 16,-1 3-32-16,-4-4-45 0,8 3-31 0,-7-2-61 15,-1-1-180-15,10 0-447 0,-5 2 53 0,-5-2 143 16,10-2 39-16,-7 1 95 0,2-1 23 16</inkml:trace>
  <inkml:trace contextRef="#ctx0" brushRef="#br1" timeOffset="143392.31">20237 5140 1123 0,'1'-3'384'0,"-1"3"-23"0,0-4-69 0,0 4 15 15,0 0-20-15,0 0-3 0,0 12-26 0,2-4-40 16,1 6 2-16,0 0 5 0,-1 1-17 0,1 5-21 16,0 3-26-16,1 1-15 0,-1 3-8 15,0 1 51-15,-1-2-17 0,0 4-8 0,1-2-59 16,-6 2-29-16,6-3-22 0,-3 1 5 15,0-3-23-15,0-3 51 0,0-3-46 16,-3 0-16-16,3-4 14 0,0-1 9 0,0-2 34 0,0-3 26 16,0 0-19-16,0-2-12 0,0-2 31 15,0-5-3-15,-2 1 2 0,2-1 49 16,0 0-25-16,0 0-52 0,0-16 36 16,0 7-4-16,0-4-68 0,2-6-20 0,1 1-8 15,2-7 1-15,1 0 30 0,1-10-36 0,1 8 3 0,0 3-5 16,0 3 27-16,2 1 4 0,-3 3 4 15,1 4 14-15,-1 1-27 0,-1 5 16 0,1 0-35 16,-1 2-1-16,-2 5-2 16,2 0 2-16,-6 0 5 0,4 5 24 0,-4-5 19 0,0 10-35 15,-4-4-12-15,1 4-19 0,0-1 5 16,-2 1-45-16,-2-2-24 16,2 3-61-16,-3-2-23 0,0 1-62 0,3-2-48 0,2-2-8 0,-1-1-66 15,1 1-72-15,0-4-144 0,1 2-445 0,2-4 85 16,0 0 59-16,0 0 91 0,0 0 52 0,0 0 69 15</inkml:trace>
  <inkml:trace contextRef="#ctx0" brushRef="#br1" timeOffset="143897.56">20617 5225 1200 0,'-8'-1'361'0,"8"1"-41"15,-10 1-36-15,3 1 54 0,1 2 0 0,-4-1-52 16,0 1 11 0,0 2-41-16,1-1-51 0,-1-1-15 0,0 4-4 0,0 0-6 0,2-2-45 15,1 1-14-15,2-1 4 0,0 0-28 0,1 0 3 16,0 0-3-16,1 0 13 16,0-3-43-16,1 1-6 0,2-1-15 0,0-3 44 15,2 4-41-15,-2-4-14 0,8 1 14 0,-8-1-5 16,11-2 7-16,-1 2-10 0,-2-3-3 15,0 1 34-15,-1 1-31 0,3-1 7 0,-3 0 9 16,1 2-19-16,0-1-2 0,-3 2 10 16,3 1-20-16,0-1 38 15,0 1-85-15,-3 2-7 0,3-1 5 0,-1 3-8 0,-2-1-7 16,1 1 23-16,-2 0-6 0,-1 1 26 0,0-2-10 0,1 2 13 16,-3-1-19-16,1-1 6 0,1 0 23 15,-3-1 21 1,2 0 109-16,-2-2 19 0,0-2 14 0,2 6-32 0,-2-6 27 0,0 0-99 15,0 0-3-15,0 0 21 0,0 0 5 16,0 0 0-16,0 0-29 0,9-13 1 0,-7 8-11 16,1-2-37-16,0 0 34 15,-1-1-27-15,3-3-18 0,0 0-31 0,1 0-5 0,1 2-36 16,-2-1-30-16,3 1-22 0,-3-1-27 0,3 2-41 16,0 1-49-16,-1 1-33 0,-2 3-54 15,3 0-64-15,-3 2-51 0,-5 1-94 0,6 1-487 16,-6-1 163-16,9 5 24 0,-6-2 87 15,-1 1 87-15,1 2 43 0</inkml:trace>
  <inkml:trace contextRef="#ctx0" brushRef="#br1" timeOffset="144174.47">20845 5358 1274 0,'2'-6'379'0,"-1"0"-10"16,-1 1-44-16,3 0-18 0,-3-3-8 15,0 4 14-15,2-1 37 0,-1 0-19 0,-1 1-42 16,0 4-10-16,-1-5-44 0,1 5-15 0,0 0-5 16,0 0-23-16,0 0-5 0,0 0-36 0,-10 10 5 15,7-6-25-15,1 2 0 0,1 0-44 16,-1-1-11-16,4 2 14 0,-2-3-31 16,1 1-21-16,-1 2-40 0,2-1-9 0,3-1-45 15,-2 1-62-15,3-1-12 0,-2 1-49 16,2-3-29-16,1 1-99 0,-2-3-49 0,5-3-94 15,-2 3-523-15,3 0 118 0,1-1 62 16,1 0 107-16,5 0 87 0,2-2 51 0</inkml:trace>
  <inkml:trace contextRef="#ctx0" brushRef="#br1" timeOffset="144705.26">21535 5007 1361 0,'0'0'435'0,"0"0"-84"0,4 12-39 16,-6-6-45-16,2 3 9 0,-2 3-51 15,2 1-10-15,-2 3 8 0,2-1-44 0,-3 6-25 16,0-1-8-16,3-1-13 0,-2 3-41 0,0 0-10 16,1-4-23-16,0 2-6 0,0-2-12 15,1-4 3-15,1-1-11 0,-2 0-5 0,1-3 11 16,0-1 4-16,1 0-2 0,-2-2-15 15,1-4 10-15,-3 2-21 0,3-5 8 16,-2 4 0-16,2-4 3 0,0 0 17 0,0 0-12 0,-13-10-31 16,7 8 33-16,2-4-2 15,-4 1-3-15,2 1 3 0,0 0 2 0,-2 1 8 16,0 1 8-16,3 1-37 0,-3 1 4 0,0 0-9 16,8 0 11-16,-13 3-2 0,6 0 2 0,-1 1-3 15,3 0 18-15,-3 2-17 0,3 0 2 16,4 1-13-16,-3-1 13 0,2 1-21 15,2-1-17-15,0 1-11 0,2-1-13 0,3-2-38 0,0 2-12 16,0-1-34-16,3-2-57 0,0 1-86 16,4-2-90-16,0-1-82 0,0-1-412 0,1 0 36 15,4 0 110-15,-1-1 80 0,1 0 48 0</inkml:trace>
  <inkml:trace contextRef="#ctx0" brushRef="#br1" timeOffset="145564.31">21839 5266 839 0,'0'0'356'15,"0"0"-34"-15,1-3 9 16,-1 3-37-16,0 0 3 0,0-7-92 0,0 7-13 16,-1-4-26-16,1 4 6 0,-6-3-27 15,3-1 6-15,3 4-10 0,-7-1-38 0,7 1 19 16,-9-1-22-16,9 1 13 0,-12 1-13 0,4 2-16 15,2 0-15-15,0-1 80 0,-2 4-24 16,0-1-7-16,3 1 10 0,-3-1-8 0,3 1-28 16,0-2-17-16,-1 2-1 0,2 0 0 0,-2-2-12 15,4 2-11-15,0-2-23 0,1 0-3 16,-2 0-30-16,3-4 16 0,4 6-6 16,-2-5 25-16,-2-1-12 0,0 0 5 0,15-1 3 15,-8-3-11-15,-1 4 6 0,4-3-19 16,-1 0 32-16,-1 2-27 0,-2-2 16 0,4 1 0 15,-4 1 13-15,1 0-10 0,-1 1 15 0,2 0-26 16,-1-1 11-16,-7 1 2 0,13-2 8 16,-8 4-29-16,3-4 4 0,0 2 9 0,1-2-17 15,0 1 38-15,1-4-64 0,0 1 38 0,2-3-23 16,-1 0 8-16,3-1-5 0,-3-2 36 16,0 0 2-16,1-2 52 0,-1-1-65 15,-3-2 39-15,2-2 28 0,-3 2-8 0,1 0-10 0,-2-3 1 16,-2 1-1-16,1-1 33 0,-2-1 8 15,1 4 36-15,-3-1-18 16,2 4-18-16,1 2-23 0,-3 0-33 0,-1 2 10 0,2 3 2 16,-2 3 16-16,0 2 10 0,0 0-22 0,0 0-12 15,0 0-4-15,-10 19 0 0,9-8-10 16,-3 4-34-16,1 2 38 0,-2-1-43 0,5 2-58 16,-2 1-6-16,2 0 0 0,2-2-20 0,-2-3-52 15,4 1-25-15,-2-1-21 16,0-1-30-16,3-1 0 0,-5-4-34 0,5 2-17 0,-2-3 2 15,2-2-34 1,-2 0-50-16,2-2-175 0,-1-1-462 0,-1-1 96 0,2-1 62 0,-5 0 138 16,0 0 44-16,8-3 56 0</inkml:trace>
  <inkml:trace contextRef="#ctx0" brushRef="#br1" timeOffset="146035.7">21840 5144 1256 0,'0'0'325'0,"-5"-3"-28"0,5 3-23 16,-2-3 0-16,2 3-28 0,0 0-16 0,0 0-20 16,10-4-51-16,-10 4 2 0,15-1-5 15,-5 0-15-15,6 0-34 0,-1-3 9 0,1 2-32 16,2 1 85-16,2-4-44 0,3 0-12 16,3 2-3-16,-1-2-43 0,3-1 17 0,1 0-27 15,-1 1-11-15,-1-2-3 0,-2 1-4 16,-5 1-22-16,2 2 29 0,-9-2 8 0,1 0 54 15,0 3-19-15,-3-3-20 0,-1 3 11 16,-2-1-6-16,-3 1 11 0,-2 2-19 0,-3 0 8 16,0 0 1-16,0 0-55 0,0 0-5 15,0 0 19-15,0 0-27 0,0 0 1 0,-10 13 7 16,7-9 6-16,-3 3-11 0,-1-1-7 16,2 0-11-16,0 1 16 0,2 0-44 0,-2 0 8 15,2 0-1-15,-1-1-24 0,3 1-22 16,0-2 17-16,0 1-1 0,-2-2 10 0,6 0-10 0,-1 0 3 15,-2-4 5-15,7 1 17 0,-7-1-6 16,11-2 1-16,-3-1 19 0,0 0-1 16,2-1 21-16,-2 2 0 0,0-2 36 0,2 2-8 15,-3-1-7-15,3 2 48 0,1 1-39 0,-4-2-4 16,3 2 7-16,-1 0-12 0,0 2-1 16,0-1-40-16,1 2-11 0,-2-2-30 15,-1 0-44-15,1 3-57 0,2-3-42 0,0 0-98 16,-4 2-157-16,6-2-452 0,-1-1 151 15,-1 1 7-15,0-1 67 0,2-1 75 0</inkml:trace>
  <inkml:trace contextRef="#ctx0" brushRef="#br1" timeOffset="148047.97">23088 5121 1356 0,'0'0'440'0,"0"0"-120"0,-7 12-18 16,6-5-30-16,-5 3-1 0,4 2-30 0,-2 0-24 15,0 1-15-15,1 2-15 0,-5 2-25 0,3-2-17 16,-3 7 40-16,3-7-16 0,-3 2-52 16,3 1-30-16,-3-4-66 0,1 0-49 0,2-1-49 15,2-1-184-15,-4 0-128 0,3-2-512 0,0-2 105 16,4-2 66-16,0 0 70 0,0-4 71 0</inkml:trace>
  <inkml:trace contextRef="#ctx0" brushRef="#br1" timeOffset="148566.37">23261 5051 1146 0,'0'0'417'0,"0"0"-12"32,5 11-62-32,-3-7-18 0,-2 5-49 0,3-1-12 0,-2 2-49 0,-1-1-8 0,0 1-22 0,0-1-29 15,1 2 8-15,-1 0-59 16,0-3-13-16,1 3-18 0,-1-4 13 0,0 1-13 16,0-2-17-16,0 0-1 0,2-1 0 0,-2 0 11 15,0-2 7-15,0-3-2 0,2 5 7 16,-2-5-15-16,0 0 5 0,0 0-41 0,0 0-28 15,12-8 0-15,-8 3 0 0,1-1-18 16,1 1 39-16,-2-1-19 0,2 3 14 16,-2-3 14-16,2 1-19 0,0 2 4 0,-2 0-23 0,1 2 37 15,-5 1 19-15,8-1-61 0,-8 1 21 16,9 3-5-16,-8-1 4 0,4 1 1 0,-3-2-3 16,-1 4-2-16,1-4 15 0,2 4-1 15,-2-3-6-15,-2-2 4 16,2 4 13-16,-2-4 11 0,5 3 22 0,-5 0 90 0,0-3-8 15,7 1 1-15,-7-1 38 0,0 0-83 16,10-5-9-16,-6 3 20 0,0-2 13 16,-1 2 18-1,5-3 2-15,-3 4 28 0,0-4-12 0,1 4-10 0,1-3-26 0,-2 1 43 0,3 2-28 16,-3-2-35-16,3 3-9 16,-1 0-20-16,1 0-7 0,-3 3 41 0,3-1-108 0,0 0 0 0,-3 2 0 15,3-2 0-15,-1 2 0 0,-2 1-85 16,1-2-74-16,0 1-33 0,-2-2-38 0,1 2-29 0,-3-2-37 15,5 3-78-15,-3-3-146 16,1 2-568-16,2-3 105 0,-2 0 103 0,3 2 45 16,0-2 195-16,3-2-5 0,-1-2 62 0</inkml:trace>
  <inkml:trace contextRef="#ctx0" brushRef="#br1" timeOffset="148900.84">23840 5069 1325 0,'-3'-1'400'0,"3"1"-1"0,-12-2-76 0,12 2 2 0,-13 3-49 16,5-1-20-16,-2 2-54 0,-1-2 16 15,0 3-49-15,2 1 13 0,-4-2-42 0,6-1 14 16,1 3-29-16,0-1-35 0,0 0 10 16,3-2-26-16,-2 2-15 0,5-2-18 0,0-3-21 15,0 4 19-15,0-4-4 0,6 4-9 16,-6-4 0-16,9 1 7 0,-9-1 34 0,11-4 4 15,-5 3-2-15,-6 1 16 0,9-1-78 0,-2 0 32 16,-4-1-8-16,-3 2-6 0,13 2 14 16,-10-1-16-16,4 0 12 0,-4 3-4 0,1-2 0 15,0 2-8-15,0 0-28 0,-1 0-3 0,0 1-53 16,-1-3-29-16,0 3-23 16,-1-2-45-16,1 1-24 0,1 0-74 0,0-1-105 15,-1 1-353-15,3-3-72 0,-5-1-12 0,8 2 127 16,-8-2 54-16,10-2 118 0</inkml:trace>
  <inkml:trace contextRef="#ctx0" brushRef="#br1" timeOffset="149114.03">24002 4984 1315 0,'3'-10'402'0,"-1"0"54"16,3 5-1-16,-5 2-50 0,2-1-39 0,-2 4-33 16,0 0-1-16,0 0-27 0,0 0-18 15,0 0-34-15,2 15-35 0,-2-7-44 0,-2 1 48 16,0 4-53-16,-1 3 8 0,-1 2-26 15,1 0-3-15,-3 1-20 16,2 0-43-16,-2 0-34 0,3-1-46 0,-4 1-64 0,4-2-43 16,-2-3-44-16,1-1-64 0,1-1-48 0,0-3-170 15,2 1-588-15,1-4 123 0,0-4 81 16,1 2 106-16,-1-4 71 0,10-2 44 0,-2-1 50 16</inkml:trace>
  <inkml:trace contextRef="#ctx0" brushRef="#br1" timeOffset="149378.54">24240 4937 1131 0,'0'0'379'0,"-13"1"-8"0,13-1-51 15,-11 5 36-15,0 2-18 0,0-1-26 16,-2 2-8-16,-2 2-50 0,2 0-16 0,-1 1 2 16,0 1-32-16,1 0-32 0,0 0 9 15,0 1-34-15,3-5 2 0,0 2-20 0,2-1 6 0,0 1-50 16,3-2 26-16,0-2-22 15,4 0 47-15,-3-1-58 0,2 2-33 0,1-4 20 16,1 0 0-16,0-3-18 16,3 5-17-16,1-4-24 0,-4-1-33 0,6 1-23 0,2 0-11 15,-8-1-53-15,15 0-46 0,-9 0-46 0,4 4-110 16,-3-3-170-16,1 0-449 0,2 3 45 0,-2-1 116 16,0 1 91-16,0 1 62 31,-1-3 65-31</inkml:trace>
  <inkml:trace contextRef="#ctx0" brushRef="#br1" timeOffset="149648.21">24323 5132 1208 0,'2'-8'460'15,"4"1"-55"-15,-4-2-60 0,0 3 16 0,0-1-43 16,-2 2 17-16,0 0-46 0,0 1-17 0,-2-1-1 16,2 5 31-16,-4-2-41 0,4 2 5 15,-12 1-5-15,5 1-53 0,-1 3-42 0,-2 2 13 16,2 1-12-1,0 1-39-15,2 1 18 0,-1-1-3 0,3 2-48 0,0-2-19 0,0-1 1 16,1 2-8-16,3-5 13 0,3 1-36 16,2-3 3-16,3 3-36 0,0-2-49 15,8-3-10-15,-1 0-51 0,7-2-16 0,1 1-18 0,5-2-43 16,1-1-18-16,1 1-61 0,-1-2-100 16,-7 2-170-16,2 1-477 0,-7-3 81 15,-1 4 151-15,-4-1 54 0,-3 1 66 0,-4 1 72 16</inkml:trace>
  <inkml:trace contextRef="#ctx0" brushRef="#br1" timeOffset="150814.15">15007 6381 1054 0,'0'0'415'0,"0"0"-16"16,0 0-51-16,-2 13-23 15,0-7-120-15,2 3-3 0,0 2-20 0,0 1 15 16,0 1-61-16,0 3-24 0,0-2 9 0,0 0-19 16,0 1-12-16,0-1-11 0,0-1-7 15,2-1 20-15,-2-3-28 0,0 0 23 0,0-1 13 16,0-1 2-16,0-1 13 0,0 0 100 0,-2-2-18 15,4-1 16-15,-2-3-14 16,2 3-19-16,-2-3-19 0,0 0-56 0,8-9-13 0,-5 2 13 16,4 4-21-16,-1-5-17 0,1 1 10 15,1 1 23-15,0-1-8 16,2 1-26-16,-2 3 14 0,2-1 7 0,-3 0-44 0,1 3 1 16,0 1 2-16,2 3 2 0,-2-1 11 0,0-1-18 15,-1 6-15-15,-1 2-29 0,-2-2-15 16,2 1-51-16,-2 2-31 0,0 0-56 0,0 0-18 15,-1 1-48-15,-3-3-17 0,5 1-27 0,-2 0-87 16,-1-1-118-16,1-1-502 0,-1 0 67 16,-1-1 44-16,3-1 132 0,-1-1 72 15,0-3 70-15</inkml:trace>
  <inkml:trace contextRef="#ctx0" brushRef="#br1" timeOffset="151162.93">15320 6568 952 0,'0'0'419'15,"0"0"-24"-15,0 0-27 0,0 0-48 16,0 0-31-16,0 0-10 0,0 0-46 0,-5 13-30 16,5-10-27-16,0-3 3 0,0 8-20 0,0-5-16 15,3 2-22 1,-3-5-16-16,5 2 12 0,-3 0 1 0,-2-2 13 0,0 0-70 0,13-3-12 16,-7 2 10-16,-2-1-3 0,2-1 28 15,-2-2 78-15,2 3 43 0,-1-1-3 31,0-1-15-31,0 2 2 0,0-1 11 0,-2 3-13 0,-3 0-29 0,0 0 6 0,13 3-21 0,-10 2-20 16,1 1-8-16,-1 4 8 0,2 1 10 16,0 1-7-16,0 4-14 0,-2 2-27 0,0 1-26 0,-1 1 15 15,0 2-33-15,-1-2-33 16,-1 0-52-16,0 3-48 0,0-3-8 0,0-1-46 16,0-2-23-16,-1-2-48 0,-1 0-67 0,2-1-98 15,-2-6-178-15,2 3-515 0,0-3 76 0,-3 1 144 16,3-6 98-1,0 2 89-15,0-5 17 0,3 2 88 0</inkml:trace>
  <inkml:trace contextRef="#ctx0" brushRef="#br1" timeOffset="151873.81">15633 6391 1013 0,'0'0'422'0,"0"0"-7"16,0 0-23-16,0 14-57 0,2-7 67 0,-2 6-41 0,0 0-49 16,1 3-30-16,-1 3-31 0,2 2-21 0,1 3-25 15,0 2-29-15,-1-1-7 16,0 1-5-16,1 0-31 0,0 2-15 0,-1-3-44 16,0-4-5-16,1-1 13 0,-2-3-23 0,1 0-8 0,-2-3 6 15,2-2 7-15,-2-1-11 0,3-2 55 16,-3 0-49-16,0-4 15 0,0-1 26 0,0-2 20 15,0-2-7-15,0 0 17 0,0 0-22 16,0 0 33-16,5-16-34 16,-3 5 16-16,1-2-16 0,0 0-2 0,0-4 21 0,6-7-29 15,-3 3-36-15,4-2 1 16,-3 3 10-16,4 2-11 0,-3 4-7 0,0 2 30 0,-1 1-27 0,0 4-27 16,-1 1 4-16,-1 4 40 0,0 0-8 15,0 2-37-15,-5 0-29 16,5 7 0-16,-5-1 0 0,0 1 0 0,-5 1 0 0,3 3 0 0,-3 1 0 15,-3 2 0-15,2-1 0 16,-1 0-77-16,0 0-92 0,-1 0-33 0,3-3-36 0,1 2-49 16,0-5-20-16,1 0-26 15,3-3-46-15,0-1-66 0,0-3-14 0,0 0-11 0,0 0-1 16,0 0 30-16,18-13 78 0,-10 7 35 16,2-5 54-16,0-1 59 0,0-2 64 15,1 1 59-15,-1 0 79 16,0 1 36-1,0-2 59-15,-2 4 33 0,0 2 39 0,-3 0 7 0,1 1-15 0,-2 3 5 0,-1-1-5 16,2 2-3-16,-5 3-17 0,0 0-16 0,0 0-15 0,0 0-8 0,6 10 2 16,-4-4 1-16,0-1-8 0,-2 1-18 15,3 1-11-15,0 0-14 16,1-1 10-16,-1 0-3 0,3 0 0 0,1-1-23 0,1-2 15 0,-3 1 24 16,3-3-14-1,-1-1 29-15,1-1 48 0,2 0-15 0,-2-2 16 0,0-1 135 16,0 0-13-16,-1-3-20 0,-2 1-10 0,0 0 45 15,-2-1-158-15,-1 1-10 0,1-1-5 16,-3-3 7-16,0 3-8 0,-2 2 27 0,1-1-63 16,-4 2-22-16,2 0-26 0,-1-1-43 15,-4 3-54-15,2-2-16 0,-1 2-22 0,0 2-65 0,7 0-38 16,-13 0-54-16,5 1-140 0,-5 3-134 16,8-3-465-16,-3 0 143 0,3 0 94 0,0-1 34 15,5 0 80-15,-8 0 58 0</inkml:trace>
  <inkml:trace contextRef="#ctx0" brushRef="#br1" timeOffset="152094.7">16046 6356 1607 0,'2'-1'479'0,"-2"1"-34"0,0 0-48 0,6 9-75 15,-4-3-25-15,0 1-20 0,2 2 4 0,0 0-20 0,-1 4 49 16,0 3-36-16,1-1-16 0,-1 5-40 0,0 2-13 15,0 1-21-15,-1 0-71 0,0 2-6 16,-2-2-89-16,3-3-51 0,-3-1-36 0,0 0-52 16,0 0-24-16,2-4-40 0,-2-2-53 15,1-1-153-15,-1-4-605 0,2 0 126 0,1-2 102 16,0-1 23-16,-1-3 72 0,-2-2 79 16</inkml:trace>
  <inkml:trace contextRef="#ctx0" brushRef="#br1" timeOffset="152539.91">16276 6344 1113 0,'0'0'392'0,"3"12"-78"0,0-4-35 0,-3-2-17 0,0 5 4 16,0-1-21-16,-3 4 32 0,3-2 4 0,0 2-22 15,0 0-44-15,-2-1-15 16,2 3-16-16,0-3-38 0,0 1 7 0,0-1-9 0,0-1-34 16,-1-1-13-16,1-3 21 0,-2 2-18 0,4-3 20 15,-2 0-5 1,1 0-46-16,-1-4-5 0,5 2 26 0,-3-4 5 0,1 2 12 15,-3-3-22-15,10-1-4 0,-10 1 1 0,10-3 11 16,-10 3-6-16,10-2-8 0,-4 2-7 16,-6 0 4-16,12 2 24 0,-6 1-38 0,-1-2-29 15,3 0-2-15,0 3 2 0,-2-2 8 0,0 2-33 16,2-2-8-16,-3 2-23 0,2-3-31 0,-1 1-26 16,-1-2-48-16,-5 0-15 0,10 4-54 15,-5-5-23-15,-5 1-82 0,8-2-136 0,-3 1-302 16,-2-1-209-16,-3 2 99 0,5-5 85 0,-5 5 84 15,-3-6 59-15,3 6 169 16</inkml:trace>
  <inkml:trace contextRef="#ctx0" brushRef="#br1" timeOffset="152741.57">16018 6507 1167 0,'0'0'463'0,"-8"0"-15"0,8 0-133 0,-8 0-18 15,8 0-21-15,0 0-43 0,0 0-13 0,0 0 18 16,0 0-53-16,0 0-9 0,18-5-38 16,-3 3-2-16,-2-2-36 0,3 1-57 0,2-3-9 15,5 1-34-15,3-2-59 0,1 1-33 16,1 0-64-16,1 1-82 0,7-8-123 0,-3 11-474 16,-4-2 62-16,1 3 115 0,-7 0 44 15,0 1 61-15</inkml:trace>
  <inkml:trace contextRef="#ctx0" brushRef="#br1" timeOffset="153559.07">16495 6562 1231 0,'2'-4'409'16,"0"-3"-12"-16,2 1-18 0,-2-1-110 0,3 0-13 16,-2 1-11-16,-1-2 9 0,0 0-60 0,1 0-2 15,-3 1 5-15,0 0 6 0,0 1 4 16,0-1 13-16,0 2-8 0,0-1-20 16,0 2-12-16,0 4-55 0,-3-5-5 15,3 5 3-15,0 0-13 0,-7 1 11 0,7-1-9 16,-5 7-27-16,2-1 7 0,0-1 0 0,-1 4 67 0,1-3-42 15,0 7-19-15,1-5 2 0,2 3-21 0,-1-4-20 16,2 2-13-16,1-1-10 16,1 0-44-16,2 1-2 0,1-5-8 0,1 2-54 15,-2-1-7-15,5-4-47 0,1 2-2 0,-1-2-25 16,2-2-3-16,4-3 17 0,-3-1-50 16,5 2 20-16,0-4-2 0,-3-2-1 0,1 1-2 15,2 0 13-15,-4-3 7 16,-3 0 16-16,2-1 13 0,-3 2 17 0,-2 0 24 0,0-2 43 15,-3 4 18-15,-2-2 30 0,-1 3 11 0,-2 0 15 16,2 0 31 0,-4 2 11-16,2 0-11 0,-3 1-18 0,1-1 15 0,-1 2 8 15,0 1-25-15,3 2 38 0,-7-1-36 0,7 1-3 0,0 0-15 16,0 0-15-16,-8 3 18 0,8-3 20 16,-3 9-41-16,3-6 34 0,0 3 33 0,3-1-13 0,-3 3 30 15,3 1-1-15,1 0-19 16,-1 1 36-16,2-1 0 0,-2 1-13 0,3 3-28 15,-4-3 16-15,0 0-6 0,3 3 29 0,-4-4-1 16,-1 0 1-16,0 1-9 0,0-2-14 16,-1 0-6-16,-1 2-12 0,-3-2-11 0,3-2 8 15,-1 1-13-15,-2-2-23 16,2 1-30-16,-2-4-47 0,2 2-4 0,-2-2-70 0,2 1-18 16,3-3-31-16,0 0-22 0,0 0 2 15,-4-9-41-15,6 2-61 0,0 1-95 0,4-7-108 16,-1 2-442-16,3 1 127 0,0-3 21 0,2-2 59 15,0 2 118-15,3-3 58 0,-3 3 666 16,0 1 87-16,0 0 52 16,-2 1 40-16,0 3 11 0,-1-2-1 0,-1 4 26 0,1 0-15 0,-2 2-6 15,0 1-71-15,-2 2-18 0,3-2 13 16,-6 3 49-16,0 0-4 0,12 4-24 0,-9 1-19 16,2 0-23-16,-1 1-43 0,-1 2-10 0,0 0-18 15,-1 2-8-15,-1-1-95 16,1 1-18-16,-2-1-23 0,0 2-53 0,0-1-39 15,0 0-53-15,0 1-78 0,0-2-163 0,-2 0-512 16,1 0 82-16,-1-1 87 0,2-3 97 16,0 0 41-16</inkml:trace>
  <inkml:trace contextRef="#ctx0" brushRef="#br1" timeOffset="153964.26">17046 6332 1371 0,'-2'2'407'0,"-1"4"-46"0,3 0-38 0,-3 1-39 0,3 3-77 16,0-3-25-16,3 4-21 0,-1 2-2 15,0 0-16-15,-1-1 16 0,4 0 28 16,-2 0 79-16,-1 1-25 0,0 0-11 0,1-1-5 0,-3-3-15 16,0 2-25-16,0-2-9 0,-3 1-45 0,1-1 43 15,-3 0-54-15,0 2-61 0,0-4-18 16,-1-1-41-16,-2 2-46 0,-2-2-77 15,4 0-28-15,-3 1-151 0,1-1-717 0,0-3 111 16,1 0 99-16,0-2 79 0,-1 3 57 16,2-2 61-16,2-2 75 0</inkml:trace>
  <inkml:trace contextRef="#ctx0" brushRef="#br1" timeOffset="156344">17971 6500 1028 0,'-1'2'397'16,"1"-2"-18"-16,-4 7-10 0,-1-4-24 0,2-1-61 16,3-2 3-16,-7 4-108 0,2-2 6 0,0-2-6 15,5 0-28 1,-13-3 5-16,5 0 26 0,3 2-24 0,-5-5 6 0,2 0-5 15,0-2 5-15,1-2 5 0,-1-4-34 0,2-1 19 0,2-1-29 16,-2-3-4-16,4-6-11 16,0-1 5-16,1-3-15 0,2 1-6 0,1-12-9 0,3 5-21 31,0 6 0-31,1 5 79 0,-2 5-33 0,-1 2-23 0,2 1 21 0,-2 4-29 16,2 4 18-16,-3 2-25 0,-1 1-11 0,1 4 21 15,-2 1-10-15,0 0-54 0,0 0 15 0,-5 18-7 16,-5-7-11-16,2 4-22 0,-5 3-27 15,-2 2-12-15,-3 5 5 0,0 0-38 0,0 1-24 16,2-6 29-16,1-2 0 16,0-2 36-16,5-3-16 0,-1 0 0 0,1-1 34 0,0-4-16 15,2-1 46-15,3 1 11 0,-1-1 2 0,-1-2 12 16,4 0 17-16,1-1-22 0,-3-3 37 16,5-1-1-16,0 0-2 0,0 0-41 0,0 0 8 15,0 0 8-15,0 0-16 0,23-6 5 16,-12 1-10-16,1-1-8 0,3 3-15 0,1-4-54 15,4 2-5-15,-2-1-54 0,3 0-20 16,-1 0-21-16,1-1-84 16,4 2-72-16,-1-4-207 0,1 5-494 0,-2-2 56 0,0 2 190 0,3-1 37 15,-3 1 45-15,-1-1 89 0,2 2 59 0</inkml:trace>
  <inkml:trace contextRef="#ctx0" brushRef="#br1" timeOffset="156756.24">18951 6102 1197 0,'-3'9'413'0,"0"1"-14"0,-1 6-18 0,0-1-48 0,0 6-44 0,0 2 0 0,0 3 14 16,-1 1-17-16,2 0-14 15,-1 10-37-15,1-6-43 0,0-5-36 0,1 2-56 0,1-1-28 16,-1-2-62-16,-1 1-56 0,1-6-26 16,4 2-94-16,1-3-118 0,-3-3-198 0,2-2-401 15,-2-2 113-15,1-3 61 0,1-2 56 0,1 0 82 16</inkml:trace>
  <inkml:trace contextRef="#ctx0" brushRef="#br1" timeOffset="157368.06">18899 6275 1274 0,'6'-16'382'0,"-1"6"2"0,0 0-8 0,0 4-59 15,4 0-51-15,-3 4 11 0,2-1-39 16,2 1 8-16,0 6-29 0,-1-2-15 0,3 5-40 16,0 1-4-16,-3 2 11 0,-1 2-51 0,-1 1 0 15,2 1 0-15,-5 2-29 0,-2-3-25 16,-2 1 8-16,0-1 10 0,-2 1-34 0,-1-2 1 16,0 2-16-16,-1-4 24 0,-2 2-11 0,-2-3-8 15,4 0 80-15,-4-3-52 0,3 1-35 16,-1-1 10-16,-1-1-51 0,0-3-31 0,1 1-10 15,1-2-34-15,5-1-7 0,0 0-18 0,-13-5-15 16,11 2 4-16,2-3 4 0,0-1 1 16,0-2 19-16,5-2 13 0,-2 1 2 0,1-4 20 15,2-1-4-15,2 2 7 0,-1 1 36 16,3-2-13-16,0 2-2 0,0 1 63 16,-2 3-38-16,4 1 18 0,-3 0 19 0,1 3 6 15,0-2 27-15,3 5-22 0,-5 1 19 0,5 1-13 16,-1 2 5-16,-1 1 3 15,-1 2-21-15,2-1 21 0,-3 3-11 0,1-2-25 16,-2 4 33-16,0-1-28 0,-2 0 23 0,0 0 7 16,-3-3-37-16,2 2 45 0,-1 1-30 0,-3-2-1 0,1 0 11 15,-2-2 0-15,3-2 41 0,-3 1 12 16,0-4-12-16,2 5 25 0,-2-5-17 16,0 0 22-16,0 0 1 0,0 0-3 0,0 0-16 15,5-16-30-15,-1 10 5 0,-2-2-7 16,3-3-1-16,0-2-2 0,0 0 17 0,3 0-2 15,2 0-33-15,0 0-18 0,-2 1 10 0,4 1-66 16,-3 2 0-16,1 0-16 0,0 2-72 16,0 0-17-16,0 2-16 15,0 4-48-15,-1-1-87 0,-1-3-170 0,1 7-544 0,0-2 91 16,-2 4 134-16,0-2 64 0,-1 3 105 0,1 1 27 16</inkml:trace>
  <inkml:trace contextRef="#ctx0" brushRef="#br1" timeOffset="157662.37">19458 6332 1044 0,'0'-7'438'0,"0"0"-8"0,0-3-26 15,0 3-58-15,0 1 4 0,0-1-119 0,-2 1 17 16,2 0-48-16,-2 4-26 0,1-3 18 0,1 5-41 15,-5-4-31-15,5 4 10 0,0 0-12 0,0 0 0 16,-13 10-18-16,8-7 10 0,4 3-23 0,-3 0-23 16,2 1 2-16,-1-2-7 0,0 4 13 15,1-2-13-15,2 0-26 0,0 0 0 16,0-2 26-16,2 1-41 0,1 0-15 0,0-3-8 16,-1 1 10-16,3 0-69 0,-2-1-13 0,2-1-7 15,2 0-16-15,2 1-36 0,1-3-74 16,0 0-69-16,0-3-107 0,2 0-482 0,1 2 15 15,1-3 111 1,0 1 136-16,-3-2 1 0</inkml:trace>
  <inkml:trace contextRef="#ctx0" brushRef="#br1" timeOffset="158234.97">19888 5993 1279 0,'-2'-5'507'16,"2"5"-128"-16,0 0-54 0,0 0 5 16,0 0-61-16,-7 12-5 0,6-4-42 0,-1 2 4 15,-3 2-40-15,5 1-9 0,-3 1-8 0,1 5-20 16,0-1-37-16,1 2-4 0,0 0 12 16,0-2-36-16,-2 1-25 0,3-3-2 15,0-1-1-15,-2 0-20 0,4-3 2 0,-4-2 1 0,4 0 9 16,-2-2-12-16,0 0 5 0,0-2-3 15,-2-1-4-15,2 0 4 0,-1-2-12 16,1-3 7-16,-7 3 5 0,7-3-25 0,-8 0-3 16,8 0 21-16,-10-3-16 0,10 3-2 0,-10-3 10 15,2 3-5-15,1 0 5 0,-1 1 3 16,0 2-13-16,-2 0 28 16,2 2-24-16,-2-1-19 0,0 1 28 0,-1 1-14 0,6 0 1 15,-3 1-18-15,2 0 18 0,0-2 7 0,4 2-7 16,-2-1-10-16,2-1 15 0,2 0-13 15,2-2-3-15,1 1 16 16,-3-4 13-16,9 1-8 0,0 0-28 0,1-2-8 0,4 0 26 16,0-5-8-16,2 2 0 0,2-3-13 0,3-2 19 15,-4 3-17-15,5-6-9 0,-2 1 18 16,0-2 12-16,-5 6 21 0,-2-3 28 16,0 1 8-16,-1 2 17 0,-3 1 101 0,-2 0-27 15,1 0-12-15,1 3-18 0,-1 1 16 0,-2 2-57 0,-6 0 10 16,7 2-12-16,-1 1-16 0,-1-1-20 15,-2 3 15-15,-1 1-33 0,0-1-41 0,1 0-59 16,-3 3 18-16,0-2-69 0,0 0-67 16,0-1-49-16,0 2-91 0,0-6-231 0,0 5-542 15,-1 0 66-15,1-4 145 0,0-2 109 0,0 5 107 16,0-5 18-16,0 0 74 16</inkml:trace>
  <inkml:trace contextRef="#ctx0" brushRef="#br1" timeOffset="158349.15">20074 6163 760 0,'0'-7'394'0,"-3"2"-38"16,3 4-59-16,0-4-85 0,0 5-92 15,-3-3-155-15,3 3-526 0,0 0-110 0,0 0 93 16</inkml:trace>
  <inkml:trace contextRef="#ctx0" brushRef="#br1" timeOffset="159011.7">20123 6169 1479 0,'-8'6'461'16,"0"1"-21"-16,0 0-36 0,3 0-43 0,0-1-5 0,0 2-49 0,0 2-35 0,2-4-14 0,1 2-38 15,-1 2-12-15,3-2-19 0,0 1-10 0,0-1-30 16,5-1-44-16,-2-1 20 0,2 1-125 0,0-1-8 15,3-1-12-15,0-3-3 0,2 1-3 16,0-2-30-16,2-1 5 0,2-4 10 0,-1 2-21 16,2-3-4-16,2-2 12 0,0 0 5 0,3-3 19 15,-2-2 2-15,-3 3-26 0,3-5 33 0,-3-2 9 16,-1 2-24 0,0-4 25-16,-1 0 47 0,0-1 0 0,-3-1 5 0,-2 1-3 15,-1-2 11-15,-1 2 28 0,-1 3 0 16,0-2 2-16,0 6 31 0,0 2-20 0,-2 0-6 15,-1 3-12-15,2 1 0 16,-3 3-1-16,-1 3-9 0,0 0-16 0,0 0 33 0,0 0 54 0,-5 16 13 16,3-6-56-16,0 1 4 15,2 5-1-15,0-2-17 0,-1 5-27 0,-1 1 0 0,4 1-44 16,-2-1-3 0,1-1-66-16,-1 1-46 0,0-1-8 0,-1-1-40 0,-1-2 27 0,2-1-10 15,-3-2 11-15,1-2-3 0,2-3 38 16,-3 0-12-16,1 0-6 0,-1-5 13 15,2 2 5-15,-3-4 19 0,4-1 4 0,-4 3 41 16,4-3-10-16,0 0 26 0,0 0 20 16,-9-9 5-16,6 6 11 0,1-1-14 0,2-3 9 0,0 2-19 15,0-2 21-15,2-1 28 0,4-1-15 0,-2 1-8 16,2-3 38-16,-1 2-32 16,3-1-14-16,2 2 34 0,-2 1-14 0,2-2 9 15,2 2 10-15,-2 2 12 0,-1 0-2 0,1 1 18 16,0-1-5-16,-2 4-11 0,2 1 29 15,1 0-18-15,-1 0 28 0,-2 1 0 0,2 4-5 16,0-3-26-16,-2 3 0 0,-1 1-20 16,1 0-18-16,-3 2 10 0,2-2 5 0,-1 5-23 15,-1-4-43-15,-2 2-44 0,-3-1-31 0,2-1-71 16,-2 2-21-16,0 0-94 16,-5-2-269-16,5 0-474 15,0-3 87-15,0-2 108 0,3 3 87 0,-3-5 64 0,0 0 66 16,0 0 144-16</inkml:trace>
  <inkml:trace contextRef="#ctx0" brushRef="#br1" timeOffset="159113.46">20643 6063 803 0,'0'0'105'0,"-3"-6"-192"16,3 6-471-16</inkml:trace>
  <inkml:trace contextRef="#ctx0" brushRef="#br1" timeOffset="159671.19">20825 6087 1274 0,'-5'8'438'15,"0"3"-44"-15,2-3-74 0,-2 3-15 0,3-4-26 16,-1 0-18-16,0 1-21 0,3 1-37 15,0-2 1-15,0-1-32 0,0 1-31 0,0-1 7 16,3-1-10-16,-3 0-20 0,3-2-13 0,-1 1-15 16,3-2-72-16,-5-2-26 0,5 0 18 15,-5 0 34-15,10-5-26 0,-7 2-8 16,0-3-3-16,-1 2 6 0,0-1-18 0,-1 0 13 16,-1-2 12-16,0 0-7 0,0-1 10 15,-1 2-15-15,-1-1 20 0,2 0-23 0,-2 1-7 16,-1 0-11-16,3 1 8 0,-3 0 2 0,3 2-10 15,-2-3-10-15,2 6 3 0,-2-6-16 16,2 3 13-16,0 3 2 0,4-4-9 16,-4 4 7-16,6-1 2 0,-6 1 21 0,7 0-23 0,-7 0 21 15,11 2-4 1,-6-1 14-16,0 4 0 0,0 0-3 0,0-2-13 0,0 3 3 16,1-1-8-16,1 1 13 0,-4 1-23 0,2-3 31 15,0 0-5-15,-2 1-1 16,1 1 3-16,0-2 28 0,-2-2-4 0,3 2 37 0,-3-3-10 0,-2-1 42 15,3 7 12-15,-1-6 5 0,-2-1-5 16,6 0 13-16,-6 0 10 0,0 0-20 0,10 0 79 16,-10 0 41-16,8-3-52 0,-4 0-27 15,-1 1-3-15,3 1-21 0,-4-2-9 0,-2 3-27 16,10-2 9-16,-5 2-1 0,-2-3-28 0,-3 3-48 16,10-2 0-1,-5 2-65-15,1 0-58 0,-6 0-64 0,10 0-49 0,-10 0-59 0,8 0-84 16,-1-3-162-16,0 1-501 0,1 1 56 15,2 0 108-15,1-5 112 0,1 2 26 0,2 0 105 16,-1-2 69-16</inkml:trace>
  <inkml:trace contextRef="#ctx0" brushRef="#br1" timeOffset="159865.71">21209 6027 1167 0,'0'0'437'0,"-2"-7"-45"16,1 6-34-16,1 1-58 0,0 0-16 0,0 0-31 15,0 0-32-15,0 0-12 0,-12 6-11 16,12 1-32-16,0-2 3 0,2 3 20 0,-1 3 24 15,6 3-65-15,1-1 6 0,0 0-6 16,2 3 3-16,0-2-5 0,-2-1-2 0,0 2-9 16,0-3-35-16,-4 0 10 0,-1-1-46 15,-2 1-18-15,-2-3-59 0,-4 1-53 0,2 0-88 0,-4-2-53 16,-2-2-351-16,2 2-412 0,-3-2 53 16,2-1 129-16,-1-1 97 0,-2-1 82 0,-2 1 48 15</inkml:trace>
  <inkml:trace contextRef="#ctx0" brushRef="#br1" timeOffset="163309.1">760 8631 716 0,'0'0'364'0,"0"0"-9"0,-7 0-96 0,7 0 0 0,0 0-24 0,-6-1-5 16,6 1 16-16,0 0 48 0,-10-4-17 0,10 4-3 15,0 0-31-15,-5 0 18 16,5 0-61-16,0 0-8 0,0 0-39 0,0 0 3 16,0 0-2-16,0 0-29 0,0 0 3 0,0 0-5 15,15-3 8-15,-15 3-29 0,10 2-12 16,-4-1-8 0,-2 2 15-16,2-2-7 0,-4 0 12 0,-2-1-43 0,6 6-57 0,-4-3 4 15,-1 1 1-15,0 2-14 0,-2-2 14 0,1-4-9 16,-1 9 32-16,-1-8-4 0,-1 4-11 0,2-1-20 15,0-1 5-15,1-3-13 0,-1 6 3 0,1-2-31 16,0-4 41-16,0 5-10 16,0-5 20-16,2 7-5 0,-1-4 6 0,2 2-17 15,-1 0 1-15,-1-2 18 0,1 2-3 0,0 1-25 0,-2 0 25 16,0-1 21-16,0 2-28 16,-3-1 4-16,1 1-4 0,0-1-39 0,-3 0 10 15,0 2-38-15,-1-3-18 0,-2 2-48 16,1-1-39-16,-1 0-10 0,-2 1-113 15,2-1-153-15,-2-3-62 0,2 0-407 0,-2-1 87 0,2-2 62 16,1-2 79-16,-3 2 64 0</inkml:trace>
  <inkml:trace contextRef="#ctx0" brushRef="#br1" timeOffset="163511.21">801 8376 1016 0,'21'17'563'0,"-1"1"3"0,3 7-19 0,-3 2-76 0,1 4-120 0,-3 1-29 16,0 0-9-16,-5 4 40 0,-3 1-28 15,-4 1-8-15,-6-2-73 0,-3 3-55 0,-3 5-61 16,-4 0-61-16,-7 6-78 16,-2 0-37-16,-4-2-75 0,1-1-172 0,-6-2-237 15,4-3-382-15,3-7 34 0,-1-4 68 0,-1-1 78 0,-1-3 71 16,-1-3 74-16</inkml:trace>
  <inkml:trace contextRef="#ctx0" brushRef="#br1" timeOffset="172587.13">1188 8554 1046 0,'-5'-3'418'0,"5"3"-40"0,0 0-55 0,0 0-8 15,0 0-57-15,0 0-17 0,0 0-6 16,0 0-37-16,0 0-17 0,20 5-25 0,-9-5 1 16,1 0-17-16,4 0-22 0,-1 0-21 0,1 0-33 15,2 0-30-15,-3 0-34 16,3 0-26-16,2-5-17 15,-1 5-24-15,-1-2-51 0,-3-2 6 0,1 2-6 0,-2 0-23 16,-1-1 46-16,-2 2 8 0,-4-4-5 0,1 4 21 16,-3-4 27-16,0 5 11 0,-2-2 33 0,-3 2 5 15,3-3 3-15,-3 3 30 0,0 0 13 16,0 0-10-16,0 0 33 0,-8 9-22 0,2-3 17 16,2 1-8-16,-2 1 13 0,1 2-20 15,-3-2-16-15,3 5 3 0,-5-1-5 0,0 1-3 16,0 6 14-16,2-6-27 15,-5 5 1-15,0 1 14 0,0-3-42 0,1 2 27 0,-3-3 6 16,2 1-16-16,2-6 13 0,1 2 18 16,2-5 18-16,-2-1 20 0,2 1 13 0,-2-1-5 15,5-1 26-15,-3-4 25 0,0 2 31 16,0-1-8-16,4-2 1 0,-2 2-1 0,-1 1-41 0,7-3 18 16,-8 2-15-16,5-2 23 15,3 0-48-15,0 0-29 0,0 0-5 0,0 0-3 0,0 0-5 16,14 4 6-16,-7-5-52 15,3 0-51-15,6-1-33 0,-1 2-59 0,1-1-44 0,4-3-35 16,0 2-88-16,1-3-143 0,-5 4-46 0,5-5-478 16,1 0 107-1,-2 0 66-15,-2 3 70 16,0-3 76-16</inkml:trace>
  <inkml:trace contextRef="#ctx0" brushRef="#br1" timeOffset="172804.2">1745 8507 1182 0,'0'0'466'0,"0"0"-77"0,0 0-54 15,0 0-15-15,-3 12-48 16,0-4-16-16,3 2 12 0,0-1-53 0,0 1-43 0,0 3 10 16,0-1-19-16,0 1-42 0,0 0-32 0,0 2-71 15,0-1-61-15,-2 0-37 0,0-1-78 0,1 2-126 16,-4 2-47-16,-2-5-152 0,4 0-280 15,-2 1 10-15,-1-1 129 0,-1-3 50 0</inkml:trace>
  <inkml:trace contextRef="#ctx0" brushRef="#br1" timeOffset="172971.81">1557 8781 965 0,'-10'-5'412'0,"2"-2"13"0,3 4-21 0,0 0-89 16,2 1-29-16,3 2-17 0,-4-4-23 0,1 2-21 15,3 2-25-15,0 0 2 0,3-6-7 0,-3 6-19 16,12-5-45-16,-4 5 17 0,2-1-25 15,0-3-36-15,3 3-7 0,3-2-29 16,-1 0-33-16,1 2-36 0,-1-1-23 0,1-2-33 16,4 1-39-16,-2-1-51 0,2 1-82 0,-2 0-163 15,-2-2-459-15,-1 4 59 0,0-1 67 16,1-1 71-16,-4 1 67 0</inkml:trace>
  <inkml:trace contextRef="#ctx0" brushRef="#br1" timeOffset="173283.87">2322 8613 988 0,'2'7'373'16,"-2"-3"-35"-16,2 2-54 0,-2 1 0 15,3 0-30-15,0 3-37 0,-3-1-40 0,2 1-29 16,-1-1-45-16,-1 0-8 0,2 0-78 0,-3-1-86 16,1 2-151-16,0-3-64 0,-1 0-491 15,1-1 124-15,-1 0 37 0,-1-1 30 16</inkml:trace>
  <inkml:trace contextRef="#ctx0" brushRef="#br1" timeOffset="173386.96">2312 8519 440 0,'4'-2'38'0,"-4"2"-117"0</inkml:trace>
  <inkml:trace contextRef="#ctx0" brushRef="#br1" timeOffset="173689.05">2524 8563 1267 0,'-5'6'348'15,"2"0"-46"-15,1-1-18 16,-1 3-28-16,3-2 5 0,0 1-54 16,0-1 1-16,3 5-27 0,-3-3-25 0,5 4 1 0,-5-3-19 15,3 1 3-15,1-1 56 0,-4-1 2 0,1 0 19 16,1 2-44-16,1-2-18 0,-3-2 3 0,0 1-21 16,-3-1-23-16,1 2-5 0,-1-1-10 0,0 1-21 15,-4 1-43-15,1-3-28 0,-1 0-57 16,-1 1-56-16,0-1-102 0,0 0-185 0,1 0-614 15,0-1 141-15,1-1 67 0,-1-1 55 0,0-1 62 16,3 1 80-16</inkml:trace>
  <inkml:trace contextRef="#ctx0" brushRef="#br1" timeOffset="174864.83">3198 8487 975 0,'0'0'386'0,"-2"10"-48"0,2-5-15 0,2 3-32 16,-2 1-37-16,0 1-8 0,0 2-47 0,0-2-22 15,0 4 5-15,3 0-49 16,-3-1 5-16,2 0-5 0,-1-2-25 0,3 2 43 0,-1-3-59 16,0 1-15-16,-1-2-1 0,1 0-7 0,2-1 29 15,-2-2-6-15,2 0-100 0,-1-3 52 16,2 1 4-16,-3-2-7 0,4-1 41 16,-7-1-5-16,8 0 15 0,-8 0 21 0,10-3 10 15,-3-3-21-15,-3 3 16 0,-2-3 7 16,2 0-20-16,2 0-20 0,-5-3-1 31,1 0 8-31,3 2-12 0,-3-3-6 0,-1 2-18 0,1-4 11 0,0 4-24 0,1-3-20 16,-2 5-5-16,1-3-28 0,0 2-31 15,-2 2-72-15,0-1-45 0,3 1 7 0,0 0-64 0,-1 3-52 0,1-2-114 16,4-2-90-16,-2 5-453 0,6 1 92 16,-4-1 131-16,3 0 22 15,4 0 78-15,-2-2 45 0</inkml:trace>
  <inkml:trace contextRef="#ctx0" brushRef="#br1" timeOffset="175153.95">3581 8451 885 0,'-8'0'474'0,"8"0"-65"0,0 0-30 0,-10 4-36 0,7-2-46 16,0 3-5-16,1-1-44 0,2 3-12 0,0 0-21 15,2 2-16-15,-2 1-14 0,3-1-14 0,-1 2-22 16,1 2-6-16,-1 0-43 0,1-2 0 15,0-2 12-15,-1 1 14 0,0 0-78 0,-2-1 3 16,0 1 3-16,0-1-13 0,-4 0 3 16,1-1 25-16,-2-1-21 0,0 0 6 15,-3-1-23-15,1 1 33 0,-2-3-26 0,0-1 19 16,0 2-45-16,2-1-7 0,-3-1-35 0,0-3-14 16,0 2-27-16,-1-1-24 0,4-2-33 15,1 2-56-15,6-1-70 0,-13-1-107 0,11-3-59 16,2 4-450-1,0 0 43-15,0 0 108 0,0 0 66 0,0 0 52 0</inkml:trace>
  <inkml:trace contextRef="#ctx0" brushRef="#br1" timeOffset="175451.68">3732 8603 1354 0,'7'-9'373'0,"-2"1"1"0,-2-1-11 0,2 2-17 0,-3 2 43 15,1 0-2-15,-3 0-55 0,3 0-50 16,-3 0 23-16,0-2-24 0,0 1-43 0,0 6 0 16,0-6-23-16,-3 4-43 0,3 2-11 0,-4-1-20 15,4 1-8-15,0 0-20 16,-11 4-21-16,6 1 7 0,2 1 12 0,-4-1-14 0,4 2-13 16,0-1-22-16,0 1-21 0,1 0 28 0,0 2-18 15,-1-2 21-15,3 1-52 0,0-1-28 16,1-1-22-16,1 0-39 0,0 1-59 0,3-3-31 15,0 2-23-15,1-3-51 0,-2 0-51 16,5 0-138-16,0-4-108 0,2 1-476 16,1 0 108-16,-1-2 104 0,4-3 82 0,0 0 57 15,3-1 74 1</inkml:trace>
  <inkml:trace contextRef="#ctx0" brushRef="#br1" timeOffset="175785.07">4119 8382 1005 0,'3'-2'405'0,"-3"2"-19"0,0 0-7 0,0 0-13 0,0 0-66 0,-4 13-34 16,2-5 5-16,0 1-30 0,-1 1-21 16,0 2-46-16,-1 2 10 0,3 0-38 15,-1 0-23-15,-1-1-28 0,0 0-23 0,1 0-39 16,2 0 15-16,-2-2-7 0,2-3 39 16,-4 3-52-16,2-4 18 0,0-1-3 0,-1 0 29 15,-2 1 23-15,0-4-31 0,2 1 38 0,-2 0-61 16,-2-3 10-16,1 4 54 0,-1-3 5 15,-1 1 6-15,1 0 73 0,2 1-15 0,-1-2-23 16,-2 2-2-16,3 1-1 0,0-2-28 16,1 1 3-16,1-2 18 0,-2 2-44 0,2 0-25 15,0 0-8-15,0-2 31 16,3 3-26-16,0-5-26 0,-2 2-4 0,2-2-57 0,2 5-51 16,1-3-31-16,-3-2-46 0,11 2-38 15,-6-2-39-15,3 0-20 0,0 0-23 0,2-1-116 16,2 0-104-16,1-1-515 0,2 2 33 0,0-3 152 15,1-1 112-15,-1-1 49 0,3 2 28 16</inkml:trace>
  <inkml:trace contextRef="#ctx0" brushRef="#br1" timeOffset="176101.37">4665 8242 1159 0,'-2'7'402'0,"1"0"-26"0,-1 4-35 16,2 1-34-16,-3 1-10 0,3 2-11 0,0 4-68 0,-2 2-3 15,4 0-8-15,-2-1-43 0,0 2-26 16,3-1-5-16,-3-1-38 0,2 0-69 16,-2 2-19-16,0-5-55 0,0 2-65 0,-2-3-76 15,2 1-124-15,-3-4-9 0,3 0-479 16,-2-2 15-16,0-3 120 0,1 3 98 0,-2-3 46 16</inkml:trace>
  <inkml:trace contextRef="#ctx0" brushRef="#br1" timeOffset="176585.41">4503 8541 993 0,'0'0'358'0,"0"0"-48"0,3-3-36 16,-3 3-11-16,7-2-35 0,-1 2 20 0,4-1-63 15,0-2-24-15,4 3-15 16,0-2-13-16,2-2-23 0,2 2 31 0,0-3-52 0,2 0-12 16,-2 2-5-16,2-1-3 0,-4-3-5 0,-1 4 0 15,-2-2 8-15,0 1-1 0,-3-1 19 16,0 2 38-16,-2-1-26 0,0 1 24 0,-3 0-37 16,-2-1 6-16,2 1-3 0,-2 3-10 0,-3 0-21 15,0 0 6-15,0 0-3 0,0 0-20 0,5 7-1 16,-5-2 11-16,0 0-13 15,0 1-11-15,0 1-14 0,0-1 32 0,2 1-9 16,0 0-21-16,1-1 12 0,0 1-24 0,0-1 24 16,1 0-25-16,1 1 3 0,1-3-3 15,1-2 23-15,1 3-30 0,0-5 30 0,-1 1 8 16,1-1 28-16,2-1-41 0,-2 1 23 16,0-5 0-16,-3 4 38 0,2-4-27 0,-1 1 27 15,-3-1-20-15,1 0-18 0,-4-2-12 0,0 2-1 16,0-3 13-16,-4 2-51 0,1-2-16 15,-3 1-17-15,-3 0-31 0,1 0-46 16,0 2-67 0,0 0-46-16,-1 2-166 0,0 2-213 0,-1 0-294 0,2 0 16 0,0 2 114 0,1 0 131 15,0 0 16 1,4 2 58-16</inkml:trace>
  <inkml:trace contextRef="#ctx0" brushRef="#br1" timeOffset="178095.53">5803 8144 1215 0,'0'0'341'0,"0"0"-24"0,0 0-25 0,-2 13-10 0,-1-6 35 16,1 5-18-16,1 1-35 15,1 3-31-15,-2 0-8 0,2 4-17 0,-2 1-42 16,2-1 8-16,-4 2-54 0,2 4-27 0,0-4-14 16,-1 0-54-16,3-3 9 0,0-2-4 15,-2-2-37-15,2-2-14 0,2 0 21 0,-2-1-13 16,0-2 24-16,0-2-19 0,3-1 13 16,-3-1 23-1,2-2-10-15,0-2 8 0,-2-2 10 0,1 4-13 0,-1-4 10 0,0 0 0 16,0 0 16-16,0 0-8 15,-3-18 7-15,1 12-4 0,-3-4 0 0,2 3-11 0,-2-1-5 0,-2-1 18 16,1 1-2-16,-2 1-6 16,1 0 5-16,-1 2-17 0,0-1 33 0,0 4-23 0,1-2-21 15,-3 3 39-15,2 1-11 0,0 1-17 16,0 2-6-16,1 0-9 0,-3 3 14 31,4-2-4-31,-2 0 9 0,1 1 32 0,2 2-42 0,0 0 1 16,2-1 4-16,-2 2-19 0,2-2 9 0,1 1-18 0,0 0 9 0,1-1-9 15,1 0 6-15,1-1-9 0,1-2 6 0,0 3-18 0,2-2-38 16,0-1-23-16,2 0-3 0,-2-2-67 16,4 0-27-16,-3 0-65 15,6-1-143-15,-4-1-130 0,3 1-410 0,1 0 130 0,2-2 24 0,0-1 84 16,2 3 74-16</inkml:trace>
  <inkml:trace contextRef="#ctx0" brushRef="#br1" timeOffset="178437.03">5965 8422 1302 0,'0'-4'448'0,"0"-1"-43"0,-2 0-37 0,1 2-35 0,1-2-90 0,-5 0-41 0,3 2 39 16,1-1-51-16,1 4-9 0,-8-2-12 0,8 2-28 15,-10 1-26-15,10-1 8 0,-12 5-3 16,6-2-22-16,-1 3-11 0,1-1-31 16,2 2 3-16,-2 0 20 0,2 4-15 0,0-4-23 0,0 1 3 15,4 1 30-15,-5-1-61 0,4 0 20 16,1 1-7-16,0-2-1 0,0 0-30 16,1-1 2-16,1 1-14 0,3-1 1 0,-2-2-27 15,4 0-29-15,1 1-5 0,0-4-10 0,-1 2-38 16,4-2 2-16,-1-1-23 0,0-1-26 0,3 0-48 15,0-2-61-15,-1 1-47 16,4-3 6-16,-3 3-93 0,-1-2-7 0,4-2-262 16,-3 3 21-16,3-6 77 0</inkml:trace>
  <inkml:trace contextRef="#ctx0" brushRef="#br1" timeOffset="178768.45">6203 8376 975 0,'-5'-5'322'16,"2"3"-30"-16,-1 1-31 0,-2-1 49 15,1 0 0-15,-2 1-42 0,7 1-35 0,-11 0 13 16,3 0-41-16,8 0-21 0,-8 5-12 0,4-4-24 16,-2 6-7-16,4-3 2 0,-3 2-20 15,4 1-3-15,-1 1-20 16,2-1 3-16,0 3 32 0,0-3-14 0,0 4 9 0,2-1-30 16,-1 0 28-16,2-2-36 0,-3 3 26 15,2-5-75-15,-2 5 39 0,0-5-15 0,2 1 22 0,-4 1-7 16,2-3-2-16,-2 1 14 0,-2 0-17 15,2 0-10-15,-2-3 2 0,-2 3-33 0,1-2 30 16,-2-2-33-16,1 2-27 0,1-3-32 0,-1 0 5 16,-1 0-37-16,0-1-11 15,1 2-49-15,6-2-31 0,-10 0-45 0,10 0-34 0,-8-2-105 16,8 2-69-16,-7-2-94 16,7 2-423-16,0 0 74 0,0 0 136 0,0 0 85 15,0 0 7-15,18-5 74 0</inkml:trace>
  <inkml:trace contextRef="#ctx0" brushRef="#br1" timeOffset="179775.23">5977 8405 965 0,'6'3'286'0,"-6"-3"-2"0,0 7-25 0,0-7-21 16,-6 9-33-16,4-3-21 0,-3 0-10 16,2 2-10-16,-2-1-21 0,-3 2-10 15,3-1 31-15,-2 0-36 0,-1 2-46 0,0-2-118 16,0 2-202-16,1-1-553 0,2-1 87 15,0 1 80-15,0-1 48 0</inkml:trace>
  <inkml:trace contextRef="#ctx0" brushRef="#br1" timeOffset="180697.93">6391 8320 1046 0,'0'0'400'0,"0"0"-29"0,-11 5-33 15,8-1-18-15,-4 0-34 0,2 3-9 0,-3 1-19 16,5 1-17-16,-4 1-54 0,2 0 20 15,0 1-25-15,2 2-18 0,-3-1-18 0,4 0-11 16,0 1-12-16,0-2-3 0,1 0-38 0,1-1 26 16,0-1-29-16,0-1-2 0,3-1 0 15,-3 1-52-15,2-3 4 0,0 1-42 0,2 0-10 16,-2-1-39-16,1-2-25 0,2 1-48 0,-1-3-34 16,2 2-64-16,-6-3-31 31,10 1-25-31,-10-1-52 0,10-4 24 0,-5 2-59 0,1-2 86 0,-2 2 70 0,0-3 41 15,0-1 59-15,-1-1 7 0,2 0 62 0,-3-2 46 0,1 0-10 16,0 1 79-16,-1-2 7 0,1 1 47 16,-1-1 20-16,4 4-5 0,-6-2 13 0,4 1-2 15,0 2 22 1,-2 0-30-16,0 2 4 0,1 0-9 0,-3 3-16 0,7 0 3 0,-7 0-18 16,8 7-18-16,-5-2 2 0,-1 1-12 0,4 1-8 15,-4 4 5-15,1-3-18 16,0 4 31-1,-1-4-44-15,0 2 21 0,1 1-5 0,0-3-13 0,-1 0-3 0,-2 2-4 0,2-4 17 0,-2-1 43 16,1 1 22-16,-1-3-75 0,2 2 18 16,-2-2 12-16,0-3-9 15,0 0 4-15,-2 5 29 0,2-5-29 0,0 0 111 16,0 0-54-16,0 0 36 0,2-13-31 0,1 7 5 16,-3 0-28-16,2-1-11 0,-2 1 22 0,1-3-60 15,1 0 0-15,1 2-33 0,0 0-13 0,-1 0-61 16,0-1-8-1,1 3-56-15,0-4-13 0,-1 3-20 0,3 1-60 16,-2-3-81-16,1 5-87 0,2-5-90 0,2 4-461 0,-3-1 57 16,2 0 115-16,1 2 64 0,0 2 77 15,-1-2 89-15</inkml:trace>
  <inkml:trace contextRef="#ctx0" brushRef="#br1" timeOffset="180862.23">6634 8395 537 0,'2'3'279'16,"-1"0"0"-16,1 1-5 0,1 2 25 15,-1-2-35-15,-2 3 10 0,0 0-49 0,0 0 72 0,0 1-28 16,0-1-36-16,2 2 7 15,-2-1-42-15,0 0-24 0,0-1-5 0,-2 2-39 16,2-2-30-16,-2 1-51 0,-1-2-32 0,3 0-55 16,0 1-90-16,0-1-123 15,-2-2-606-15,1-1 63 0,1-3 85 0,0 6 67 16,0-6 84-16</inkml:trace>
  <inkml:trace contextRef="#ctx0" brushRef="#br1" timeOffset="181357.18">6737 8089 1246 0,'0'0'445'0,"0"0"-7"0,0 0-59 16,5 17-21-16,-5-8-132 0,2 1-6 0,-2 3 10 15,2 3-40-15,-2 4-34 0,0-1-5 0,1 1-13 16,-1-1-13-16,2 4-4 0,-4-3-9 16,2 4-9-16,0-3-19 0,-1 1-7 0,1-3-8 15,1 1-13-15,-1-5-10 0,0 0-35 16,0-2 53-16,0-2-23 0,2-2 30 0,-4 1-12 15,4-1 51-15,-2-4 0 16,0 1 16-16,3-4-19 0,-1 1 11 0,-2-3-13 0,0 0 15 16,0 0-17-16,16-8-16 0,-9 4 66 0,3-2-9 15,-1 0-27-15,0 0-19 0,2-1 14 0,1 0-9 16,-1 3-29-16,-3-2 18 0,2 3 0 31,0 0 3-31,-2 3-31 0,2-1 18 16,-5 2-44-16,1-1 6 0,-1 1 12 0,-1 2 8 0,-4-3-8 0,6 7-17 0,-6-4-14 15,-3 2-4-15,0 1 20 0,1 1-18 0,-5-1-46 16,-1 0-41-16,0 2-13 0,3-3-26 0,-5 1-55 16,4 0 4-16,-1 0-40 15,-1-3-24-15,0 0-38 0,1 3-64 0,2-4-123 0,-3 3-168 16,3-2-380-16,2 0 54 0,0-3 136 0,3 0 66 16,-4 5 62-16,4-5 82 0</inkml:trace>
  <inkml:trace contextRef="#ctx0" brushRef="#br1" timeOffset="181711.34">6970 8488 1151 0,'7'-6'397'0,"-1"0"-105"15,-2 1 2-15,4-2 8 16,-2 3-28-16,-1-5 56 0,2 2 1 0,-4 1-32 0,-1-1-20 15,1-2 5-15,0 1-41 0,-1 0-17 0,-2 2-6 16,0-1-28-16,0 2-18 0,0 2-8 0,-2-1-43 16,2 4 8-16,-6-2-34 0,6 2 8 15,0 0 7-15,-10 8-19 0,7-3-14 0,-1-1-7 16,0 4-6-16,2-1-30 0,-3 1 23 16,3-2-10-16,1 1-6 0,-1 2-20 0,2-1-15 15,-2-2-13-15,2 0-34 0,0-1-27 0,0-1-3 16,2 1-13-16,-2 0-44 15,2-4-4 1,-1 3-90-16,-1-4-100 0,0 0-149 0,5 0-509 0,-5 0 65 0,0 0 129 0,0 0 60 0,0 0 64 16,0 0 78-16</inkml:trace>
  <inkml:trace contextRef="#ctx0" brushRef="#br1" timeOffset="181846.05">6670 8236 883 0,'-3'-4'97'16,"3"4"-107"-16,0 0-569 0</inkml:trace>
  <inkml:trace contextRef="#ctx0" brushRef="#br1" timeOffset="183666.54">7842 8301 1328 0,'-3'-3'343'0,"3"-2"-15"0,-3 0-11 0,-2 0 46 16,0 3-30-16,0-4-36 0,-3 3-10 0,3 0-31 0,0 3-13 16,5 0-31-16,-15 3 3 0,4 0-53 15,1 4 22-15,0-1-46 16,0 2-17-16,-1 2 12 0,1 0-41 0,0 0-18 0,2 2 5 16,1-2-2-16,1-1 5 0,-1 2-10 0,6-3-26 15,-3 1 28-15,4-2-33 0,0 0-8 16,2-2-5-16,0-2 3 0,1 1 18 15,4-4-24-15,-1 1 50 0,4-3-55 0,1-2 62 16,-1-1-28-16,2 2-24 0,-1-3 65 16,2 1-28-16,-3-2 20 0,0 1 23 0,1 1-3 15,-4 0 21-15,1 2-18 0,0-1-40 0,-1 2 6 16,-2-1 4-16,1 1-55 0,-6 2 6 16,10 0 5-16,-5 4-34 0,0-1-37 0,0-2-60 15,0 4-23-15,-2-1-56 0,2 0-54 0,2 1-71 16,-1 1-180-16,-1 0-599 0,5-2 98 0,0-1 87 15,3 2 125 1,0-4 66-16,0 3 65 0,3-3 51 0</inkml:trace>
  <inkml:trace contextRef="#ctx0" brushRef="#br1" timeOffset="183995.26">8485 8170 1082 0,'-5'0'400'0,"-2"0"19"0,7 0-32 0,-11 0-21 0,11 0-44 0,-10 1-55 15,5 3-1-15,2-3-18 0,-2 4-43 16,5 2-16-16,-3-1-22 0,1 4 17 0,2-1-53 0,2-1 9 16,-2 3 11-16,3-1-12 0,0 3-27 15,-1-1-9 1,0-2 2-16,-1 1 15 0,1 2 23 0,1-3 6 0,-3-1-24 0,0 1 21 15,-3-2-26-15,3 2-7 0,-2-1-16 0,-1-2-10 16,-2 3 8-16,-2-3 5 0,-1 0-16 0,0 1-25 16,0 0-3-1,-3-2-68-15,2-2-6 0,1 1-34 0,0-1-42 0,0-2-57 0,0 2-44 16,1-2-97-16,2-1-240 0,-3-1-461 16,8 0-11-16,-5-3 216 0,2-1 33 0,3-1 77 15,3-2 63-15,2-1 52 0</inkml:trace>
  <inkml:trace contextRef="#ctx0" brushRef="#br1" timeOffset="184166.68">8538 8232 1254 0,'4'6'412'0,"-2"-1"-110"16,0 1-18-16,-1 0-15 0,4 1-16 0,-3 0-35 16,-2 3-11-16,2-1-41 0,-1-1-30 15,-1 2-44-15,2-2-28 0,-2 2-66 0,0-1-119 16,0 2-168-16,-2-5-509 0,1 2 48 0,-1 1 102 15,0-2 52-15</inkml:trace>
  <inkml:trace contextRef="#ctx0" brushRef="#br1" timeOffset="184326.52">8575 8154 1167 0,'-2'-3'335'0,"2"3"-28"0,-1-5-74 0,1 5-82 0,0 0-174 0,0 0-315 16,0 0-335-16,0 0 36 16</inkml:trace>
  <inkml:trace contextRef="#ctx0" brushRef="#br1" timeOffset="184783.05">8895 7982 1476 0,'0'0'494'0,"0"0"-53"16,0 0-11-16,0 0-41 0,6 14-28 15,-6-5-44-15,0 0-40 0,0 3 12 0,-3 5-23 0,2 1-64 16,1-3-12-16,-2 4-21 0,-3 1-49 16,5 4-46-16,-5 1-46 0,0-1-15 15,2 1-49-15,-2 0-28 0,0-1-71 0,0 0-78 16,-1-3-191-16,2 2-377 0,-2-4-133 15,-1-2 131-15,2-2 56 0,2-1 102 0,-4-4 78 16</inkml:trace>
  <inkml:trace contextRef="#ctx0" brushRef="#br1" timeOffset="185300.75">8646 8313 1177 0,'0'0'443'0,"-2"-2"-18"0,2 2-77 0,0 0 33 16,3-6-92-16,2 3-40 0,-5 3-19 15,12-1-12-15,-4-2-24 16,0-1-9-16,5 1-19 0,2 0-79 0,0-3-31 0,0 1 13 0,3 0 0 16,-1 1-20-16,0-4 7 0,-2 2 95 15,3 0 21-15,-5-3-36 0,3 2 38 16,-4 1 5-16,-1 1-8 0,1 0 14 0,-4 0-16 15,0 1-44-15,-3 1-23 0,3-1 14 16,-3 1-11-16,-2 0-34 0,1 3 9 0,0-2 9 16,-4 2-10-16,0 0 3 0,0 0-20 0,10 6-16 0,-8-4 5 15,0 4-5-15,-2-1-7 0,1 0-22 16,1 0 1-16,1 1-12 0,-3-1-14 16,2 1 16-16,3 1-3 0,-2-3-31 0,2 1 29 15,0-3-9-15,0 0 12 16,3 1-17-1,0-3-1-15,0-1 4 0,-1-1 16 0,3 0-16 0,0 1-10 0,0-4 5 0,1 0 26 16,-1-1 0-16,0 3 25 0,-2-3-15 16,0 2 18-16,0-3 21 0,-1 2-4 0,-2 2-40 0,1-1 54 15,-1 2-44-15,-3-3-12 0,3 5-11 0,-5 0 15 16,8-1-15-16,-8 1 11 0,8 1-14 16,-3 4-53-16,-3-3 10 0,4 4-51 0,-4 0-34 15,0 1-50-15,-1-1-3 0,1 3-49 16,-2 0-64-16,3-3-118 0,0 2-173 0,-1-2 35 15,3 1-442-15,0 2 99 16,3-3 72-16,2 0 110 0,0-3 53 0,-1 0 62 0</inkml:trace>
  <inkml:trace contextRef="#ctx0" brushRef="#br1" timeOffset="186977.08">9497 8207 550 0,'0'0'171'0,"3"-3"24"15,-3 3-8-15,0 0-3 0,0 0-28 0,0 0 8 16,0 0 10-16,0 0-25 0,0 0 12 15,0 0-13-15,-3-6 16 0,3 6-21 0,0 0 11 16,0 0-6-16,0 0 1 0,-2-4 10 16,2 4-24-16,-5-2 6 0,5 2 10 0,-3-3-31 15,3 3 3-15,-5-2-2 0,5 2-24 0,-7-2 5 16,7 2 11-16,-8-3-8 0,8 3-26 16,-8 0-17-16,8 0 14 0,-10-1 1 0,3 1-8 15,7 0-7-15,-14 1-75 0,9 0-2 16,-3 1-11-16,-1 0-12 0,1-1 25 15,0 1-13-15,1 1 11 0,1-2-6 0,-2 4 16 16,3-4-8-16,-2 5 3 0,4-4 15 16,-2 1-15-16,0 0 13 0,3 1-14 0,-4-1 22 0,4 0-9 15,-1-1-7-15,3-2-15 0,0 4 17 0,0-4-5 16,0 0 21-16,0 0-10 16,5 5-16-16,-5-5 3 0,8-3-1 0,-8 3 17 15,0 0 6-15,15-1-32 0,-10-1 38 0,0-1-5 16,1 3 12-16,-1-3-45 0,0-1 7 15,0 4 21 1,0-2-1-16,-5 2-12 0,10-4 15 0,-7 4 26 0,-3 0-23 0,8 0-10 0,-8 0 9 16,10 0-4-16,-10 0-8 15,8 4-3-15,-4-2 11 0,0-2 28 0,0 4-26 16,2-3-12-16,-2 1-14 0,2 1 19 0,-1-2-19 16,1 1 24-16,1-2-16 0,-2 0 21 15,-5 0-23-15,15-2-5 0,-7-1 30 0,2 2 6 16,0-6 22-16,0 2 44 0,1-1 41 15,-3-2 21-15,2 2 22 0,0-2-20 0,0-2 44 16,0 1-103-16,-2-2 13 0,2-1 10 0,-2 0 3 16,0-1-11-16,0 0-2 0,-1-1-10 15,1 1 23-15,-3-2 4 0,3 5 1 0,-3 0-10 0,0 2-8 16,-2 1-64-16,0-1 64 0,-1 4-54 16,0 0 23-16,1 4 16 0,-3 0-31 0,0 0 17 15,0 0-24-15,3 11-19 0,-3-5-5 16,-3 2 3-16,3 3-42 0,-3 1 1 0,1 1-46 15,0 1-36-15,-1-1-29 0,3 5-9 0,0-5-31 16,0 1 5-16,0 0-44 0,0-4 8 16,2 1-26-16,-2 1-40 0,0-5-29 0,0 1-53 15,1 1-60-15,-1-7-104 0,2 5-422 16,-2-3 37-16,0-2 106 16,2 2 133-16,-2-4 43 0,3 2 39 0</inkml:trace>
  <inkml:trace contextRef="#ctx0" brushRef="#br1" timeOffset="187325.84">9549 8136 1464 0,'-3'-4'381'16,"3"4"-46"-16,0 0-25 0,0 0-39 0,-2-2-22 15,2 2-14-15,0 0-38 0,12-3-5 0,-4 1 36 16,0 2-46-1,2-2-31-15,1-1-16 0,1 1-71 0,1-1-12 0,0 1-34 16,2-3 12-16,1 3-14 0,2-3-1 0,0 2 8 0,2 0 8 16,-2-1-24-16,-2 1 11 15,-1 2 3-15,0-1 15 0,-4-1-6 0,1 3 16 16,-4 0 13-16,2 0 36 0,-2 3 2 0,-1-1-51 0,1-1 36 16,-2 4-15-16,-1 1-21 0,0-1-10 15,0 1 23-15,-3 1-13 0,2 0 0 16,-2 1-23-16,0 2 13 0,-2-1-18 0,3 0-24 15,-3-1 4-15,-3 3-75 16,3-2-48-16,-2-2-116 0,0 3-151 0,1-2-565 0,-2-2 100 16,3 1 66-16,-2-2 79 0,2-4 47 0,0-1 68 15</inkml:trace>
  <inkml:trace contextRef="#ctx0" brushRef="#br1" timeOffset="188103.83">10087 8132 1100 0,'-5'10'387'0,"3"-1"-16"16,-1 1-113-16,1-1-48 0,-1 0-31 16,3 0 6-16,-3 0-21 0,3 1-47 0,0-3 16 15,0 3-28-15,0-3 3 0,3 0-19 16,0 0-4-16,-1-2 5 0,3 0-11 0,-2-4-18 15,2 3 3-15,-2-3-5 0,-3-1 0 0,12-1-8 16,-6-2-2-16,1 1 12 0,1-2 29 16,0 1-24-16,0-2-7 15,-1-1 5-15,0-4-2 0,1 2 4 0,-3-3-15 0,1 3 21 16,-1-2-23-16,-3 1 5 0,1-1 7 0,-3 2-15 16,0-1 13-16,0 1-18 31,-2 0 5-31,-1 1-10 0,0 1 5 0,-2 0 5 0,-2 2-13 0,1 1-12 0,-1-1 2 15,-1 2-5-15,0 1-1 0,3 1-1 0,-3 0-26 0,8 0 22 16,-10 0-7-16,3 1 24 0,7-1-14 0,-6 1-7 16,3 2 7-16,3-3-25 0,-4 3 25 15,4-3-10-15,0 0 13 0,0 0-18 0,10 6 0 16,-8-5-5-16,4 3 5 0,1-3 3 16,1 3 9-16,0-1 14 0,0 1-16 0,-1-1-20 0,1 2 28 15,0 0-31 1,-1 0 8-16,1 1 82 0,-1 0 7 0,-1 2-22 0,-1-2-6 15,0 2-18-15,-1-2 57 0,0 0-56 0,-2 1-16 0,0-1 30 16,1-2-19-16,0 2 1 16,0-3 9-16,-1 0 7 0,3 0-7 15,-2-3 15-15,-3 0 17 16,12 0-83-16,-4 0 7 0,0 0 30 0,-1-2 14 0,1 1 15 0,0 1 7 16,0-2-25-16,-1 4 5 0,1-1-2 0,2 1-1 15,-2-2 6-15,0 6 0 0,2-1-26 16,-5-2 20-16,5 2-15 0,-4 1-10 15,3 1-25-15,-3-1-32 0,-1-1-27 0,0 2-11 16,-2-1-20-16,1 0-62 16,-1 1-36-16,0-1-73 0,-1 0-63 0,1-2-135 0,0 0-435 0,-1 1-15 15,-2-1 125-15,2-1 62 0,-2 1 32 0,0-4 78 16</inkml:trace>
  <inkml:trace contextRef="#ctx0" brushRef="#br1" timeOffset="-208281.36">13384 8076 1090 0,'0'0'422'16,"0"0"-63"-16,0 0 7 0,0 0-36 0,0 0-26 16,0 0 52-16,0 0-26 0,0 0 3 0,11 6-59 15,-6-1-13-15,0-4-5 16,0 4-51-16,-2-2 13 0,1 2-65 0,-3 0-22 15,4 1 2-15,-2-1-26 0,-3 0-7 0,0 0-15 16,0 1 17-16,0 0-20 0,0-1 28 0,0 2-38 16,0-1-11-16,0 0-7 0,-1 1-24 15,1-2 17-15,0 0 4 0,1-2-15 0,-1 2-24 16,0 1 27-16,2-2-6 0,-2 0-23 0,0 1 31 16,3 1-18-16,-3-1 18 0,0 0-28 15,0-2 13-15,0 3-24 0,-3-1 6 0,1-1 5 16,1 0-18-16,-3 2 12 0,-2-2-12 15,1 2-18-15,0-2-31 0,-3 0-43 0,1 1-33 16,-1-4-57-16,0 4-28 0,0-3-49 16,-2-2-46-16,2 0-171 0,-2 1-504 0,0-2 104 15,3 0 59-15,-4-3 85 0,4 1 97 0,-3-3 11 16</inkml:trace>
  <inkml:trace contextRef="#ctx0" brushRef="#br1" timeOffset="-208064.2">13418 7876 1443 0,'13'4'466'0,"-3"-1"41"0,5 6 5 0,-2-1-80 15,5 3-101-15,8 9 1 0,-1 3-25 0,-4-2-35 16,-1 5 107-16,1 3-41 0,-4-2-34 16,-6-2-114-16,-5 3-27 0,-4-2-32 0,-4 1 10 15,-4 10-29-15,-1 1-43 0,-7-1-69 16,-3-2-79-16,1-2-46 15,-4-2-106-15,-1-1-109 0,3-3-177 0,3-7-492 0,2-1 78 16,1-8 99-16,4 0 151 0,3-4 23 0,-1-2 67 16</inkml:trace>
  <inkml:trace contextRef="#ctx0" brushRef="#br1" timeOffset="-206719.84">14303 7975 1402 0,'0'0'530'0,"0"0"-72"0,0 0-33 0,0 0-23 16,0 0-33-16,0 0-60 0,0 0-9 0,22 4-44 16,-13-3-39-16,1 0 4 15,4-1-50-15,0 0 11 0,1-1-21 0,1 1-51 16,-1-3-20-16,2 1-24 0,-1 1-56 0,-1-3-35 15,-2 3-19-15,3-3-15 0,-4 1-12 16,-1-2-32-16,-1 3-4 0,-2-2 12 16,0-1-38-16,-1 2-5 0,-4-2-5 0,1 3 20 0,-4-2-18 15,0 4 31-15,4-6 25 0,-4 6 3 0,-3-4 29 16,3 4 12-16,0 0 33 0,0 0 29 16,0 0-16-16,0 0 25 0,-11 7 9 0,9-1 35 15,-1-2-18-15,-2 6 6 0,3-1-3 0,-3 2 43 16,2 2-25-16,0 1-8 0,-2 2 8 15,0 1 5-15,0-2-8 32,2 4 13-32,-2-1-18 0,-4 2-26 0,1-2 6 15,-1 1 10-15,-3 0-41 0,2-2 48 0,0-3-30 0,-1-2 33 0,-2 1 11 0,3 0 17 0,-5-3-48 16,5-1 43-16,-1 0 0 0,1-5-8 0,0 1 44 16,0 0-48-16,2-4 89 0,0 2 33 15,3-1-33 1,-1-1-3-16,2-1-28 0,4 0 16 15,0 0-64-15,-8 0 22 0,8 0-86 0,0 0 7 0,0 0 13 0,0 0-7 0,12-6 4 0,-12 6 3 16,14 0-25-16,-4-1 22 0,1 1-30 16,1-1-3-16,1-1 11 0,3 1 7 0,1 0-23 15,-2 1-23-15,1 0-25 16,1-1-6-16,-1 1-36 0,-3-2-43 0,3-1-25 0,-2 2-19 16,0-1-66-16,-1-2-48 15,-1 0-39-15,1 3-49 0,-3-6-207 0,3 5-469 0,-5-2 129 16,-1 1 68-16,1-2 121 0,0-2 62 0,0-2 89 15</inkml:trace>
  <inkml:trace contextRef="#ctx0" brushRef="#br1" timeOffset="-206453.98">14844 7919 1323 0,'0'0'589'0,"2"-3"-44"0,-2 3-128 0,0 0 3 15,0 0-54-15,0 0-8 0,0 0 13 16,-5 16-38-1,2-9-3 1,1 5-12-16,-1 0-42 0,-4 4-12 0,4-1 38 0,-2 4-64 0,0-1-49 0,2 1-30 0,-2 5-21 0,3-5-2 0,1 1-36 16,-1-1 5-16,2 0-3 15,0-3-25-15,0-2-46 0,3 0-1 0,-1 2-35 16,0-4-33-16,1-3-36 0,0 0-24 0,1-2-50 16,-1-1-36-16,0-4-60 0,2 2-35 0,0-3-46 15,-5-1-51-15,0 0-136 0,11-6-404 16,-7 1-31-16,-1-3 87 0,0 1 92 15,-3-2 89-15,-3-3 57 0</inkml:trace>
  <inkml:trace contextRef="#ctx0" brushRef="#br1" timeOffset="-206281.11">14625 8052 1364 0,'-7'-2'384'0,"7"2"-21"0,-8 2-2 0,8-2 3 0,-3 4-52 0,3-4 5 0,0 0-25 0,0 0-10 16,0 0-57-16,11 7 5 0,-1-7 31 15,0 1-5-15,3 2-43 0,5-2-6 0,-2 0-79 16,2-1-18-16,4 0-71 0,1 0-60 0,1-1-51 16,-1 0-61-16,0 0-64 0,3-7-199 15,-1 8-593-15,-5 0 96 0,4 0 64 0,-4 0 84 16,-2 0 95-16,0 3 61 0</inkml:trace>
  <inkml:trace contextRef="#ctx0" brushRef="#br1" timeOffset="-206007.41">15574 8035 1702 0,'0'3'496'0,"2"3"-63"0,-1-1-57 0,-1 1-41 16,0 2 8-16,0 2-46 0,0-1-25 0,0 4-39 16,0-2-16-16,-1 2-30 0,-1 0-44 0,2 1-38 15,-5 0-41-15,5-4-12 16,-5 1-101-16,2 2-61 0,-2-5-59 0,3 1-102 0,-1-7-142 16,-2 6-488-16,3-2 52 0,-1-1 96 0,0 1 90 15,1-1 62-15</inkml:trace>
  <inkml:trace contextRef="#ctx0" brushRef="#br1" timeOffset="-205800.51">15600 7986 826 0,'0'0'284'0,"0"0"-71"0,5-4-75 0,-5 4-228 0,0 0-516 15,10 1 38-15</inkml:trace>
  <inkml:trace contextRef="#ctx0" brushRef="#br1" timeOffset="-205566.84">15697 8016 1351 0,'-8'4'596'0,"4"2"-58"0,-2-2-162 16,4 3-23-16,-1-1-20 0,3 1-36 0,-2 0-18 0,4 4-20 0,-2-3-42 16,3 4 1-16,2-1-39 15,-2-2-23-15,4 2 18 0,-4 1-33 0,4-2 0 0,-4 0-26 0,-1-4 10 16,1 3-9-16,0-1-24 0,-3-2 20 16,-3 1-14-16,3 0-24 0,-5-2-5 15,0 1 10-15,-3-3-71 0,1 2-11 16,-4-1-63-16,1-2-70 0,0 2-51 0,0-3-71 0,1 1-49 15,-1-2-134-15,3 0-518 0,-4 0 40 16,6-2 169-16,-3 2 2 0,-1-3 93 0,6 1 110 16</inkml:trace>
  <inkml:trace contextRef="#ctx0" brushRef="#br1" timeOffset="-205025.98">16258 7955 1236 0,'0'0'512'0,"0"0"-44"0,-7 14-25 0,4-8-51 16,1 5-11-16,2-3-56 0,-3 0-59 15,3 3-5-15,-2 0-53 16,2 0-11-16,0-1-18 0,2 2-33 0,-1-2-33 0,-1-1 12 16,4 2-23-16,1-3-30 0,-2-2 18 0,3 0-16 15,0 0-8-15,0 0 1 0,2-5-13 0,-1 3 40 16,1-4 1-16,0 0 41 0,-8 0-54 16,15-5 12-16,-7 3 32 0,-1-3 27 15,2-2 4-15,-2 0-32 0,0-3-7 0,-1 3 5 0,2-3-26 16,-3 2-2-16,2-1-24 0,-4 0-22 0,2 2 20 15,0 0-46-15,0 2-36 16,-2-1-25-16,-1 0-67 0,1 4-59 0,0-3-5 16,1 4-74-16,-1-1-62 0,-3 2-140 0,5-2-610 15,-5 2 62-15,10-1 102 0,-4 1 70 16,-6 0 84-16,10-2 74 0,-3 2 51 0</inkml:trace>
  <inkml:trace contextRef="#ctx0" brushRef="#br1" timeOffset="-204754.18">16536 7946 1464 0,'0'0'396'0,"-11"0"-14"0,6 2-44 0,-2-1-26 0,7-1-23 15,-8 5-43-15,2-2 0 0,4 3-57 16,0 0 6-16,-1 2-14 0,3 1-32 0,0-1-14 16,0 0 4-16,3 3-22 0,-1 1 9 0,0-4-37 15,2 3-4-15,-2-1 22 0,0-1-22 0,1-3 2 16,-3 4 115-16,-3-1-38 0,-1-2-18 15,3-1 10-15,-4 0 3 0,0 1-11 16,-1-2-30-16,-1 1 33 0,0-2-46 0,1-1-21 0,-2 1 14 16,3-2-63-16,-2-2-50 15,2 1-46-15,-3-1-37 0,8 0-30 0,-8 0-43 16,8 0-70-16,0 0-89 0,-8-1-187 0,8 1-548 0,0 0 133 16,0 0 72-16,0 0 108 15,0 0 35-15,0 0 111 0</inkml:trace>
  <inkml:trace contextRef="#ctx0" brushRef="#br1" timeOffset="-204425.53">16687 8082 1151 0,'7'-6'489'0,"-4"-1"-107"0,3 2-34 0,-4 2 18 0,0-1-21 16,1-1 9-16,0 2-68 0,-1-2 39 15,-2 1-38-15,2 2 28 0,-2 2-46 0,3-6-3 16,-3 6-64-16,0-2 82 0,0 2-33 16,0 0-59-16,0 0 20 0,0 0-9 0,0 0-32 15,-10 9-45-15,7-4 25 0,1 1-18 0,0 1-21 16,1-1 11-16,-2 2-33 0,3-2 25 16,0 3-71-16,0-2 22 0,4 1-109 0,-2-2-19 15,3 2-40-15,-2-1-29 0,4 0-25 0,-2-4-15 16,3 3-19-16,-3-5-50 0,3 2-60 0,2-1-38 15,-2-2-179-15,2-1-535 0,2-1 113 16,-1-1 104-16,2-3 70 31,0-1 112-31,5 0 41 0</inkml:trace>
  <inkml:trace contextRef="#ctx0" brushRef="#br1" timeOffset="-204088.56">17151 7851 1407 0,'0'0'420'0,"-5"13"-54"0,2-6-7 0,1 1-37 0,-1 0-33 0,0 0-56 16,1 3-13-16,-1-1 0 0,3 0-28 16,-2 1-25-16,1-2-32 0,-1 1-19 15,2 2-32-15,0-5-35 0,0 1 10 0,-2 1-26 0,2-2 16 16,-3-2-1-16,3 1-12 0,0-3-10 16,-5 2 7-16,3-3-13 0,-1 2 1 0,-4-2 4 15,1-2-2-15,-2 4-2 0,1-3-6 16,-1 3 13-16,0-2 3 0,0 0 102 15,-2 3-12-15,5-2 14 0,-5 2-20 0,2 0 3 16,3-1-10 0,-2-2-29-16,4 2-28 0,-2-2 36 0,3 3-25 0,1-3 25 0,1-2-3 15,1 6-48-15,-1-6 28 0,7 3-46 0,-2-2 15 16,0-1 13-16,3 0-51 0,2-4-15 0,0 4-8 16,3-1-54-16,-2 0-23 0,4-3-49 15,-3 2-69-15,2-1-102 0,-10 1-210 16,9 1-453-16,-2-1 72 0,1-1 125 0,-4 1 97 15,0 2 67-15,1-4 59 0</inkml:trace>
  <inkml:trace contextRef="#ctx0" brushRef="#br1" timeOffset="-201956.41">17920 7738 1046 0,'0'-5'548'0,"0"3"-54"0,0 2-18 0,0 0-64 16,0 0-40-16,0 0-24 0,0 14-16 0,-3-4-40 15,1 0-31-15,0 5-20 0,1 1-41 16,-4 2-29-16,2 0 1 0,-2 1-34 0,3 0-74 16,-3 1-31-16,2-3-10 0,1 2-61 0,-3 0-36 15,2-7-1-15,3 4-42 0,-3-1-55 16,1-4-46-16,2 3-117 0,-8-3-149 0,8-3-447 15,-2 2 137-15,2-3 39 0,-3-1 59 16,3 0 84-16</inkml:trace>
  <inkml:trace contextRef="#ctx0" brushRef="#br1" timeOffset="-201525.29">17720 7969 1067 0,'0'-6'363'16,"0"6"-15"-16,5-6-48 0,0 4-8 0,1-2-59 16,4 3 7-16,0-3-45 0,3 1-6 15,0 1-35-15,2-1 12 0,1 0-12 0,-1 0-52 16,0 0-2-16,-2 0-5 0,2 1 5 16,-4 0-21-16,-1-1-5 31,1 3-18-31,-1 0 31 0,-3 2-2 0,1 1-6 0,-1 0-25 0,-1 2 36 0,-1 0-39 0,0 0 0 15,-2 2 13-15,1-1-38 0,-1 2 15 0,2-2-3 16,1 0-18-16,-2 1 39 0,4-1-23 0,-3 0-31 16,3 1 54-16,0-2-43 0,0-1 42 15,2-1-52-15,0 0 22 0,0-2-28 16,0-1 30-16,-2-1-48 0,3-1 31 0,-4 1 8 16,1-2 48-16,0-1 43 0,-1-1 29 0,-2-2 8 15,-2 1 9-15,0 0-17 0,-3-3-26 0,0 1 34 16,-3 0-52-16,-2 2 21 15,-1-3-16-15,-1 2-7 0,-1-2-34 0,0 2-63 0,-2 2-57 16,0 2-46-16,2-1-43 0,-2 4-80 16,2 0-113-16,1 0-204 0,-1 1-492 0,0 4 95 15,3-2 118 1,-2 0 90-16,1 2 53 0,4 1 82 0,-1-1 54 0</inkml:trace>
  <inkml:trace contextRef="#ctx0" brushRef="#br1" timeOffset="-200934.14">18438 7991 972 0,'10'-8'405'0,"3"0"-47"16,-2 2-23-16,-1 0-25 0,-3-1-28 0,3-1 4 16,1-2-20-16,-4 2-43 15,4-3-26-15,-1-1-2 16,-3-1 7-16,-1-1-15 0,-1 4-77 0,0-3 13 0,0 3-21 0,-1 1 18 15,-2 2-7-15,0 0 7 0,-2 2-7 16,0-1 0-16,0 6-24 0,-2-3-2 0,2 3 0 16,0 0-28-16,0 0-5 0,-14 10 41 0,10-3-67 15,1 2 10-15,-2-1-12 0,0 4 17 16,2-1-9-16,2-2-4 0,-1 3-12 0,0-1 10 16,2-2-25-16,2 2-24 0,0 0-45 0,-1-3-3 15,4 0-13 1,-2 1-20-16,2-1-29 0,2-2-30 15,-1 0-16-15,1-1-23 0,1-3-68 0,0 4-52 0,-1-6-59 0,-4 1-72 16,5 1-340-16,-8-2 105 0,12-2 49 0,-4 1 30 16,-3-1 113-16</inkml:trace>
  <inkml:trace contextRef="#ctx0" brushRef="#br1" timeOffset="-200477.7">18689 7870 1139 0,'3'-13'414'0,"1"5"19"0,-3 1-121 16,1 1 3-16,3 1-18 0,-2 1-49 15,0 2 11-15,0 0-42 0,-3 2 9 0,10 0-14 0,-10 0-12 16,10 4 15-16,-5 1-18 0,0 1-23 0,0 0 77 16,1 1-18-16,-2 4-31 15,1-2-13-15,-2 2-12 0,-3 0-11 0,2 0-7 16,-4-2-39-16,0 4-28 0,0-1-20 0,-2-2-16 16,0 0-40-16,-2 1-34 0,1-3-39 15,0 1-19-15,2-2-9 0,-2-1-27 0,2-1-37 16,1-2-35-16,0 1-24 0,2-4-22 0,0 0-34 15,0 0-40-15,0 0-39 0,0 0-49 16,15-10 16-16,-7 3-57 0,0-1-2 16,1-3 38-16,2-1 103 0,-1 0 164 0,3-4 94 0,0 0 87 15,-3 4 59-15,-1-1 46 0,0 0 46 16,-2 2 3 0,-1 1 13-16,-3 1 17 0,1 1 1 0,0 1 22 0,-2 1-22 15,0 0-24-15,-2 1-25 0,0 5 8 0,-2-2-32 0,2 2 27 16,0 0-34-16,0 0-23 0,-11 7 8 15,6-1-18-15,2 0-16 0,-1 1-25 16,0 1 0-16,0 2-5 0,1-1-21 0,0 0 13 0,1 0-23 16,2-2 0-16,0 4-12 0,2-4-22 15,0 2-14-15,-1-1-16 0,2 0-23 0,2-3 3 16,0 1-39-16,3-1-43 0,-3-3-39 16,3 2-20-16,0-2-49 0,-1-1-128 0,1-1-123 15,1 0-457-15,-1-2 96 0,1-1 44 0,1 1 112 16,-3-3 147-16,1 2-13 0</inkml:trace>
  <inkml:trace contextRef="#ctx0" brushRef="#br1" timeOffset="-200013.9">19086 7723 1300 0,'1'-3'399'0,"-1"3"-41"0,-3-4-27 0,3 4-55 0,0 0 3 15,-10 7-36-15,8-4-17 0,-2 6-29 16,0 0-23-16,-2 4-5 0,2 2-16 0,-2 1-17 15,4 2-11-15,-1 1 1 0,-3 7-29 0,2-1-13 16,-2 1-7-16,-1-2-8 16,2 4-17-16,-1-3-34 0,2 0 89 0,-2 0-33 0,4-5-25 15,-3 2-13-15,0-4-8 0,2-1 10 0,-2-4-2 16,4 1 10-16,-3-1-23 0,4-2-2 16,-3-1 20-16,-2-2 15 0,3-3 0 15,2-2 21-15,-2 0-26 16,2-3 13-16,0 0 16 0,0 0-6 0,0 0-20 0,0 0 4 15,2-20 27-15,2 9-8 16,0-5-21-16,2-1 18 0,2-6 13 0,3-9-2 0,1-3-29 0,4 4 16 16,2-1-19-16,-3 6-1 0,1 4 1 15,-3 8-37-15,-1 1 9 0,2 2-2 16,-4 4 0-16,0 1 16 16,-2 3-8-16,2 0 30 0,-5 5-7 0,-5-2-31 0,8 5 31 0,-6 0-16 15,-2 1 41-15,-3 4-20 16,-2-2 5-16,-2 5-33 0,-3-2-3 0,-1 2-15 0,1-2-31 15,-3-2-26-15,2 3-30 0,-1-2-56 0,2-1 20 16,2-3-44-16,0 1-74 0,1-1-53 16,1-1-149-16,2-4-187 0,0 2-443 0,4-3 164 15,0 0 44-15,0 0 102 0,0 0 41 0,6-11 71 16</inkml:trace>
  <inkml:trace contextRef="#ctx0" brushRef="#br1" timeOffset="-199826.99">19354 7642 1110 0,'4'-1'456'0,"-4"1"-34"0,0 0-17 0,8 10 66 0,-8-4-85 15,2 4-15-15,-2 2-43 0,3 2-5 0,-3 0-1 16,1 5-22-16,-1 0-55 0,-1 4-30 0,-2 2-20 16,1 1-26-16,0-2-41 0,-1 0-77 15,-2-1-38 1,3-2-41-16,-1-2-44 0,-2-1-59 0,4-4-35 0,-1-1-36 0,-1 0-75 0,3-4-160 15,0-1-533-15,0-1 81 16,3-5 127-16,0 4 73 0,-1-6 93 0,-2 0 17 0</inkml:trace>
  <inkml:trace contextRef="#ctx0" brushRef="#br1" timeOffset="-199100.94">19504 7854 1333 0,'0'0'415'0,"-5"-3"-134"15,3 1-7 1,2 2-25-16,0 0-27 0,-13 2-22 0,5 2-6 0,3-2-17 0,-3 4 23 0,-1 1-44 16,0-1-15-16,-1 0-13 0,4 4-16 15,-3-2-12-15,1 0 0 0,0 3-21 16,0-3-10-16,1 2-15 0,2-2-10 0,0 1 7 0,2-2-3 16,1 1 6-16,2-3-38 0,0 0 4 15,2-2 21-15,1 3-23 0,2-5-8 0,0 3 39 16,2-3-44-16,1-1 8 0,1-2 23 0,-2 1 12 15,3-2-30-15,-2-2 33 16,0 2-28-16,2-3 16 0,0 0 9 0,0-1 21 16,0 0 65-16,0-1 14 0,-1 1-30 0,-1 0 15 0,0 1 18 15,-4-1-26-15,1 1-7 16,2 1-10-16,-4 2-11 16,2-2 13-16,-2 2-13 0,0 0 21 15,1-1-57-15,-4 4-7 0,3-3 10 0,1 1 13 0,-4 2-8 0,0 0-8 16,0 0-30-16,0 0 2 0,0 0 16 15,0 9-34-15,0-4 3 0,0-5 18 0,-4 8-21 0,4-2-2 16,0-2-10-16,-2 1-21 16,2 0-31-16,2 0 1 0,-2 1-24 15,3-1 52-15,-2-2-19 0,1 2 21 0,0-2-18 0,3-1-5 0,-2 0 6 16,2 0 27-16,4-1-7 0,-3-1 12 16,-6 0-7-16,13-4 35 0,-7 2-7 15,3-2 21-15,-2 3 4 16,-1-4-20-16,2 2 23 0,0-1 3 0,-3 3 0 0,0-4-19 0,0 4 39 15,0 0 0-15,-5 1-12 0,8-1-24 16,-8 1 16-16,10 3-34 0,-5 3-5 0,-3-3 11 16,1 1 10-16,0 1-42 0,0 0 1 15,-1 0-33-15,0 0-14 16,-2-1-55-16,4 2-32 0,-4-1-43 0,2-2-51 0,0 2-30 0,-2-2-134 16,4 0-169-16,-4-3-476 0,2 3 74 15,-2-3 131-15,4 2 133 0,-4-2 26 0,0 0 66 16,0 0 72-16</inkml:trace>
  <inkml:trace contextRef="#ctx0" brushRef="#br1" timeOffset="-198991.85">19746 7739 770 0,'-8'-1'192'0,"8"1"-131"0,0 0-652 0</inkml:trace>
  <inkml:trace contextRef="#ctx0" brushRef="#br1" timeOffset="-198647.73">19821 7833 1254 0,'1'7'484'0,"0"0"-52"0,1 1-25 0,0-1-59 16,1-1 3-16,-3 2-116 0,5-2 11 16,-3 1-49-16,1-2 5 0,0 1-35 0,2-1 35 0,1-2-18 15,-2 2 6-15,2-4-34 0,1 2 26 0,1-1-13 16,2-2-6-16,-2-1 96 0,2 1-49 0,0-4-3 16,2 3 21-16,-3 1-54 15,1-2 18-15,3 2-59 16,-3-3-54-16,1 3 24 0,-1 3-26 0,0-1-16 0,-3 1-12 0,6 0 4 15,-5 0-6-15,0 1 9 0,0 0-51 16,0-2-43-16,-1 4-47 0,-2-3-61 0,0 1-23 0,0 1-64 16,-2-1-82-16,2-2-86 0,-5-2-242 15,0 7-409-15,4-3 90 16,-3-2 99-16,-1-2 70 0,0 4 76 0,0-4 82 0</inkml:trace>
  <inkml:trace contextRef="#ctx0" brushRef="#br1" timeOffset="-196555.55">20589 7587 1208 0,'0'0'489'0,"3"-6"-29"0,-3 6-73 0,2-1-42 16,-2 1 42-1,0 0-59-15,0 0-96 0,5 14-42 0,-7-8-16 0,4 2-15 0,-4 3 76 16,2 4-53-16,0 1 23 0,-3 2-34 0,1 2-25 16,-1-2-23-16,0 2-5 15,-2 2-59-15,0-2 7 0,0-2-20 0,2-2-46 16,-1 1 3-16,1 2-29 0,0-6-33 0,1-1 3 15,0-1-41-15,-1-3-29 0,0 3-20 0,3-4-46 16,-1 0-94-16,1-7-121 0,0 4-522 16,0-4 92-16,1 5 89 15,-1-5 70-15,7 1 86 0</inkml:trace>
  <inkml:trace contextRef="#ctx0" brushRef="#br1" timeOffset="-195820.53">20781 7538 732 0,'0'0'404'16,"0"0"-48"-16,0 0-36 0,0 13-16 15,-1-7-27-15,-1 0 9 0,0 4-32 0,0-2-47 16,-1 3-69-16,0 1-7 0,1-1-34 0,0 3-2 15,-4 2 2-15,4 1 6 0,-1-4-32 16,-2 4 11-16,0-2-13 0,0 3-15 0,0-3-10 16,-1-3 9-16,4-1 24 0,-1 2-3 15,-2-3-15-15,3-1 49 0,0-3-6 32,-2 3 1-32,2-2 4 0,0-4 13 0,2 2 19 0,0 0-22 0,0-5-30 0,-3 3 16 15,3-3-19-15,0 0-2 0,0 0-23 0,0 0 8 16,0 0 2-16,0 0-5 0,0 0-3 0,0 0 24 0,18-4-52 15,-18 4 21-15,5-4 79 0,-5 4-41 16,8 0-3-16,-3 0-4 0,4-2-24 16,-3 2 1-16,2-2-3 0,-1 0-49 0,5 2 15 15,-3-2-14-15,6-2 14 0,-2-1-12 0,0 2 0 16,0-1 38-16,0-2-20 0,-1-1 5 16,1 1-24-16,-5 0 6 0,2-1 0 0,0 1 31 15,-2-1 5-15,-2 1-85 16,1 0 36-16,-4 0-8 0,2 1-4 0,-3 2 12 0,1-1 23 15,-3 4-33-15,0-2 10 0,0 2 21 16,0 0 17-16,0 0-7 0,-6 12-23 0,4-6-18 0,-3 1 20 16,2 1 13-1,1 0-18-15,0 3-12 0,0-5-6 0,1 5 13 0,-2-3-25 16,1 1-6-16,2 0-12 0,0-3-34 0,2 1-17 16,-2-1 2-16,0-2-29 0,0-2-42 0,3 3-65 15,-3-5-7-15,5 2-42 16,-5-2-63-16,5 1-80 0,-5-1-117 15,0 0-418-15,0 0 75 0,8-8 143 0,-6 4 28 16,-2 0 82-16,-2-1 69 0</inkml:trace>
  <inkml:trace contextRef="#ctx0" brushRef="#br1" timeOffset="-195582.59">20284 7744 941 0,'0'0'443'0,"15"-6"-59"16,-2 4-51-16,2-2-16 0,6 2-43 15,7-2-18-15,3 1 5 0,13-2-15 0,-1-1-115 16,1 1-9-16,2-3-29 0,-3 1 19 0,1-2 44 16,0 3-5-16,-3-2-20 15,-8 3-26-15,-5 1-15 0,0-1-42 16,-7 1-45-16,-1-1-16 0,-4 4-74 0,-1-2-120 0,-2-5-177 15,0 6-484-15,-5 2 33 16,-1 0 149-16,-1 2 54 0,-6-2 46 0</inkml:trace>
  <inkml:trace contextRef="#ctx0" brushRef="#br1" timeOffset="-195002.09">21607 7561 1190 0,'-1'-4'399'0,"-3"3"-51"0,4 1-2 16,-13-1-11-16,4 1-12 0,-3 2 40 15,0 2-10-15,1-1-48 0,-4 3-8 0,2 4 2 16,-2 2-50-16,-1 1-19 0,1 1-30 0,0 4-3 16,-1 0-13-16,3-2-36 15,1 5-7-15,1-2-26 16,3-4 6-16,1 2-21 0,2-3-8 0,3 0-5 0,0-3-10 0,2 2-1 15,1-3-37-15,0 2 7 0,5-4-23 0,2-1-23 16,0 0-8-16,2-2-12 0,1 0-26 0,4-3-44 16,0-2-12-16,1 0-14 0,1-2-14 15,-3 0-54-15,6-2-26 16,-2-1-26-16,0-1-58 0,0-2-90 0,-2-1-49 0,1-1-33 0,-1 0-424 16,-1 3 63-16,-4-4 156 0,-1 3 49 15,-3 0 18-15</inkml:trace>
  <inkml:trace contextRef="#ctx0" brushRef="#br1" timeOffset="-194619.48">21735 7495 1100 0,'-2'-3'343'0,"-1"-1"-43"0,3 4-16 0,-3-2-13 16,3 2 64-16,0 0-25 0,0 0-18 0,-10 9-13 15,7-3-38-15,-2 3-1 0,3 0-17 16,-3 1-103-16,0 1-2 0,2 3-23 0,-2-1 2 15,4 1-8-15,-3 1-7 0,0 2-25 32,0 1 19-32,2-1-17 0,-1-3-13 0,0-1-2 0,1 0-8 0,0 0 7 0,2-2-9 0,-1-3-19 15,1 2 8-15,-2-2 5 0,2-2 18 0,2-2 11 16,-2-2-4-16,3 4 39 16,-3-6-28-16,7 2-15 0,-4 1 5 0,-3-3-21 15,10 0 31-15,-4 0 5 0,-1 2 3 0,-5-2-8 16,12 0 5-16,-6 1-5 0,2 2-31 15,-1-1 8-15,0 1 3 0,3 1-8 0,-2 2 33 32,0-1-39-32,1 1 6 0,0 1 3 0,-4-2-39 0,1 2-16 0,-1-1-35 0,4-1-23 15,-6 1-49-15,3-2-23 0,-2 2-15 16,2-1-64-16,-1-2-34 0,0 1-133 0,0-4-117 16,3 3-369-16,2-3 28 15,0 0 118-15,0-2 5 0,0 1 69 0,1-1 82 16</inkml:trace>
  <inkml:trace contextRef="#ctx0" brushRef="#br1" timeOffset="-193870.09">22140 7656 1082 0,'-3'-1'384'0,"-1"-2"-31"0,4 3-17 0,-10-1-39 16,10 1 7-16,-11 0-40 0,1 4-6 0,0-3-50 0,-1 5 25 15,-2-3-28-15,1 2-26 0,-4 2-5 16,3-1 5-16,-1 4-72 0,-2-2 19 0,3-2-21 16,3 3-5-1,0-1 10-15,1-2-34 0,1 2-12 0,1-2 3 0,4-1-11 0,-1 0-20 16,4-2 23-16,0-3-28 0,6 6 17 16,-2-5-19-16,1 0 14 0,-5-1-15 0,15-2 18 15,-7 2 11-15,1-6-32 0,-3 5-17 0,4-5 25 16,-2 2 85-16,1 0-49 0,-3-1 39 15,2-2-6-15,-2 2-38 0,0 0-3 0,-2-1 24 16,0 4-1-16,-1-3-48 0,0 3 31 0,0-1-8 16,-3 3-31-16,5-1 38 15,-5 1-15-15,0 0-17 0,0 0 12 0,0 0-33 0,0 0 20 16,2 10 5-16,-2-10-35 0,-2 6 15 16,2-6 7-16,0 6-30 0,0-3 15 0,0-3 21 15,2 5-39-15,-2-5-27 0,0 5 60 16,0-5-25-16,2 4-13 0,-2-4 3 0,1 4 26 15,-1-4-37-15,6 1 21 0,-6-1 15 0,4 1-25 16,-4-1 23-16,8 0-8 0,-8 0-15 16,10-1 12-16,-10 1 4 15,8-1-1-15,-8 1-10 0,11 1 28 0,-7-1-13 0,-4 0 18 0,14 3-43 16,-10-3 4-16,4 2 11 16,-3 0 18-16,2 2-33 0,-1-3 7 0,-1 5 24 15,2-4-9-15,-4 2-17 0,2 1 41 0,0-3-31 0,-2 3 2 16,0-4-17-16,1 3 43 15,-1-2-20-15,-3-2 38 0,5 4-26 16,-2-1 47-16,-3-3-26 0,6 0 13 0,-6 0 2 16,0 0 3-16,10-2 20 0,-10 2-12 0,9-5-26 0,-2 3 23 15,1-2 2 1,-2-2-4-16,2 2-83 0,-1 0 34 0,1-1 10 0,2-1 3 0,2 4-3 16,-4-3-18-16,0 3-3 0,1 2 14 15,-1 0 4-15,0 0 6 0,0 1 2 0,0 0-20 16,0 5 4-16,-3-4-9 0,3 4 48 15,-3-1-51-15,3 2 3 0,-3-2 10 16,0 0 10-16,-2 0 0 0,1-1-21 0,-3 2-17 16,1-2-59-16,2-2 4 0,-3 2-42 0,0-1-47 15,1 1-35-15,-2-4-37 0,2 3-35 16,-2-3-74-16,4 4-80 0,-4-4-177 0,2 2-485 0,-2-2 158 16,8 0 66-1,-8 0 75-15,10-2 105 0,-3 2 58 0,1 0 75 0</inkml:trace>
  <inkml:trace contextRef="#ctx0" brushRef="#br1" timeOffset="-193284.96">22723 7649 1292 0,'-4'-4'446'0,"2"1"-34"16,-2 0-39-16,-2 2-37 15,6 1-14-15,-9 0-20 0,9 0-107 0,-14 7-19 0,6-4 9 16,-2 0-27-16,0 4 1 0,1 0-39 15,-1 2-10-15,0-1 6 0,2 2-29 0,1-1-3 16,1 2 3-16,-1-3-25 0,2 2 27 16,0-2-32-16,5 0 17 0,0 1-23 0,0-1-15 15,5-2-13-15,0 1 10 0,3-3-12 0,0-2-1 16,2 3-20-16,4-4 21 0,0-1-21 0,-1 0 15 16,2-4-18-16,2 1 8 15,-2-2 8-15,-1-2-5 0,-1 1 12 0,3-2-9 16,-6-2-4-16,0 3 93 0,-2-4-5 0,0 4-11 15,-1 0 26-15,-2 0-5 0,-2 2-20 16,-1-2 30-16,2 5-54 0,-3-1 42 0,-1 3-44 16,0 0 30-16,0 0-38 0,0 0 19 0,0 0-24 15,-8 12 25-15,4-6-14 0,1 4-9 0,3-1-20 16,0 0 36 0,-1 0-15-16,1 1-52 0,0-1 34 15,1-1-13-15,2 1 8 0,1-1-39 0,-1-1 0 0,3-1-10 0,1-1-18 0,-2 1-33 16,3-3-31-16,0 0-8 0,2-2-30 15,0 0-34-15,1 0-27 0,-1-1-37 16,0 2-89-16,0-2-154 0,1-2-548 0,-1 1 106 16,5 0 99-16,-5 0 105 0,3-2 62 15,-2 1 79-15</inkml:trace>
  <inkml:trace contextRef="#ctx0" brushRef="#br1" timeOffset="-190962.5">23725 7538 1136 0,'0'0'410'0,"-6"-2"-65"0,6 2-17 16,0 0-29-16,-12 7-27 0,7-3-29 15,1 3-8-15,-2 2 57 0,0 1-44 0,1 0-30 16,2 2-18-16,-2 0-32 0,0 2-22 16,3-1-25-16,-1 1-14 0,1-4 14 0,-1 3-32 15,6-2-22-15,-3 0 22 0,0-3-43 16,3 0 0-16,-1 1-5 0,4-2 8 16,-2-2-8-16,1-3 8 0,2 3-21 0,-1-4 0 0,2-1 3 15,2 0-19-15,-3-2 42 0,4-2-21 16,-2-2 16-16,-1 0 2 0,0-3 0 31,-2-1-2-31,1 1-11 0,-1-2-17 0,-2-1-1 0,1-1 16 0,-2 2 51 0,2-2-33 16,-4 0-18-16,-1 2-16 0,0 2 1 0,0-1-6 15,0 3 21-15,-1 1-15 0,-4 0 35 0,3 3-36 16,-4 0-20-16,1 2 13 31,-2 1-15-31,7 0 17 0,-13 4-13 0,7-1 21 0,-1 0-10 0,2 0-23 0,0 1 0 0,0-1 30 16,3 2-12-16,-2-1-18 0,2-2 7 0,2-2 13 15,2 6 11-15,3-2-31 0,-2-2 5 16,3-1 7-16,-6-1-7 0,14 0 13 0,-6 0-29 0,2 0 34 16,1-2 15-1,-1-3-23-15,3 3 23 0,0-2 8 0,-1-1-18 0,-1-1 21 0,1 3 19 16,-1-3-1-16,-1 2-19 16,0-3-12-16,0 3 4 0,-2 1 17 0,0-2-9 15,-3 5-5-15,2-2 8 0,0 2-36 0,-7 0 0 0,10 2 49 16,-3 3-21-1,-2 2 16-15,0 0-80 0,-2 3-25 0,2 2 5 0,-2 1 23 16,1 4-8-16,-3 0 15 0,1 5-7 0,1-1-13 16,-2 2 18-16,-1-2 8 0,0 7-8 15,0-2 0-15,-1-1-5 0,-2 1 12 0,0-6-12 16,-1 5 15-16,1-7-17 0,-2 1 37 16,1-1-30-1,-2-4 23-15,0 2 10 0,1-5-2 0,-2-1 5 0,1-1-5 0,1-1-3 0,-2-5-13 16,2 2 8-16,1-5-5 0,0 3 28 15,4-3-23-15,0 0 0 0,-8-11 18 0,8 3 10 16,4-3-23-16,-2-4-2 0,4-2-21 16,3-5 23-16,3-10-33 15,4 1 20-15,2 1-17 0,1 2 12 0,-1 0-8 0,-1 1 21 16,3 3-18-16,-2 5-35 0,-5 4 14 0,3-2-7 0,-4 7-49 16,1 0-35-16,0 0-16 0,0 1-26 15,-3 2-45 1,0 0-47-16,2 3-133 0,-8 0-61 0,6 1-530 0,1-1 182 0,-1 2-3 0,0-3 100 15,0 5 115 1</inkml:trace>
  <inkml:trace contextRef="#ctx0" brushRef="#br1" timeOffset="-189758.69">14720 8650 854 0,'-7'-2'372'0,"7"2"37"15,-10 2-17-15,2-2-49 0,0 2-21 0,0 3-9 16,-2 1-34-16,0 0-46 0,2 4-18 0,0-1-108 16,-2 3-2-16,2 2-13 0,1-1-18 15,-1 3-17-15,5-4-9 0,-1 1-9 0,1 0-24 16,0-1-5-16,3-3 16 0,3 2-34 0,-1-3 16 15,-1 0-8-15,3-1 10 0,2-2-10 16,-1 1 5-16,2-3 8 0,1-2-21 16,0-1 3-16,-1 0 31 0,1-1-8 0,2-2 23 0,-2-1 2 15,0-1 1-15,-1-1 33 0,-1-1-1 16,-1 1-1-16,0 0 32 0,-3-2-43 16,1-2 15-16,-3 2-20 0,0-3 13 0,0 2 12 15,-3-1-4-15,1 4-47 0,0-4 28 0,-4 1-27 16,2 0 14-16,0 1-7 0,-1 1-25 15,-2 3-1-15,2-1-2 0,-1 1-49 0,-1 0-31 16,4 1-17-16,-5 3-47 0,8 0-7 16,-10 0-51-16,10 0-80 0,-10 5-97 15,2-3-77-15,6 1-432 0,1 0 71 0,1-3 100 16,-2 6 128-16,2-6-2 0</inkml:trace>
  <inkml:trace contextRef="#ctx0" brushRef="#br1" timeOffset="-189504.95">14925 8633 1108 0,'0'0'461'0,"0"0"-44"0,-15 5-100 0,10-1-10 16,0-1-56-16,-3 2 21 0,0 2-70 15,0 2 3-15,1-1-13 0,0 3-6 16,-4 1-40-16,4 2-15 0,-1 0-8 0,3-1-3 0,-1 0-20 15,-1 3-13-15,2-4-10 0,2-2 7 16,0 1-15-16,3 0-18 0,0-3-17 16,3 1-14-16,-3-1-20 0,5-2 3 0,0 0-16 15,1-3-41 1,1 2-15-16,3-3-31 0,-2 1-43 0,3-2-121 0,-4-2-135 0,6 0-482 16,-2 1 62-16,-1-3 59 0,4 2 105 15,-3-1 40-15</inkml:trace>
  <inkml:trace contextRef="#ctx0" brushRef="#br1" timeOffset="-188322.54">15131 8671 1282 0,'-11'2'420'0,"11"-2"-113"0,-10 3-18 0,3-1-33 0,1 2-18 16,-2 1-36-16,1 0 8 0,-1 2-31 0,0 0 3 15,0 0 49-15,1 2-32 0,0 1-20 0,-2 2-12 16,2-1-9-16,2 0-32 0,0-1-1 0,2 2-15 16,1 0-15-16,-1-2-21 0,3-1 29 15,-3 0-34-15,3 0 2 0,3-2-14 0,0 0-11 16,1-2 10-16,2 0-10 0,-1-1-12 16,3 0-17-16,0-4 9 0,2 0 5 0,0 0 7 15,2-1-15-15,-1-3-10 0,2 0 38 16,2-1-18-16,-4 0-12 0,1-3 5 0,1 1 14 15,-5-2 4-15,2 2 7 0,0-2-10 0,-2 1 26 16,0 0-6-16,0 0-22 16,-1 2 4-16,-2 0 24 0,-2 0 12 0,2 1-23 0,-2-1 18 15,-1 3-15-15,1 0-25 0,-1 0 9 0,-2 3 13 16,3-4-27-16,-3 4 17 0,0 0-16 16,0 0-7-16,0 0 21 15,0 0-24-15,0 0-12 0,-8 13 2 0,8-8 3 0,-3-1-18 0,3 2 20 16,-2-2-17-16,2 1 12 15,-3 2-25 1,3-2-36-16,0-1 61 0,0-1-54 0,3 3 19 0,-1-3-9 0,-1 1 1 0,4-3 13 16,-1 2-11-16,-1-1 3 0,3-2-13 15,-6 0 43-15,12 0-20 0,-4 0 3 0,-8 0-13 16,13-1 10-16,-8-1 3 0,0 0 2 0,3-1-8 16,-1-1 39-16,-2 2-13 0,1-3 8 15,-1 0-3-15,2 2 1 0,-4-1-4 0,2-3 11 16,-2 6 13-16,2-3-13 0,-2 1 2 0,-1-1 19 15,0 1-9-15,1 0-9 0,-3 3-3 16,5-6 13-16,-3 5-11 0,-2 1-12 16,4-5 22-16,-4 5-27 0,2-2 2 0,-2 2 13 15,2-3-20-15,-2 3 19 0,0 0-4 0,0 0-5 16,0 0-3-16,0 0 5 0,0 0-15 16,0 0-10-16,6 7 7 0,-6-7 26 15,2 4-21-15,-2-4 21 0,2 5-33 0,-2-5 7 0,1 5 8 16,1-2-10-16,1 1 5 0,-1-2-8 15,-1 3 16-15,1-3 20 0,0 2-5 0,1-1-39 16,0 1 37-16,-1-1-32 0,1 0-4 0,0-1 35 16,-1 3-30-16,-2-5-13 15,5 4 38-15,-2-2-31 0,-1 1 1 0,0 0 25 16,-2-3-25-16,1 4-6 0,-1-4 39 0,2 2-21 16,-2-2 18-16,5 4-10 0,-5-4-2 0,0 0 7 15,2 3-13 1,-2-3-2-16,0 0 36 0,4 3-16 0,-4-3-20 0,0 0 30 0,0 0-15 15,2 3 36-15,-2-3-36 0,0 0 34 0,0 0-34 16,0 0 15-16,0 0-10 16,0 0 24-1,2 1-16-15,-2-1 12 0,0 0 9 0,0 0-50 0,0 0 22 0,0 0 35 0,0 0-54 0,0 0 16 16,0 0-3-16,0 0 0 0,3 3-18 16,-3-3 18-16,0 0-5 0,0 0-2 0,0 0-3 15,0 0 2-15,0 0 16 0,0 0-11 16,0 0-7-16,0 0-20 0,0 0 25 15,0 0 5-15,0 0-18 0,8-5-10 0,-8 5 38 16,2-5-22-16,-2 5 14 0,3-2-17 0,-3 2 41 16,5-4-26-16,-3 2-25 0,-2 2 37 15,4-5-14-15,-2 3-11 16,0-2 6-16,1 1-70 0,0 0 0 0,-1-2-2 0,1 3 23 0,-1-3-18 16,1 3 13-16,0-2 20 0,-1 2-8 15,0-3 14-15,-2 5 12 0,3-2-11 0,-3 2 6 16,3-4-10-16,-3 4 18 15,2-3 10-15,-2 3-13 0,0 0 0 0,0 0 13 0,6-1 30 0,-6 1-27 16,0 0 9-16,0 0-7 0,7 4-5 16,-4 0 8-16,1-3-1 0,-4-1-22 15,3 4 28-15,2-2 10 0,-5-2-21 16,3 3 8-16,-3-3-20 0,3 4-3 0,-3-4-59 16,2 1 0-16,-2-1-12 0,0 0-39 0,0 5-13 15,0-5-20-15,0 0-62 0,0 4-56 0,0-4-154 16,0 0-145-16,0 0-318 0,-6 3 74 15,6-3 80 1,0 0 74-16,-4 2 92 0</inkml:trace>
  <inkml:trace contextRef="#ctx0" brushRef="#br1" timeOffset="-187827.6">15554 8770 806 0,'0'0'356'0,"0"0"-39"0,0 0 75 16,0 0-65-16,15 6-17 0,-12-1-16 0,-1-3-30 15,1 3-23-15,2 0-8 0,0 0-36 16,-3 2-8-16,3 1-17 0,-4-2-24 0,1 3-28 16,1-1 8-16,-1 0-18 0,-1 2-20 15,-1-2-3-15,0 0 5 0,0-1-15 0,0 0 13 16,-1-2-19-16,1 0 44 0,-2 1-15 0,2 0-10 16,0-2 25-16,0-4-15 0,-3 4-18 15,3 0 28-15,0-4-26 0,-2 4 31 0,2-4-20 16,0 0 8-16,0 0-103 0,0 0 10 0,0 0 20 15,0 0-6-15,2-16-17 0,3 10 26 0,-4 0-25 16,1 0 15-16,3-1-7 0,-2-4-1 16,2 3-10-16,0-3-8 0,0 3 39 15,2 0-56-15,-1-1 4 0,-1 2-22 0,3-1-3 16,-1 2-41-16,-2-1-20 0,5 1-29 16,-4 2-48-16,4-2-38 0,0 5-29 15,-2-4-113-15,0 4-104 0,2-1-489 0,0 1 102 0,0 2 52 16,0 0 88-16,-2 1 60 0</inkml:trace>
  <inkml:trace contextRef="#ctx0" brushRef="#br1" timeOffset="-186918.22">15920 8766 990 0,'-3'-5'430'0,"3"5"-31"0,-2-4-17 0,2 4-119 16,0 0-19-16,0 0-6 0,-15 6-34 0,10-5-24 0,2 4-9 0,-2 0-17 15,0 1-11-15,0-1-20 0,0 2-8 16,-1-1-25-16,2 1 12 0,-2 1-20 16,1-2-10-16,2 0 4 0,1 0-27 0,0-1 7 15,1 0-4-15,-1 1-9 0,2-2-7 0,0 0-16 16,2-2 1-16,-2-2 35 0,3 5-20 16,2-3-8-16,-5-2-15 0,7 0 2 0,-7 0-2 15,8-2 13-15,-8 2 12 0,10-2-12 0,-7-2 22 16,3 2-4-16,-2-3 30 15,2 0-38-15,-4-1 25 0,4 0-2 0,-4-1-20 16,3 1 27-16,-2 0-12 0,-1 0-8 0,0-1 21 16,1 4 68-16,-3-1-14 0,3-1 4 0,-3 2-33 15,2-1 18-15,-2 4-18 0,0-5-15 0,0 5-3 16,3-2-28-16,-3 2 29 0,0 0-37 16,0 0 18-16,0 0 14 0,0 0-19 15,0 0-28-15,0 0 18 0,0 0-23 0,0 0 17 16,-3 13 9-16,3-13-1 0,0 6-32 0,0-4 7 15,0-2 7-15,2 5-7 0,-1 1 5 0,-1-6-10 16,0 7 5-16,3-4-13 0,-1 0 8 16,0 1 5-1,-1-2 7-15,1 1-4 0,1 0-16 0,-3-3 18 0,5 4-18 0,-3-2-7 0,-2-2 19 16,6 1-1-16,-6-1-21 16,4 0 12-16,-4 0-19 0,8 0 55 0,-8 0-48 15,0 0 33-15,10-1-5 0,-7 0 8 0,2-3-3 16,-5 4-18-16,8-1 13 15,-8 1-28-15,8-2 33 0,-8 2-30 0,5-3 9 0,0 2 1 16,-5 1 10-16,5 0-18 16,-5 0-5-16,0 0 10 0,8-1-10 0,-8 1 31 0,0 0-11 15,8 1-25-15,-8-1 40 16,4 4-48 0,-4-4 18-16,3 2 3 0,-3-2 0 0,5 1-3 0,-5-1 25 0,3 4-7 0,-3-4-5 0,0 0 5 15,0 0 2 1,5 2-7-16,-5-2 38 0,0 0-20 0,5 0-87 0,-5 0 109 0,0 0-50 15,0 0 48-15,0 0 8 0,10-2-41 0,-10 2 8 16,0 0-1-16,8-4 24 0,-8 4-34 16,5 0 24-16,-5 0-4 0,8 0-29 0,-8 0 24 15,8 0-22-15,-3 0 18 0,0 4-19 0,0-2 14 16,-2-1 12-16,1 2 8 16,2-1-46-16,-4 1-11 0,4 0 11 0,-4-2-18 0,3 3-13 15,-2-3-15-15,-3-1-49 0,3 5 1 0,-1-4-75 16,-2-1-21-16,2 5-61 0,-2-5-28 0,5 2-57 15,-5-2-58-15,0 0-182 16,5 0-502-16,-5 0 162 0,0 0 25 0,0 0 108 0,0 0 79 16,8 1 71-16,-8-1 90 15</inkml:trace>
  <inkml:trace contextRef="#ctx0" brushRef="#br1" timeOffset="-186504.7">16392 8686 1123 0,'0'0'420'0,"0"-4"-33"0,0 4-34 0,0 0-33 0,0 0-13 0,0 0-28 0,0 0 8 0,0 0 33 16,-8 9-34-16,3-3-30 0,2 1-20 0,-1-1-9 16,-2 3-99-16,2-3-15 0,0 3-13 15,0-1-16-15,1 1-22 0,0-3-3 0,1 0-18 0,0 1-16 16,-1-1 14-16,3 0-27 15,0 0 17-15,2-2 9 0,-2-4-33 0,3 2 13 16,2-1-28-16,-5-1 17 0,7 0-17 0,-7 0 8 16,11-3 9-16,-4-1-7 0,-1 1-7 0,-1-1-1 15,0-1 39-15,0-1-24 0,0 4 42 16,-2-3-11-16,-1 4 26 0,1-4 6 16,-3 5-9-16,5-1-5 0,-5 1-5 0,0 0 3 15,0 0-8-15,0 0 18 0,5 7-33 16,-5-3 25-16,0-1 3 0,0 3-36 0,3-1 16 0,-1 0-14 15,0-1-7-15,-1 0-3 0,2 2 9 16,1-1-1-16,-3-3-34 0,4 2-17 16,-2-2-33-16,-1 2-31 0,5-3-26 0,-2 0-56 15,1-1-54-15,-6 0-33 0,15 0-149 0,-7 0-63 16,4-2-500-16,-1-1 103 0,2 2 112 0,0-5 82 16,2 5 16-16,-2-1 53 15</inkml:trace>
  <inkml:trace contextRef="#ctx0" brushRef="#br1" timeOffset="-185626.29">17061 8654 1354 0,'0'0'366'16,"0"0"-34"-16,0 0-12 0,0 0-30 0,-16 5-27 15,12-1-32-15,-1 2-22 0,-1 1 65 0,1-1-28 16,0 3-13-16,-2 1-51 0,4-1-11 16,-2 0-4-16,2-1-29 0,-2 0-23 0,3 1 8 15,1-2-3-15,1-1-12 0,1 0-21 0,-1 0-21 16,2-1 3-16,4 0 18 0,1-3 26 16,-2-2-59-16,3 1-31 0,2-2 18 15,0 1-16-15,1-5 22 0,1 4-19 0,1-5 0 16,-3 1 15-16,3 1-12 0,-3-5-3 0,-2 2 13 15,0-1-18-15,-3-3 21 0,0 3 20 16,2-3-3-16,-6 4-15 0,1-4 16 0,1 4-29 16,-3 0 23-16,0-1-7 0,-3 2 7 15,1 2-30-15,0-2 28 0,-4 6-34 0,6 0 3 16,-10-2 8-16,10 2 10 0,-8 2-46 0,1-2 43 16,1 5-12-16,2-3-16 15,0 4 5-15,0-3-7 0,1 0-3 0,0 2 15 0,3-3-20 16,0-2-20-16,0 6 2 0,0-6 13 15,8 5-8-15,-2-4 0 0,1-1 1 16,0 0 22-16,3-1-15 0,-1-1-16 0,3-1 14 0,1-1 4 16,0 0-30-16,0-1 79 15,-1-1-36-15,2 2 8 0,-4 0 0 0,0-1 18 0,-2 3-11 16,2-2 26-16,-5 3-40 0,3 0 22 16,-4-1-7-16,-4 2-1 0,8 4 37 0,-2-1 7 15,-4 4-56-15,0 2 27 0,-2 2-22 16,-2 3 18-16,0 6-23 0,-1 4 10 0,-7 13-31 0,2 0-2 15,0 1 36 1,-2 3-44-16,3-1-8 0,-2-2 24 0,2 0-37 0,-3-4-12 0,3-6 25 16,-1-5 1-16,-1-3-14 0,1-2 4 15,-2-4 6-15,0-1 19 0,5-2-10 16,-3-1 2-16,1-7 13 0,5 3 20 0,-4-6-20 0,6 0 36 16,0 0-24-16,0 0-2 0,0-16 13 15,5 7 13-15,-2-5-41 16,4-3 15-16,2-2 10 0,3-4 14 0,1 3-14 15,0-9 8-15,5 1-8 0,0 1 8 0,-3 4-28 0,3-2 31 16,0 5-16-16,-5 3-25 0,0 3-19 0,-1 1-35 16,-1 1-36-16,-1 1-61 15,-2 2-44-15,2-1-51 0,-2 4-74 0,-4 0-221 0,4 0-506 16,2-1 117-16,-2 1 70 0,0 0 81 0,0 3 132 16,-1-1 24-16</inkml:trace>
  <inkml:trace contextRef="#ctx0" brushRef="#br1" timeOffset="-184634.88">18020 8838 1067 0,'7'-3'427'15,"1"-1"-117"-15,0-3-41 0,2 1-8 0,-2-2-26 16,3-2 9-16,-1 4-6 0,0-7-23 16,-3 5-16-16,1-3-9 0,0-2 15 0,-3 2-42 15,0-2 42-15,-2 1-41 0,-1 0 5 0,1 0 71 16,-3 3-17 0,0-2-23-16,-3 3-8 0,1 1-21 0,-1 0-32 0,1 3 27 0,-1-1-33 15,0 3-20-15,3 2-19 0,-10-1 27 16,10 1-37-16,-10 3-15 0,7 3 26 15,-2-2-44-15,0 3 8 0,0-1 5 0,2 2-15 0,1-1 4 16,0 3-37-16,1-1 9 0,1 0 11 16,1-1 3-16,1-1-27 15,0 3 6-15,4-3-18 0,-1 1 21 0,2-1-26 0,-2-2-11 16,6 0-22-16,-4-3-13 0,1 3-24 0,4-4-12 16,-3 2-23-16,3-2-15 0,1-1-18 15,0-1-14-15,-2 1 1 16,4-3-5-16,-5 0-23 0,0 0 17 0,3 0-7 0,-5-1-15 15,-1-1 2 1,3-2 16-16,-4 4 35 0,2-4-10 0,-3 2 33 0,2-1 26 0,-4 0 0 16,4-3 44-16,-4 2 35 0,2 1 36 0,-2-1 16 0,-1 1 4 15,1 0 78-15,0-1-1 0,-3 1-10 16,2 0 34-16,1 3 7 16,-3-1-13-16,0-1-10 0,0 5-7 0,2-6-26 0,-2 6 7 15,0 0 21-15,0 0-25 0,0 0 2 16,0 0-24-16,0 0-27 0,3 13 36 0,-3-8-44 15,0 1-13-15,0 0 3 0,2 4 23 0,0-1-23 16,-2 1 5-16,1-2-3 0,-1 3-43 0,3-3 33 16,-3-1-5-16,2 2-15 0,0-1-11 15,-1-3 24-15,1 1-8 16,1-3 27-16,0 2-16 0,-1-3 4 16,0 0 8-16,-2-2-39 0,0 0-10 0,0 0 0 0,16-5 18 0,-11 1 34 15,-2 2-8-15,1-5-37 0,-1 1 22 16,3-1 15-16,-2-2-16 0,2-3-10 15,1 3 21-15,-2-1-19 16,1 0-7-16,1 1-23 0,0 1-5 0,-1 0-23 0,-1 1-11 0,1 2-37 16,1-1-6-16,-2 2-16 0,1 0-27 15,1 2-47-15,-2 2-25 0,0-1-23 0,-5 1-85 0,8 1-61 16,-8-1-125-16,6 5-410 16,-2-4 48-16,1 5 147 0,-2-2 63 0,2 1 50 0</inkml:trace>
  <inkml:trace contextRef="#ctx0" brushRef="#br1" timeOffset="-183471.55">18595 8767 581 0,'0'0'250'0,"0"0"83"0,0 0-8 16,0 0-7-16,0 0-29 0,0 0-23 15,0 0 3-15,0 0-8 0,0 0-102 0,8-10-8 16,-8 10 18-16,4-3-23 0,-1 0-8 0,0 1-3 15,1-3 29-15,-1 3-28 0,0-4 0 16,-1 1-3-16,3-1-10 16,-2 0-13-16,-1 0 10 0,0 0-33 0,-1 0 0 0,2 0 8 0,-1 2-6 15,-2 0-15-15,0-1 16 16,0 1 2-16,2 0-46 0,-2 4 5 0,-2-5 6 0,2 5-6 16,0 0-13-16,-5-1-20 0,5 1 21 15,0 0 17-15,0 0-18 0,-9 8-20 0,5-6-2 16,2 2-9-16,-4 0 16 0,4-2-28 15,0 3-15-15,-1-1-11 0,0 0 3 0,1 1-5 16,0-1 28-16,-2-1-8 0,2 2-15 0,2-1 17 16,0-1-1-1,-2 2-24-15,2-5 20 0,0 4-7 0,0-4 5 0,2 5 0 0,-2-1 24 16,0-4 6-16,2 3-19 0,-2-3-9 0,6 3 32 16,-6-3-32-16,5 2 9 31,-5-2 12-31,5 0-5 0,0 3-8 0,-5-3-10 0,5 1 23 15,-5-1 6-15,8 1-27 0,-8-1 11 0,0 0-5 0,10-1 20 0,-10 1 13 0,8 0-18 16,-8 0-18-16,5 1 13 0,-5-1 21 16,0 0-24-16,8 0-9 0,-8 0 35 0,7 1-23 15,-7-1-13-15,0 0 13 16,8 0-21-16,-3 0 37 0,-5 0-6 0,5 3 13 0,-5-3-20 16,7 1 9-16,-7-1 4 0,3 2-14 0,-3-2 8 15,0 0 31-15,8 1-12 16,-5 1 63-16,-3-2 8 0,0 0-29 0,5 3 19 15,-5-3-21-15,0 0 3 0,5 3 17 0,-5-3-27 16,0 0 30-16,0 0-28 0,3 2-16 0,-3-2 47 16,0 0-77-16,0 0 0 0,0 0 15 15,7 0-28-15,-7 0 21 0,5-5 17 0,-5 5-12 16,6-6 0-16,-2 5-8 0,-1-4 10 31,3 3-10-31,-4-2-2 0,5 2 25 0,-4-3 0 0,3 4-5 0,-2-1 10 0,2 0-18 0,-2 1-28 16,-4 1 3-16,0 0 2 0,11 4 1 15,-6-2 1-15,-2 0 1 0,2 1 3 0,-2 2-24 16,1-2-2-16,-1 3-36 0,2-2-18 0,0-1 2 16,-5 2-45-16,5-1-3 0,-2-2 20 15,0-1-51 1,1 2-7-16,-4-3-26 0,9-2-36 0,-9 2-31 0,12-2 1 0,-6 1-1 16,0-3 8-16,2-2 46 0,0 2-25 0,0-1 56 15,0-3-1-15,-1 1 37 0,1-1 25 0,0-1 3 16,0-1 31-16,-1-3 25 15,1 2 5-15,2-4 44 0,-4 1 25 0,1-2 19 0,1-3 17 16,1 1 18-16,-3-1 21 0,-1 5 28 0,3-3-11 16,-3 5 11-16,0-1 35 15,0 2-4 1,-5 3-6-16,5 2-10 0,-3 0-28 0,-2 4 8 0,0 2 10 0,0 0-33 0,0 0-19 0,0 0 9 16,0 0-9-16,-7 16-12 0,2-6 5 15,3 0-2-15,-1 3-24 0,3 0-9 0,0 0 9 16,0 1-18-16,0-1 14 15,0 2 25-15,0-1-59 0,3 0-16 0,1-1-19 0,-1 0-11 16,0-1-29-16,1-2 6 0,0-2-56 16,0-1 5-16,-1-1-44 0,3 0-13 0,-2 1-58 15,2-5-21-15,-2 0-41 0,2 0-87 16,-2-2-89-16,0 0-418 0,-4 0-2 16,10-4 89-16,-6 2 67 0,-1-1 35 0,0-1 126 15</inkml:trace>
  <inkml:trace contextRef="#ctx0" brushRef="#br1" timeOffset="-183215.37">18748 8592 1182 0,'0'0'430'0,"0"0"-8"0,0 0-56 15,0 0-84-15,0 0-26 0,20-4 10 0,-10 4-17 16,1 0-24-16,5-2 41 15,2 1 0-15,2 0-15 0,3-1-41 0,3 2-39 0,2-3 3 16,3-1-15-16,2 4 5 0,0-6-46 16,-2 5 7-16,3-3-5 0,-1 1-15 0,-2-1-43 15,-1 3 7-15,-1-1-36 0,-5-1-48 0,-5 1-6 16,-3-1-53-16,-1 2-18 0,2 1-15 0,-8-2-65 16,1 1-56-16,0 2-135 0,-5-1-131 15,2 0-458-15,-7 0 91 16,9 2 124-16,-9-2 100 0,8 1 33 0,-6 1 28 0</inkml:trace>
  <inkml:trace contextRef="#ctx0" brushRef="#br1" timeOffset="-176010.67">814 10244 1610 0,'0'0'471'0,"0"0"-44"0,0 0-94 15,-11-2-3-15,11 2-25 0,-12 2-57 16,4 2-18-16,0-2-30 0,-4 4-13 0,1-1 10 16,-1 0-46-16,-1 2 8 0,0 1-19 15,-3-2-12-15,4 1 49 0,1 3 7 0,-4-2-61 16,7-1 18-16,-1-1-26 0,0 1-13 0,4-2 21 16,-2 2-33-16,4-2 7 0,0 2-35 0,1-3 2 15,2 2 25 16,0-3-12-31,2 3-16 0,1-1-30 0,2 0 25 0,3-2-22 0,0 2 12 0,2-4-33 0,-2 3 15 16,4-2-10-16,1-2-18 0,2 0-54 0,-2 0-10 16,1 0-13-16,3-1-23 0,-4 0-51 0,0-3-43 15,2 2-26-15,-5 0-123 16,0-2-177-16,1-1-473 0,-3 3 100 0,-1-2 107 0,-2-2 69 16,-2-1 103-16,2 4 40 0,-5-2 34 15</inkml:trace>
  <inkml:trace contextRef="#ctx0" brushRef="#br1" timeOffset="-175794.03">801 10173 1028 0,'1'8'364'0,"0"4"56"0,0 1-31 0,4 3-13 0,-2 2-33 0,2 4-15 15,0 3-139-15,0 0-7 0,2 0-16 0,-4 0 6 16,4 3-37-16,-4-2-19 0,0-5-14 15,2-1-28-15,-3 1-35 0,1-2-50 0,-3-4 1 16,0-1-31-16,0 1-69 0,0-6-23 0,2 3-85 16,-2-6-114-16,-2 0-485 15,2 1 42-15,0-1 86 0,-3-1 70 0,1-3 48 16</inkml:trace>
  <inkml:trace contextRef="#ctx0" brushRef="#br1" timeOffset="-175485.68">906 9957 1338 0,'16'12'420'0,"2"1"36"0,-3 3-47 0,-2 3-43 0,7 8 26 16,0 2-62-16,-1 3 18 0,-1 0-46 0,-3 0-41 16,0 5 13-16,-5-1-69 0,-2 1 0 15,-7-5-16-15,-2-2-66 0,-4 8-26 0,-6-1-46 47,-1 0-58-47,-6-2-26 0,0 2-65 0,-2 0-19 0,-1-3-111 0,0 0-202 0,1-3-556 16,2-4 67-16,-3-3 139 0,6-4 73 0,0-5 98 0,4-6 30 0</inkml:trace>
  <inkml:trace contextRef="#ctx0" brushRef="#br1" timeOffset="-173479.32">1673 10093 1348 0,'0'-5'500'15,"0"2"-58"-15,0 3-122 0,0-5-15 0,0 5-13 16,0-5-46-16,0 5-31 0,0 0-18 16,0 0-21-16,0 0 6 0,0 0 0 0,0 0-49 15,-10 13-3-15,7-3 11 0,-2-1-26 16,0 3-17-16,-3 1-14 0,0 5 8 0,0-3-18 16,-2 4-2-16,2-1-26 0,-2 2 0 0,3-4 8 15,-1 5 7-15,1-6-35 0,1 3 2 16,3-4 0-16,-2 4-17 0,0-1-9 15,3-4-2-15,2 1 5 0,0-3 8 0,0-2-26 16,2 3 16-16,-2-2-6 0,3-2-20 0,2 0-18 16,0-2 11-16,0 1-14 0,3-2 21 15,0-2-64-15,-1 0-5 0,1-2-8 0,3 1-33 16,-1-4-33-16,2 1-34 16,-1-1-84-16,1 1-126 0,1-2-450 0,0 0 26 0,-3-2 104 15,0 0 98-15,-2 3 66 0</inkml:trace>
  <inkml:trace contextRef="#ctx0" brushRef="#br1" timeOffset="-173304.63">1545 10318 957 0,'0'0'356'0,"0"0"-44"0,0 0-25 0,0 0-11 0,0 0-30 16,18-5-49-16,-8 5-108 0,0 0-35 0,2-1-28 15,2-1-65-15,3-1-71 16,-1 2-56-16,2-1-36 0,-5-2-70 0,2 2-393 16,0-2 58-16,1 2 29 15</inkml:trace>
  <inkml:trace contextRef="#ctx0" brushRef="#br1" timeOffset="-173104.44">1557 10209 839 0,'-4'-3'351'0,"4"3"-24"0,0 0-48 15,7-6-20-15,-2 4-34 0,3-2-28 0,2 3-18 16,3-1-56-16,2-1-79 0,1 2-136 0,4-1-95 16,-5-1-261-16,8 1-282 0,4-3 60 15,0-1 94-15</inkml:trace>
  <inkml:trace contextRef="#ctx0" brushRef="#br1" timeOffset="-172929.39">2132 10075 1087 0,'0'0'346'15,"0"0"-52"-15,0 0-7 0,-8 10-31 16,3-4-18-16,-3 2-41 0,0 4-5 0,-1 0-23 16,0 2-8-16,-1-1-23 0,0 6 8 0,0-1 59 15,-3 1-59-15,3 0-10 0,0 0-49 16,-1-1-49-16,1 1-61 0,0 0-182 0,0 0-168 15,2-1-454-15,-2-3 54 0,2 0 110 16,3-4 36-16,-3-2 97 0</inkml:trace>
  <inkml:trace contextRef="#ctx0" brushRef="#br1" timeOffset="-172685.98">1842 10256 1220 0,'0'0'392'0,"0"0"-26"0,0 0-38 16,0 0-31-16,18 6-18 0,-13 0-26 0,3-2-48 0,4 3 0 15,-1-1-18-15,1 1-34 0,4 1-22 0,2-2 12 16,0 1-23-16,-1-1-35 16,7 4-8-16,-6-3-19 0,2-2-42 0,1 1-26 0,-4-2-37 15,1 1-68-15,-4-4-66 0,3 2-98 16,-7-1-169-16,4-2-412 0,-2 0 120 15,-1 2 79-15,-1-2 80 0,0-2 31 0</inkml:trace>
  <inkml:trace contextRef="#ctx0" brushRef="#br1" timeOffset="-172257.82">2301 9994 1451 0,'0'0'422'0,"0"0"-46"0,-6 10-38 16,4-1-28-16,2 1-28 0,-2 4-8 15,2 3-11-15,0 4-40 0,2 4-3 0,-2 4-28 16,0-1-8-16,0 3-46 0,-2 12-4 16,2-2-37-16,-3 0-13 0,1-6 1 0,1-5-31 15,1-3-26-15,-2-1-21 0,0-1 11 16,2-2 3-16,0-8-6 0,-3 2 11 0,3-3 17 15,-1-2 14-15,1-2 30 0,0-2-11 0,-1-1-7 16,1-3 1 0,-1-1 29-16,1-3-6 0,0 0-14 0,0 0-77 0,0 0 24 15,0-15 23-15,0 5-8 0,1-4 5 0,4-2 10 16,-3-1-18-16,3-6-17 0,3 0 7 0,2 1 31 16,0 2-18-16,1-1-26 0,1 2 24 15,2 4 86-15,-2 4-56 0,-1 0 5 16,-1 3-7-16,0 2 20 0,2 1-15 0,-4 2 10 0,-3 3-72 15,0 0-5-15,-5 0 26 0,6 7-13 16,-6-1-6-16,-3-1 32 0,0 3-34 16,-4 0 8-16,-1 4-33 0,-2 0-57 0,0 0-12 15,-3-1-47-15,2-1-40 0,-1 1-52 0,0 0-48 16,1-3-80-16,0-2-223 0,4 0-475 0,1-3 156 16,4-2 38-16,2-1 105 0,0 0 66 15,0 0 60-15</inkml:trace>
  <inkml:trace contextRef="#ctx0" brushRef="#br1" timeOffset="-171736.48">2701 9854 1267 0,'0'0'414'0,"-3"15"-22"0,3-8-24 16,0 5-48-16,0 4-28 0,0-1-18 0,0 4-26 15,0 5-2-15,-2 1-8 0,1 4-51 16,0-1 0-16,0 10-34 0,-1 2-30 16,-4-5-18-16,2-4-5 0,0-2-41 0,2-2-41 15,-3-2-26-15,2 0-51 0,-2 0-10 16,3-6-59-16,2-1-87 0,0-2-112 0,-7 0-126 16,7-4-441-16,2-1 154 0,0-3 49 0,1-1 46 15,2-2 69-15</inkml:trace>
  <inkml:trace contextRef="#ctx0" brushRef="#br1" timeOffset="-171023.62">2996 10160 980 0,'-2'-4'333'0,"2"4"-21"0,-6-1-7 0,6 1-60 0,-7 1 21 16,7-1-51-16,-11 4-7 0,4-1-9 16,1 2-35-16,-1 1 5 0,-1 0-38 0,-2 1 15 15,2 1-21-15,-2 1 54 0,2-1 13 16,0 3-25-16,1-3-55 0,1 1-4 0,2 0 2 16,0-2-3-16,0-1-35 0,1 1-8 0,3 0 15 15,0-2-30-15,3 1 10 0,-1-2-28 16,1-1-11-16,4 0-2 0,-1 0 38 15,-2-3-10-15,2 0-15 0,1 0 7 0,1 0-17 16,0-3 30-16,0 0-12 0,2 0 19 16,-2-1-4-16,-1-2 28 0,1 1 8 31,0-1-85-31,2 2 15 0,-5-2 21 0,2-1-2 0,-1 2 17 0,-1-1 10 0,0 2 9 16,-2-2-11-16,2 4 18 0,-3-3-1 0,1 2 1 0,-1 0-15 15,-2 0-13-15,0 3 20 16,6-5-46-16,-6 1 13 0,0 4-20 0,3-1 2 15,-3 1-21-15,0 0 34 0,0 0-31 0,0 0 3 0,0 0 25 16,0 0-2-16,4 11-24 0,-4-9 9 16,-2 4-19-16,2 0-4 15,0-2-37-15,-1 3-7 0,1-2 18 0,0 1-37 0,1 1-1 0,-1-1-11 16,2 0-10-16,-2-2 20 0,3 1 16 16,-1 1-3-16,-1-2-3 0,4-1 19 0,-2 0-11 15,1 0 8-15,1-3 13 0,-5 0-11 16,11 0 24-16,-11 0-21 0,12-3 33 0,-6 0-5 15,1 0 6-15,-1-3-11 0,1 0 20 16,-2 1 16-16,3-3-5 0,-3 3 8 16,1-5 22-16,1 6-10 0,-4-2 21 15,2 0-5-15,-2 2 33 0,1-2-36 0,-1 4-8 16,0-2-5-16,-1 2 6 0,-2 2-24 0,5-3 16 0,-5 3-16 16,0 0 36-16,0 0-48 0,8 8 12 0,-5-5 6 15,-1 3 7-15,0 1-28 16,-1-2 0-16,1 1-46 15,-2-1-28-15,3 1 2 0,-1 0-7 0,-1-2-52 0,0 2-12 0,2-1-13 16,0 0-49-16,-3-2-54 0,2 1-79 16,1-3-104-16,-3-1-467 0,5 6 3 0,-2-6 140 15,-3 0 101-15,0 0 56 0,7 0 76 0</inkml:trace>
  <inkml:trace contextRef="#ctx0" brushRef="#br1" timeOffset="-170878.03">3245 10066 929 0,'0'0'284'0,"-3"-4"-108"16,3 4-132-16,0 0-139 0,0 0-542 16,0 0 81-16</inkml:trace>
  <inkml:trace contextRef="#ctx0" brushRef="#br1" timeOffset="-170554.26">3312 10122 1172 0,'0'5'348'16,"2"0"-26"-16,-2 0 32 0,0 2-6 0,0-1-46 15,2 0-33-15,-2 1-3 0,3 2-23 0,-3-5-20 16,2 2-11-16,1-1-2 0,-3 1-18 0,2-2 0 0,-1 0 18 15,1-1-72-15,1 0 18 0,-1 1-5 0,-2-4 3 16,2 3 15-16,-2-3-18 0,3 3-8 0,-3-3 6 16,0 0-29-16,0 0 64 0,0 0 3 15,11-6-8-15,-11 6-48 0,3-4 15 0,-3 4-16 16,7-1-2-16,-7 1-25 0,5-2 4 0,-5 2-28 16,8 0-25-16,-8 0-26 15,10 2-40-15,-6-1 24 0,3 3-30 0,0-3-66 16,-2 5-39-16,0-5-43 0,3 5-11 15,-3-2-84-15,0-2-26 0,3 3-35 0,0 0-167 0,-1-2-504 0,1 0 18 16,-1-1 112 0,3-2 103-16,1 0 81 0,2 0 57 0,0-5 77 0</inkml:trace>
  <inkml:trace contextRef="#ctx0" brushRef="#br1" timeOffset="-170286.28">3729 10090 1200 0,'-5'-2'407'0,"0"0"-36"0,0 1-48 0,-1-2-29 16,6 3-5-16,-13 0-28 16,13 0-23-16,-10 3-17 0,6 0-12 0,0 0 22 15,-3 0-78-15,4 3 9 0,1 1-1 0,-1 2-13 16,1 1 11-16,2-1-18 0,0 0 5 16,0 3 20-16,0-1-125 0,0 0 18 0,0-2 15 15,0 4 3-15,0-3 7 0,0-1-9 0,0 1-1 16,-3-1-2-16,1-3 17 0,1 4 6 15,-1-2-44-15,-3-1-36 0,2 0-4 0,-4-2-68 16,2 1-22-16,-1 0-11 0,-2-2-96 16,2-1-35-16,0 3-155 0,-2-5-133 15,3 3-446-15,-1-2 67 0,4 0 128 0,2-2 81 0,0 0 83 16,0 0 58-16</inkml:trace>
  <inkml:trace contextRef="#ctx0" brushRef="#br1" timeOffset="-169455">4639 10000 1282 0,'-2'-6'425'0,"2"6"-31"16,-1-2-33-16,1 2-36 0,-7-1-51 16,7 1 5-16,0 0-110 0,-13 6 5 0,5-3-26 0,1 3 6 15,-1 1-34-15,-2 2-7 0,0 0-3 16,-1 1-23-16,1 0-5 0,0 1 0 16,2-1-16-16,-2-1 1 0,2 1-11 0,3-2-17 15,0 0-11-15,0 1-10 0,0-5-6 0,4 2 19 16,1-1-21-16,0-2 6 0,0-3 27 15,3 3-27-15,-3-3 4 0,10-1-2 0,-10 1 13 16,14-5-3-16,-7 1-8 0,1 1 6 16,2-3-13-16,-2 0 18 0,-1 1-6 0,1 2 16 15,-3-2-26-15,0 0 31 0,0 3-28 0,-2 0 5 16,2 0 26-16,-5 2-36 0,0 0 2 16,0 0 1-16,13 5-11 0,-11-1 18 15,1-1-21-15,-1 2 9 16,1 0-4-16,-1-2-35 0,4 3 8 0,-4 0 17 0,4-2-12 0,-2-2-1 15,2-1 9-15,-1 1-1 0,3-4-5 16,2 1 5-16,0-3 16 0,1-3 28 0,1 0-8 16,1-1 11-16,0-3 7 15,-1-2-13-15,-2 1 59 0,4-5-18 0,-4 0-10 16,0-3 95-16,-2-1-11 0,2-3-12 0,-2 2 0 0,-1-3-16 16,2-7-25-16,-2 2 15 0,0 6 18 15,-1 0-16-15,-2 8-9 0,2-1 50 16,-3 4-17-16,2 0-21 0,-3 4-48 0,-1 5 33 0,1 0-16 15,-2 4-17-15,0 0 40 0,0 0-38 16,5 17-25-16,-5-3 4 16,0 4 19-16,-3 3 7 15,1 3-40-15,-1 5-34 0,1-2 0 16,-1 3 0-16,0-3 0 0,2 2 0 0,0-2 0 16,-2-2 0-16,3-3-70 0,0-1-60 0,3-3-47 0,-3-4-7 0,1-1-41 0,1 1-52 15,0-5-32-15,3-1-106 0,-10-2-220 0,13 0-427 16,-3-2 84-16,0-1 97 15,0-3 93-15,1 0 76 0,-6 0 88 0,15-7 66 0</inkml:trace>
  <inkml:trace contextRef="#ctx0" brushRef="#br1" timeOffset="-169068.98">4985 9970 1244 0,'0'-3'401'0,"0"3"-6"0,0-5-37 0,0 5-36 0,0 0 14 0,0 0-70 0,0 0 5 16,8 13-56-16,-6-7 8 0,1 0-39 0,0 4-22 15,0-1 1-15,1 4-22 0,-1-1 5 16,-1 1-41-16,1-1-13 0,-1 1 3 0,-2-1-29 16,3-1-2-16,-3-3-2 0,1 2-11 15,1-1 3-15,-2-2 12 0,0-2 39 16,0 0 113-16,2 0-11 0,-2-2-79 0,0-3 54 15,0 0-36-15,0 0 25 0,0 0-61 0,0 0 16 16,6-13-11-16,-2 6 23 0,-1-1-28 16,2-4-10-16,0-1-28 0,3-3 7 0,0 1-94 15,0 0-6-15,-1 2 3 0,4-1 3 16,-1 1 0 0,0 0 2-16,0 0-51 0,-2 4-5 0,0 1-39 0,1 2-30 15,2 0-39-15,-3 3-38 0,2 0-35 0,-2 3-55 0,0 0-112 0,-1-1-134 16,3 5-465-16,-2-1 123 0,-2 3 64 15,1 1 104-15,-2 3 60 0,0-2 101 16</inkml:trace>
  <inkml:trace contextRef="#ctx0" brushRef="#br1" timeOffset="-168814.64">5288 10111 1325 0,'3'-8'453'0,"-1"-1"-53"0,0 3-37 0,1-2-7 0,0 0-105 15,-1-2-13 1,-1 4-8-16,0 1-4 0,0-2-4 0,-1 4-35 0,-1-2-20 0,0 1-6 16,1 4-20-16,-6-3 28 0,6 3-39 15,0 0 29-15,-10 5-16 0,7-2-28 16,-2 3-15-16,0 1 8 0,3-1-6 0,-1 0-23 16,0 1-2-16,1 2-26 0,2-2 11 0,0 0-16 15,2 0-49-15,1 0-27 0,0-1-40 16,1 0-70-16,4-1-42 0,0-2-46 0,0 0-43 15,2-1-144-15,1-1-509 0,1 1 51 0,1-4 90 16,3 2 107-16,6-1 39 0,-2-3 53 16</inkml:trace>
  <inkml:trace contextRef="#ctx0" brushRef="#br1" timeOffset="-168328.27">5611 10031 1220 0,'0'-5'400'0,"0"2"-60"0,0-1-20 0,-3 0-13 16,0 2-46-16,3 2 6 0,-4-3-37 0,4 3-28 16,0 0-17-16,-16 3-17 0,11 0 1 15,-2 0-18-15,1 2-23 0,1-1 13 0,-2 2-46 16,1-2-16-16,2 2 3 0,1 1-5 15,-2-2-21-15,2 0-7 0,3 0 2 0,0-2-18 16,0-3-12-16,2 6 7 0,1-2 18 16,3-2-15-16,1-2-26 15,1 1 21-15,2 2 4 0,-2-3-9 0,2 1 12 16,0 1-33-16,0-2 18 0,0 2-16 0,1 0-4 0,-4-1 7 16,1 0-23-16,2-1-20 0,-2 3-39 15,0-2-56-15,-3 0-11 0,3 0-58 16,-3-1-123-16,2 0-120 0,1 0-410 0,-3-1 20 0,3-1 129 15,0-1 84-15,0-1 77 0</inkml:trace>
  <inkml:trace contextRef="#ctx0" brushRef="#br1" timeOffset="-167482.91">5937 9794 980 0,'2'-5'491'0,"-2"2"-43"0,0 2-74 16,0 1 0-16,0 0-106 0,0 0-6 0,0 0-35 15,0 13-4-15,0-6-21 0,-2 4-17 0,1-1-27 16,1 6-12-16,-2-2-23 0,-3 3-5 16,5-3-24-16,0 3-19 0,-3-3-24 0,3-1 10 15,0 0-17-15,0-1-3 0,0-2-3 0,0-1 3 16,3-2-13-16,-3 2 26 16,0-5-8-16,0 1-15 0,0-1-13 0,0-4 25 15,0 0-32-15,-3 2 19 0,3-2 6 0,0 0 2 0,0 0 11 16,-15-3-21-1,9 0-20-15,-1 3 30 0,0 0-4 0,7 0-4 0,-16 0 4 0,6 3-24 16,-1-1 92-16,1 0-10 0,2 2-12 16,-2 1-14-16,0-2 9 0,5 2-14 15,-3 1 11-15,1 0-34 16,4-1 6-16,-2-2-14 0,2 2 4 0,1-3-17 0,2 3 1 16,0-5-38-16,4 3 45 0,2-2-50 0,-6-1-26 15,15 1-11-15,-5-1-4 0,1-1-1 16,4-3 11-16,-2 4-11 0,2-4 34 0,0 3-21 0,1-2 26 15,-1-1 10-15,-1 1-13 16,-2-1-9-16,1-1 22 0,0-1 0 0,-6 4-5 0,3-3 0 16,-2 2 20-16,0 0 8 0,-3-3 0 15,3 5 16-15,-3-2-11 0,0 0-10 0,-2-3 10 16,2 3-15-16,0-1 23 0,-2 2-41 16,1-2 36-16,-1 2-21 0,2-1 26 0,-2 1-31 15,-3 2 23-15,5-5 14 0,-5 5-40 16,5-2 19-16,-5 2 10 0,3-5-1 0,-3 5-9 15,3-1-1-15,-3 1 16 0,4-3 0 0,-4 3 21 16,0 0-3-16,3-2 33 0,-3 2 2 16,0 0 24-16,0 0 13 0,0 0 9 15,0 0-45-15,0 0-6 0,0 0-4 0,0 0-3 0,0 0 10 16,0 0-33-16,0 0 28 16,0 0-8-16,0 0 18 0,-8 10-12 0,6-7-32 15,2 2 24-15,-3 0-13 0,3-2 0 0,0 2-5 16,0 1-5-16,0-1 7 0,0 0-38 0,0-2 41 15,3 2 2-15,-1-1-12 0,1-1-3 16,2-2 11-16,0 3-37 0,1-3 14 0,-1 0-6 16,-5-1 21-16,17-1-1 0,-8-1-1 0,1-1-19 15,0-1-3-15,2-1 19 0,-1-1 10 16,1 0-16-16,2 0-32 0,-2-1 6 0,-1-2 29 16,3 1-17-1,-3 2 6-15,-1 1-1 0,-2-1-75 0,0 4 38 0,-1-3-5 16,-2 5-15-16,1 0 21 0,-6 0 43 0,10 6 61 15,-5 1 8-15,0 3-18 0,-3 2-20 0,1 3-3 16,0 4-5-16,-1 0 10 0,-2 3-41 16,0-1 54-16,0 3-31 15,-2 3-33-15,-3-3-41 0,0 0-33 0,-3 0-28 0,0-3-62 0,-2 2-51 16,0-4-23-16,2-4-67 0,0 0-33 16,1-6-153-16,-1 1-633 0,2-1 103 0,2-4 140 15,-2-1 34 1,1-2 79-16,0 0 113 0,5-2 77 0</inkml:trace>
  <inkml:trace contextRef="#ctx0" brushRef="#br1" timeOffset="-166984.85">6908 9675 1412 0,'0'-5'436'0,"3"4"-52"0,-3 1-8 15,0 0-28-15,0 0-8 0,2 11-2 0,-1-4-18 16,1 6-54-16,-2 0-48 0,-2 2 74 0,1 6-18 15,1-1-121-15,-2 5-2 0,-1 3 0 16,0 0-33-16,-1-3-21 16,-2 4-7-16,4-2-34 0,-6 8-30 0,3-7-42 0,2-4-58 0,-1-5-28 15,1-2-29-15,3-3-20 0,-3-2-28 16,3-4-38-16,0 2-50 0,3-7-88 0,0 1 55 16,-1-2-232-16,-2-2-285 0,15-6 11 0,0 2 107 15,1-5 144-15,2-4 25 16</inkml:trace>
  <inkml:trace contextRef="#ctx0" brushRef="#br1" timeOffset="-166711.02">7183 9812 1046 0,'0'-6'400'0,"-3"-1"-21"0,0 2 10 15,-1 3-118-15,-2 1-30 0,-2 1-24 0,1 0 11 16,-3 1-3-16,-1 1-15 0,-2 3-28 0,-2-3-16 16,-1 5 26-16,1 1-33 0,0-1-6 15,-3 1 93-15,5 3-31 0,-2-3-10 0,1 3 5 16,2 1 0-1,2 0-21-15,-1 0-38 0,4-3 36 0,-1 4-49 0,3-1 16 0,0-1-39 16,2 0 36-16,3-2-2 0,0 2-27 0,3-3-19 16,0 3 4-16,2-3-25 15,2 2-18 1,1-3 10-16,2-1-25 0,1-3-41 0,1 3-44 0,-1-3-31 0,4-1-27 0,-2-2-52 16,2 0-59-16,0 0-46 0,1 0-48 0,-1 0-170 15,-2-1-611-15,0-1 107 0,2 0 77 16,-2 1 116-16,2-1 132 15,1-1 47-15,5 2 40 0</inkml:trace>
  <inkml:trace contextRef="#ctx0" brushRef="#br1" timeOffset="-165760.5">7301 9864 934 0,'0'0'389'0,"0"0"-33"15,-4 12-34-15,4-5-22 0,0-2-42 0,0 2-10 16,0 2-27-16,-1-1-19 0,1 3 0 16,-1-3-36-16,-1 3-12 0,2-2-16 0,-3 2-20 15,3-4 5-15,-2 3-18 0,1-2-13 16,1-1 46-16,-2-1-38 0,2 0 18 16,0 1 17-16,0-4 11 0,-2 0-64 0,2-3-15 0,2 6-6 15,-2-6 21-15,0 0 10 0,0 0-33 16,0 0 33-16,0 0-20 0,12-7 10 15,-6 4-5-15,-3-2-24 0,4 1 17 0,-2-2-19 16,1 3-8-16,1-1 34 0,1-2-18 0,-3 4-10 16,3-1-6-16,-3 2-10 0,2-1-7 15,1 2 10-15,0 0-11 0,-1 2 1 16,1-2-8-16,0 4-8 0,0-2-43 0,-3 4-21 0,3-4-36 16,-3 3-4-16,2 0-47 0,-1-3-25 15,-2 4-39-15,4-2-43 16,-3-2-85-16,1 3-125 0,1-4 28 0,-2-1 56 0,3 0-46 15,0 0 87-15,2-1 29 0,-2-4 53 16,-1 4 64-16,1-2 54 0,0-2 54 16,0 1 81-16,-3-2 11 0,2 3 79 0,-2-2 28 0,-1 0 8 15,0-1 41-15,1 1-7 0,-2 3-4 16,2-2 6-16,-5 4-18 0,3-3 15 0,-3 3-30 16,0 0-1-16,0 0-2 0,0 0-46 0,0 0-10 15,2 12 51-15,-2-7-57 16,0 0 21-16,0 1-28 0,2-1-31 0,-2 5 8 15,3-4-13-15,2 1-23 0,1-2 16 0,-1 1-16 16,2-3 0-16,1 3 0 0,-1-4-8 0,4 2 44 16,-4-3-16-16,1-1 13 0,0 0 31 15,0-2 13-15,-3-2-8 16,3 1 29-16,-4-1-1 0,-3-1-2 0,1-1 89 0,-2 2-38 0,0-3 5 16,-3-2-26-16,1 3 13 15,-3-2-22-15,-2 0-4 0,1 0-40 0,-2 0 12 0,1 2-17 16,-1 1-6-16,0-1-9 15,0 4-19-15,1 1 5 0,-3 0-48 16,4-2-5-16,-3 3-52 0,3 4 19 0,-1-3-57 0,-1 1-6 0,3 3-52 16,-1 0-22-16,1 0-106 0,1-1-109 0,1 2-252 15,0-1-226-15,3 1 51 0,0-1 92 16,0 0 75-16,3-2 79 16,-1 3 64-16</inkml:trace>
  <inkml:trace contextRef="#ctx0" brushRef="#br1" timeOffset="-165251.95">7775 9950 1174 0,'0'0'359'0,"0"0"-106"0,0 0-12 0,0 0-21 0,0 0 0 16,0 0-38-16,0 0-29 0,0 0 6 0,-11 7-13 15,9-2-26-15,2-1-2 0,-3 2-10 0,1-2-14 16,2 2-9-16,-2-1 7 0,2 2-20 16,0-1-19-16,2 0 6 0,0 1-3 0,1-1-4 15,-1-1-11-15,1 0-23 0,0-3 5 0,2 2 10 16,0-2-18-16,0-2 18 0,0 0-20 16,2 0 13-16,-7 0 25 0,14 0-25 0,-7-2-8 15,1-1 17-15,0 0 22 0,0-1-29 0,-3 3 15 16,2-4 3-16,-2 4 18 0,1-1 11 15,-1-1-9-15,0 3-22 16,-5 0 2-16,8-3-8 0,-8 3-10 0,0 0 3 0,10 1 2 16,-10-1-12-16,8 5 4 0,-6-3-12 15,1-1 10-15,-1 3-12 0,4-2-6 0,-2-1 10 16,-1 3 8-16,4-2-20 0,-1-2 2 0,-1 2 18 16,-5-2 41-16,10 0 5 0,-2 0 31 15,-3-2 12-15,3 0-4 0,-3-3 4 16,0 3-1-16,2-3 27 0,-4 0-10 0,2-1-39 0,1 3 96 15,-4-4-27-15,1 1 11 0,-1 0-41 16,1 0 23-16,-1-1-61 0,-2 1-24 0,1 0-43 16,-1 1-40-16,0 0-65 15,-1-1-49-15,1 3-23 0,-2 0-35 0,2 3-95 0,-3-7-149 16,1 7-281-16,2 0-322 0,-3-3 117 16,3 3 76-16,0 0 88 0,0 0 64 0,-2-3 82 15</inkml:trace>
  <inkml:trace contextRef="#ctx0" brushRef="#br1" timeOffset="-164950.31">8103 9904 1343 0,'2'3'412'0,"-1"2"-71"0,4 0-11 32,-3-2-30-32,3 5-21 0,-2-5-26 0,0 4-28 0,-1-3-23 0,0 2 1 15,1-3-16-15,0 2-8 0,-1-3-5 0,1 2 0 16,-3-3 20-16,0-1-4 0,5 5-88 15,-5-5 3-15,8 1 15 0,-8-1-17 0,10-3 81 16,-5 3-7-16,0-4-13 0,3 3 40 0,-3-2-27 16,0 2 17-16,2-2-22 15,1 0-82-15,-2 2-6 0,1 0-7 16,-1 1-16-16,-6 0-2 0,12-1 5 0,-6 2-18 0,1 0-25 0,-2 0 7 16,0 2-8-16,0 0-48 15,1 0-3-15,-3-1-84 0,1 2-20 0,-1-1-47 0,2 1-64 31,-3-1-64-31,4 2-107 0,-4-4-302 0,1 3-302 0,2-3 130 0,-2 3 64 16,2-2 105-16,2-1 34 0,1-1 78 0</inkml:trace>
  <inkml:trace contextRef="#ctx0" brushRef="#br1" timeOffset="-164337.62">9306 9612 1164 0,'-9'10'471'0,"7"-3"-41"0,2 2-31 0,-5 0-43 0,5 1-49 16,-5 2 1-16,5 3-58 0,-2 1-4 16,-1 3-13-16,3-1-105 0,0 4-41 15,-3-6-15-15,6 2-11 0,-3-4 11 0,0 2-3 16,3-4-25-16,-3 0-14 0,2-3-12 15,0 1 15-15,1-2 6 0,-3-1 12 0,3-1-18 16,-1-2-20-16,-2-1 23 0,0-3 5 0,0 0-13 16,0 0-13-16,0 0 3 0,0 0 5 15,0 0 3-15,-12-11-23 0,6 7 2 0,-2-1-5 16,-2 0 5-16,-2 0-5 0,1 1 7 0,-1 1 9 16,-1 2 22-16,-3 0-28 0,1 1 31 15,0 1-43-15,-1-1-8 0,3 4 38 16,-2-1 2-16,2 3-12 0,2-1-25 0,-1 1 30 0,2 0-10 15,2 0 4-15,0 1 4 0,1 0-19 16,2-1 24-16,2 1-23 0,1-1 2 0,2 0 10 16,0-2-2-16,4 2-26 0,-1-3 5 15,4 3 21-15,2-2-8 16,3-1-30-16,1 0-14 0,0-2-12 0,2 0-49 0,5-1-15 16,-2-2-44-16,6-1-43 0,-4 2-100 0,6-11-133 15,-5 12-412-15,1-3 56 0,-1 0 66 0,2 0 93 16,-5-1 26-1</inkml:trace>
  <inkml:trace contextRef="#ctx0" brushRef="#br1" timeOffset="-163222.65">9605 9829 936 0,'-2'-4'359'15,"2"4"-4"-15,-5-2-27 0,5 2-51 0,-5-4 7 16,5 4-54-16,-8 0-7 16,8 0-41-16,-10 1 7 0,4 1-7 0,6-2-24 0,-13 3-14 15,6-2-9-15,0 4-19 0,-1-4 1 0,2 3-2 16,-1-3-30-16,2 5 22 15,-3-5-14-15,5 3-35 0,-4 1 19 0,2-2-38 16,2 1 9-16,-2-1-25 0,3 1 21 0,1-2-13 16,-1 3-26-16,2-5 7 0,0 4-14 15,0-4-16-15,0 0 10 0,5 4 3 0,-5-4 10 16,8 0 3-16,-8 0-21 0,10 0 8 0,-5 0 15 16,-5 0-10-16,10 1 11 0,-5 1-1 15,-5-2-8-15,11 1-2 0,-7 0-10 0,2-1-8 16,-1 1 16-16,0 2 17 0,-2-1-18 0,4 0 14 15,-2 1 14-15,1-2-50 16,2 0 17-16,-1-1-99 0,-7 0 30 0,15-3-3 16,-7 0 19-16,2 0-6 0,-2-2 39 0,5-1 10 15,-3 0 8-15,1-1 23 0,1 0 15 0,-2-3 28 16,1-1 39 15,-1 1-10-31,0-1 9 0,0-1 39 0,-2 0-35 0,0-1 4 0,-3 1 23 0,0-1-9 0,0 0-11 0,0 1 17 16,-4 0-4-16,3-1 23 0,-1 5 10 0,0 1 79 15,-1 0-71-15,1 2 20 0,-3 1-48 0,0 4 12 16,0 0 3-16,0 0-31 0,0 0-5 16,0 0-10-16,-13 17-15 0,10-9-37 15,-2 5 21-15,0 0-115 0,0 4-59 0,0-1 28 0,3-2-53 16,-1 1-3-16,2-2-39 16,-1 2-20-16,2-2-18 0,2-1-20 0,-2-3-36 15,4 4-34-15,-2-7-73 0,0 4-121 16,1-3-144-16,2-2-304 0,-3-2 123 0,4-2 51 15,-3 2 57-15,-3-3 104 0</inkml:trace>
  <inkml:trace contextRef="#ctx0" brushRef="#br1" timeOffset="-162684.37">9634 9718 1103 0,'0'0'430'0,"0"0"-44"0,-3-4-35 0,3 4-34 16,0 0-30-16,0 0-23 0,0 0-16 0,0 0-102 16,18-1-23-16,-11 1-16 0,1 0 1 0,0 1-1 15,5-2-15-15,-3 1-10 0,6 0 0 16,1 0-25-16,1 0 4 0,1 0-38 0,6 0-3 16,-2 0-43-16,2 0-10 0,1-2-26 0,0 2-17 15,-1-1-24-15,2 1-13 16,-2-4-23-16,1 4-10 0,-4-1-25 0,1 0 74 0,-2-3-26 15,2 4-10-15,-5-5 35 16,-2 4 58-16,-1-1 9 0,-2-3 15 0,-1 3 52 0,-4-1 36 16,2 1 25-16,-4-2 11 0,-1 3 2 0,0-1-5 15,-2-2 28 1,-3 4-5-16,0 0-21 0,0 0 11 0,0 0 18 16,-11-3-11-16,11 3-5 0,-13 3 11 0,6-3 2 0,-1 4-5 15,-2-1-5-15,2 1 2 0,-2-2-12 0,-1 3-39 16,1 2-12-16,0-1 2 0,0 0 10 15,2 1-18 1,3-2-33-16,-3 1 5 0,3 0-10 0,2 0-41 0,1-1-2 16,2-1-6-16,0 1-15 0,0-5 15 0,8 4 16 15,-3-2-3-15,0-2-15 0,3 0 7 0,2-2-2 16,-3-1 20-16,2 3 6 0,1-1 9 0,0-1 1 16,0 1 12-16,0-1-12 0,0 2 0 15,-1 0 5-15,1 2-3 0,0 0-10 0,-2-1 18 16,-1 0 5-16,4 2-36 0,-6-1-10 0,2 2 3 15,1-2-83-15,-1 3-25 0,-1-3-69 16,-1 4-87-16,2-6-169 0,-1 0-476 16,-3 6 92-16,1-6 97 0,2 4 67 0,-4-1 51 15</inkml:trace>
  <inkml:trace contextRef="#ctx0" brushRef="#br1" timeOffset="-161614.92">13738 9651 1269 0,'0'0'456'0,"0"0"-34"0,0 0-41 0,0 0-30 16,-12 9-115-16,7-6-9 0,-6 4-52 0,1-1-12 0,0 5 19 15,-3-1-31-15,0-1-20 0,-3 2 12 16,2-2-28-16,-2 2-10 0,3 0 15 0,1 0-17 16,-2-1-37-1,2 0 11-15,4-3-21 0,-3 1 26 0,4-2-20 0,2 1-11 0,2 2 13 16,1-3-26-16,2-2 16 0,0 2-10 15,3 1 12-15,4-2-33 0,-2 1 0 0,3 0 100 16,2 1-39-16,3-2 16 0,0-1-31 0,0-2-10 16,2 0-23-16,1 1-33 15,1-3 4-15,-1 0-60 0,2 0-24 0,0-3-41 0,0 2-15 16,-3-1-69-16,1-2-123 0,-2 1-98 16,-1 0-470-16,0-4 30 0,-5 4 126 15,-3 0 46-15,0-3 64 0,0 1 59 0</inkml:trace>
  <inkml:trace contextRef="#ctx0" brushRef="#br1" timeOffset="-161372.78">13690 9619 1105 0,'5'10'476'0,"-3"-4"-53"0,1 3-19 0,2 1-89 0,0 3-41 16,2 4-16-16,-1-1-12 0,2 9-15 0,-3 0-29 15,2 0-31-15,1 8 11 0,-5-4-26 16,1-3-18-16,-3-2-20 0,2 0-26 16,-1-4-38-16,-2 2-21 0,-2-2-46 0,2-1-20 15,-3-1-23-15,0-4-54 0,1-1-41 0,0 0-103 16,-2-1-112-16,0-3-486 0,1-2 20 16,-2-4 136-16,2 1 48 0,1-1 90 0</inkml:trace>
  <inkml:trace contextRef="#ctx0" brushRef="#br1" timeOffset="-161082.54">13774 9425 1359 0,'21'11'463'0,"-1"0"-41"0,1 2-25 0,9 8-31 15,1 3-25-15,0 2-29 0,0-1-18 16,3 11-5-16,-6-6-25 0,-5 2-41 0,-1-1-36 16,-4 3-8-16,-2-2-20 0,-6 3-14 0,-2-5-9 15,-5-4 7-15,-3 1-38 0,-4 1-25 0,-6 6-27 16,-2 4-47 0,-6-4-37-16,-1 0-15 0,-3-3-36 0,-1-5-36 0,-3 3-23 0,1-2-109 15,-3-5-196 1,4-1-544-16,4-4 94 0,2-4 123 0,0-1 97 0,2-3 54 0,1 1 43 15</inkml:trace>
  <inkml:trace contextRef="#ctx0" brushRef="#br1" timeOffset="-158277.4">14687 9694 1121 0,'0'0'476'0,"-3"-2"-46"0,3 2-28 16,-2-5-6-16,2 5-50 0,0 0 2 16,5-5-31-16,0 4-53 0,3-4-10 0,2 4-45 15,0-4 9-15,3 2-121 0,0-2 13 0,0 1-28 16,2 1-2-16,0-2-42 16,3 2-7-16,-2 0-44 0,-3-2-28 0,2 1-46 0,0 0-5 15,-2 2-31-15,0-2-23 0,-2-1 0 0,1 4-15 16,-4-2-11-16,2-1 14 15,-5 2 9-15,1-2 8 0,-2 2 16 0,-1-1 20 16,0 0 10-16,-3 3 47 0,0-5 30 0,0 5 0 16,0 0 31-16,-6-5 15 0,6 5 5 15,0 0 36-15,0 0-7 0,-12 6-9 0,7-1 19 16,-1 0 18-16,-1 0 7 0,2 2-28 0,-1 2 5 16,1-2 31-16,-2 5-36 0,-1-3-7 15,-2 0 4-15,2 4-2 0,-3-1-5 0,1 1-3 16,-2 0-22-1,-4 2 4-15,3 1-7 0,-5-3 5 0,3 2 28 0,-3-2-21 16,3 0 16-16,-1-4-10 0,4-3 30 16,-1 3-5-16,2-5 21 0,1 1-26 0,3-2 103 0,-1 0-1 15,2-3-53-15,-1 2 15 0,4 0-8 0,3-2-27 16,0 0-4-16,0 0 29 0,0 0-38 16,0 0 9-16,0 0-30 15,0 0 18-15,0 0 5 0,16-5-33 0,-6 4-5 0,0 1 38 16,1 0-51-16,-1 0-6 0,3 0 27 0,4 0 14 15,-1 0-40-15,-1 0-31 0,1 0-51 0,-1 1 0 16,3-2-77 0,-2 0-29-16,1 2-45 0,1-2-43 15,-2-1-40-15,-1 1-119 0,3 1-105 0,-2-2-500 0,4-2 111 0,-2-1 137 16,0 1 19-16,-2-2 166 0,1-1-10 0</inkml:trace>
  <inkml:trace contextRef="#ctx0" brushRef="#br1" timeOffset="-158051.18">15269 9499 1238 0,'0'-2'469'0,"0"2"-26"0,-5-3-24 15,5 3-1-15,0 0-119 0,-6 13-2 0,2-7-18 16,1 5-18-16,-2 1-25 0,3 2-32 0,1-1-6 16,-4 4-19-16,5 1-26 15,-2 2 11-15,2 0-26 0,-1-1-28 0,1 3-41 16,-2 2-53-16,0-3-32 0,2 0-60 0,-3-2-4 0,1 2-22 15,2-6-57-15,-1 1-46 0,1-1-94 16,-2-4-128-16,-1 0-436 0,1-1 13 16,-1-4 95-16,-2 1 118 15,2-1 61-15</inkml:trace>
  <inkml:trace contextRef="#ctx0" brushRef="#br1" timeOffset="-157842.22">14989 9841 1180 0,'-4'-4'363'0,"3"2"11"0,-1-2-47 0,2 4 11 0,0-5-54 0,0 5-2 0,3-6-11 16,1 4-25-16,2 0-18 0,2-2 7 16,2 0-48-16,2 1-8 0,1-2-28 0,3 4-23 15,2-4 13-15,2 2-41 0,-2 0-41 16,3-3-41-16,-1 5-41 0,3-2-77 0,-2 0-20 16,1 1-72-16,-1-2-139 15,-3 4-94-15,5-1-476 0,0-1 77 0,-2 0 115 0,0 0 69 16,1 2 75-1</inkml:trace>
  <inkml:trace contextRef="#ctx0" brushRef="#br1" timeOffset="-156347.83">16235 9657 1116 0,'0'0'368'0,"0"0"-25"0,-7-4-25 0,2 1-22 16,5 3-6-16,-10 0-37 0,10 0-46 0,-11 3-17 16,3-1 17-16,0 3-10 0,-2-2-20 0,0 4-16 15,0-1-5-15,0 3-25 0,0 0-6 16,2-3 8-16,-3 7-40 0,4-4 19 0,-3 1-33 0,2-1-15 15,3 1 8-15,0 0-97 0,0-2-1 16,2-2 8-16,1 0-2 0,-1 1 12 16,6-2-2-16,-1-1-11 0,1-2 21 15,2-1-15-15,0 0 10 0,3-2 12 0,2 0-4 16,0-1 2-16,2-3-2 0,-1-2-1 0,4 0 19 16,-6-2 4-16,3 1 6 0,0-3 18 15,-3 2 4-15,3-2 16 0,-4 0 24 16,0 3-24-16,-3-3 112 0,2 5-4 15,-1-1 5-15,-1 4 15 0,0-2-36 0,-2 2-51 0,-1 0 13 0,-2 3-3 16,8 1-30-16,-8-1 15 16,4 6 5-16,-3-4-36 0,-1 3 3 15,3 2 0-15,-1 2-72 0,0-2-43 0,-1 1-9 0,1-1-57 16,1 3 9-16,-1-4-61 0,0 3-6 16,1-3-50-16,0 0-41 0,0 1-52 0,2-3-79 15,0-2-102-15,0-2-474 0,2 3 77 16,-1-3 46-16,4-3 128 0,-2 1 69 0,2-2 51 0</inkml:trace>
  <inkml:trace contextRef="#ctx0" brushRef="#br1" timeOffset="-156117.18">16489 9548 831 0,'5'-18'315'0,"-2"0"69"0,2 3-5 16,-2 2-15-16,-1 2 2 0,1 2-93 0,0 1 1 16,-1 3-5-16,0-1-36 0,-2 4 46 0,0 2-46 15,0 0 8-15,0 0-3 0,0 0-34 16,0 17-7-16,0-8 18 0,-2 3-12 0,0 5-32 15,-1 1-22-15,0 0 7 0,1 3-36 16,-1 2 8-16,-2 3-41 0,3-2-28 0,-1 1-31 16,0-2-33-16,1-1-33 15,-1-1-62-15,3-3 0 0,0-1-41 0,0-2-28 0,0 1-28 16,2-2-51-16,-1-3-41 0,4-3-70 16,-2 0-73-16,-1-3-19 0,4-1-404 0,-2-2 31 0,2-2 133 15,1 0 64-15,1-3 51 0</inkml:trace>
  <inkml:trace contextRef="#ctx0" brushRef="#br1" timeOffset="-155897.58">16689 9494 959 0,'6'-19'412'15,"-4"4"6"-15,0 4-68 0,2 3-19 16,-4 3-4-16,2 1-35 0,-2 1-26 0,0 3 6 16,0 0-6-16,0 0-56 0,-3 12 30 0,0-2-25 15,1 1-23-15,-1 7 0 0,-2 1 18 0,2 4-41 16,-1-1-8-16,-1 3-35 0,0 0-3 15,1 0-8-15,0 0-46 0,1-1-54 0,0-3 13 16,1-3-66-16,0 1-5 0,1 0-42 16,-1-2-61-16,2-4-43 0,0 1-54 15,0-3-108-15,-3-1-118 0,3-3-439 0,0 0 32 16,0-2 83-16,-2-3 79 0,2 2 64 0</inkml:trace>
  <inkml:trace contextRef="#ctx0" brushRef="#br1" timeOffset="-155678.3">16438 9736 1540 0,'0'0'453'0,"-2"-5"-35"0,2 5-11 0,2-6-108 0,-2 6-27 16,8-6-32-16,-3 4-22 0,5-2-24 16,1 1-20-16,1-1 0 0,7-2-25 0,-2 3-37 15,4-1-27-15,0-2-44 0,-1 3-36 16,0 0-51-16,-2-2-51 0,3 3-59 0,0 0-180 15,-6-1-63-15,2 3-477 0,-6 0 65 0,1 0 138 16,1 0 48-16,-2 3 24 0</inkml:trace>
  <inkml:trace contextRef="#ctx0" brushRef="#br1" timeOffset="-154479.53">16838 9726 1556 0,'-2'-3'461'0,"1"-1"-121"0,-4-2 0 0,3 4 3 0,-1-3-71 0,3 5-3 0,-5-3-42 0,0 0-4 16,5 3-31-16,-8 0 8 0,8 0-24 15,-8 6-25-15,4-5-23 0,1 5-7 0,-2-1-16 16,2 1-8-16,-2 0-20 0,3 1 4 15,-1-1-27-15,3 1-10 0,-2-1-3 0,2 0-3 16,0 0-12-16,2-2 15 0,0 2-8 0,1-3 0 16,0 2-17-16,2-3 1 0,0 1 1 0,0-1 90 15,1-2-29 1,-6 0 21-16,10 0-18 0,-10 0-5 0,10-4 46 0,-3 3 5 0,-2-2-36 16,1-1 26-16,-3 2-6 0,1-2-17 15,1-2 20-15,0 4-10 0,1-3 0 0,-4 2-8 16,4 0-5-1,-4-2 8-15,3 3-41 0,0-3-15 0,-2 3 7 0,2-2 0 16,-2 3-13-16,-3 1 19 0,7-5 4 16,-4 3-17-16,-1 0-34 0,-2 2 26 0,6-3-24 0,-6 3 24 15,7 0-8-15,-7 0-25 0,0 0-13 16,8-1 12-16,-8 1 39 0,0 0-33 0,7 2 0 0,-7-2 10 16,3 5-26-16,0-4 13 15,-3-1 33-15,5 5-40 0,-3-1 15 0,-2-1-95 16,3 2 18-16,-3-5-3 0,3 5 13 0,-1-2 6 15,0 1 2-15,1-1 28 0,-2 2-23 0,1-4-10 16,-2 4 10-16,2-2 18 0,-2-3 25 16,3 3-22-16,-3-3 2 0,0 7 10 0,0-7 16 15,3 3-8-15,-3-3 8 0,2 3-11 0,-2-3 11 16,2 3 33-16,-2-3-54 16,0 0 13-16,0 0-3 0,0 0 16 0,0 0 8 0,0 0-24 15,10-6-10-15,-9 3 13 16,-1 3 8-16,5-7-11 0,-3 6 29 0,1-4-18 0,-1 3-16 15,-2 2 39-15,6-4-26 0,-1 1-13 16,-2-1 34-16,-3 4-39 0,7 0 3 0,-7 0 2 0,5-2 3 16,-5 2-11-1,5-1 29-15,-5 1-56 0,0 0 17 0,11 2 21 0,-11-2-13 16,5 1 3-16,-5-1-19 0,7 4-6 0,-7-4 6 16,3 3-25-16,-3-3-5 0,5 0-5 15,-5 0 16 1,5 3-17-16,-5-3 12 0,6 3 4 0,-6-3-23 0,6 0-5 0,-5 3-2 0,-1-3-3 15,7 1-34 1,-7-1 19-16,8 0-36 0,-8 0 12 0,9-4-25 0,-1 4-15 0,-2-3-18 0,2 0 22 16,0 1-4-16,0-3-26 15,-1 3 31-15,3-2-21 0,-2-1 3 16,0 3-21-16,0-4-7 0,-1 1 7 0,-1 2-7 0,2-3 40 16,-1 1-12-16,0 0 59 0,-1-1-3 15,-2-1 39-15,2 1 35 0,-3-3 41 0,2-1 11 16,-1 4 33-16,-1-6 35 15,2 3 29-15,-4-1 3 0,1 1 19 0,0-1 14 0,1 3 7 0,-3-5 24 16,3 6 17-16,-3-2-15 0,0 3 0 16,0-1-23-16,0 0 15 0,0 3-20 15,0 3 10-15,-3-3-13 0,3 3-23 0,0 0 16 16,0 0-29-16,-5 10 29 0,3-2 10 16,2 3-26-16,0 2-15 0,0 1 2 0,-1 5-10 15,-1 3-13-15,2 4 16 0,-3 1-41 16,-2 10-26-16,0-5 5 0,2 5-4 0,-2-7-70 15,2-3 0-15,1 0-39 0,-3-1 16 16,2-3-25-16,3-2 22 0,-4-3-2 16,4-2 10-16,-1-3 18 0,-1-1 18 0,-1-1 8 0,3-4 33 15,-2-2-23-15,2 0 46 0,0-5-11 0,0 0 14 16,0 0 40-16,0 0-17 0,0 0 7 16,5-22 26-1,-2 10-36-15,1-5 23 0,4-4-44 0,0-4 21 16,2-8-33-16,5 3 36 0,1-2-34 0,-1 2 10 15,-1 10 14-15,-4 2-14 0,2 5 29 0,-4 1-49 0,0 3 13 0,-3 1 18 16,2 3-1-16,-2 2 47 0,-2 3-23 0,-3 0 0 16,0 0-34-16,8 6 8 0,-8 1-15 15,-3-1-10-15,1 5 7 0,-4 0-33 0,-1 3-46 16,-1 1-74-16,-2 0-47 0,-3 0-94 0,0 2-28 16,3-2-197-16,0-2-612 15,2-2 46-15,1-3 171 0,1-3 49 0,1 1 74 0,5-6 73 16,0 0 60-16</inkml:trace>
  <inkml:trace contextRef="#ctx0" brushRef="#br1" timeOffset="-154277.65">17472 9486 1356 0,'2'0'510'0,"-2"0"53"15,0 0-36 1,5 12-28-16,-2-5-54 0,-1 0-45 0,0 6-32 0,-1-1 6 0,-1 4-74 15,2 0-34-15,-2 0-20 0,0 3-65 0,-2 2-27 16,2-2-100-16,-1 3-106 0,-1-2-63 16,-3 4-74-16,2-1-241 15,-1-2-640-15,1-5 171 0,0-1 29 0,1 0 94 0,-1-3 70 16,3-4 84-16</inkml:trace>
  <inkml:trace contextRef="#ctx0" brushRef="#br1" timeOffset="-153858.28">17394 9737 1205 0,'1'-6'443'0,"1"3"-21"0,3-1-71 0,-2 2-13 0,5-3-31 0,-1 1-115 0,1-3-3 15,5 1-22-15,-1 0-32 0,1-1-1 16,3 0-17-16,1-3-19 0,4 0-14 15,-3 0 16-15,2-2-36 0,1 3 15 16,-5-1-17-16,-1 1-3 0,-2 0-16 0,-3 2 34 16,0 0 15-16,-2 1-28 0,-1 0 20 0,-1 0 9 15,-1 3-24-15,0 0 5 16,0 0-2-16,-5-1-29 0,5 4 13 0,-5 0 16 16,0 0-39-16,0 0-4 0,0 0-9 0,8 4-2 0,-5-1-3 15,-3 2 11-15,4 1-13 0,-1 0 2 16,0 1 16-16,-1 0 10 0,3 3 5 0,-4-2 13 15,3 0-3-15,-1 2 5 0,0-2 19 16,-3 2 81-16,2-1 8 0,0 0-15 16,-1-1-14-16,-1 0 14 0,-1 2-39 0,-3-2 0 0,1-1-48 15,-2 5-49-15,0-5-36 16,-2 3-62-16,1-2-99 0,1-1-56 0,-3 2-167 0,-2-1-673 16,2-1 77-16,-2-2 125 0,2-3 82 15,1 2 82-15,-1-2 28 0,2 1 105 0</inkml:trace>
  <inkml:trace contextRef="#ctx0" brushRef="#br1" timeOffset="-153364.59">18564 9294 1492 0,'2'-3'473'0,"-2"3"-55"0,0 0 22 15,0 0 33-15,2 10-4 0,-2-1-60 16,0 0-43-16,0 3-28 0,2 1-25 0,-2 6-34 15,0 2-26-15,-2 1-28 0,4 3-15 0,-1 0-5 16,-1 0-23-16,-1-3-57 0,1 1-46 16,-2-2-35-16,2 1-47 0,0-4-76 15,-2 2-18-15,2-2-26 0,0-5-61 0,0 2-21 16,-2-2-61-16,2-3-111 16,0 1-86-16,0-3-520 0,-3 2 44 0,3-4 135 0,-3 0 85 15,3 0 71-15,-2-4 90 16</inkml:trace>
  <inkml:trace contextRef="#ctx0" brushRef="#br1" timeOffset="-152945.34">18387 9686 1105 0,'0'0'389'0,"5"-7"-2"16,0 3-34-16,1-2-28 0,1 3-2 15,3-5-44-15,3 0-44 0,2 0-22 16,5-3 4-16,1-1-32 0,3 2-22 0,4-7 4 15,-3 4-11-15,-2 2 8 0,-2-1-100 16,-1 0 28-16,-4 3 3 0,-1 0 2 0,-4 3 15 16,-1 2 19-16,0 0-24 0,-3 0-17 15,-1 2-11-15,1 1 34 0,-7 1-3 0,8 2-7 32,-5 2-16-32,-1 1-16 0,0 1-17 0,0 1 0 0,-1 1-6 0,-1 0 16 0,3 3-2 15,-1-3-39-15,1 2-8 0,2-1-2 0,0-1 5 0,1 1 2 16,1-2 1-16,-2-2-24 0,1 2 14 15,1-1 14-15,1-6 54 16,1 4 32-16,0-4 6 0,-1-1-14 0,2-2 9 0,-3 0-22 16,1 0 10-16,-1-4 20 15,-1 2 16-15,-1-1-44 0,0-2 0 0,-3 2-5 0,-1-3-54 16,-1 0 29-16,0 0-14 0,-3-1-63 0,-2 4-34 16,-3-3-61-16,3 0-30 0,-3 5-73 15,3-2-69-15,-5 2-63 16,2-3-211-16,-2 6-580 0,0 2 135 0,0 1 77 0,-1 2 92 15,-4-3 92-15,5 4 65 0,-3-2 76 0</inkml:trace>
  <inkml:trace contextRef="#ctx0" brushRef="#br1" timeOffset="-152435.22">19296 9390 1384 0,'0'0'443'0,"0"0"-23"0,6 10-8 0,-3-4-143 0,1 2-16 15,0 3-25-15,3 1 2 0,-4 1-40 0,1 2 2 16,-1 1-10-16,0 3-8 0,-1 0-39 16,1-1-9-16,-3 0 12 0,-1 0-38 15,-1 0-13-15,0-3 43 0,-1-2-40 0,3-1-29 16,-1 0 1-16,-3-4 25 0,4 2 31 15,-2-3 4-15,-1-1 6 0,3-4 3 0,-3 2-21 16,3-4-8-16,0 0 8 0,0 0 3 0,0 0-21 16,0 0 16-16,-2-14-24 0,2 5-30 15,5-4 30-15,-2 0-2 0,3 1-33 0,0-6-11 16,4-1 19-16,-1 0 53 16,3-1-23-16,0 2-44 0,-1 0 1 0,4 3-37 0,-4 2-30 0,-1 3-20 15,3 0-16-15,-5 2-79 0,2 4-6 16,0 1-40-1,-2 2-56 1,0 0-16-16,-1 3-82 0,0 1-146 0,-1 1-517 0,-1 2 74 0,1 2 52 0,1 2 110 0,-4 1 58 16,1 1 80-16</inkml:trace>
  <inkml:trace contextRef="#ctx0" brushRef="#br1" timeOffset="-152108.78">19589 9625 1200 0,'3'-6'445'0,"-1"-2"-48"0,0-2-41 16,-2 0-13-16,1-2-26 0,-2 2-20 0,2-3-15 16,-1 1 79-16,0 3-18 0,-1-1-36 15,1 1-82-15,0 0-7 16,0 2-24-16,0 1-4 0,-2 3-6 0,0 0-38 0,2 3 25 16,0 0-30-16,-6 0-28 0,6 0 12 15,-4 6-33-15,0-1 3 0,2 0-21 0,0 2 13 16,2-1-23-16,0 1-12 0,0 0 9 0,2 1 0 15,1 0 1-15,2 1-49 0,0-2 5 0,3-1 10 16,0 3-39-16,2-4-17 16,0-1-31-16,2 2-23 0,2-4-35 0,-1 1-47 0,2-2-25 15,2-1 17-15,-1-2-12 0,2-1-62 0,3 0-30 16,-1-1-14-16,-2-1-112 16,2 2 42-16,1-7-114 0,-3 4-396 0,0 3 33 0,0-3 135 15,0 0 55 1,-5 1 53-16</inkml:trace>
  <inkml:trace contextRef="#ctx0" brushRef="#br1" timeOffset="-151740.53">20051 9419 1069 0,'-3'-3'425'0,"3"3"-43"0,-8-3-1 0,8 3-81 0,-7-2-44 15,-1 4-29-15,8-2-1 0,-13 4 27 0,5-2-46 0,0 3-15 16,-4 1 0-16,2-1-2 0,2 2-19 0,-2 0-15 15,2 0-20-15,-2-1-8 0,2 1-10 16,1 2-8-16,-1-1-44 0,2 0 27 16,2-2-35-16,1 1-42 0,0-1 22 0,1 0-22 15,2 0-14-15,0-1-2 0,2-4 3 16,1 3 30 0,-3-4-28-16,10 2 13 0,-5-3 5 0,-5 1-18 0,16-5-13 0,-9 0 29 0,1 3-26 15,2-4 0-15,-2 0 2 0,2 1 13 16,0-2 19-16,-2 4-22 0,-3 0-2 0,3-2-7 47,-2 2-1-47,1 1 3 0,-4 0 8 0,-3 2 10 0,10 0-23 0,-10 0-31 0,5 6-31 0,-3-6-2 0,3 5-46 0,-4-1-21 15,1-1-51-15,1 2-138 0,0 0-94 0,-1-2 30 0,0 2-512 16,4-3 102-16,-2 3 98 0,-1-4 53 16,5-1 54-16</inkml:trace>
  <inkml:trace contextRef="#ctx0" brushRef="#br1" timeOffset="-150785.28">20347 9356 1172 0,'0'0'374'0,"1"-6"-6"0,-1 6-143 16,0 0-4-16,0 0 11 0,-8-1-37 15,8 1-18-15,0 0-6 0,-13 0-25 0,6 2-5 16,0 2 33-16,-1 1-31 16,-1 1 57-16,1 0-39 0,-2 2 3 0,0-1 10 0,3 1-20 0,-3 3 4 15,2 2 1-15,2 0-36 0,-1 3-3 0,0-2 11 16,1 3-34-16,2-3-15 16,0-1 2-16,0 0-17 0,4 0-31 0,-3-1 5 15,3 0 2-15,0-1 14 16,3-2 1-16,-1 1-22 0,3-2-36 0,3-1 23 0,-3-1-48 15,3-1-9-15,2-1 1 0,1-1 15 0,-1-3 21 16,2 0-42-16,1 0-7 0,0-3 28 16,0-1-23-16,2-1 16 0,0 2 32 0,1-4-40 15,-1 1 13-15,-2-3 4 16,0 1-2-16,-1-2 1 0,-1 1 14 0,-1-2 21 0,-2 3 7 16,0-2-7-16,-1 0-15 0,-2 0 23 15,-2-2-21-15,2 3 20 0,-2-1 3 0,3-3-33 16,-4 5 26-16,0-3 15 0,2 0-16 0,-3 1 8 15,-1-3 26-15,3 4-44 0,-3 1 8 0,2-3 38 16,0 3 6-16,-1 1-21 0,-1-1 25 16,2 1-9-16,-2 3 2 0,0-1-6 15,0-1-4-15,0 1-5 0,0 5-1 0,0-6 11 0,0 6 2 16,-2-3-5-16,2 3-12 16,0 0 4-16,0 0 14 0,0 0-11 0,0 0 7 15,-5 12-1-15,5-8-17 0,-3 5 19 0,2-1 10 0,-3 0-8 16,4 2 31-16,-2 1-23 15,-2 0-33-15,2 1 2 16,0 3-15-16,-1-4 11 0,0 1-12 0,1 0-19 0,0 0-26 0,2-1-11 0,0-3 14 16,-1 1-3-16,-1-2 12 15,2 0-2-15,3-2-5 16,-3 1 8-16,4-3 17 0,-1 1-14 0,2-2 22 0,1-1-8 16,1 3-19-16,0-3 47 0,1 3-9 0,0-1-39 15,0 0 43-15,-3 0-22 0,3 0 25 0,-1 0 3 16,1 1-3-16,-1-1-33 0,-1 1 25 0,-1-2-25 15,0 3-18 1,2-1-25-16,-3 0-60 0,2-1 16 0,-2-1-108 0,-2 2-40 0,1-1-103 16,-3-3-192-16,8 1-515 0,-6 3 83 15,0-2 104-15,3 1 75 0,-5-3 81 0,6 2 83 16,-6-2 81-16</inkml:trace>
  <inkml:trace contextRef="#ctx0" brushRef="#br1" timeOffset="-149041.75">21174 9273 773 0,'2'-4'332'0,"-2"4"-14"0,0 0 61 0,0 0-13 16,0 0-18-16,0 0-18 0,10 13-51 16,-7-7-100-16,-3 4 3 0,3 1-39 0,-1 0 0 15,-2 5-12-15,3-2-16 0,-3 3-15 0,0 3-5 16,0-1-59-16,0 0 2 0,-1 0-18 0,-1-1-20 15,2 1-23 1,0-1-35-16,-2-4-35 0,2 2-35 0,-3-2-15 0,3-1-49 16,0-2-74-16,0-2-39 0,-1 2-51 0,2-4-422 15,-1-1 51-15,0 0 128 0,3-2 6 16</inkml:trace>
  <inkml:trace contextRef="#ctx0" brushRef="#br1" timeOffset="-148516.87">21289 9286 1082 0,'0'0'341'0,"0"0"35"0,0 0-28 15,0 0-15-15,0 0-18 0,0 0-31 0,-3 13-23 16,1-7-31-16,2-1-20 0,0 2-38 16,2 1 17-16,-2-2-51 0,0 4 3 0,2-2-21 15,-2 3 1-15,0-2-1 0,1 1-41 0,-1-2-20 16,3 2 15-16,-3-1-20 16,2-1 0-16,0 1-31 0,-1-2-8 0,1 1 19 15,1-3-39-15,1 1 2 0,-3-1 31 0,1-3-5 16,3 2 16-16,-2-2-22 0,3-2-11 15,-6 0 4-15,12-1 5 0,-7-3-28 16,3 3 29-16,0-4-3 0,0-1 17 0,2-1-7 0,-2-1-92 16,2 0 21-16,-3 0 14 15,1 0 29-15,0 2 8 0,-1 0 7 0,-2 2 92 0,-2 0-17 16,2 0-1-16,0 3-15 0,-5 1 13 16,5-2 21-16,-5 2 20 0,0 0-62 15,6 5 16-15,-6-2 10 0,3 3-16 0,-2-1-19 0,0 0 9 16,4-1-35-16,-3 3 12 0,1 1 16 0,-1-4-21 15,2 2-23-15,-2 0 24 16,4-1-47-16,-4 0 3 0,2-2-31 0,-1 2-34 16,0-4 11-16,-1 3-51 0,0-3-43 15,1 2-27-15,-3-3-68 0,0 0-85 0,0 0-92 16,0 0-522-16,0 0 74 0,13-4 105 0,-13 4 43 16,0 0 98-16,-5-7 43 0</inkml:trace>
  <inkml:trace contextRef="#ctx0" brushRef="#br1" timeOffset="-148277.75">21025 9366 998 0,'-3'-3'384'16,"3"3"-36"-16,-5-6-28 0,5 4-21 0,0 2-7 0,6-6-36 15,1 1-31-15,-2 3-5 0,7-2-2 0,-1-3-39 16,5 4-18-16,2-3 11 0,3 1-49 15,-1-1 2-15,1 1-30 0,3-1 5 0,-3 0-41 16,3 3-52-16,-4-1-9 0,3 0-55 16,-1 1-81-16,-3 1-84 0,1 2-203 0,4-2-441 15,-1 1 47-15,0 2 118 0,-3-1 59 0,3 0 124 16</inkml:trace>
  <inkml:trace contextRef="#ctx0" brushRef="#br1" timeOffset="-147123.66">22245 9144 998 0,'-5'-3'435'0,"5"3"-5"16,0 0-13-16,-9 9-28 0,5-3-94 15,0 2-45-15,-2 3-27 0,2 0-21 0,-2 3-12 16,1 3-3-16,-1-1-24 0,-1 6-32 0,-1-1 0 0,3 3-16 16,1-2-3-16,0-2-14 0,2 0-9 15,2-6-38-15,0 3 1 0,2-4 4 16,2 0-10-16,0-2 0 0,1-3 23 0,3 1-30 15,-1-5-16-15,3 1-5 0,-2-5 10 16,1 1 5-16,1-2-15 0,4 0 13 0,-3-4-1 16,-1-1-17-16,3-1 8 31,-5 0-11-31,2-1 13 0,0-1-5 0,-2 2-8 0,0-1 39 0,-1 0-8 0,-4 3 12 16,2 1-12-16,-2-1 3 15,1 2-13-15,-4 0 22 0,0 3-12 0,0 0 26 0,0 0-26 0,0 0 0 0,0 0-23 0,6 11 25 16,-4-6-7-16,-1-1-23 15,1 0 18-15,-2 2-26 0,3 0 2 0,0-2-4 0,-1 0-16 16,3 1-2-16,-2-1 15 0,1-2-3 16,2 1 19-16,-1-2-11 15,0 0-23-15,-5-1 2 0,10-1 14 0,-10 1-6 0,9-4 13 16,-5 3 26-16,-2-4-5 0,2 2-19 16,-4-2 1-16,0-1-11 0,0 1 34 0,-1-1-8 15,-2-1-20-15,1 1 12 0,-2 1 3 0,-2-1-13 16,3-1-8-16,-2 4-4 0,0-2-1 0,0 0-25 15,0 2 28 1,2-1-16-16,-2-1 11 0,3 2-31 0,0 0 18 0,-2 1-10 16,4 2-11-16,-2-5 3 0,2 5 11 0,0 0-6 0,0 0-15 15,0 0 12-15,5-3 44 16,-5 3-38-16,9 0 20 0,-9 0 11 16,9 3-14-16,0-3-9 0,-1 0 35 0,-1 5-13 0,2-4 1 15,-4-1-21-15,3 5 18 0,0-3-29 0,-1 1 37 16,1 0-3-16,0-3-8 15,-1 4-7-15,-4-3 10 0,2 0-3 0,0 2 11 0,1-1 30 16,-4 0-18-16,3-1 11 16,-2 2 5-16,-3-3 25 0,7 2-13 0,-7-2-20 0,6 0 44 15,-6 0-6-15,4 3-22 0,-4-3 20 16,0 0-16-16,0 0-4 0,11-3 19 0,-11 3 14 16,0 0-3-16,9 0-5 0,-9 0-15 0,8-1 89 15,-8 1-33-15,3-1-10 16,-3 1 28-16,11 0-29 0,-11 0-19 0,7 1 6 0,-2 0-6 31,-5-1-32-31,8 0-7 0,-3 0-26 0,-5 0-33 0,8 4-15 0,-3-2-1 0,2-1-68 16,-4 2-24-16,2-2-68 0,-2 1-32 0,3-2-35 15,-2 4-82-15,1-3-113 16,0-1-580-16,-5 0 78 0,10 0 111 0,-4 0 130 16,-6 0 38-16,8 0 91 15,-8 0 37-15</inkml:trace>
  <inkml:trace contextRef="#ctx0" brushRef="#br1" timeOffset="-145601.62">22886 9213 1231 0,'-5'-1'463'0,"5"1"-20"0,-5-1-110 16,5 1-47-16,-10 2 21 0,7 3-56 16,-2 0-5-16,0 2-36 0,0 0-28 0,0 1-11 15,2 3 3-15,-4 2-20 0,4 0-44 16,-2-1-8-16,2 3-2 0,0-2-8 0,-1-1-30 0,4 1-1 16,0-2-15-16,2 0-23 0,3 1-2 15,0-4 7-15,0 0-36 0,2-1 13 16,-1-4 8-16,2 1-3 0,2-2-10 0,0 1-2 15,-2-5 2-15,5 1 18 0,-1-3-11 0,-1 1 9 16,2-3 4 0,-3-1-20-16,0 0 21 0,3-3 15 0,-2 0 10 0,-1-3-23 15,0-1 15-15,-2 0-10 0,2-4 8 0,0-1-3 0,-2-3-7 16,-1-2 2-16,4-8-10 0,-2 3 20 16,-2 6 11-16,0 2-11 15,-4 3 31-15,4-1 8 0,-4 2-10 0,-1 3 7 0,2 3 16 0,-3 2 9 16,0-2-42-16,-1 4 2 15,0 3-21-15,0 2 29 0,0 2-47 0,0 0 21 16,0 0 10-16,-11 11-7 0,10-3 4 0,-3 1-4 16,-1 2-21-16,0 1 8 15,0 5-13-15,1-1 25 0,-3 1-17 0,4 1-11 16,-1 0-12-16,1 1 15 0,3-4-36 0,0 2 5 0,0-4 10 16,3 1-27-16,1 0-1 0,-1-1 8 15,5 0-13 1,0-2-20-16,0-2 22 0,-1-3-9 0,4 0 7 0,-1 1 23 0,0-3 13 0,0-2-13 15,1-2 8-15,-1 0-5 0,0 0 7 16,0 0 6-16,1-6-16 31,-4 2 11-31,6-1 7 0,-5 0 0 0,2-1-13 0,-3-1 3 0,4 0 8 0,-6-2 7 0,3 2 26 0,-1 4-21 16,0-3 8-16,-3 2-2 0,0-2 12 16,-1 3-7-16,0 0 7 0,-1 1-3 0,1-3-1 15,-3 5-4-15,0 0 19 0,0 0-1 0,0 0-15 16,0 0-15-16,0 0 5 0,5 11-23 15,-5-7 36-15,0 0-18 0,0 3 38 0,0-1-46 16,3-1-18-16,-3 1 0 0,2-1-25 0,-2 1-8 16,5 0 2-16,-2-2 24 0,2 1-37 15,0-2 27-15,0 0-16 16,1-3 20-16,3 3-25 0,-2-1 2 0,1-4-15 0,-2 2 16 16,2-3 9-16,2 3 9 0,-1-1 19 0,0-1-12 15,-2-1 21-15,3-2 7 0,-4 5 0 16,2-4-5-16,-3 0 28 0,3-1-30 15,-2 0 19-15,-2 2 32 0,1-2-11 0,2 1-4 0,-1 1-1 16,-2-2 8-16,-3 3-10 0,4-3 7 16,-3 4 13-16,1-4-2 0,-3 5-34 0,4-2 8 15,-4 2 5-15,2-4-2 0,-2 4 18 16,2-1-29-16,-2 1 13 0,0 0-7 0,5-6-24 16,-5 6 31-16,0 0-15 0,0 0 13 0,0 0-6 15,0-1 3-15,0 1 8 0,0 0-18 0,0 0-16 16,0 0 0-16,3-4 39 15,-3 4-28-15,0 0-28 0,0 0 30 0,0 0-13 0,0 0 3 16,0 0 31-16,0 0-18 0,0 0-24 0,0 0 24 16,0 0 0-16,0 0-18 15,0 0 15-15,0 0-2 0,0 0 12 0,0 0-9 16,0 0-4-16,0 0 9 0,0 0-6 16,0 0-8-16,0 0-7 0,2-2 5 0,-2 2 8 0,0 0-5 15,0 0 22-15,0 0-15 0,0 0-2 16,0 0-3-16,0 0-7 0,0 0 30 0,0 0-18 15,0 0-23-15,0 0-2 0,0 0 10 16,0 0 7-16,0 0 9 0,0 0-17 16,-5 9-4-16,5-9 18 0,-3 5 0 15,3-1-29 1,0 0 34-16,0-4-26 0,0 8-7 0,0-5 107 0,3 3 2 0,-3-1-25 0,0 0-5 16,3 1-10-16,-1-3-1 15,0 1-50-15,1-1 15 0,-2 2 38 0,1-1-59 0,3-2 26 0,-2-1-3 16,1 2-7-1,-4-3 7-15,11 2-9 0,-4-2 4 0,0 0 5 0,-1 0-10 0,2 0-2 16,-3-2-3-16,3-2 18 0,0 3-11 0,-1-3-25 16,-2 2-2-1,3-3 0-15,-2 2 12 16,1-1 16-16,-2-1-8 0,0-1 5 0,1 3 13 0,-2-2 2 0,2 0-20 0,-1 2-5 16,0-1 18-16,-1 0-18 0,0 2 5 0,0-1-13 15,-1 0 36-15,4 2-33 0,-7 1 25 0,8-4-2 16,-2 4 2-16,-6 0-2 0,0 0 10 15,13 4-18-15,-7-3 0 0,-2 0 13 0,0 4-15 16,-3-1 4-16,5-1 32 0,-4 3-42 0,0 0 11 16,1 0 0-16,-3 1-8 0,-3-1 23 0,3 1-26 15,-2 2-12 1,-1-2-24-16,-2 1-25 0,2-2-28 0,-1 0-33 0,-2 1-52 16,1-3-7-16,0 1-44 0,1-2-33 0,-2 1-72 15,4-1-184-15,-1-2-561 0,0 2 98 0,3-3 107 16,0 0 87-16,0 0 67 0,0 0 82 15,0 0 45-15</inkml:trace>
  <inkml:trace contextRef="#ctx0" brushRef="#br1" timeOffset="-145425.96">23898 9217 1310 0,'0'0'435'0,"0"0"29"0,7 5-29 15,-5-1-26-15,0 0-27 0,-2-2-55 0,0 3-25 16,0 2 0-16,3-1-140 0,-3-1 7 15,-3 3-75-15,1-2-20 0,1 3-61 16,-1 0-20-16,-3 1-93 0,2-1-82 0,-1-1-174 0,0 1-535 16,0-3 67-16,1 0 67 0,-2 0 78 15,3-3 55-15</inkml:trace>
  <inkml:trace contextRef="#ctx0" brushRef="#br1" timeOffset="-145268.02">23931 9144 1082 0,'0'-6'333'15,"1"1"-13"-15,-1 1-64 0,-1 0-59 0,1 4-92 0,0-4-136 0,0 4-122 0,0 0-531 0,2-3 65 0,-2 3 150 16</inkml:trace>
  <inkml:trace contextRef="#ctx0" brushRef="#br1" timeOffset="-144729.47">24043 9165 998 0,'0'7'384'0,"0"-2"53"15,0 2-32-15,0 1-37 0,0 0-14 0,0 0-27 0,0 1-32 16,0 0-37-16,0 0-7 0,2 0-46 16,-2-1-31-16,0 0 3 0,2 0-29 0,1-2-5 15,-3 0-7-15,5-1-108 0,-2-2 34 0,4 0-32 16,-1-2-2-16,1 0-10 0,-1-1-10 15,2 0 2-15,-2-2-2 0,2-1 2 16,-2 1 0-16,-1-4 52 0,1 1-37 16,-2-1-4-16,2 0-3 15,-4-1-16-15,2 1 9 0,-3-2 19 0,-1-1-19 0,0 2 9 16,0 1 1-16,-1-1-37 0,-1 2 14 0,0 0 9 0,0 1-7 16,2-1-20 15,-1-1 22-31,0 2-9 0,-1 1 2 0,2 3-11 0,-2-6-4 0,2 6-24 0,0-6 8 0,0 6 6 0,0-2 7 15,0 2 7-15,0 0-19 0,0 0 6 0,0 0 19 16,0 0 5-16,0 0-8 0,13 5-2 16,-8-2 10-16,0-1-8 0,-2 2-10 15,1-3 15-15,0 5 34 0,1-2-1 0,0-2 6 0,-2 3-21 16,1 0-2-16,0-2-16 0,-2 2 1 0,0-3 27 16,4 3 13-1,-4-1 19-15,2-1-11 0,-4-3 17 0,6 4-4 0,-3-3 8 16,2 1-9-16,0 0 11 0,1 0 41 0,0-2 0 0,0 0-33 15,-1 2 41-15,5-1-39 16,-5 2 23-16,3-2-12 0,-3-1-14 0,1 1 14 0,2 1-6 16,-4-1-2-16,2 1-26 0,0-2-15 15,-6 0 10-15,9 4-67 0,-4-4-25 16,-5 0-28-16,5 2-44 0,-5-2-61 0,8 0-46 16,-8 0-67-16,8 1-143 0,-6-1-241 0,-2 0-304 15,0 0 115-15,14-1 69 0,-10 0 97 16,0-2 26-16,2 1 69 15</inkml:trace>
  <inkml:trace contextRef="#ctx0" brushRef="#br1" timeOffset="-141153.53">642 11962 977 0,'3'-2'364'0,"2"-2"-6"16,0 1-38-16,-3 0-13 0,4-1-28 0,-4 1-87 16,0 2 8-16,1-3-18 0,-3 4 22 0,3-3-40 15,-3 3-20-15,0 0-11 16,0 0 2-16,0 0-25 0,-10-3 57 0,10 3 2 16,-13 2-21-16,13-2 19 0,-13 3-29 0,5-2-36 15,1 3-20-15,-1-2-13 16,3 1 8-16,-3 0-5 0,3 0-31 0,0 0 2 0,2 2 6 15,3-3-39-15,-2 2-5 0,4 2 10 0,-2-2 16 16,3 1 18-16,2 2-21 16,0 1-31-16,3-1 26 0,-3 2-17 0,0-3 22 0,3 3-54 15,-1-1 24-15,1 0-4 0,0 0 19 0,-3 0 28 16,3 0 8 0,-6-2-6-16,3 1-4 0,-2 0-14 0,-3-1 6 0,0 0-26 15,-2 0 3-15,-1 1 5 0,0 0 15 0,-2 0-5 16,-2 1-10-16,1 0-39 0,-5-2-15 15,1 1-51-15,0-1-23 0,-3 0-18 32,-2 1-62-32,2-1-117 0,1-3-123 0,-4 0-489 0,3-2 87 0,-4 1 35 0,2-1 83 0,1-3 51 15</inkml:trace>
  <inkml:trace contextRef="#ctx0" brushRef="#br1" timeOffset="-140895.89">668 11520 1149 0,'38'4'376'0,"0"4"-30"0,2 3-32 0,0 2-29 0,1 6-9 0,-4 0-2 0,4 11-54 0,-3 5-15 0,-8 0 2 15,-7-2-43-15,-2 2 13 0,-3 2-34 0,-8-1-30 31,-2 1 9-31,-5 2-32 0,-4 1-13 0,-4 0-11 0,-5 3-14 0,-3-3-42 16,-5 8-13-16,-5-2-17 0,0-2-3 0,-3-2-31 16,-2-3-38-16,5-9-26 0,-5 0-15 0,3-2-56 31,-3-3-65-31,1-1-40 0,2-2-326 16,4-7-183-16,1-2 127 0,4-4 59 0,1 0 38 0</inkml:trace>
  <inkml:trace contextRef="#ctx0" brushRef="#br1" timeOffset="-138520.97">2188 11764 1172 0,'0'-7'386'0,"0"0"-14"0,-3 2-32 0,-1 0 59 15,-1 1-20-15,-1-2-21 0,1 1-12 0,0 2-52 16,-3 0-20-16,-2 3-13 0,0 0-35 0,-3 6-11 16,0 0-18-16,-2 1-18 0,-1 7-28 0,-2-1 13 15,3 3-29-15,0 2-14 0,2 0-4 16,0 1-14-16,3 0-52 0,0 1-48 0,2 0 30 16,0-3-18-16,3 1 11 0,2 0-24 15,1-3 6-15,2-1 2 0,2-1-2 16,1 1-31-16,2-1 15 15,0-2-2-15,3-1-16 0,2 1-15 0,3-3-17 16,2-3-52-16,3 1 5 0,-2-5-59 0,1-1-31 0,1-1-51 16,1-1-120-16,3-5-66 15,-1 1-548-15,2-2 158 0,-2-1 26 0,-3-2 74 0,2-1 72 16,1-2 99-16</inkml:trace>
  <inkml:trace contextRef="#ctx0" brushRef="#br1" timeOffset="-138174.36">2439 11502 952 0,'-2'-2'430'0,"2"2"-23"0,0 0 2 0,-8 6-66 0,3 4-25 0,0 1-29 0,-2 5-23 0,-1 3-30 16,0 0-1 0,0 7-22-16,-2 4 25 0,2 7-82 0,0-5 5 0,1-2-28 15,2-5 5-15,0 0-17 0,2-2-39 0,-2-4-16 16,3 0 19-16,1-4-11 0,-1 0-15 15,-1-2 12-15,3-4 4 0,0 1 17 0,0-3-8 16,0-2 3-16,3-2 13 0,-1 1-13 0,3-3-23 16,-5-1 3-1,13 0-19-15,-13 0-9 0,11 0 22 0,-4-1-15 0,1-1-82 0,0 2-2 16,4 2 5-16,-1-1 10 0,1 0 0 16,2 1-11-16,1 1 22 0,-3-1-12 0,2 1 12 15,1 0-14-15,0 1-10 16,1 0-20-16,-2 0-46 15,2-3-34-15,-1 4-15 0,-1-4-26 0,1 0-43 0,0-1-123 0,0 0-82 16,1-1-13 0,2 0-465-16,-1-4 127 0,1 2 6 0,1-2 166 0,-1-1 23 0</inkml:trace>
  <inkml:trace contextRef="#ctx0" brushRef="#br1" timeOffset="-137742.46">2873 11779 1054 0,'-6'-5'397'0,"-1"2"-16"0,-1 1-38 0,0 1-23 15,-2-2-100-15,0 3-35 0,0 1 14 16,-3 1-37-16,0-1 1 0,0 4-14 0,0 0-8 16,3 0-29-16,0-2-14 0,0 4 1 15,-1-1-4-15,4 0-26 0,-1 1 3 0,3 0-31 16,0-2-3-16,2 2 1 0,1-2 9 0,-1 1-9 16,3-2 2-16,3 0-3 0,-1-1-7 15,1-1-11-15,2 2 16 0,2-2-10 16,4 2 2-16,-4-2-26 0,3 1 1 0,-1 0 15 0,3 1 5 15,-1-1 2-15,-2 2-4 16,2 0-6-16,2 2 6 0,-3 0-8 16,-2-1 22-16,0 2-17 0,0 1 13 0,-1-1-13 15,1 0 0-15,-5 2-11 0,1-2 27 0,-1 0-24 0,-3-1 21 16,2-2 76 0,-1 2 26-16,1-2 26 0,-2 0-44 0,0 0-5 0,0-3 29 15,0-2-29-15,2 5 30 0,-2-5-17 0,0 0-28 16,0 0 7-16,0 0-10 0,0 0-20 0,0 0 2 15,8-12-25-15,-6 6 10 16,2-1-8-16,0 1-5 0,2-4-15 16,1 1-18-16,1-1-16 0,0-3-63 0,0 4-19 0,2-1-20 15,0 2-10-15,-2-1-57 0,-1 1-22 0,1 2-65 16,0-1-71-16,0-2-200 0,-4 6-447 0,2 0 73 16,-2-1 108-16,2 3 84 0,-3-1 60 15,4-1 65-15</inkml:trace>
  <inkml:trace contextRef="#ctx0" brushRef="#br1" timeOffset="-137474.08">3344 11535 1505 0,'0'0'430'0,"0"0"-8"0,-10 6-107 0,5 0-3 0,0 3-51 16,0 3-10-16,-2 1-21 0,-1 11 16 15,2-3-26-15,-1 3-25 0,-3 10-19 0,4-6 4 16,-4 9-63-16,2-5-22 0,-2 2-13 16,-1 0-59-16,4-8-43 0,-1-1-65 0,1-1-51 15,-1-2-66-15,0-1-118 0,1-4-77 0,1 0-501 31,-1-3 122-31,4-2 85 0,-2-2 41 0,2-2 87 0</inkml:trace>
  <inkml:trace contextRef="#ctx0" brushRef="#br1" timeOffset="-137035.83">3077 11898 793 0,'9'-4'225'0,"3"2"-25"0,2 0-26 15,6-2-26-15,-2-1-38 0,2 1-66 0,3 0-6 0,3-3 11 16,-1-1 10-16,-1 1-26 16,1-1 47-16,-2 1 14 0,-2-4 60 0,-4 5 12 0,-1 0 24 15,-3-1 17-15,-2 1-15 16,-1 0 26-16,-3 2-16 0,1-1-69 0,-3 1 2 15,-3 1-14-15,1-1 2 0,0 3 5 0,-3 1-13 16,2-4-10-16,-2 4-23 0,0 0 7 0,0 0-7 16,0 0-8-16,0 11 8 0,0-5-13 15,0 1-22-15,0 0 1 0,2 3 21 0,-2-1-5 16,1 2 23-16,1-2-15 0,-2 1 87 0,3 3-13 16,-1-1 2 15,-2 0-5-31,0-3-7 0,0 1-5 0,-2 0-19 0,-3 1 1 0,2 1-18 0,-2-2-8 0,0-2-13 0,-3 3 3 15,0-3 4-15,1 1-63 0,-3-2-48 16,0 1-45-16,2-2-1 0,0-1-83 0,0-2-97 16,3-4-225-16,0 4-579 0,5-3 128 15,-5 0 62-15,5 0 92 0,0 0 120 0,2-9 31 16,1 4 95-16</inkml:trace>
  <inkml:trace contextRef="#ctx0" brushRef="#br1" timeOffset="-136866.58">3639 11910 975 0,'3'14'458'0,"-3"0"21"15,-3-1-31-15,1-1-59 16,-1 0-52-16,-2 6-11 0,-2 0-63 0,-4 2-43 0,-2-1-40 0,-7 7-58 16,-1 0-91-16,-2-1-118 0,-7 1-305 15,13-6-457-15,3-3 47 0,1-2 93 0,0-2 52 16,2-2 76-16</inkml:trace>
  <inkml:trace contextRef="#ctx0" brushRef="#br1" timeOffset="-136226.92">4570 11722 1172 0,'3'-10'325'0,"-3"4"0"0,2 1 5 0,-4 0 59 0,-1 2-38 0,3 3-11 15,-5-3-38-15,5 3-87 0,0 0-25 16,-18 8-1-16,8-2 1 0,-1 1-24 0,-2 3 3 15,-2 0-28-15,0 4 7 0,-1 1-17 16,1-1-24-16,0-1-9 0,4 0-11 16,1 0-11-16,2-3-6 0,3-1 11 0,0 2-22 15,2-5-23-15,3 1 10 0,0-2 0 16,1-1 18-16,4-1-30 0,2-3-17 0,-7 0 24 16,21-6 8-16,-5 4-13 0,1-4-3 0,1-1 0 15,3-1-4 1,-4 1-6-16,1 0 5 0,-2 1-15 0,-3 0 2 0,-3 4 5 15,0-3 16-15,0 5-2 0,-2 3 9 0,0-1 8 16,-1 4 21-16,-1 2-26 0,-1 4-5 16,-2 2-21-16,-1 3 11 0,-2 0 15 0,0 3-20 0,-2-1 17 15,-4 7-43-15,-1-2-2 0,2 1-26 0,-3-1-65 16,0 0 24-16,1-2-41 0,-1-1-36 16,-2 0-48-16,2-7-26 0,0 1-34 15,3-3-114-15,-2-2-119 0,4-3-442 0,-2-1 31 16,4-3 130-16,-1-2 87 0,2-1 51 0,0 0 88 15</inkml:trace>
  <inkml:trace contextRef="#ctx0" brushRef="#br1" timeOffset="-135920.09">4737 11711 857 0,'7'-6'376'0,"-5"4"-5"0,4 2-10 15,-6 0-41-15,5 5-15 0,-2-1-6 16,-1 5-35-16,1 1-36 0,2 4-5 0,-5 1-37 0,3 1-9 15,-1 2-18-15,0 1-6 16,-2 0-12-16,1 0 51 0,1-1 23 0,-2 0-56 16,0-2-18-16,0-1 4 0,0-3-27 0,0 0 28 15,0-3 3-15,0 0-52 16,3-2 10-16,-3-2-12 0,2-2 20 0,-2-1-15 0,0-2-13 16,0 0 3-16,10-7-14 0,-7 2-32 0,2-5 5 15,0-2 20-15,3-2-41 0,0-3 23 16,0-3-10-16,2 1-13 0,-3 2-35 0,4 0-17 15,-4 2-27 1,3 2-59-16,-2 0-54 0,0 2-30 0,0 3-83 0,-1 1-137 16,-1 3-91-16,4-2-490 0,-2 5 112 15,2-1 76-15,0 0 88 0,1 0 69 0,1 2 54 0</inkml:trace>
  <inkml:trace contextRef="#ctx0" brushRef="#br1" timeOffset="-135144.3">5239 11661 1098 0,'-10'0'442'0,"2"0"-35"0,-2 2-30 0,0 2-24 0,0-1-48 0,-3 2-21 16,5 0-28-16,-5 1-18 0,5 2-13 16,-2-1-18-16,3 1-35 0,1 0 4 15,1-1-50-15,0 0-1 0,0-1-27 0,5 1 6 16,0-1 7-16,0-1-37 0,0-1-20 15,5-2-3-15,1-1-3 0,1 1 47 0,-7-2-57 16,13 0 24-16,-6-2-11 0,1-1-18 0,0-1 11 16,0-1-24-16,2 0 11 0,-2-2 5 15,-1 4-8-15,1-1-7 0,-1-2 19 0,-2 3-19 16,1-1 35-16,-1 2-28 0,-2-2-22 0,-3 4 50 16,5 0-28-16,-5 0-13 0,5 6 19 31,-5-2 1-31,2-1-9 0,-2 3-3 0,0 1-15 0,2-1-3 0,-1 0-20 0,1 3 4 15,1-4-35-15,-1 3 5 0,1-2 34 0,2-3-16 16,0 3-16 0,0-2 19-16,0-2 17 0,1-1-2 0,2-1-18 0,-8 0 2 15,12-4 29-15,-4 0 13 0,2-1 30 16,-2-2-18-16,-1-1-10 0,1-1 21 0,0-3-26 16,2-2 10-16,-2 1 18 0,-1-1-8 0,1-1 36 15,-2 1-117-15,1 1 20 0,-2-1 15 16,0 2-15-16,-2 0-8 0,2 2 47 0,0 1 7 15,-4 3-28-15,1 1 15 0,0 2-23 0,-2 3 29 16,0 0-19-16,0 0 8 16,-2 14-10-16,-1-5 31 15,0 6 15-15,-2 4-29 0,0 5 22 0,-5 10-19 0,3 2 18 0,-4 2-7 16,1-1-8-16,0 0-8 16,-3 1 28-16,2 0-53 0,1-1 0 0,0-3-29 0,0 0 21 15,2-8-33-15,3-6-1 0,-1-3-9 0,-1-2 22 16,4-3 52-16,1-2-33 0,0-2 14 0,-1-4 4 15,3-2-19 1,0-2 18-16,0 0 11 0,0 0 2 0,0 0-13 0,10-17 26 0,-3 5 28 16,2-3-25-16,0-4 10 0,2-3-16 0,7-8 10 15,-3-3 1-15,3 2 5 0,0 2 15 16,0 0-15-16,-3 8-14 0,-4 4 7 0,-1 3 9 16,0 2-33-16,-4 1 13 0,2 6 15 0,-1 0 26 15,-2 3 4-15,-3 2-32 16,-2 0 17-16,0 0 27 0,3 11-32 0,-3-4 26 15,-3 1-21-15,-4 1-9 0,2 0-1 0,-5 3-38 16,1 1-57-16,-1-2-17 0,-2 2-80 0,2-2-20 16,0-3-89-16,1-1-22 0,2-7-260 15,2 6-489-15,2-4 112 0,3-2 116 16,0 0 68-16,0 0 78 0,0 0 86 0,11-19 32 16</inkml:trace>
  <inkml:trace contextRef="#ctx0" brushRef="#br1" timeOffset="-134721.53">5645 11447 1146 0,'0'0'476'0,"0"0"-46"15,1 14 26-15,-1-6-164 0,-2 4-3 16,0 7-56-16,-1 0-3 0,0 1 11 0,1 7-59 16,-3 0-16-16,0 9-7 0,-1 0 2 15,-1 0-38-15,0-6-31 0,1-6 3 16,1 2 12-16,-1-3-48 0,2-4 5 0,-1-5-18 0,2 2 23 15,0-3-35-15,1-2 14 16,-1-2 19-16,1-1-16 0,2-3-28 0,-2 1 23 0,4-4 0 16,-2-2 0-16,0 0-23 0,0 0-5 15,0 0 15-15,10-9 19 0,-7 2-27 0,4-3 1 16,-1 1 22-16,-2-3-9 0,4-1-1 16,0 0 3-16,-1-1-20 0,1 3 22 0,2-2-4 15,-4 4 9-15,1 1-14 0,-1 0 19 0,1 2-30 16,-2 2 26-1,-2 0 0-15,2 2-1 0,0 2 9 0,-5 0-24 0,0 0-5 0,11 2 3 16,-9 2 15-16,1-3-5 0,2 5-39 0,-3-2-17 16,-1 0-29-16,0 1-2 15,2-1-18-15,0 2-12 0,-3-3-50 0,3 3 6 32,-1-2-49-32,3 2-3 0,-2-4-25 0,2 1-20 0,0-1-73 0,0 0-53 0,2-2-89 15,1 0-95-15,3-2-313 0,1 1 64 0,2-2 136 16,0-1-20-16,3-2 64 0</inkml:trace>
  <inkml:trace contextRef="#ctx0" brushRef="#br1" timeOffset="-134469.02">6005 11659 1103 0,'-1'-6'343'0,"1"1"-64"0,-1 1-18 0,1 4-5 16,-2-3 66-16,2 3-43 0,-5-4-36 16,5 4-15-16,0 0-36 0,0 0 44 0,-13 5-31 15,7-3-21-15,2 4 18 0,1 0-46 0,-2 0 46 16,0 4-48-16,0 0 46 0,-1 1-47 15,1 0 21-15,0 3 3 0,2-1-93 16,-1 1-17-16,-2 0 17 0,-2 0-27 0,1-1 14 16,1 1 1-16,2-2-18 0,-6 0 0 0,2 0-34 15,-2-1-20 1,2-3-36-16,0-1-46 0,-2 2-61 0,5-3-52 0,-3-2-76 0,3-4-200 16,2 4-519-16,3-4 81 0,-2 1 123 0,2-1 97 15,0 0 34-15,0 0 84 16</inkml:trace>
  <inkml:trace contextRef="#ctx0" brushRef="#br1" timeOffset="-134319.15">6183 11753 1284 0,'-3'8'587'0,"-2"3"-37"0,2 1-56 0,-4 3-20 0,-1 2-134 15,-3 1-33-15,-3 1-53 0,-5 6-11 0,-6-1-21 16,0 0-73-16,1 1-44 0,-4-2-57 0,2-1-65 15,-2 0-60-15,0-3-161 0,7-3-259 0,4-1-409 16,1-4 41-16,1-2 99 0,4-1 111 16,4-3 31-16</inkml:trace>
  <inkml:trace contextRef="#ctx0" brushRef="#br1" timeOffset="-133122.48">7039 11332 1323 0,'0'-4'455'0,"0"0"-1"0,0 1-40 16,0 3-14-16,0 0-42 0,0 0-25 0,-5 14-16 15,-1-5-46-15,-1 6 1 0,2 0-34 16,2 2-13-16,-2 3-33 0,2 4-5 15,-4-2-46-15,4 2-11 0,-2 1-2 0,2 1-41 16,1 1-28-16,0 0-23 0,-1-1-23 0,0-1-49 16,3-2-41-16,-2-3-43 0,0 1-11 15,1-3-61-15,-1-2-64 16,-1-1-30-16,3-1-134 0,-5-2-44 0,2-1-416 0,-1-1 143 16,3-2 20-16,-4-2 31 0,2 0 61 0</inkml:trace>
  <inkml:trace contextRef="#ctx0" brushRef="#br1" timeOffset="-132651.52">6811 11730 959 0,'-3'-7'374'15,"1"2"-8"-15,1 3-41 0,1 2-20 0,3-7-39 16,2 3-5 0,0 2-38-16,3-2-39 0,2 1-7 0,1 0 86 0,5 0-66 0,4-1-43 15,2 2-21-15,7-2-46 0,0-1-46 0,3 3-10 16,9-5-39-16,0 1 16 0,0-4 23 15,-2 3-24-15,-9 0-9 0,-4 0 9 16,-7 1 14-16,-2 1 40 0,-1-1 42 0,-4 1 12 0,-2 3 3 16,-4-3-16-16,-1 2 8 0,-2 0 13 0,-3 3-26 15,0 0 31-15,0 0-115 0,0 0 5 16,0 0 2-16,-21 8 32 0,11-3-27 16,-3 0-2-16,2 4-7 0,1-2 4 0,-2 0 13 15,2 1-17-15,1-2 19 0,1 1-6 16,4 0-14-16,-2-1-18 0,4 0 19 0,0-1-3 15,2 0 5-15,2-3 5 0,1 2-21 0,4-1-22 16,-1-3 2-16,4 0 20 0,0-1-15 16,0-1 29-16,1-2-11 0,2 3 0 15,-1-3 0-15,1 0-12 0,-5 0-11 0,1 0 43 16,-1 2 3-16,0-3 6 0,-3 4 4 16,1 0-12-16,-2 1 20 0,-4 0-36 0,8 2 23 15,-5 2 0-15,2-1 3 0,-5 2-48 0,2 0-35 16,-2 2 4-16,0 2-31 15,-2 0-36 1,2 1-57-16,0 0-50 0,0 0-60 0,-2-1-181 0,2 0-486 0,0-1 63 0,0 0 141 16,0-3 13-16,2 0 80 0,0 0 76 15</inkml:trace>
  <inkml:trace contextRef="#ctx0" brushRef="#br1" timeOffset="-132315.03">7608 11391 1039 0,'0'0'489'0,"-12"5"-31"0,9 0-15 0,-3 3-75 16,-1 2-17-16,2 2-34 0,-3 1-53 0,0 3-23 0,1 0-6 16,-1 0-53-16,3-2 2 0,-3 4-15 15,3-2 8-15,0 0-29 0,5-4 6 16,-3 0-21-16,3-4-13 0,0 1-2 0,3-3 15 15,0-2-36-15,1 0 34 0,4-3-103 16,2-1-2-16,-1 0 7 0,3 0-8 0,-2-2 62 0,6-1 31 16,-4 3-10-16,4-2-8 0,-3 2-16 15,-3 0 18-15,3 0 8 16,-3 2 18-16,-2 0-35 16,0 1-9-16,-3 1 21 0,0 1-28 0,-3 0-8 0,-2 0-46 0,-2 4 0 0,-4 0-38 15,-1 2 7-15,0-2-54 0,-4 2-45 16,-4-2-67-16,-4 1-3 15,-1 1-81-15,-1-2-142 0,-7 1-260 0,1-3-418 0,-2-1 131 0,-1-3 90 16,-1 0 58 0,0-3 83-16,-3-1 91 0</inkml:trace>
  <inkml:trace contextRef="#ctx0" brushRef="#br1" timeOffset="-132092.15">6624 11476 1233 0,'8'-3'371'0,"4"1"-58"15,3 0-24-15,1 1-10 0,2-2-31 16,5 0 67-16,0 3-49 0,2 0-38 0,7-2-51 16,0 2-31-16,2 0-59 0,-1-1-46 0,3 2-64 15,10-1-105-15,-7 1-223 0,9 0-504 0,1-1 97 16,-10 0 85-16,-4 0 72 15,-1 2 63-15</inkml:trace>
  <inkml:trace contextRef="#ctx0" brushRef="#br1" timeOffset="-131469.28">7901 11360 1041 0,'0'0'515'0,"0"0"-47"0,0 0 3 0,-8 15-71 16,5-8-109-16,0 5-24 0,-1 0-22 15,1 7-19-15,-2-1-17 0,0 4-32 16,-3 0-13-16,1 3-29 0,1 0-24 0,-1 0-50 0,-1-1-46 16,2 0-38-16,-1-3-46 15,0 1-23-15,4-5-44 0,-3-1-25 0,2-1-108 0,0-4-107 16,4-5 23-16,-2 3-441 0,2-1 39 0,2-3 79 15,2-1 80-15</inkml:trace>
  <inkml:trace contextRef="#ctx0" brushRef="#br1" timeOffset="-131004.41">7949 11705 844 0,'10'-8'384'0,"1"-2"-10"15,-4 3-108-15,3 1 21 0,-4-3-42 0,-1 0-22 16,2-3 82-16,-1 3-1 0,-1-2-22 0,0 1-39 15,-2 1-5-15,-1-1-15 0,0 2-6 16,-2 1 27-16,3 2-93 0,-3-1-21 0,0 2-2 16,0 4-48-16,-5-4 12 0,5 4-3 15,0 0 19-15,-13 6-8 0,5-4-36 16,4 4-3-16,-2 0 6 0,-2 0-19 0,4 1 3 16,-2-1-22-16,4 1 17 0,-1 0 10 0,3 0 3 15,0 0-31-15,3-1 21 0,-1 0-14 16,4 0-17-16,-2-2-2 0,4 1-32 0,0-4-2 15,0 3-2-15,2-3 10 0,-3-1-24 16,4-1 6-16,-3 0 18 0,2-2 2 0,0-1-12 16,-2-2 10-16,2 2 5 0,0-3-11 0,-2 1 11 15,0-1-13-15,-1-1 18 16,-1 4-10-16,1-1 15 0,-2 0 13 0,1 3 2 16,-4-2-14-16,1 2-9 0,2 1 34 0,-5 1-24 15,0 0 22-15,0 0-6 0,10 4 15 0,-8 0-7 0,-1 2 17 16,1 0 34-16,1 1-28 15,-3 1-26-15,0 2 26 16,0-2-3-16,0 3-2 0,-3-1-11 0,-2 0-12 0,0 1-24 0,0 1-25 16,-3-1-23-16,3-1-28 0,-3 1-67 15,1-3-48 1,4 3-62-16,-4-3-110 0,1 0-154 16,3-1-506-16,3-3 138 0,1-1 92 0,1-1 46 0,3 1 77 15,-5-3 92-15</inkml:trace>
  <inkml:trace contextRef="#ctx0" brushRef="#br1" timeOffset="-130321.56">8654 11731 970 0,'0'0'391'0,"18"-12"-43"0,-10 9 3 0,2-4-54 0,1-3-74 16,1 0-42-16,-1 1-14 0,3-5 9 0,0 0-27 15,-2-1 74-15,-1 0 15 0,1-2-39 16,-1-1-17-16,-1 3 23 0,-2-1-11 0,-1 3-25 16,-2 0 31-16,-1 2 2 0,0 1 11 15,-2 1-21-15,2 2-24 0,-4 1-14 0,0 5-34 16,0 1 6-16,0 0 15 15,0 0-31-15,-14 8-28 0,10-2-18 0,-2 4 15 0,1 0 0 16,-2 2-15-16,4 0-10 0,-3 0-16 16,4 0-38-16,0 1-7 0,-1 0-1 0,3-2-23 15,3-4 26-15,-1 3-33 0,4-3 17 0,-2 0-22 16,2-1 2 0,1-4 18-16,3 1 5 0,0-3 28 0,-1-1-5 0,6-2-38 0,-4-3 15 15,6-2 21-15,-4-2 2 16,5-2-87-16,-3-3 23 0,-2-2 0 0,3 0 33 15,-1-2-2 1,2-7 3-16,-3 4 40 0,-4 0-33 0,0 3 31 0,-3 3 20 0,1-1 26 0,-2 1-5 16,-2 5 10-16,-1 0-18 0,0 2-3 15,-1 4-7-15,-2 1-2 0,0 4-6 0,0 0-5 16,0 0-5-16,0 0 7 0,-10 18-7 16,5-7-10-1,0 5 23-15,-3 1-21 0,0 4-43 0,1 1-37 0,-1 2-32 0,-4 8-11 0,1 0-43 16,1-5-61-16,5-1-14 0,-1-2-22 0,1 0-90 15,-2-10-172-15,4 3-432 16,-4 1 85-16,6-6 48 0,-1-1 97 16,0-2 57-16,-2-3 94 0</inkml:trace>
  <inkml:trace contextRef="#ctx0" brushRef="#br1" timeOffset="-129950.43">8921 11731 511 0,'-3'-7'213'0,"6"4"-34"0,-3 3 0 0,2-5-7 0,-1 1-11 0,3 0-5 0,0 0-10 0,0-1-10 16,2 0 10-16,1-2 30 0,0 2 3 0,4-3-79 16,-1 2 31-16,3-1-16 0,0-1 18 0,2-2-5 15,-1 0 85-15,0 1-24 0,4-3-15 16,-2 0 8-16,-1 3 12 0,-2-1 14 0,0 2-9 16,-3 1-12-16,1 0 43 0,-4 2-102 0,0 0 16 15,-1 0-3 1,-4 4-21-16,-2 1 8 0,0 0-21 0,0 0-22 15,0 0 15-15,-12 8-13 0,6-3-5 0,-1 5-16 16,2-1 26-16,-1 2 0 0,1-2-7 0,0 3-21 16,0 0 2-16,3 0-9 0,-1 0 4 0,1-1-30 15,2-2 5-15,2 3 2 0,1-1-7 0,0-1 35 16,4-1-45 0,-2-2-26-16,3 0-13 0,4 1-15 0,-2-4-36 0,6 1-13 15,-3-3-8-15,2 1 0 0,1-2-40 0,0-1-42 0,1 0 6 16,-1 0-29-1,2 0-37 1,-4-2-45-16,2 2-86 0,-1-2-85 0,1 2-487 0,-1-1 150 0,-1 0 1 0,-2 1 91 0,0 0 63 16</inkml:trace>
  <inkml:trace contextRef="#ctx0" brushRef="#br1" timeOffset="-128513.65">13862 11567 872 0,'5'-8'318'0,"2"0"-21"16,-4 1-8-16,4 2-2 0,-4 0-34 0,2 1 62 16,0-1 5-16,-2 2-44 15,-3-1 37 1,0-1-57-16,0 5-18 0,-3-4-23 0,-1 1-31 0,4 3-10 0,-11 0 0 0,3 0-31 15,-2 0-53-15,-3 5-47 0,-2 1 9 16,2-1-1-16,-3 1-5 0,2 0-10 0,-2 1 2 16,5-1-28-16,-3 3 8 0,3-3-2 0,3 0 35 15,1 1-18-15,4-1-2 0,1 1-31 16,2 0 13-16,0 1 10 0,2 0-3 0,1 0-20 16,2 2 16-16,2-2 9 0,1 4 6 15,-2 0-11-15,1-3 31 0,0 3-30 16,1-1-6-16,-3-1 11 0,1-1 28 0,-1 2 7 15,-2 1-5-15,-3-5-15 0,0 4 11 0,0-3-17 16,-3 3-4-16,-2-2-3 0,-1 1-51 31,-4-3-20-31,3 1-32 0,-3-1-76 0,-1-1-20 0,-2-1-72 0,2-1-110 0,-1-5-124 0,0 4-470 16,-2-3 105-16,1-2 28 0,-1-2 105 16,-4-3 82-16,-1-4 61 0</inkml:trace>
  <inkml:trace contextRef="#ctx0" brushRef="#br1" timeOffset="-128276.29">13877 11150 1287 0,'30'29'448'0,"1"9"72"0,0 2-65 0,-5 7-27 16,-3 2-103-16,-5 2-51 0,-2 5-8 15,-6 2-18-15,-6 2-12 0,-6-1-42 0,-6 2-20 16,-4-2-7-16,-6-1-42 0,-8 0-58 0,-5-2-52 15,0-1-25-15,0-2-21 0,-2-4-59 16,3-3-30 0,1-2-46-16,1-4-88 0,7-9-112 0,-1-3-517 0,4-7 44 0,5-5 109 15,-5-2 62-15,5-4 61 16</inkml:trace>
  <inkml:trace contextRef="#ctx0" brushRef="#br1" timeOffset="-125730.05">15435 11460 1028 0,'-2'-5'384'0,"2"5"21"0,0 0 17 0,0 0-40 0,0 0-9 0,-2 13-30 15,2-3-120-15,0-1-28 0,-3 8-14 16,3-2-19-16,0 3-14 0,-1 3-15 0,-1 0-7 16,2-1-19-16,0 3-2 0,0-2-41 15,-2 2-41-15,2-2-28 0,0 0-26 16,-3-1-38-16,3 0-26 0,0-6-61 0,0 3-33 0,0-4-39 16,0 1-89-16,0-5-49 15,0 0-405-15,0-1 52 0,0-1 43 0,0-2 39 16</inkml:trace>
  <inkml:trace contextRef="#ctx0" brushRef="#br1" timeOffset="-125436.59">15364 11593 980 0,'-3'-12'310'0,"0"3"-16"0,1 2-12 0,2-2-14 0,0 4-17 0,0 0 13 0,2 2-39 0,-2-3-7 15,4 3 66-15,-2-1-16 0,-2 4-32 16,10 0-26-16,-5 0 7 15,3 2-17-15,0 0-113 0,0 1 21 0,2 3-39 0,0-1 10 16,0 1 6-16,3 0-11 0,-3 1-5 16,3-1-31-16,-3 1-4 0,3-2 9 0,0 0-22 15,0 0 9-15,2 0 11 0,-4 0-38 0,1 0 2 16,1-3-28-16,-5 4 10 0,2-5-7 31,-2 2-3-31,2-1 0 0,-5-2-31 0,3 2 5 0,-3 0 31 0,-5-2-25 0,10 1-16 0,-7-1-26 16,-3 0-2-16,5 2-18 0,-5-2-15 15,2 2-18-15,-2-2-16 0,0 0-61 0,-7 7-105 16,7-7-20-16,-5 3-472 0,2-2 50 16,0 4 88-16,-2-2 65 0</inkml:trace>
  <inkml:trace contextRef="#ctx0" brushRef="#br1" timeOffset="-125017.3">15836 11406 975 0,'-5'-3'384'0,"5"3"-8"0,-8 0 31 0,8 0 10 0,-13 4-79 0,6 1-28 16,-4 2-31-16,1 2-21 0,-3 1-114 15,2 1 12-15,-1 4-38 0,-1-1 4 0,0 1-35 0,0 2-5 16,1-3-36-16,1 1 13 15,1-1-41 1,0 0-41-16,0-1-5 0,2 0-28 0,0-4-59 0,3 1-36 0,0-3-103 0,2 0-66 16,-5 1-100-16,6-2-381 0,2-2 46 15,-2-2 128-15,2-2 25 0</inkml:trace>
  <inkml:trace contextRef="#ctx0" brushRef="#br1" timeOffset="-124789.95">15774 11406 1284 0,'2'-2'366'0,"-2"2"-5"0,0 0-33 15,0 0-13-15,0 0 41 0,0 0-1 16,6 11-65-16,-4-4 12 0,-2 2-41 16,0 2-113-16,1 2 3 0,-1 4-10 0,2-2 13 15,-4 7-29-15,2-1-12 0,-1 3-11 0,-1 2-10 16,-1 1-41-16,1-3-40 0,-1 4-22 0,-2-3-60 15,5-4-24-15,-3 1-35 0,3-2-55 16,-2-2-109-16,2-2-116 0,0-1-406 0,0-2-21 16,2-3 146-1,1 1 0-15,0-5 53 0</inkml:trace>
  <inkml:trace contextRef="#ctx0" brushRef="#br1" timeOffset="-124376.64">16056 11618 1356 0,'-2'-6'422'0,"-4"5"-12"0,2-3 2 16,-2 4-77-16,6 0-22 0,-13 2-19 16,5 1-25-16,-2 0-26 0,3 4-15 15,-6 2-26-15,2 2 3 0,1 1-44 0,0 2-20 16,0 0 10-16,2 3-8 0,1 0-17 15,1-2-16-15,1 2-18 0,2-4-5 0,1 0-38 16,4 0 22-16,1-2-22 0,0 0-11 0,5-3 29 16,-1-1-26-16,1-1-13 0,4-4 15 15,-1-2 1-15,2 0-18 0,0-2-24 0,-1-3 1 16,1 0 38-16,0-3-16 16,-2 1 24-16,-4-4-3 0,0 3 31 0,-1-2-21 0,-1-2 5 15,-5 3-76-15,0-2-5 0,-3-2-19 0,1 3 9 16,-1 0 9-1,-4 0 13-15,-1 3-25 0,3 0 2 16,-3 0 16-16,-2 4-34 0,2 0-22 0,0 1-27 0,-2-1-53 0,0 3-35 16,2 0-52-16,1 0-90 0,-1-2-133 0,0 4-486 15,3 2 51-15,0-3 115 0,5-1 90 16,-5 1 113-16,5-1 61 0</inkml:trace>
  <inkml:trace contextRef="#ctx0" brushRef="#br1" timeOffset="-123979.16">16317 11350 1236 0,'0'0'450'0,"8"10"-30"0,-6-7-23 0,-1 4-18 0,-1 3-64 0,3 3-6 16,-1-2-71-16,-2 3-64 0,2 3-25 0,-1 3-16 15,1-1 28-15,1 0-10 16,0 1-36-16,-1-1-28 0,0-2-25 0,3 1 15 15,-2-4-24-15,2-1-1 0,-2 0-32 0,-1-2-17 16,4-1 17-16,-4-2 1 0,1-1-9 16,2-1 17-16,-3-2 4 0,1-1-23 0,-3-3-2 15,2 0 7-15,-2 0-7 0,0 0 2 16,0 0 5-16,0 0-7 0,0 0-5 0,-13-8 20 16,6 6-5-16,2 0-11 0,-5 1 4 15,2 2 6-15,-3-1 17 0,-4 4 7 0,2 0-29 16,-2 0 11-16,-3 3-5 0,2-1-20 15,1 2 30-15,0 0 3 0,2 0-21 0,0 2 0 16,0-1 11-16,3-2-11 0,3 4-13 0,-1-3 32 16,5 1-1-16,-2-1-16 15,3-2-24-15,2-1 4 0,2 0 16 0,3 0-29 16,0-1-10-16,3-3-30 0,0 2-31 0,2-2-16 0,3-1-4 16,-1-2-24-16,4 0-43 0,-1 0-108 0,1-1-51 15,2-1-74-15,2 0-450 16,-2-2 58-16,-2 1 118 0,2-3 18 15,-3 1 74-15</inkml:trace>
  <inkml:trace contextRef="#ctx0" brushRef="#br1" timeOffset="-122958.72">16438 11744 885 0,'0'0'376'0,"0"0"-27"0,0 0-24 16,0 0-28-16,13-13 2 0,-8 9 90 0,0-4-33 16,-2 1-34-16,2 1-22 0,0-1 5 0,0-1-90 15,0-1-24-15,-2 0-11 0,-1-3-22 16,1 1-7-16,0-2-10 0,-3 4-28 15,2-1 5-15,-2 1 30 0,-2-1 0 0,2 3-27 16,0 0-11-16,0 1-5 0,-1 2-13 0,-1 0-10 16,2 4-10-16,-8 0-8 0,8 0 7 15,-7 6-9-15,4-2-6 0,-2 5-13 0,0 1-12 16,-1 2 10-16,1 0-33 0,-2 1-13 16,5 0-39-16,-1 2-15 0,0 0-12 0,1-2-52 15,2-1-23-15,2 0-26 16,1-2 16-16,0-1-18 0,-1-3-8 0,6 1-2 0,-1-3-23 15,1-2-24-15,0-2 6 16,2 0-21-16,2-5 16 0,2 2 10 0,0-3 31 0,3-4 14 16,-3 2 50-16,2-3 38 0,-3-3 18 15,2-2 25-15,-2 1 21 0,-1-2 28 0,-1-2-2 16,-1-1 12-16,0-4 47 0,-2-1 4 16,3-5 6-16,-4-6 7 0,1 2 14 15,-1-2 24-15,-1 6 32 0,-1 6-16 0,-2-1 18 0,-1 6 10 16,3 0-7-16,-2 3 15 0,-1 2-11 0,-2 2 16 15,3 1-53-15,-3 4 4 16,0 2-15-16,-1 2 13 0,1 3-13 0,0 0 8 0,0 0-39 16,-17 15 21-16,12-5 13 0,-3 4-37 15,0 3 1-15,1 4-13 0,-3 2 0 0,0 10-36 0,-1-1 36 16,4 4-10-16,-1-2-15 16,3-4-14-1,2-1 8-15,3-3-38 0,0 0 3 0,5-1-9 0,-2-6 9 0,2 0-34 0,0-2 11 16,2-2-22-16,1 0-14 0,-1-6 2 0,1 1-2 15,0-3 7-15,3-2-15 0,-1-2 18 16,0-3 15-16,2 0-5 0,2-4 10 0,-2-1-5 16,1-2 31-16,0-4 18 0,3 1-3 0,-1-6 34 15,-2 0 66-15,0-3-5 16,-1 0 15-16,-2 0-18 0,0 0-7 16,-1-1 25-16,0 1-15 0,-3 2-20 15,-1 2 10-15,1 0 30 0,-2 2-23 0,-1 2 6 0,2 1 25 16,-3 1-54-16,1 1-10 15,-3 2 8-15,0 1-23 0,0 2 0 0,0 3 28 0,0 0-103 0,0 0-17 16,0 0 22-16,0 0 6 0,-7 14-23 16,7-4 20-16,-3 2 11 15,0 0 4-15,1 2-33 0,0 1 24 0,2 1 7 16,-1-1-18-16,-2 1-8 0,3 0 26 0,3-3 0 16,-2 2-13-16,1 0 11 0,0-2-6 0,1-3-15 15,-3-1-8-15,5-3-4 0,-3 1-1 0,4-2 13 0,1-1 5 16,-1-3 10-1,3-1 13-15,-1-4-10 0,1 1-13 0,3-2 21 0,-2-2-34 16,3-3 23-16,-3 3-10 16,3-1 29-16,-3 1-19 0,1 0 26 0,-4 1-41 0,1 2 56 0,-3-2-48 15,0 4 25-15,1-1-15 0,0 3 20 0,-6 0-12 16,8 5 10-16,-5-4-24 16,0 4 4-16,-1 2 12 0,-1-1-21 0,-1 2-27 0,0 0-39 15,0 1-64-15,0 1-43 16,0-2-65-16,-1 1-66 0,2 1-169 0,-2-3-591 0,1 2 105 15,-2-1 66-15,2-3 126 0,0-2 128 16,-3 1 10-16,3-4 102 0</inkml:trace>
  <inkml:trace contextRef="#ctx0" brushRef="#br1" timeOffset="-122791.03">17089 11492 688 0,'-2'-5'292'0,"-1"5"-80"15,3 0-91-15,0 0-226 16,0 0-481-16,0 0 20 0</inkml:trace>
  <inkml:trace contextRef="#ctx0" brushRef="#br1" timeOffset="-122230.52">17230 11569 1241 0,'0'0'466'0,"0"0"7"0,0 0-58 15,5 11-44-15,-4-6-107 16,-1-2-1-16,2 3-14 0,-2-1-19 16,3 1-20-16,-3-1 10 0,2 0-48 0,0 1 53 0,-1-1-61 0,-1 0 0 15,0-2-3-15,2 0 28 16,-2 2 19-16,3-3-4 0,-1 1-4 0,-2-3-31 0,3 3 0 15,-3-3 61-15,0 0-20 0,0 0 10 0,13-4-43 16,-10 2 12-16,4 1 6 0,-4-2-36 16,2-1-42-16,0 1-89 0,0 1-17 15,3-1 32-15,-1-1-17 0,-4 3 5 0,2-1-11 16,3 0 6-16,-3 1 15 16,0-1-47-16,3 1-19 0,-3 0-3 0,-5 1-85 0,10-2-25 0,-5 2-18 15,-5 0-29-15,10 0-25 0,-10 0-10 16,8 0-38-16,-8 0 7 15,8 0 3-15,-3-1 7 16,-5 1 18-16,6-2 1 0,-2 0 58 0,1 0-8 0,-4-3 44 0,-1 5 31 0,7-1 23 16,-4-1 43-1,-3 2 31-15,0 0-5 0,5-4 18 0,-5 4 20 0,2-3 16 0,-2 3 15 16,0 0 33-16,0 0 13 0,0 9-18 16,0-3 13-16,-2 1 21 0,-1 5 25 0,1 1-11 15,-4 6 22-15,-1 3-4 0,0 1-12 16,-1 3 8-16,-1 8-26 0,-1-2 13 0,-2 2-42 0,2-3 17 15,-3-1-24-15,-1 0-31 16,0-7 8-16,3-5 11 0,-2-2-9 0,6-1-9 16,-3-2-26-16,2-3-21 0,5-4 13 0,-4 0-59 0,4-3-2 15,-2-2-41-15,5-1-23 0,0 0-36 16,0 0-21-16,0 0-30 0,0-12-47 16,5 4-43-1,0 0-30-15,0-3-121 0,0 1-92 0,3-5-487 0,0 1 73 0,2-2 130 0,1-3 81 16,-1 0 55-16,2-3 122 0</inkml:trace>
  <inkml:trace contextRef="#ctx0" brushRef="#br1" timeOffset="-122036.71">17654 11670 1407 0,'4'17'466'0,"-4"0"-33"0,3-2 2 0,-3 2-46 0,-3-3-56 0,-1 5-36 0,-2 2-13 16,-4 1 28-16,-3 6-10 0,-5 0-31 15,0-1-53-15,1 1-62 0,-4-2-79 16,0 2-82-16,3-2-69 0,-2-1-170 0,7-5-751 16,0-4 112-16,3-4 48 0,0 0 72 0,2-3 88 15,0-2 63-15</inkml:trace>
  <inkml:trace contextRef="#ctx0" brushRef="#br1" timeOffset="-121153.73">17887 11416 1028 0,'2'-10'446'0,"-2"5"-21"0,0 1 15 0,0 0-23 16,0 4-30-16,0 0-26 0,0 0-16 15,0 0-15-15,10 13-17 0,-6-1-132 16,-2 1-24-16,-2 4-9 0,2 1-20 0,-2 3-8 15,0 3-20-15,3 2-13 0,-6 2-46 16,3 1-15-16,-2 0-52 0,0 0-53 16,-2-1-31-16,4 0-54 0,-2-1-31 0,0-2-63 0,4-4-129 15,-4-2-496-15,2-3 18 16,0-2 110-16,0 0 77 0,-1-4 45 0</inkml:trace>
  <inkml:trace contextRef="#ctx0" brushRef="#br1" timeOffset="-120600.52">17895 11421 1213 0,'2'-10'350'0,"0"3"-40"0,2 4-28 0,-2 0-16 0,3 3-28 0,-5 0-13 0,0 0-33 16,13 8 3-16,-8-3-37 0,4 1 11 0,-3 0 46 15,4 2-69-15,1 1-20 0,-1-1-34 16,3-1-54-16,3 0-22 0,-2 0-42 0,2-2-25 15,-1-3-5-15,8-2-24 0,-2-2 6 0,0 0 25 16,4-2 14-16,-2-2-1 0,0-1 33 0,-2-1 44 16,-3-1 28-16,-3 1 28 15,0-3-17 1,-4 1 9-16,-3 0-9 0,-1 2 9 0,-4 1 16 0,1 0-20 0,-3 2 22 0,-1-1-2 16,-1 3-36-16,1 3 26 15,-7-3 2-15,7 3-12 0,-13 3-19 0,5 2 11 0,-2 1-23 16,0 2-13-16,-1 1 7 0,-3 3 4 15,3-3-9-15,-2 4-4 0,3-2-22 0,-3 2-22 16,3-1-25-16,5-2 7 0,-1 0-16 16,2-4 11-16,1 0 2 0,2 1-9 0,1-5 9 15,0-2-18-15,6 3 1 0,-6-3 12 16,11-3 3-16,-4-1 28 0,6-1 3 0,-3-2-1 16,1-3 44-16,1-1-7 15,1 1 17-15,-3-1 8 0,1 2 18 0,-1-1 7 0,-3 1 1 16,-1 2 5-16,4 1 30 0,-5 0-30 15,0 2-29-15,0 2 29 0,-2 1-8 0,-3 1-2 0,7 4-9 16,-2 0-78-16,-2 2 2 0,-3 2-23 16,0 1 13-16,0 5 2 0,-2 0 3 0,1 1-28 15,-4 4-19-15,1 1 4 0,1 2-26 16,-2-3-14-16,5 4-52 0,-3-4-27 16,3 0-32-16,0 2-29 0,0-5-84 0,0-2-106 15,-5 3-68-15,10-5-410 0,3-3 64 16,-3-2 98-16,5-3 99 0,-2 0 56 0</inkml:trace>
  <inkml:trace contextRef="#ctx0" brushRef="#br1" timeOffset="-120251.39">18629 11493 1218 0,'-4'-8'394'0,"4"2"-23"0,-5 1-33 15,2 3-10-15,-2-1 58 0,-2 3-45 0,7 0-6 0,-18 5-25 16,7 2-18-16,-1-1-3 0,-1 1-148 0,-1 4-8 15,-3 2 10-15,0-1-10 16,1 2-20-16,1 0-8 0,4-1-26 0,-2 1-12 16,3-1-14-16,2 0 1 0,1-3-15 0,4 0-6 0,0-4-15 15,1 1-13-15,4-2 5 16,1-2-12-16,2-1 14 0,3-2 6 0,2-2 8 16,-2 0-16-16,2-4 23 0,3-1-20 0,-3 1 3 15,1-1 7-15,-1-1 35 0,-2 2-19 16,-1-2 25-16,1 3 13 0,1-1-13 0,-5 1 20 15,1 0-17-15,0 3 15 0,-2-2-39 0,-3 4 3 16,0 0 16-16,0 0-32 0,0 0-2 16,10 6-10-16,-10-1-61 0,2 0-16 0,-2 1-46 15,2-1-38-15,0 0-34 0,0 2-46 16,0-2-74-16,3 2-40 0,0-2-124 0,3 1-525 16,-1-2 160-16,1-2-1 0,2-1 90 0,2-1 79 15,0-1 102-15</inkml:trace>
  <inkml:trace contextRef="#ctx0" brushRef="#br1" timeOffset="-119588.55">18845 11490 947 0,'-2'-7'419'0,"2"0"-27"0,-2 3-26 15,-1 0 26-15,3 0-65 0,-3 2-20 0,3 2-10 16,-10 0-23-16,10 0-2 16,-12 6-32-16,4 0-22 0,0 1-80 0,-2 3-13 0,1 3-20 15,-1 0 31-15,0 4-49 0,0 0 13 0,0 1-39 16,2 4-17-16,3-6 48 0,0 1-46 15,2 1-25-15,1-4 4 0,2-1-12 16,2-2-23-16,-2-1 7 0,6 1-17 0,-4-4-6 16,3-3-5-16,3 2-25 0,-1-5 33 0,2-1-10 15,1 0-13-15,0-1 38 0,3-5 8 16,-1 0-18 0,4 1 26-16,-1-3-8 0,-2-3 59 0,-2-1-29 0,1 1 4 0,-2-4 19 0,3 0 1 15,-3-3-23-15,1-1 20 0,-4-1-7 16,3 1 2-16,-2-4-5 0,-5 3-18 31,5-3 15-31,-1 0 31 0,-2 0-33 0,0-1 5 0,-2 0-13 0,2 5 13 0,-2 1 3 0,-1-1 7 16,1 6 20-16,0 1 24 0,-1 2-41 15,-2 1-13-15,2 1 10 0,-4 3 10 0,2 3-35 0,0 2 15 16,0 0 8-16,0 0 12 16,0 0-51-16,-12 9-10 0,8-2 36 0,0-1-21 15,2 3 16-15,-2 0 0 0,0 1-13 0,-2-1-16 16,4 2 16-16,-1 1 18 0,1-3 59 15,-1 2-11-15,0 2-58 16,3-5 15-16,-2 3-3 16,2-2-22-16,0 1 17 0,0 0 10 0,2-1-32 0,-2 3 1 0,3 0-14 0,2 1 2 15,-2-2 8-15,2 1 7 0,0-3-33 0,1 2 8 16,-2-2-8-16,2 1-8 0,-2-3-2 0,2-1-8 16,-1 0 6-1,0-2-22-15,2-1-7 0,1-1-17 0,-2-1 37 0,4-1-4 16,0-3-21-16,2 0 23 0,-1-1-10 0,1-2-1 15,2 0 29-15,0-1 11 16,-1 1-6-16,3-2 33 0,-4 1-25 0,-1 2-6 0,-1-2 32 16,-2 2 2-1,0 0 15-15,0 2 3 0,-1 0-16 0,0 1 8 0,-4 1-4 0,-3 1 1 0,10 3-22 16,-6 0 33-16,0 0-11 0,-1 2-12 16,0 0 7-16,-1 1-45 0,-2-1-44 0,4 2-21 15,-3-1-58 1,-1 0-60-16,0 2-101 0,0-4-214 0,3 0-493 0,-3 3 92 15,0-1 92-15,0-1 126 0,0-1 51 0,2-2 27 0,-2-2 93 16</inkml:trace>
  <inkml:trace contextRef="#ctx0" brushRef="#br1" timeOffset="-119437.58">19264 11350 752 0,'0'0'61'0,"-3"-2"-593"0</inkml:trace>
  <inkml:trace contextRef="#ctx0" brushRef="#br1" timeOffset="-118871.24">19294 11410 1254 0,'0'0'391'0,"-5"-4"-43"0,5 4-38 0,0 0-5 0,0 0 7 0,0 0-41 0,-7 6 60 16,4-2-19-16,0 1-41 0,1 0-30 0,0 4-18 15,2-2-14-15,-4 1-19 0,2 1-24 16,0 0-22 0,1 1-4-16,0-2-37 0,0 0 12 0,-2 2-2 0,3-2-16 0,-2 0-10 15,2-3 0-15,0 2-21 16,0-2 9-16,2-1 19 0,1-1-25 0,-3-3-58 0,7 0 7 16,-7 0-13-16,14-3 15 0,-9-1 6 0,5 2-13 15,-2-1 10-15,2 1-11 16,2-3 19-16,-2 3 0 0,1-2 12 0,-1 4-14 15,0-1 4-15,1 0-13 16,-3 2 83-16,2 0-32 0,0 0-19 0,-2 3-45 0,0-3-9 0,-2 4-52 16,0 0-28-16,-3-1-66 0,2 1-57 15,0 0-31-15,0 2-212 0,-2-2-204 0,2 0-377 16,-2 0 110-16,1-1 97 0,0 0 110 0,0-2 126 16,2 2-2-16</inkml:trace>
  <inkml:trace contextRef="#ctx0" brushRef="#br1" timeOffset="-118617.83">19576 11544 1215 0,'6'-8'443'0,"1"-1"-13"0,-2 1-7 15,-2 2-45-15,-1-1-70 0,1 1-60 16,0-1 5-16,-3-1-25 0,0 2-8 0,2 0-20 0,-2 1-21 16,0-1 8-16,0-1-10 0,-2 4-29 15,-1 0 18 1,0 1-53-16,3 2 5 0,-10 0-21 0,10 0-7 0,-10 3 2 0,5 2-10 15,-1 1-8-15,2-2-2 0,-2 3 99 0,4 0-46 16,0 1-20-16,-1-2-5 16,0 1-5-16,3-1-8 0,0 1-28 0,3 2-13 0,-3-3-56 15,5 0-39-15,-3 0-48 0,4 0-59 0,1-1-49 16,1-2 18-16,5-1-41 0,-1 3-166 16,-1-4-105-16,4-1-476 0,1 0 63 0,2 0 137 15,0 0 89-15,5 0 46 16,2-2 87-16</inkml:trace>
  <inkml:trace contextRef="#ctx0" brushRef="#br1" timeOffset="-117766.89">20186 11148 1121 0,'0'0'501'0,"0"0"-73"0,3 15-26 0,-3-4-21 0,-1 2-40 16,1 6-9-16,-2 0-48 0,0 3-30 0,0 3-14 15,-2 2-30-15,-3 8-20 0,2-6-98 16,2-1-49-16,-6 6-43 0,3-4-20 0,1-4-29 16,-1-1-45-16,2-1-47 0,1-3-54 0,-2-3-91 15,3-3-57-15,0 1-538 0,-2-4 185 16,4 0-34-16,0-5 47 0,0-1 127 16</inkml:trace>
  <inkml:trace contextRef="#ctx0" brushRef="#br1" timeOffset="-116746.72">20197 11595 721 0,'7'-10'328'0,"-2"-2"33"0,6 1-5 0,-4 2-11 15,-1-1-35-15,1-3 5 0,1 0-21 0,-1-2-35 16,1-1 17-16,-3-1-38 31,1 1 3-31,-1-1-1 0,0 0 1 0,-1 4-34 0,-3 0 19 0,2 0-22 0,-3 5 6 0,-3-1-15 0,3 5-129 16,-5 1 29-16,0 1-13 15,5 2-5-15,-15 5-13 0,7-1 20 0,-2 5-43 16,1 1 33-16,-1 4-12 0,0 0-26 0,-2 2-11 16,4 1 16-16,3 0-5 15,-1 1-10-15,-1-2-1 0,4 1-4 0,3-3-21 16,0 0-18-16,0-2-38 0,6-1-1 0,0 0-20 16,0-3-40-16,5-2-39 0,1 0-13 0,4-4-26 15,2 0 1-15,2-2-47 16,5-3-46-16,2-4-2 0,11-3 2 0,-7 1 3 0,2-5 33 0,0-1 26 15,-2 0 66-15,-7 0 13 0,-4 0 67 16,-2 2 51-16,-3 0 23 0,0 0 43 16,-4 0 24-1,-4 2 2-15,1 1 33 0,-2 0-33 0,-4 3 28 0,0 0 0 0,-2 1-15 0,-2 2 0 16,0 1 0-16,-4 1-1 16,6 2-24-16,-15 0 6 0,5 0 1 0,-1 4 0 0,1-2-2 15,-4 4 4-15,0-1-7 0,3 0 10 0,-2 2-28 31,3-1 10-31,0 0-11 0,1 2-1 0,0-2-4 0,2 0-9 0,1 0 15 0,3 0 0 16,1-2-36-16,0-1 2 0,4 1 24 16,-2-4-13-16,5 3-19 0,1-3-4 15,-6 0 8-15,18 0 4 0,-8-1 11 16,3-1 10-16,-1 1-49 0,1 0 24 0,0-1-24 0,0 2-2 0,-1 0 2 16,0 0-9-16,-3 3 14 0,4-2 3 15,0 2 0-15,-3 2-2 0,2 0 20 16,-2 0-33-16,-1 2 22 0,-2-1-1 0,-2 1-19 15,1 0-2-15,-4 0 12 16,2-1-2-16,-2 0 15 0,-2 1 31 0,2-3-15 0,-2-1 33 16,0 2 33-16,0-5-10 0,-2 5 49 0,2-5 20 15,0 0-18-15,0 0 21 0,0 0 0 16,0 0-21-16,0 0-8 0,-6-14-15 16,6 9 13-16,0-2-23 0,2-1-5 15,0 0-21-15,0 1 16 0,2-4-3 0,-1 1-31 16,4 0 1-16,-1-2-37 0,-1 2-27 0,3 0-19 0,0-1-22 15,-1 2-34-15,6-1-18 0,-2 1 8 16,1-1-38-16,0 1-26 0,-1-1 20 0,-1 4 23 16,4-1 6-16,-4 2 7 15,0-1 16-15,-3 2-21 0,1 1 28 0,0 1 31 0,0 1-5 16,-1 1 51-16,-7 0 16 0,11 2-3 0,-9 0 7 16,3 2 14-16,-2 1 12 0,-1-2-5 15,-2 4 23-15,3 2 18 16,-3-1 13-16,0 0-11 0,0 3-10 0,0-1 8 0,2 0 6 15,-4 2 12-15,2 1-52 16,0-2 19-16,0-1-24 0,-1-1 6 0,-1 0-3 0,2 0 6 16,0-1-4-16,0-2 14 0,0-1 10 0,0 0-3 0,0-5 8 15,0 4-11-15,0-4 21 0,0 0-15 16,10-1 10-16,-10 1-5 0,8-6-26 16,-3 2 13-16,1-2 21 0,1-3-39 0,1 2-7 15,1-1 22-15,0 0 11 0,1-1-26 0,0 0 15 16,2 3 1-16,-3 0-21 0,1 1 8 15,0 0-11-15,0 4 8 16,-2 0-2-16,0 0 15 0,0 3-15 0,2-1 12 16,-3 4-25-16,1-3-16 0,-2 4 21 0,1 0-31 0,-2 1-40 15,-2 0-14-15,2 1-30 0,-2-1-54 16,-1 0-28-16,0 1-54 0,3 0-167 0,-2 0-583 16,0-2 77-16,-1 0 159 0,1-3 12 0,-1 2 98 15,1-5 63-15</inkml:trace>
  <inkml:trace contextRef="#ctx0" brushRef="#br1" timeOffset="-116550.09">21296 11367 1244 0,'0'0'371'0,"0"0"-36"0,0 0-28 0,0 0-20 0,-4 15-34 0,1-7-22 0,2 1-24 16,1 1-28-16,-4 2-28 0,2 1 72 0,1 0-39 0,-2 1-51 15,1-1-87-15,-1 0-112 0,-2 0-175 16,3 2-642-16,0-5 105 0,-1 2 61 16,0-3 57-16,1-2 81 0</inkml:trace>
  <inkml:trace contextRef="#ctx0" brushRef="#br1" timeOffset="-115877.52">21392 11374 1308 0,'0'10'378'0,"0"-1"-19"16,-3-1 73-16,3 0-50 0,-1-1-47 0,-1-1-2 15,0 0-8-15,2 2-54 0,-2-3-81 0,2-1-27 16,-2 1 24-16,0 0 8 16,2 0 2-16,0-5 20 0,2 8-12 0,-2-8-20 0,2 1 7 15,-2-1-18-15,0 0-5 0,0 0-8 16,14-8 95-16,-8 4-36 0,1-1-15 0,1 2 5 15,2-2-8-15,-2 1-31 0,2 0-35 16,-1-1-98-16,1 4 47 0,0-1-24 0,0-1-2 16,-2 3-10-16,2 0-16 0,0 0-48 15,-1 0-14-15,-3 0-17 0,2 1-38 16,0 2-34-16,0-2-69 0,-3 0-23 16,3-1-15-16,0 0-51 0,-2 0-1 0,-6 0-40 0,14 0-31 15,-9 0-46-15,4-2 71 0,-3-1-143 0,-1 2 54 16,1-3 8-16,1 1 63 0,-2-3 52 31,0 4 92-31,0-2 79 0,-2-1 82 0,2 2 6 0,-2-2 65 0,2 0 29 0,-2 4 36 0,-1-1 13 16,0-1-18-16,-2 3 30 0,0 0-2 15,0 0 23-15,0 0 10 0,10 5 36 16,-8 1 33-16,-2 2 3 0,-2 3-36 0,0 5 25 0,0-1 60 16,0 4-26-1,-4 5-3-15,1 1-12 0,0 1-32 0,-4 10 6 0,1 0-46 0,-4-1 13 16,2 1-14-16,-1-1-32 0,-3-3-18 0,-2-1 20 15,1-3-54-15,-3-2-46 16,2-5 8-16,4-5-15 0,-1-4-77 0,3-1-21 0,2-3-25 16,0-1-57-1,3-3-71-15,0-1-59 0,0-2-77 0,5-1-171 0,-3-10-521 0,3 4 63 16,3-1 186-16,-3-4 54 0,0-2 92 16,3-4 41-16,-1 1 70 0</inkml:trace>
  <inkml:trace contextRef="#ctx0" brushRef="#br1" timeOffset="-115365.89">22150 11251 908 0,'-3'-2'364'0,"3"2"-14"0,0 0-30 0,-12 5-20 0,7 0-16 16,-3-2-26-16,0 6 1 0,0-2-44 0,-2 0-13 15,0 2-7-15,0-1-49 0,0 2-11 16,2 2-7-16,-2-2-38 0,5 0 15 0,-3 1-21 16,4-3-25-16,-2 2-15 0,4-4-19 15,-2 2 6-15,4-4-31 0,0 1-3 0,0-5-25 16,6 3 26-16,-1-1 17 0,-5-2-15 15,10-2 31-15,-10 2-16 0,13-3-10 0,-8 1 16 16,3 2-3-16,-2-1 2 0,-2 1-12 16,-4 0-11-16,12 0 8 0,-6 1-10 0,-2 1 8 15,0 1-1-15,0 1-30 0,-1-1-18 16,2 2-64-16,-2-1-82 16,2-1-174-16,-5-3-8 0,8 3-409 0,-3 1 46 0,0-4 59 0,3 0 84 15,0 0 49-15</inkml:trace>
  <inkml:trace contextRef="#ctx0" brushRef="#br1" timeOffset="-115158.08">22350 11160 1197 0,'8'-25'405'15,"-3"2"-139"-15,0 4-25 0,0 1 17 0,0 2 3 0,-2 0 31 16,2 2-21-16,-2 3-30 0,0 2-21 16,1 2-10-16,-1 3 105 0,-3 3-28 15,0 1-52-15,0 0-25 0,0 14-13 0,0-4-8 16,-1 3-17-16,-3 6-18 0,2 2-16 15,-4 4-13-15,-2 11-38 0,2-2-7 0,-2 3-57 16,-1 0-44-16,2-1-74 0,-1-8-45 16,7-3-6-16,-3-3-49 0,2-3-76 0,0-2-85 15,2-8-87-15,0 4-465 0,2-6 101 0,0 2 27 16,3-6 50-16,3 2 98 0</inkml:trace>
  <inkml:trace contextRef="#ctx0" brushRef="#br1" timeOffset="-114615.1">22623 11260 1057 0,'2'-4'414'0,"-2"4"-22"0,0 0-29 16,0 0-53-16,0 0-13 0,0 0-23 15,-8 10-16-15,4-5-63 0,-2 2 2 16,3 0-10-16,-3 2-16 0,0 2-14 0,0-1-22 0,1 1-2 16,0 0-30-16,3 0-9 0,1-3-14 15,-1 2-106-15,3-1 29 0,0 0-8 16,2-5-8-16,1 2-5 0,0-1-8 0,1 0 19 15,5-3 9-15,-2-2-4 0,0-2 12 16,2-1 3-16,-2 0 30 0,4-2-4 0,-4-1 14 16,3-1 19-16,-3 1 2 0,0-3-7 0,-2 0 2 15,-3 1 13-15,2 0 94 16,-1 0 4-16,-3 2-42 0,2-2-15 0,-3 2-13 0,0-1-18 16,0 1 8-16,0 1-8 0,-3 1 8 15,3-1-44-15,0 1-18 0,0 4 26 0,-5-5-5 16,5 5-23-16,-5-3-5 0,5 3-11 0,0 0 16 15,0 0-3-15,0 0-17 0,0 0 12 16,-8 7-20-16,7-3 10 16,1-4-21-16,0 6 6 0,0-2 4 0,0 0 4 0,1 1 9 0,-1-1-10 15,0 2 13-15,3 2-28 16,-1 2 33-16,0-1-12 0,-1 1 4 0,4 3-20 0,-3-2-2 16,1 2 17-16,0 3 16 15,1 0-8-15,-3 1-8 0,1 2-25 0,-2-5-11 16,0 3 26-16,0-1 1 0,-2-1 1 0,1 3 29 15,-3-2-28-15,0-1-3 0,-5 0 20 16,6-4-4-16,-3 0 22 0,-2-2-43 0,0 0 31 16,0-1-23-16,0-2 7 0,0-1 3 15,3-2-56-15,-3 0-29 0,4-1-28 0,-2-2-43 0,6 0-10 16,0 0-44-16,-13-4-64 0,8 2-79 16,2-3-129-16,-1 4-565 0,1-4 133 0,0 0 44 15,1 0 53-15,-1-1 72 16,3-2 141-16,5 0 44 0</inkml:trace>
  <inkml:trace contextRef="#ctx0" brushRef="#br1" timeOffset="-113858.96">22863 11337 1036 0,'0'0'338'0,"0"0"-21"15,-2-6-15-15,2 6-28 0,0 0-23 16,-8 0-18-16,8 0-20 0,0 0-19 0,-10 11 1 16,6-6-49-16,0 2-21 0,1-1 16 15,-2 2-21-15,1-1-18 0,0 3-9 0,0-1-1 16,3 1-23-16,-1-2-13 0,-1 3 1 0,3-3 58 15,0 2-18-15,0-3-15 0,0-2-3 16,0 1 6-16,3-3 2 0,-1 3-13 0,1-5-15 16,-1 2 13-16,-2-3-37 0,8 0 14 0,-8 0 0 15,0 0 7-15,12-6-13 16,-11 2 6 0,2 2-5-16,-1-3-9 0,0-1 14 0,-1-2 33 0,1 2-44 0,-2-3 8 0,3 2-7 15,-3 0 4-15,0-1-14 16,0 0-9-16,2-1 6 0,-1 4-8 0,1-2-6 0,-2 1 4 0,5 0-16 15,-3 3 10-15,1-1 10 0,0 1-9 16,-1 0-24 0,-2 3 13-16,8 0 15 0,-8 0 11 0,7 5-39 0,-3-1 33 15,0 0-25-15,-1 1 31 16,2 1-39-16,-2 0 23 0,-1 1-15 0,3 0 69 0,-2 2-74 0,-1-2 2 16,2 0 11-16,-2-1 5 0,0 0 7 15,-2 0 23-15,4-3 19 0,-4 0 25 0,2 0-13 0,-2-3 13 16,2 3 40-16,-2-3-35 15,0 0-15-15,0 0 20 0,0 0-15 0,10-9 23 0,-7 7-59 16,-1-3 23-16,3 0-13 0,-2 1-38 0,0 0-18 16,2-2 10-16,-3 0-41 15,4 1-25-15,-2 1-16 0,2-2-54 0,-2 2-17 16,0-1-65-16,3 1-45 0,0 0-67 0,-4-1-108 16,3 2-158-16,2-2-372 0,1 0 83 15,-1 0 132-15,0 2 60 16,2-2 48-16,-2 2 90 0</inkml:trace>
  <inkml:trace contextRef="#ctx0" brushRef="#br1" timeOffset="-113700.52">23122 11319 601 0,'3'0'266'0,"-3"0"34"16,8 5-11-16,-6-3 13 0,0 3 64 0,1 0 15 16,-3 1-81-16,0 2 12 0,0-2-28 15,0 3-92-15,0 0-20 0,0-1-24 0,-1 3-38 16,-1 0 13-16,0-3-18 0,0 1 8 0,1 1-70 16,-4-1-58-1,3-1-34-15,0-1-97 0,-2 0-127 16,2-7-99-16,2 3-424 0,0-3 49 0,0 0 63 0,0 0 142 0,0 0-24 15</inkml:trace>
  <inkml:trace contextRef="#ctx0" brushRef="#br1" timeOffset="-113568.89">23181 11292 1011 0,'3'-7'325'16,"-3"2"56"-16,0 0-23 0,0-1-50 16,0 4-19-16,0-3-59 0,0 5-40 15,0-6-98-15,0 6-154 0,-6-5-247 0,6 5-487 16,3-5 186-16,-3 5 6 0,-3-6 105 0</inkml:trace>
  <inkml:trace contextRef="#ctx0" brushRef="#br1" timeOffset="-113347.18">23433 10979 1174 0,'-3'6'389'15,"-2"0"-46"-15,2 3 13 0,-2 3-5 16,3 2-16-16,-4 4-43 0,2 1 2 16,-2 5-9-16,-3 10-65 0,3-5 5 0,-4 6-28 15,4-7-10-15,-1-1-18 0,-1 6-57 16,2-4-42-16,-1-5-14 0,2 0-59 0,0-2-43 16,0-4-46-16,-1-2-33 0,4 0-49 0,0-3-80 15,1-4-148-15,-1 0-450 16,2-3 35-16,2-3 134 0,-1 1 58 0,-1-4 80 15</inkml:trace>
  <inkml:trace contextRef="#ctx0" brushRef="#br1" timeOffset="-112891.06">23594 11043 1274 0,'0'0'405'0,"0"0"-42"0,0 0-7 0,0 0-28 0,5 13-6 16,-5-3-40-16,3 1-29 0,-3 0-10 0,0 5-30 15,0-2 12-15,-3 5-54 16,3-1 6-16,-3 3 0 0,1-3-37 0,-1 1-12 0,0 0 36 15,-1-2 18-15,1-4-49 0,0 5-51 16,1-5-21-16,0-1-17 0,1 1-52 0,0-2-20 16,0-3-33-16,1 1 2 0,-3-1-28 15,3-2-77-15,0 0-69 0,0-2-49 0,0 0-117 16,0 1-494-16,0-5 74 0,0 7 46 16,0-7 120-16,-2 2 90 0,2-2 59 0</inkml:trace>
  <inkml:trace contextRef="#ctx0" brushRef="#br1" timeOffset="-112674.68">23343 11318 1553 0,'0'-6'448'0,"0"6"8"0,4-5-136 0,-1 2-28 0,4-1 4 0,-3 1-42 0,3-1-29 16,3-1-20-16,0 3-39 0,1-3 11 15,4 3-64-15,-2-2-49 0,3 2-21 0,-2-2-48 16,1 2-49-16,-1-3-64 0,-1 5-112 0,3-8-172 16,-4 7-412-16,4-1 16 15,-4 2 140-15,-1-2 69 0,-1 2 18 0</inkml:trace>
  <inkml:trace contextRef="#ctx0" brushRef="#br1" timeOffset="-111984.05">23630 11315 1231 0,'0'0'489'16,"0"0"-95"-16,0 0-20 0,-11-3-21 0,11 3-31 15,-2-2-12-15,2 2-34 0,-2-5-7 0,2 5-31 16,2-5-41-16,-2 5-17 16,2-5-12-16,-2 2 4 0,5-1-6 0,-5 4-20 15,6-7-33-15,-3 6 7 0,1-1-35 0,-1-1-3 0,-3 3-6 16,10 0 4-16,-10 0-9 0,8 0-17 16,-8 0-3-16,10 1-7 0,-5 4-11 15,-2-2 3-15,2 0 13 0,-2 0-8 0,-1 1-8 16,2 1-8-16,-2 0 1 0,0 0 2 15,2-2-10-15,-3 3 8 0,-1-1 4 0,3 0-4 16,-1-2-6-16,-1 1-12 0,-1-2 10 16,2 3-8-16,-2-5-7 0,0 4 25 0,2 0-7 15,-2-4 2-15,3 3 35 0,-3-3-9 0,2 3 79 16,-2-3 5-16,2 3-38 0,-2-3-8 0,0 0 0 16,0 0 5-16,0 0-5 0,0 0-8 15,0 0 21-15,0 0-20 0,15-5-6 16,-13 2-2-16,-2 3 35 15,0 0-30-15,2-1 12 0,-2 1-53 0,0 0-5 0,5-6 36 0,-5 6-67 0,0 0 0 16,0 0 0-16,3-1 0 16,-3 1 0-16,0 0-29 0,0 0-68 0,0 0 7 15,0 0-43-15,0 0-64 0,0 0-7 0,0 0-42 16,4 7-72-16,-4-7-224 0,0 1-577 16,0-1 98-16,-2 5 191 0,2 0 34 0,0-1 64 15,4-1 57-15,-3 1 81 0,-1-1 123 0</inkml:trace>
  <inkml:trace contextRef="#ctx0" brushRef="#br1" timeOffset="-110938.55">23919 11230 1146 0,'0'0'353'0,"0"0"-12"0,0 0 12 16,0 0-23-16,0 0-22 0,0 11-12 0,0-6-52 15,-2 0-22-15,2 0-35 0,0 1-18 0,0 1 21 16,-1 3-34-16,1-4-21 0,0 2 24 16,0-2-36-16,0 0-10 0,-2 0-32 15,2-1 6-15,-2 0 11 0,2 0-4 0,-3 0-12 16,6-2 31-16,-3 0-6 0,0-3 29 0,-3 6-31 15,3-6 8-15,0 0-29 0,0 0-51 0,0 0 11 16,5 1 7-16,-5-1-28 0,0 0 44 16,0 0-26-16,9-13-11 0,-7 10-9 0,4-2-3 15,-2 0 5-15,1-1 10 0,0 1-18 16,0 1-4-16,2 0 27 0,-1 0-15 0,-1 1 26 16,0-1-21-16,-2 4-15 0,4-1 7 15,-7 1-30-15,9-1 25 0,-9 1 1 0,7 2 9 16,-1 2 14-16,-4-2-50 0,3 2 29 0,-1-2-5 15,-1 3-3-15,0-1 26 0,-1-1-18 16,-1 0 15 15,1 0 72-31,-2-3 46 0,4 4 0 0,-3-2-41 0,-1-2 1 0,1 5 63 0,-1-5-21 0,2 2-96 0,-2-2 9 0,0 0 6 16,4 3 12-16,-4-3-27 0,0 0-6 0,0 0-49 16,0 0 67-16,0 0-56 0,8-5 44 15,-8 5-57-15,6-3 0 0,-2 1 0 16,-4 2 0-16,6-5-13 0,-3 2-100 0,3 0 23 15,0 1-14-15,2-2-37 0,0 0-56 0,3-1-18 16,0 0-16-16,0-2-14 0,2 0-19 0,4-1-10 16,-3-1-49-16,-1 1-12 0,2 0 23 15,-2-1 66-15,-1 1 39 0,-3 2-11 16,1-1 31-16,-3 1 41 0,0 0 49 16,-3 0 15-16,-1 1 23 0,-1 2 42 0,0-1 29 0,-2 4-12 15,3-5 21-15,-3 5-1 0,0 0 26 0,0 0-12 16,0 0 12-16,0 0 10 0,0 0 16 15,0 0-3-15,0 0 13 0,-13 12 7 16,12-5 16-16,-1-1 3 0,0 4-24 0,2-1 21 16,0 1 0-16,0 1 18 0,-3-1-8 0,3 3 0 15,3 2-5-15,-6-1-5 32,3 0-20-32,0-2 2 0,0 1-8 0,-5 1-25 0,3 0-3 0,-1-2 11 0,-2-1-34 15,1 0-46 1,-2 0-21-16,0-2-22 0,1 1-47 0,-2-3-60 0,2 0-50 0,2-5-102 0,0-2-154 0,3 0-475 15,-2 5 140-15,2-5-10 0,0 0 130 0,0 0 19 16,0 0 48-16</inkml:trace>
  <inkml:trace contextRef="#ctx0" brushRef="#br1" timeOffset="-110736.2">24557 11248 1546 0,'1'13'514'0,"1"1"-15"0,-2-2-20 15,0 1-54-15,-2 3-8 0,-3 0-79 16,-3 7 28-16,-2-1-8 0,-6 10-30 16,-1 0-54-16,-2 0-39 0,-4 0-68 0,3-1-68 15,-4 1-60-15,0-2-42 0,0 1-104 16,1-1-49-16,1-3-88 0,-3-4-188 0,3-1-525 0,3-3 48 16,2-1 108-16,0-5 89 0,-2 0 103 15,-1-1 30-15,-1-1 108 16</inkml:trace>
  <inkml:trace contextRef="#ctx0" brushRef="#br1" timeOffset="-109097.9">16097 12580 1374 0,'0'0'430'0,"0"0"-77"16,-5 13-53-16,2-4-16 0,1 2-15 16,0 3-3-16,-1 3-13 0,0 3-25 0,-2 3-10 15,0 3-29-15,2 1-30 0,-5 10-11 16,1-2-12-16,-1 1-29 0,1-2-37 0,-1-5-55 16,-2 4-36-16,5-5-53 0,-1-4-15 0,2 0-78 15,-2-4-86-15,4-3-134 0,-1 3-468 16,0-3 67-16,1-4 140 0,2-3 6 15,-3-3 84-15</inkml:trace>
  <inkml:trace contextRef="#ctx0" brushRef="#br1" timeOffset="-108341.97">16087 12582 1069 0,'13'-15'402'0,"0"3"10"15,-1 4-66-15,-1 3-75 0,1 4 6 0,1 2-26 0,0 1-1 16,0 5-11-16,3 3 45 0,-4 2-31 0,-2 2-5 16,-2 3-45-16,-3 0 1 15,-2 2-37-15,0 2-19 0,-3 2 29 16,-3 4-42-16,-2-2-17 0,-3 8-8 0,0-5-18 0,-2-6 3 16,0 0-26-16,-3-2-7 0,0-3-9 15,0-1-24 1,-2-1-22-16,2-3-4 0,0-2-60 0,0-2-9 0,1-1-3 0,4-4-77 15,-2 0-13-15,5-2-71 0,-1-2-44 16,6 1-31-16,-4-6-102 0,4-1 80 0,2-2-14 0,0-3 83 16,6-2 22-16,0-1 34 0,2-3 31 0,3 1 55 15,-1 1 37-15,4 2 59 0,-3 2 55 16,2 2 29-16,-2 2 3 16,-1 3-11-16,2 0 6 0,-4 2 7 0,0 3 10 0,1 3 11 15,1 1 12-15,-2 2 21 0,-1 0-8 0,-2 4 23 0,1-1-5 16,-3 4-28 15,-1-2 29-31,-3 2-19 0,1 1 5 0,-2-2-25 0,0 1 5 0,-2 0-26 0,2 0 8 0,-1-2-8 0,-1-2 8 16,0 1-36-16,2-2 3 15,-3-1 4-15,1-1 22 0,2-3-4 0,0 1-22 0,0-4-1 16,0 0 1-16,0 0-13 0,0 0-10 16,10-11 12-16,-5 4-35 0,3-2 20 15,-1-3-26-15,3-1 21 0,1 0-49 0,2-3 3 16,2 0 8-16,-2 1-14 0,0 4 11 0,0-1 21 15,-1 2-21-15,-2 4-8 0,1 0 5 0,-3 2-7 16,0 2 20-16,-1 1-2 16,-7 1 12-16,11 4-2 0,-7 1 8 0,-1 0-13 0,0 3-16 15,1-1 23-15,-1 2-38 0,2 0 0 0,0 0 41 16,1 0-43-16,1-2 35 0,-2 0-45 16,3-1 9-16,2 0 3 15,-2-1 5-15,3-1 13 0,-1-2 3 0,2-2-16 0,-1 0 10 16,1 0 11-16,1-3-13 0,-2-1 5 0,1-2 23 15,-2 1 7-15,-1-1 6 0,-2-2 13 0,-2-1 2 16,0 2-18-16,-4-3-12 16,-1 2 27-16,-1-1-15 0,-2 0 6 0,-1 0-3 15,-2 0 10-15,2 2-3 0,-4 1-12 0,0 3 7 16,0 0-12-16,-2 1-6 16,2 2-10-16,-2 1-5 0,-3 2-12 0,0-1-6 0,1 3-26 15,2 1-53-15,-1 1-77 0,3-1-87 0,-2 2-105 16,5 1-437-16,-2-1 58 0,3-1 103 15,0-1 55-15,3-1 109 0</inkml:trace>
  <inkml:trace contextRef="#ctx0" brushRef="#br1" timeOffset="-107682.52">16862 12586 936 0,'0'0'397'0,"0"0"-26"16,0 0-38-16,-8 8-108 0,7 0 1 15,-1 1-17-15,-1 2-24 0,1 3 2 0,0-1-49 16,1 4-3-16,-1 2-24 0,-1-1 11 0,3 2-19 16,-2 0-14-1,1-2-17-15,-1 2-8 0,-1-2-28 0,3-2 10 0,-2-1-15 0,2-2-3 16,0-1 13-16,-1-2-23 0,1-1 0 16,1-1 7-16,-1-3 6 0,0-1-13 15,5-2-13-15,-5-2 10 0,0 0 21 0,11-3-8 16,-4-1 3-16,0 0-16 0,3-2 11 0,-1-1 2 15,1-1 0-15,2 3 11 0,-1-2 2 0,-1 1 10 16,-2 3 3-16,0-1-8 16,1 2 28-16,-3 0 15 0,-1 1 4 0,-5 1 9 15,13 3 23-15,-10 0-17 0,1 1 10 0,-1-1-8 0,-6 4 51 16,1 1 39-16,-3 0-39 16,0 1-20-16,-3 1 15 0,-2 1-64 0,-3 0 13 15,0-1 0-15,0 1-77 0,-2-2-23 0,0 1-28 16,0-3-61-16,-1 3-21 0,5-4-26 15,-1-2-38-15,2 1-56 0,2-2-195 16,0 0-604-16,3-1 82 0,2-1 126 0,3-1 74 0,0 0 84 16,0 0 31-16,0 0 115 0</inkml:trace>
  <inkml:trace contextRef="#ctx0" brushRef="#br1" timeOffset="-106512.89">17195 12746 852 0,'0'0'276'0,"-13"3"-43"0,5 1-2 0,2 0-9 0,-1 1-17 0,2 0-31 16,-3 1-2-16,1 1-49 0,1-1 10 0,1 0 15 15,0 1-35-15,0 1-31 0,0-1 2 0,3-2-5 16,0 3 8-16,-2-3-38 16,4 0 7-16,0-1 6 0,0-4-29 0,4 7 11 15,-2-7 2-15,-2 0 33 0,10 1-35 16,-10-1-11-16,12-3-13 0,-6 0-2 0,1 1 8 16,-1-1-1-16,1 2-7 0,-2-1 18 0,-2 0 8 15,2 1 2-15,-5 1-10 0,10 0 7 0,-10 0-15 16,8 2-12-16,-5 0 7 0,1 0-11 15,0 2 6-15,0-2-20 0,1 2-1 0,-2-2 3 16,2 1-15-16,-2 0-26 0,2-3-20 31,0 3 9-31,3-3 6 0,-8 0 0 0,12-3 13 0,-4 3-13 0,-3-3 7 16,3-2 9-16,-3-1 17 0,3 1 15 16,0-3 6-16,-1 0 10 0,-2-2 10 15,1-1-2-15,-2 1 92 0,-1-2-6 0,2-1-12 0,-3 0-5 0,1-2-6 31,0 2-9-31,-1-2-6 0,-1 2-5 0,1-1 36 0,1 1-15 0,-3 4 12 16,2-1-5-16,-2 2 3 16,2 0-10-16,-1 4-34 0,-1 1 5 0,0 3 3 0,0 0-71 0,0 0 20 15,0 0-26-15,0 0-8 0,-3 14 29 0,1-6-8 16,-1-2 5-16,3 4-15 16,-2-1 2-16,1 1 11 0,-1-1-14 0,-1 1 11 15,1-1-5-15,2 0 3 0,-1-2-6 0,-1 1 13 16,2-3 0-16,0 1 21 0,0-3-11 0,0-3-10 15,2 5-2-15,1-4-21 0,-3-1 8 16,8 0 10-16,-8 0 25 0,13-2-19 16,-8 1 6-16,3-2-19 0,0 3 7 0,2-1 2 15,-3 1-9-15,1 0 14 0,2 1 16 16,-2 2 21-16,-3-1-37 0,3 1-9 0,-1 2 25 0,-4-1 10 16,2 1-15-16,-2 2 10 0,-3-2-23 0,0 1 34 15,0 3 12-15,-3-3-15 0,1 4-11 16,-3-2-25-16,-1 1 21 0,1 1-8 0,-3-2-21 15,1 1 5-15,-1-1-27 16,-2 1-21-16,0-2-42 0,2 0-30 0,0-3-20 16,3 1-31-16,-2-1-131 0,4-3-55 15,3-1-206-15,-5 1-299 0,5-1 66 0,0 0 113 0,2-10 69 16,4 2 67-16</inkml:trace>
  <inkml:trace contextRef="#ctx0" brushRef="#br1" timeOffset="-106358.68">17520 12713 916 0,'3'4'409'0,"-1"1"-20"0,-2-2-61 0,3 6-21 16,-3-2-25-16,2 1-34 0,-2 1-33 15,0 0-23-15,0 1 13 0,0 0-69 0,-2 2-37 16,-1 0-76-16,1 1-104 0,2-6-204 16,-3 4-511-16,3 0 51 0,0-3 116 0,-3 0 25 15,1-3 92-15</inkml:trace>
  <inkml:trace contextRef="#ctx0" brushRef="#br1" timeOffset="-106245.8">17536 12629 685 0,'-6'-5'177'0,"6"-1"-182"0,-2 1-579 0</inkml:trace>
  <inkml:trace contextRef="#ctx0" brushRef="#br1" timeOffset="-106027.02">17736 12386 1013 0,'0'8'458'0,"0"3"-10"0,0-1-105 0,-1 3-30 0,1 2-9 15,0-2-50-15,1 4-16 0,-1 2 51 0,0 3-23 0,2 0-25 16,-2-2-1-16,0 4-38 0,0-2-63 0,0-1-42 15,0 2-48-15,0 0-52 0,-2-1-63 16,2-1-60-16,0-6-173 16,-1 7-656-16,1-4 146 0,-2-1 33 0,2-3 160 0,0-1 42 15,-3-3 93-15</inkml:trace>
  <inkml:trace contextRef="#ctx0" brushRef="#br1" timeOffset="-105454.35">17820 12713 1136 0,'0'0'379'0,"7"8"-5"0,-7-4-39 16,1 1-15-16,-1 1-44 0,0 1-20 15,2 0-36-15,-2 4-15 0,0-1-54 0,0 0-36 0,0 0-38 16,0-1-49-16,0 2-79 0,0-1-123 15,-2-1-202-15,2-1-461 0,2 2 187 0,-2-5-8 16,0-2 64-16,3 2 92 0</inkml:trace>
  <inkml:trace contextRef="#ctx0" brushRef="#br1" timeOffset="-105301.1">17846 12650 959 0,'0'-2'264'0,"0"-2"-113"0,0 4-174 0,0-7-366 0,2 4-215 0</inkml:trace>
  <inkml:trace contextRef="#ctx0" brushRef="#br1" timeOffset="-105100.89">17987 12467 1497 0,'0'0'453'0,"0"11"-28"16,0-4-123-16,0 0-23 0,-1 4-5 0,-1 2-18 16,2 1-23-16,0 3-21 0,0 3-38 15,2-1-7-15,-2 3-4 0,1 4-27 0,4 0-21 16,-3-1-40-16,1-1-40 0,-1 2-47 0,4-1-50 16,-4-1-71-16,3-3-51 15,-2-2-129-15,2-1-188 0,0-1-344 0,-2-2 62 0,2-4 99 16,-1-2 93-16,-3-1 54 0</inkml:trace>
  <inkml:trace contextRef="#ctx0" brushRef="#br1" timeOffset="-104642.91">17995 12744 765 0,'0'0'263'0,"17"6"-12"0,-14-4 0 16,-3-2-18-16,8 2-18 0,-8-2 72 0,10 0-29 0,-6 2-7 16,2 0-28-16,-6-2-6 0,8 3-9 0,-5-2-42 15,1 0-22-15,-4-1 1 0,10 4-9 16,-6-4 43-16,3 2-64 0,-7-2 3 0,8 0-92 15,-8 0 17-15,10-1-2 0,-3 0 0 0,-1-1-15 16,-1 0 17-16,3-2-12 16,-1 0 10-16,1 1 3 0,-1-1 14 0,-1-1 81 0,1 1 14 15,-1 0-4-15,1-1-93 0,-4 3 21 0,2-1-26 16,0 3 23-16,-5 0-2 0,8-1 7 16,-8 1-2-16,11 6 33 0,-7-3-13 15,1 4 11-15,-2 2 20 16,-1 2-18-16,1 3 20 0,0 4-2 0,-3 1-61 0,0 1 25 15,-3 2-13-15,0 2-20 0,-1 1-23 16,-4-1-41-16,0 1-41 0,0-2-31 0,1 1-43 0,-1-3-36 16,0 0-26-16,3-2-61 0,2-2-54 15,-1-1-148-15,-7 1-88 16,11-5-465-16,3-2 138 0,4-3 30 0,1-3 111 0,7 0 46 0,3-2 74 16</inkml:trace>
  <inkml:trace contextRef="#ctx0" brushRef="#br1" timeOffset="-103678.03">18815 12798 1039 0,'5'-6'381'0,"2"1"-30"0,-1-1-98 0,-1 0-25 0,3-2-10 16,-1-1 4-16,-2 0-2 0,0 0-12 15,-4-1 53-15,1 4-26 0,0-3 11 0,1 0-13 16,-3 5 8-16,0-2-47 0,0 1 13 0,-3 1-20 16,3 4-36-16,-2-3-15 0,2 3 7 15,0 0-20-15,-12 8-38 0,9-4 27 16,-2 4 1-16,0 1-13 0,-1 2-29 0,4 1-30 15,-2 0 26-15,0 0-24 0,-1 0-12 0,5 0-33 16,0 0-6 0,0-3-20-16,3 1 5 0,1-1-46 0,-1-2-16 0,5-1 47 0,0-2-39 15,2-3 3-15,2 0-3 16,2-2 0-16,1-3 13 16,3-3 10-16,-3-1 34 0,6-3-31 15,0-2 15-15,-4 0 10 0,7-8 44 0,-7 0-8 16,-1 4-2-16,2-8 5 0,-3 2 0 0,-2 4 15 0,-1-2 15 0,-1 3 9 0,-1 0 4 15,-2 2-5-15,-3 4 23 0,2 1 13 16,-4 2-7-16,2 1-34 0,-4 3-5 0,1 4 10 0,-2 1 5 16,0 0-28-1,0 0-7-15,0 0 48 0,-3 15-36 0,-2-4 1 0,3 2-9 16,-3 4-12-16,1 1-49 0,0-2-48 0,-4 6-32 16,3-1-27-16,-2 1-21 15,-1-1-56-15,2-3-64 0,3 1-26 0,-6-4-10 16,4 0-51-16,-1-2 36 15,2-3-34-15,0-1 78 0,0-1 55 0,-2-3 44 0,4-2 67 16,-3-1 73-16,0-1 29 0,5-1 46 0,0 0 11 0,-8-1 22 16,8 1-2-16,-5-3 12 0,5 3 19 0,-4-3-11 15,4 3 23-15,-4-7-20 16,4 4-18-16,0 3 2 0,5-7 6 0,0 1-3 16,1 0-3-16,1-1-2 0,3 1-18 15,0-1-5-15,4-3 2 0,0 1-2 0,3-3 5 16,0 0-15-16,1-1 7 15,0-1-2-15,0 2-13 0,-3 2 15 16,-1 0 44-16,-2 1 0 0,-2 1 30 0,0 1 1 0,-2 3-14 0,-3 0 6 16,0 1-13-16,-2 2 8 0,-3 1-8 0,0 0 28 15,0 8 5-15,0 0-17 0,-2 0 7 16,-1 2 0-16,0 3-18 0,3-2 8 16,0 1-11-16,3 1-17 0,0 0-10 0,4 0-4 15,-2 0-45-15,5 0-54 0,1-3-25 0,4 1-16 16,0-3-26-16,1-2-79 0,-1-1-56 0,5-2-120 15,-2-1-584-15,3-2 64 0,2-2 158 16,1-2 52-16,1-3 69 16,1-2 43-16</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19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04:45.077"/>
    </inkml:context>
    <inkml:brush xml:id="br0">
      <inkml:brushProperty name="width" value="0.05292" units="cm"/>
      <inkml:brushProperty name="height" value="0.05292" units="cm"/>
      <inkml:brushProperty name="color" value="#0070C0"/>
    </inkml:brush>
  </inkml:definitions>
  <inkml:trace contextRef="#ctx0" brushRef="#br0">9713 7768 1008 0,'0'0'453'16,"5"-5"-77"-16,0 3-2 0,3-2-51 0,-1 1-52 15,4-1-33-15,-1-2-23 0,4 4-8 0,0-3-33 16,-1 0-10-16,0 0-26 0,-2 2-4 16,1-1-9-16,-2 2 0 0,0-3-15 0,-2 5-10 15,-5-2-15-15,2-2-11 0,-5 4 3 16,0 0-13-16,0 0-16 0,0 0-9 0,0 0 2 0,-23 2 0 16,12 2 2-16,-3 0-20 15,1 0 3-15,-8 2-6 0,4 0-4 0,-2 1 7 16,-1-1 2-16,1 2 1 0,-1-1 12 0,5-3-10 0,-1 2 11 15,1-1-31-15,4 1 15 16,1-1-8-16,3-1 3 0,1 0 10 0,2 1-10 0,4 0-5 16,0-3-8-16,2 4 26 0,3-1-11 15,0-2-20-15,3 3 10 16,0-1 8-16,2 1-8 0,3 0 19 0,-3-1-4 0,3 0-25 0,-1 1 8 16,-1-3-16-16,2 4 29 0,-6-4-21 0,1 0 12 15,0 1-4-15,0-1 10 0,-3 3 15 16,-3-1 13-16,1 0 11 0,-3 1-55 0,0 0 21 15,-6 0-71-15,-1 1 20 0,-4 1 15 0,-1 1-5 16,-3 0 15 0,-1-2 11-16,-2 1-6 0,-2 0 1 0,2-1 43 15,0-1-33-15,0-1-5 0,0-2-11 0,2 2-5 0,3-3-10 16,-1 1-12-16,0 0-21 0,2-3 10 0,2 4-29 16,1-3-22-16,2 0-38 0,2-1-14 0,5 0-14 15,-5 0-32-15,5 0-40 0,0 0-149 16,0 0 5-16,0 0-493 0,17-6 76 0,-6 3 82 15,4-2 46-15,0 0 133 0</inkml:trace>
  <inkml:trace contextRef="#ctx0" brushRef="#br0" timeOffset="341.73">9931 7805 1200 0,'-5'3'399'0,"2"3"-102"16,-4-1-20-16,2 5-9 0,-1-3-32 0,1 1-29 15,2 4 3-15,-1-4-10 0,1 3-47 16,3 0-27-16,0-2 2 0,3 3-31 0,-1-1 8 16,3-2-15-16,3 1 12 0,-1-2-30 0,4-2-13 15,-1 0 20-15,3 0-30 0,2-2 12 0,1-3-10 16,-3-1 3-16,2-3-11 16,-2 1-9-16,0-3 4 0,2 2-5 0,-2-3 26 0,-3-1 23 15,0 1-10-15,-5-3-1 0,1 1 19 0,-2 0-52 16,-3-1 106-16,-2 1-19 0,-1 1 13 15,-3-4 3-15,0 3-33 0,-3 0-6 16,-4-1-20-16,1 2 0 0,-4 1 2 16,4 0-9-16,-2-1-16 15,1 2-24-15,-1 2-27 0,3-1 5 0,-1 3-57 0,1-1-25 0,0 0-46 0,5 4-5 16,-3-4-36 0,3 5-54-16,5-3-57 0,-5 2-122 0,2-1-130 0,3-1-375 0,0 0 106 15,11 3 20-15,-11-3 72 0,18-2 125 0,-6 0 5 16</inkml:trace>
  <inkml:trace contextRef="#ctx0" brushRef="#br0" timeOffset="577.63">10382 7669 1113 0,'3'0'476'0,"-3"0"-10"0,5-1-57 0,-5 1-9 16,0 0-98-16,5 5-74 0,-5-5 17 0,-2 9-19 15,-1-3-4-15,0 2 14 16,1 2-24-16,-3 1-17 0,0 2 10 0,-1 1 33 0,2 3-39 15,-5 2-43-15,2 1 8 0,-1-1-15 0,1-2-6 16,-4 3-41-16,3-1-20 0,0-2-38 0,1-2-36 16,-3-1-49-16,5 2-34 0,-3-3-42 15,3-3-47 1,-3-1-61-16,3 2-252 0,0-3-513 0,0-3 102 0,2-1 58 0,-1 0 111 0,0-4 23 16,4 0 76-16</inkml:trace>
  <inkml:trace contextRef="#ctx0" brushRef="#br0" timeOffset="739.83">10205 7782 1087 0,'0'0'395'0,"0"-6"-147"0,0 6-51 0,0-4-38 16,0 4-85-16,0 0-59 0,6-3-184 0,-6 3-506 15,10 5 37-15,-5-3 67 0</inkml:trace>
  <inkml:trace contextRef="#ctx0" brushRef="#br0" timeOffset="855.98">10400 7836 1215 0,'0'0'387'0,"3"2"66"0,-3-2-28 15,2 4-51-15,-2-4-90 16,0 0-23-16,3 2-39 0,-3-2-22 0,0 0-34 0,3 2-30 16,-3-2-92-16,2 3-62 0,-2-3-103 0,2 6-275 15,-1-4-469-15,1 3 91 0,1-3 68 0,4 4 81 16,-1 0 52-16</inkml:trace>
  <inkml:trace contextRef="#ctx0" brushRef="#br0" timeOffset="1739.86">14023 8056 826 0,'8'-6'325'16,"-1"0"-33"-16,1 1-33 0,0 2 7 0,0-2-46 15,-3 3-20-15,2-2-6 0,1 0-27 16,-3 1 66-16,1 1-44 0,-2-1 16 0,-4 3-29 16,6-2-2-16,-6 2-17 0,0 0-14 0,0 0-25 15,0 0 2-15,-14 9-7 0,7-5-21 16,-3 1-13-16,-3 1 6 0,-2 2-4 0,-1-1-24 15,1 1 7-15,-1 1-8 0,3 0-7 16,-2-3-3-16,5 1-16 0,-1 2-6 0,1-3 1 16,5-2-4-16,-2 2-1 0,4-1-20 0,1 1 28 15,-1 0-30-15,3-4 14 0,0 3 4 16,3 0-1-16,2-2-12 0,0 2 7 0,2-1-7 16,-1-2 4-16,2 4-12 0,-1-3 15 0,1 1-5 15,1 1 16 1,-1-1 2-16,-3-2-64 15,3 2 15-15,-2-1 21 0,-2-2-2 0,2 4 30 0,-4-4 41 0,0 4 48 0,-1-1 6 0,-1-1-18 16,-3 3 12-16,-2-2-17 0,-5 3-3 16,2-1-12-16,-7 2-1 0,2-1-10 0,-3 2 0 15,-1-2-10-15,1 0-38 0,-2-1 2 16,3 0-44-16,2-3 16 0,0 3-46 16,1-1-11-16,1-1-7 0,1-1-64 0,2-2-28 0,3 3 0 15,0-3-26-15,5-1-72 0,0 0-81 16,-5 0-182-16,5 0-397 0,0 0 82 0,15-8 71 0,-4 3 142 15,1-1 50-15,4 0 16 0</inkml:trace>
  <inkml:trace contextRef="#ctx0" brushRef="#br0" timeOffset="2078.65">14192 8151 908 0,'0'0'415'0,"-10"12"-18"0,7-7-39 16,1 1-25-16,-1 1-39 15,-2 2-115-15,3 1 3 0,1 1-21 0,-1-3-35 0,2 4 17 16,0-4-30-16,0 4-19 0,2-3 9 16,1 0-34-16,4 1 13 0,-1-1-8 0,-1-3-18 15,5-1 8 1,-2 0-7-16,0-2-14 0,2-3-2 0,0 3-10 0,1-3 2 0,1-3 3 16,-2 0-3-16,1 0 21 0,-1-4 2 15,-2 2 24-15,-3-1 55 0,0 0-17 0,0-2 28 16,-5 1-18-16,0-1 2 0,0-3-86 0,-3 3-8 15,-1-1-16-15,-4-1 21 0,2 1 0 16,-1 2-10-16,-3 1-3 0,0 0-15 0,-4 0-3 0,4 5-10 16,0 0-8-16,-1 0-25 0,-1 1-15 15,0 2-6 1,1 0-44-16,-2 3-40 0,3 0-51 0,-1-1-47 0,1 1-104 0,3 1-70 0,2-1-478 16,2 0 74-16,3-2 113 15,0-3 43-15,3 5 77 0</inkml:trace>
  <inkml:trace contextRef="#ctx0" brushRef="#br0" timeOffset="2341.04">14613 8087 1430 0,'4'-2'494'16,"-4"2"-48"-16,0 0-93 0,0 0-18 15,1 7-45-15,-2-3-17 0,-3 1 65 0,1 4-46 0,-2-1-18 16,0-1-59-16,-2 6-77 0,-1 0 0 15,0-1-12-15,0 5-13 0,-5-2-1 16,1 3-20-16,1-1-30 0,-2-2-24 0,3 3-40 16,-5-2-47-16,5-3-33 0,2 1-25 0,0-2-39 15,-3-4-34-15,4 2-111 0,-6-2-183 0,8 0-460 16,0-3 84-16,2 1 77 0,-2-6 179 16,5 0-10-16</inkml:trace>
  <inkml:trace contextRef="#ctx0" brushRef="#br0" timeOffset="2460.19">14413 8111 1218 0,'-3'-4'361'0,"3"4"-80"0,-3-2-66 0,3 2-74 0,0 0-128 0,0 0-195 0,0 0-494 0,0 0 49 15,0 0 51-15</inkml:trace>
  <inkml:trace contextRef="#ctx0" brushRef="#br0" timeOffset="2615.36">14764 8256 1292 0,'0'0'330'15,"8"-1"-15"-15,-8 1-15 0,0 0-32 16,0 0-12-16,7 2-38 0,-7-2-29 0,0 0-53 0,0 5-36 16,0-5-41-16,-2 7-52 0,1-4-60 15,1-3-88-15,-4 3-164 0,1 3-488 16,0 1 104-16,-1-1 29 0,0 1 112 0</inkml:trace>
</inkml:ink>
</file>

<file path=ppt/ink/ink19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04:56.717"/>
    </inkml:context>
    <inkml:brush xml:id="br0">
      <inkml:brushProperty name="width" value="0.05292" units="cm"/>
      <inkml:brushProperty name="height" value="0.05292" units="cm"/>
      <inkml:brushProperty name="color" value="#0070C0"/>
    </inkml:brush>
  </inkml:definitions>
  <inkml:trace contextRef="#ctx0" brushRef="#br0">13018 3353 1476 0,'0'0'533'0,"0"0"-101"0,0 0-30 0,0 0-28 16,-10 10-41-16,7-4-49 0,1 2 8 15,-1 3-29-15,3 1-22 0,-5 3-21 0,3 1-38 0,-1 3-23 16,0 0-19-16,1-3-7 16,1 5-20-16,-4-2-26 0,3-3-20 0,-1 5-8 0,1-4-29 15,2-1-17-15,-5 2-41 0,4-4-26 16,-1-1-35-16,0 0-47 0,-1-2-33 0,3 2-31 15,-3-3-68-15,3-1-122 0,-5-3-93 0,5 0-403 16,0-2 57-16,0-1 86 0,0-3 60 16,0 0 61-16</inkml:trace>
  <inkml:trace contextRef="#ctx0" brushRef="#br0" timeOffset="325.2">12987 3389 1000 0,'6'-11'469'0,"1"3"-39"0,0 1-36 0,1 1-13 0,0 2-7 15,0 0-39-15,2 1-33 0,0 1-12 16,1-2-16-16,-1 4-26 0,2 2-28 0,-1 0-38 16,1 0 5-16,-1 2 2 0,-1 2-35 15,0 1-3-15,-2-1 5 0,0 3-44 0,-6-3 37 16,1 4-42-16,0-2 3 0,-6 2-7 15,3-2-1-15,-5 3-15 0,-1-1-15 0,-1 1-3 16,-1 0-2-16,-4-2-19 0,1 3-38 0,1-4 6 0,2 0-34 16,-5-2-23 15,3 1-18-31,0-2-33 0,2-1-28 0,-2 0-34 0,3-2-5 0,1 1-40 0,-1-1-88 0,3 0-89 0,-5 1-177 16,8-3-410-1,1 0 88-15,0 0 99 0,0 0 80 0,0 0 74 0,11-11 74 0</inkml:trace>
  <inkml:trace contextRef="#ctx0" brushRef="#br0" timeOffset="610.52">13510 3228 1443 0,'-13'1'405'0,"9"3"-39"0,-5 2-31 0,-1 1-23 0,-2 4-17 0,1 1-16 0,-4 3-11 15,0 4-19-15,-6 8-34 0,5 1-34 16,-4 3-9-16,4 0 17 0,2 1-38 16,1 0-2-16,-1-1-26 0,7-2-18 0,-1-8-16 0,1 3 3 15,1 0 3-15,4-2-28 0,-1-1 12 16,3-2-28-16,0-4-15 0,0 4-21 16,1-6-33-16,1 3-38 0,3-4-23 0,-2 0-31 15,2-2-3-15,0 0-43 0,0-5-23 0,2 1-75 0,-1-3-168 16,2 1-100-16,-1-4-343 15,3 1 69-15,3-5 92 0,-5 3 77 16,5-5 86-16</inkml:trace>
  <inkml:trace contextRef="#ctx0" brushRef="#br0" timeOffset="990.29">13703 3421 1244 0,'0'0'447'15,"-8"0"-37"-15,8 0 61 0,-11 4-56 0,4 4-44 0,-3 0-10 16,2 4-18-16,1 1-31 16,-1 4-28-1,0-1-25-15,-2 4-32 0,2 1-27 0,5-2-5 0,-5 3-21 0,4-3-26 0,1 0-7 16,3-4-8-16,0 1-18 0,3 3-28 0,-1-6 0 16,3 1 13-16,3-1-95 0,0-3 6 15,2-3-11-15,-2 0-3 0,2-2-5 0,-2-4 26 16,2 0-8-16,-3-1 11 0,4-1 10 0,-4 0 15 15,-1-3 0-15,1 1-16 0,-4-3 34 0,-1 0 11 16,1-1 101-16,-3 3-35 0,0-3-31 16,0 0 80-16,-3 1-85 0,-2-1-39 0,0 2 6 15,0-1-16-15,-2 0-7 0,-1 1-16 16,-1 2-33-16,-1 0-13 0,2 0-18 0,-2-1-50 0,0 2-35 16,3-2-30-16,-3 4-46 15,2-3-35-15,-2 3-50 0,2-3-35 0,0 1-259 16,0 2-483-16,1-5 83 0,1 3 73 0,2-1 102 15,-2 1 66-15,2-3 126 0,3 0 54 0</inkml:trace>
  <inkml:trace contextRef="#ctx0" brushRef="#br0" timeOffset="1241.27">13746 3226 1190 0,'10'-6'440'0,"0"0"-7"16,1 5 32-16,-1-3 1 0,0 4-56 0,0 4-3 0,6-3-90 15,-1 6-15-15,6 1-43 16,-1 3-24-16,1 0-9 0,4 9-14 0,-2 0-20 0,1 5 41 16,-7-1-49-16,1 4-2 0,-2 0 18 0,-5-4-16 15,-2-1-18-15,-6 0-22 0,2-2-14 0,-5 1-20 16,-3 4 39-16,-2-2-60 0,-5 10 14 16,0-8-34-16,-6 4-13 0,-2-2-51 0,1 0-25 15,-1-2-44-15,0-7-59 16,3-3-64-16,1 0-46 0,2-5-15 15,2-1-64-15,-1-1-175 0,3-5-588 0,1-1 97 0,2-1 90 16,-1-1 110-16,6-1 92 0,-7-6 20 0,7 3 65 0</inkml:trace>
  <inkml:trace contextRef="#ctx0" brushRef="#br0" timeOffset="1545.98">14625 3490 1523 0,'0'0'524'0,"8"-3"-27"0,-3 1-42 15,1 1 22-15,1 0-24 0,4 0-67 0,1 1-35 16,-1-2-21-16,4 1-41 0,0-1-76 0,1 1-42 15,1 0-76-15,-1 1-62 16,-3-2-64-16,-1 2-58 0,1-1-85 0,-5 2-151 0,-5 2-185 16,4-2-416-16,-2 2 22 0,-2-1 162 0,2 1 10 15,-7 2 87-15,2-5 71 0</inkml:trace>
  <inkml:trace contextRef="#ctx0" brushRef="#br0" timeOffset="1706.85">14628 3668 1622 0,'0'0'487'16,"8"1"-32"-16,-8-1-58 0,7 0-10 15,-7 0-60-15,11 0-40 0,-3 0-21 0,-1-1-33 16,3-1-36-16,-2 2-61 0,2-1-54 0,0 0-49 16,0 1-33-16,-2 0-74 0,2-1-21 15,-4 1-107-15,1 0-200 0,-1 0-491 16,-1-1 56-16,0 1 94 0,-5 0 103 0,0 0 70 15</inkml:trace>
  <inkml:trace contextRef="#ctx0" brushRef="#br0" timeOffset="7299.07">15951 3049 1110 0,'3'-3'425'0,"-3"3"-28"0,0 0-49 15,2-2-23-15,-2 2-28 0,0 0-2 16,0 0 50-16,8 6-30 0,-8-2-18 0,2 5-28 16,1-2-11-16,-3 2-38 0,0 3-15 0,3 1-105 15,-3 2 18-15,0 0-21 0,-3 2-7 16,3-2-19-16,-5 3 6 0,3-1-34 15,-2 1-35-15,0 0 2 0,1-3-20 0,-4 3-31 16,4-5-15-16,0 0-34 0,-2-2 6 0,3-2-47 0,-1 0-30 16,2-1-23-16,-1-1-49 15,2-2-177-15,-2-1-112 0,4-2-343 0,1 0 69 16,-3-2 135-16,8 1-7 0,0-1 98 0</inkml:trace>
  <inkml:trace contextRef="#ctx0" brushRef="#br0" timeOffset="7598.1">16472 3204 1192 0,'0'0'487'0,"0"0"-24"0,-10 14-110 0,1-7-12 0,-3 1-19 0,-4 3-12 15,-12 7-8-15,-3 1 28 0,-2 3-2 0,0 1-39 16,-13 8-25-16,2 1-37 0,-4 1-12 15,1-1-12-15,-2 2-6 0,0-1-33 0,1 0-24 16,-1 1-24 0,1-2 4-16,1-2-18 15,1 1-25-15,3-3-31 0,10-5-10 0,2 1-49 0,3-5 8 0,1 0-51 16,5-4 2-16,6-3-41 0,3-2-7 0,3-3-21 16,0 1-36-16,5-3-20 0,0 0-46 0,4-2-69 0,-1-2-160 0,2-1 17 15,0 0-480-15,13-1 52 0,-3-1 100 0,3-1 89 16,2-1 93-1,3-2 22 1</inkml:trace>
  <inkml:trace contextRef="#ctx0" brushRef="#br0" timeOffset="7900.4">16192 3656 1254 0,'-3'6'463'0,"-2"0"-35"0,-2 3-42 0,-2 2-5 0,-1 3-38 0,-2 5-7 0,1 1-57 0,-4 10-3 15,2-5-33-15,1 6-30 0,4-6 15 16,0-1-47-16,3 0-14 0,0-3-34 0,5-2-8 16,3 0-22-16,2-1-14 0,2-4-7 0,1-1-13 15,3-2-20-15,-1-4 28 0,2-1-29 16,-1-5-17-16,4-1 36 0,-2-1-34 16,0-2 8-16,2-4-3 0,-2-1 8 0,-3 0 16 15,0 0-65-15,-4-1 11 0,-1 0-6 0,-5 1 6 16,0-1-5-16,-1 1 2 0,-3 1-18 0,-4 0 10 15,-2 2-12-15,-3-2-36 0,-1 4-31 16,-3 2-8-16,1 0-43 0,-4 1-46 16,-3 1-18-1,0 3-62-15,-2 3-163 0,-2-2-85 0,-11 4-417 0,-1 3 80 0,1 2 101 0,-5 1 126 16,-11 4 26-16,0 0 20 0</inkml:trace>
  <inkml:trace contextRef="#ctx0" brushRef="#br0" timeOffset="8582.26">13290 5005 1151 0,'0'0'543'0,"-3"-4"-57"0,3 4-22 0,0 0-45 15,-5 11-32-15,2-4-31 0,1 5-39 0,-1 1-15 16,1 5-23-16,-3 5-46 0,2 1 18 16,1 0-36-16,-4 2-41 0,4-1-23 15,-1 2-51-15,-2-4-16 0,3-1-53 0,-1-3-39 16,3 1-50-16,0-3-32 0,0-3-28 0,0-1-71 0,0 0-190 16,3-2-604-16,-1 0 85 15,0-4 73-15,2-4 109 0,0 1 65 0,-1-3 60 16</inkml:trace>
  <inkml:trace contextRef="#ctx0" brushRef="#br0" timeOffset="8836.61">13274 5036 1151 0,'8'-14'387'15,"0"5"-13"-15,2-1-42 0,0 3-7 16,1 2-15-16,1 1 56 0,1 0-20 0,0 3-11 0,2 1-30 15,-2 0-19-15,0 1-89 0,2 0-17 16,-4 3 9-16,1 1-23 0,1-2-22 0,-5 3 7 16,-3 1 0-16,0 1-5 0,-2 0-21 0,-3 0-15 15,-3 3-20-15,-2 1-6 0,-3 1-25 16,-2-1-8-16,-3 1-40 0,-2 1-27 0,2-3-58 16,-2 2-28-16,2-5-39 0,2 1-31 15,1-2-45-15,2-1-149 31,1-4-98-31,2 2-480 0,2-3 51 0,-2-1 155 0,5 0 1 0,0 0 82 0,0 0 64 0</inkml:trace>
  <inkml:trace contextRef="#ctx0" brushRef="#br0" timeOffset="9108.01">13677 4916 1174 0,'0'0'400'0,"0"0"4"0,0 0-25 15,-13 15-46-15,8-7 5 0,-2 3-21 16,-1 2-18-16,-2 6-19 0,1 0-35 0,-6 11-17 0,5-4-16 16,0 6-7-16,-1-2-20 15,4-6-27-15,1 0-12 0,-1 0-23 0,4-2 2 0,1-2-9 16,0-1-32-16,2-2-10 0,0-3-15 0,0-1-46 16,2 0-18-16,3-2-41 0,0-3-26 0,0 2-56 15,0-4-2 1,3-4-50-16,2-2-37 0,-2 0-80 0,5-2-133 0,-3-3-458 0,5 3 63 15,-1-7 45-15,3 1 112 16,-1 0 35-16,4-4 50 16</inkml:trace>
  <inkml:trace contextRef="#ctx0" brushRef="#br0" timeOffset="9384.43">14056 5103 1192 0,'0'0'438'0,"-13"3"-26"0,3 0-15 0,-2 1-29 15,-4 2-17-15,-4 0-10 0,-1 2 48 0,-2 2-39 16,3-2-32-16,-1 3-1 0,3-4-115 16,2 1-10-16,2 2-12 0,-2-3-24 0,3 1-28 15,3-1 15-15,0-1-28 16,2 3-15-16,3-3 2 0,0-1-25 0,2 0-23 0,0 0 10 16,3 1 2-16,0-1-27 0,5-2-3 0,1 1-39 15,1 1-20-15,3-4-33 0,4-1-24 0,1 0 4 16,1 0-50-16,1-1-15 0,1-3-20 15,2 2-26-15,-1-2-33 0,-1-2-51 0,-3 1-47 16,3 1-35-16,-2-2-197 0,-4 0-338 16,1 0 97-1,-3 0 48-15,0-1 137 0,0 1 38 0</inkml:trace>
  <inkml:trace contextRef="#ctx0" brushRef="#br0" timeOffset="9603.92">14028 5151 1638 0,'-7'11'414'15,"-4"1"-37"-15,4-3-4 16,1 2-55-16,1 1 2 0,-2 1-8 0,1 1 51 0,1 3-12 16,0-3-51-16,2 2-16 0,1 0-51 15,0 0 10-15,2-3-143 0,-3 1-24 0,3-1-37 16,3 0-34-16,-3-3-31 0,2 2-53 0,0-5-34 16,-1 1-45-16,4-2-60 0,-3-1-163 0,0 0-134 15,1-4-409-15,3-1 133 0,-6 0 31 16,10-3 92-16,-5-2 89 0,0-3 73 15</inkml:trace>
  <inkml:trace contextRef="#ctx0" brushRef="#br0" timeOffset="9857.24">14123 4881 1377 0,'0'0'435'0,"10"7"31"0,-5-3-21 0,3 4-28 0,2 0-17 15,0 5-37-15,3 4-112 0,3 1 33 16,2 5-15-16,0 4-16 0,-1 3-30 0,-1-1-31 16,-3 3-3-16,-3 1-22 0,0-6 78 15,-4-1-7-15,-2 0-56 0,-4 3-8 0,-2-4-130 16,0 3-11-16,-4-2-28 0,-2 0-43 31,3-4-57-31,-3 1-36 0,-1-3-35 0,4-3-77 0,-1-2-110 0,2-5-518 0,0-1-112 16,0-4 103-16,3 0 92 0,-1-5 79 0,2 0 92 0,0 0 38 15</inkml:trace>
  <inkml:trace contextRef="#ctx0" brushRef="#br0" timeOffset="10073.61">14831 5183 1172 0,'7'-2'397'0,"3"2"-52"0,0-3-40 16,1 2-34-16,2-1-48 0,-2 2-80 0,3-5-61 16,-1 5-149-16,2-1-127 0,-4 1-546 15,1 0 34-15,-1 0 79 0,-3 1 104 16</inkml:trace>
  <inkml:trace contextRef="#ctx0" brushRef="#br0" timeOffset="10272.95">14858 5334 1208 0,'11'2'483'0,"-4"-4"-29"0,1 2-65 0,0-1-52 15,3-1-17-15,-1 2-46 16,3-4-64-16,2 3-54 0,-2 0-43 16,-1-2-34-16,-1 1-86 0,1 1-165 0,-1 1-214 0,-1-2-444 0,-2 0 134 15,-1 2 10-15,1-1 64 0,0 1 85 16</inkml:trace>
  <inkml:trace contextRef="#ctx0" brushRef="#br0" timeOffset="19970.3">15738 4908 1269 0,'0'0'499'0,"0"0"-43"0,0 0-21 16,-5 12-56-16,3-5-52 0,-1 1 9 15,0 2-65-15,-2 3-7 0,3-2-16 0,-1 3-18 0,-2 3-38 16,2 1-10-16,-1 0-31 0,-2 1-25 0,1 1 4 16,0-3 3-16,2-1-28 0,-2 2-8 15,0 0-40-15,0-4 12 0,2-2-28 16,-1 1-5-16,0-2-34 0,2 0-4 0,-3-4-24 0,5 1-33 16,-3-2-41-16,1 0-25 0,2 0-36 15,0-2-70-15,0-4-101 0,0 0-127 16,5 2-477-16,-2-1 83 0,-3-1 106 0,0 0 38 15,12-2 71-15,-2-1 37 0</inkml:trace>
  <inkml:trace contextRef="#ctx0" brushRef="#br0" timeOffset="20303.37">16187 4959 1405 0,'0'0'478'0,"0"0"-35"16,0 0-36-16,-8 10-18 0,1-3-35 0,-1 1-24 15,-2 4-3-15,-6 4-68 0,1-1 20 16,-8 10-38-16,-1 4-11 0,-4-2-43 16,-5 8 5-16,-3-1-18 0,1 1-26 0,1-2-12 15,-2 4 0-15,6-9-116 0,1 0 8 16,-1-1-25-16,1 2-24 0,1-4 9 0,3 0-6 0,-1-5 0 15,7-1-5-15,4-5-6 0,-1 1-35 16,4-3-28 0,2-5 13-16,2 1-18 0,0-2-6 0,1 1-25 0,2-3-41 0,2 1-7 0,-2-3-21 15,5-2-52-15,0 0-88 0,0 0-55 16,7 3-496-16,-7-3 63 0,0 0 106 0,19-3 100 16,-11 2 43-16</inkml:trace>
  <inkml:trace contextRef="#ctx0" brushRef="#br0" timeOffset="20662.9">16095 5365 1049 0,'0'0'484'0,"-18"6"-41"0,13-1-49 0,-5 4-49 16,-1 1 70-16,-2 8-39 0,0-1 6 15,1 2-70-15,-4 8-7 0,3 3-34 16,-2 1-18-16,4 1-38 0,4-6-25 0,0-2-39 0,4 1-16 16,0-4-17-16,3-2-18 0,5-1-51 15,0-1-11-15,3-2 18 0,2-3-33 16,0 0-12-16,1-5 30 0,2-2-36 0,-3-1 10 0,3-3-20 16,0-4 23-16,-1 1-13 0,2-4 18 15,-4 0 28-15,2-1-18 0,-4 0 11 0,0 0 23 16,-1 0-24-16,-4 0 31 15,0 0 0-15,-3 0-15 0,-3 3-15 0,0 0-6 0,-1 0-4 0,-5 2-11 16,-1 2-46-16,-2 0 2 16,-2 2-38-1,-1 2-76-15,-3 0-27 0,-2 3-76 0,0 0-194 0,1 1-613 16,-3 3 129-16,1 2 51 0,0-1 92 0,-2 0 84 0,-5 2 70 0,8 4 74 16</inkml:trace>
  <inkml:trace contextRef="#ctx0" brushRef="#br0" timeOffset="24475.28">18646 3159 1154 0,'2'5'507'0,"-2"1"-41"0,3-1-75 0,-3 4-4 16,2 1-44-16,-1 2-16 0,1 0-48 16,-2-1-18-16,2 5-33 0,1-2-33 15,-2 1-13-15,1 0-16 0,-2-1-46 0,2 3-38 16,0-3-54-16,0 2-38 0,-1-2-33 0,0 0-93 16,-1 2-84-16,0-3-162 0,0 0-508 15,0-2 32-15,-1-2 147 0,1 1 14 0,-1-4 55 16</inkml:trace>
  <inkml:trace contextRef="#ctx0" brushRef="#br0" timeOffset="24709.68">18713 3162 1415 0,'7'-15'456'0,"0"6"-52"15,1-1-20-15,0 3-28 0,0 1-26 16,-1 3-92-16,3 1-20 0,-2 1-19 0,2 2 11 15,0 2-38-15,-2 1 53 0,1 1-5 0,1 2-28 16,-3 2-26-16,-2-2 11 0,-2 1-80 16,0 2-22-16,-3 0-14 0,0 1 21 0,-3 0-16 15,0 0-17-15,-2 1-18 0,0-2-26 0,0 1-26 16,-2 0-37-16,-1-2-24 0,0 1-34 16,3-4-27-16,-3 2-49 0,2-2-84 0,2-5-218 15,-2 3-430-15,4-2 92 0,2-2 25 0,0 0 134 16,0 0 95-16,0 0 30 0</inkml:trace>
  <inkml:trace contextRef="#ctx0" brushRef="#br0" timeOffset="24932.35">19012 3034 1569 0,'0'0'432'0,"-5"-2"-33"0,5 2-50 0,0 0-14 15,-15 10-13-15,10-2 44 0,0 1-35 16,-3 7-22-16,0-2-101 0,3 2-24 0,-3 4-18 15,3 0-32-15,-2 1 6 0,3-2-25 0,2 2 13 16,2-2-15-16,0 0-18 0,3 0-29 16,2-1 14-16,-2-2-32 0,5 3-40 0,-1-2-18 15,-2-4-47-15,3 4-30 0,2-5-35 16,0-2-27-16,-2 0-51 0,-1-3-114 0,1-4-111 0,0 4-504 16,2-4 61-16,-2 1 182 15,0-2-44-15,-1 2 124 0,-1-4 22 0</inkml:trace>
  <inkml:trace contextRef="#ctx0" brushRef="#br0" timeOffset="25253.87">19209 3220 1428 0,'11'-7'458'0,"-1"2"-59"0,0 0 3 0,1 3-125 16,0 1-6-16,-2 0-13 0,-1 1-27 15,0 1-11-15,2-1 18 0,-3 3 46 0,-2 0-28 16,-1 0-5-16,-2 1-21 0,0 2 1 15,-2 0-24-15,-4 0-18 0,-2 4-17 0,1-1-16 16,-1 0-18-16,-3-1-10 0,4 0-12 0,-1-2-32 0,1 1-5 16,0-1 13-16,1 0-25 15,0-3-6-15,2 2-14 0,0 0-4 16,2-2-2-16,0 1 18 0,0-4-26 0,2 5-5 0,3-3 3 16,-2 0-41-16,4-1-13 0,-2 1-21 0,3-2-38 15,0 0 8-15,-1-2-21 0,3 1-38 16,-2-1-8-16,0 1-56 0,0 0-43 15,-3-2-136-15,3 1-275 0,-1-2-344 0,-4 2 89 16,3-3 86-16,-4 2 86 0,0-3 135 0,0-1 18 16</inkml:trace>
  <inkml:trace contextRef="#ctx0" brushRef="#br0" timeOffset="25472.01">19405 2988 1090 0,'4'-4'466'0,"-4"4"-11"0,8-1-30 0,-8 1-115 0,10 6-16 0,-4-1 3 16,1 2-20-16,1 2-3 0,2 3 35 16,0 1-7-16,0 5-15 0,-2-2-80 0,2 4-50 0,-4 1-4 15,1-3-15-15,-3 1 1 0,-2 0-6 16,-2 2-21-16,0-2-20 0,-2 1-48 0,-4-1 0 16,1 1-55-16,-3 3-45 0,0-5-34 15,-2 1-61-15,2-4-25 16,1-1-137-16,-3-2-219 0,2-2-443 0,3-2 97 0,0-3 102 15,1-3 103-15,0 1 25 16,4-3 106-16</inkml:trace>
  <inkml:trace contextRef="#ctx0" brushRef="#br0" timeOffset="25698.27">19823 3151 1515 0,'14'-4'468'0,"-3"3"-76"0,3-1-41 15,-2 2-57-15,-2-1-41 0,2-1-58 16,-1 2-59-16,-1 0-90 0,2 3-90 0,-3-6-286 16,1 6-510-16,-2-1 95 0,0 2 72 15,-4-1 74-15</inkml:trace>
  <inkml:trace contextRef="#ctx0" brushRef="#br0" timeOffset="25888.23">19789 3303 1249 0,'0'0'437'0,"-5"1"-48"0,5-1-17 16,0 0-32-16,0 0-33 0,0 0-23 0,0 0-25 15,21-2-21-15,-11 0-46 0,0 2-13 16,2-3-25-16,2 3-47 0,1-2-40 0,-2 1-44 15,4 0-28-15,-6-1-8 0,4 1-54 16,-4 0-25-16,-1 0-95 0,2 1-117 0,-4 0-132 0,0 0-429 16,-3 0 105-16,-5 0 95 0,12-2 12 0,-8 2 105 15</inkml:trace>
  <inkml:trace contextRef="#ctx0" brushRef="#br0" timeOffset="26777.65">20627 2911 1540 0,'3'-4'469'0,"-3"4"-54"0,0 0-47 0,0 0-30 0,0 0-39 16,3 9-20-16,-1-4-23 0,-2 2-10 15,2 2-18-15,-1 0-49 0,-1 2-23 0,2-1 34 16,1 2-49-16,-1 2-42 0,-2-3 29 15,2 4-23-15,-2-4-23 0,0-1-15 16,0 4-52-16,0-4-17 0,0 2-45 0,0-1-19 16,0-2-36-16,0-1-101 0,-2 0-104 0,2-1-138 0,2-1-500 15,-1 0 116-15,2-3 51 16,0 2 117-16,-1-4 55 0,5-1 127 0</inkml:trace>
  <inkml:trace contextRef="#ctx0" brushRef="#br0" timeOffset="27091.83">21089 2926 1284 0,'0'0'379'0,"0"0"-2"0,0 0 40 0,-8 13-36 0,-2-4-17 0,-3 3-39 15,-2 6-77-15,-13 6-18 0,1 3 57 0,-3 1-21 16,-7 6-35-16,-3 0-19 0,-1 3-30 15,-2-4-3-15,4 1-28 0,-2 2-8 0,0 1 1 16,0-2-21-16,0 3-13 0,2-4-5 31,1 1-31-31,3-4-10 0,6-6-3 0,-1 0-27 0,4-4-47 0,7-2 26 0,2-6-42 0,4-2-29 16,2 0-9-16,1-4-5 0,3 0-45 0,0-1-6 16,1-1-39-16,3-1-53 0,1 0-64 15,-1 0-120-15,3-3-538 16,0-1 23-16,3 2 164 0,-3-2 18 15,7 4 54-15,-7-4 89 0</inkml:trace>
  <inkml:trace contextRef="#ctx0" brushRef="#br0" timeOffset="27495.39">20830 3373 1709 0,'0'0'512'0,"0"0"-7"16,0 0-75-16,0 0-5 0,-3 11-29 15,-2-1-43-15,-2 4-43 0,-1 2-3 16,-2 4-46-16,2 0 6 0,-7 11-52 0,2 2-21 16,-1-1 11-16,0 3-69 0,2 0-6 15,0-1-17-15,7-7-31 0,0-5-18 0,2-1 15 16,1-2-28-16,4 0-20 0,1-1-5 0,2-2-19 15,-2-3 1-15,5-4 12 0,0 1-25 16,2-2 13-16,0-4 10 0,2 0-28 0,-1-1 35 0,1-3-99 16,-1-1 31-16,2-4-21 31,-2 1 35-31,-1 1 19 0,-3-3 2 0,-2-1 19 0,-2 1 19 0,-1 0 6 0,-2 0 0 0,0 0-31 16,-2-1 18-16,-3 3-13 0,-3-2-10 0,0 0-64 15,-4 4 0-15,1-1-48 16,-2 1-47-16,-4 2-66 0,0 2-92 15,0-4-175-15,-6 7-532 0,-2 3 121 0,-10 2 45 0,-3 3 123 0,0-3 90 16,0 2 26-16,-3 2 76 0</inkml:trace>
  <inkml:trace contextRef="#ctx0" brushRef="#br0" timeOffset="28001.31">18899 4784 1476 0,'0'-4'507'15,"0"4"-33"-15,-2-4-42 0,2 4-45 0,0 0-36 0,0 0-31 16,-1 12-95-16,1-6-31 0,0 2-20 0,-4 4-2 16,4 1-31-16,-3 3-21 0,3-1-36 15,-2 3-12-15,2 0-64 0,-1 3-49 0,-1-2-33 16,2 0-75-16,0 0-48 15,0-3-172-15,2 1-421 0,-2-3-4 0,1 0 3 0,-1-1 118 16,2-2 51-16,-4-3 79 0</inkml:trace>
  <inkml:trace contextRef="#ctx0" brushRef="#br0" timeOffset="28242.78">18912 4825 1238 0,'5'-16'407'0,"3"4"-12"0,0 3-50 15,0-1-15-15,-1 3-23 0,1 1-10 0,4 3-5 0,-4-1-8 16,3 3-40-16,-1 1 14 16,0 1-7-16,0 0-23 0,0 2 51 0,-2 1-13 15,0 1-2-15,-3 2-119 0,0 0-17 0,-4 2-15 16,-1-1 5-16,-3 2-29 0,-2 2-14 0,0-3 1 16,-3 4-24-16,-2 0-52 0,0-2-44 15,-1 2-30-15,3-2-29 0,-2-3-35 0,4 1-38 16,-1-1-34-16,0-2-138 0,5 0-95 0,1-4-131 15,1-1-357-15,0-1 83 16,0 0 96-16,0 0 92 0,15-7 58 0,-4 1 49 0</inkml:trace>
  <inkml:trace contextRef="#ctx0" brushRef="#br0" timeOffset="28462.47">19286 4733 1205 0,'0'0'469'0,"0"0"-27"0,0 0-37 0,0 0-90 0,-10 13-21 15,8-7-18-15,-4 3-25 0,2 1-8 0,-2 2-15 16,1 4 33-16,-2-1-12 0,1 3-34 0,1 0-39 16,0-2 14-16,0 3-37 15,3 0-9-15,-1-2-6 0,3 0-33 0,0-3-26 0,0 1-56 16,3 0-5-16,-1-3-54 0,2 0-35 16,0-4 4-16,0 0-53 0,2-2-36 0,2-1-98 15,-1-1-84-15,1-4-122 0,0 1-434 16,4-3 121-16,-2-1 3 0,1-3 104 0,2 1 52 15,-3-2 38-15</inkml:trace>
  <inkml:trace contextRef="#ctx0" brushRef="#br0" timeOffset="28655.15">19456 4881 1223 0,'2'-4'374'15,"1"1"-11"-15,-2-1-12 0,-1 4 43 16,2-4-43-16,-2 4-3 0,0 0-36 16,0 0-20-16,0 0-13 0,0 0-36 0,-2 15-20 15,1-7-26-15,-2 0 8 0,3 2-18 0,-2-1-29 0,2 2-7 16,0 1-43-16,0 1-67 0,0-1-3 15,-2 0-56-15,2 0-51 0,0 1-38 16,-1-2-111-16,2-3-184 0,-1 0-568 0,0-2 74 16,2-1 87-16,-2 0 85 0,2-5 87 0,-2 0 43 15</inkml:trace>
  <inkml:trace contextRef="#ctx0" brushRef="#br0" timeOffset="28865.58">19584 4695 1205 0,'5'-1'392'16,"-5"1"2"-16,0 0-2 0,13 2-34 0,-6 2 3 0,1 2 54 15,4 2-32-15,-1 3-11 0,2 1-45 0,-2 0-20 16,1 1-112-16,1 2-6 0,-3 1-17 16,0-1-13-16,-2 1-14 0,-2 0-17 15,-2 1-7-15,-1 1-21 0,-3-4-59 0,0 3-41 16,-1-3-49-16,-3 0-41 0,2 1-43 15,-1-2-46-15,-2-3-115 0,-5 2-239 16,7-2-480-16,0-3 122 0,0 0 74 0,1-2 111 0,0-3 68 16,-1 0 98-16</inkml:trace>
  <inkml:trace contextRef="#ctx0" brushRef="#br0" timeOffset="29094.52">20305 4795 1064 0,'15'-2'446'0,"-2"-2"-47"0,2 3-43 0,-2-3-29 0,0 3-22 16,-1-1-54-16,-1 2-36 0,-1 0-74 0,0 0-47 16,0 2-37-16,-4-1-37 0,-1 3-99 0,-3-2-123 15,-2 3-82-15,-2 3-497 0,-1 1 54 0,-5 0 138 16,-4 3-5-1</inkml:trace>
  <inkml:trace contextRef="#ctx0" brushRef="#br0" timeOffset="29224.87">20282 4962 1005 0,'-3'2'377'0,"0"3"-9"0,1 0-30 15,-1-3 8-15,3-2 51 0,0 6-31 0,0-6-57 16,0 0 14-16,3 4-26 0,2-3-36 0,2-1-28 16,-1 0-41-16,4 0-52 15,3-4-6-15,2 3-68 0,0-4-53 16,3 0-31-16,0 2-84 0,0-3-162 0,4-1-135 0,0-2-507 15,-1 1 40-15,1-1 106 0,-1-2 79 0,-1 0 75 16,0-1 76-16</inkml:trace>
  <inkml:trace contextRef="#ctx0" brushRef="#br0" timeOffset="29422.21">20835 4690 1172 0,'0'0'481'0,"3"-2"18"0,-3 2-25 0,0 0-3 16,0 0-75-16,0 0-6 0,0 12-32 15,0-7-36-15,0-1-37 0,-1 3-12 0,-1 2-119 16,0-1-41-16,-1 1-14 0,0 1-68 0,-1 3-72 16,2-3-61-16,-4 0-157 0,-4 0-258 15,10 1-407-15,0-3 72 0,2-3 46 16,3 1 99-16,-2-4 67 0,4-2 57 0</inkml:trace>
  <inkml:trace contextRef="#ctx0" brushRef="#br0" timeOffset="29676.42">21240 4696 1392 0,'-10'9'525'0,"0"-1"-54"16,-4 4 82-16,-4 2-34 0,-7 9-125 0,-3 2-28 16,-5 9 31-16,-3 2-21 0,0 4-35 15,-2 2-34-15,0 2 8 0,-2 4-46 16,-3-2-39-16,2 2-18 0,0-1-25 15,0 1-46-15,-2-4-41 0,4 0-26 0,3-3-30 0,0-6-47 16,8-7-25-16,2-4-72 0,9-5-20 16,3-5-52-16,4-6-30 0,3 1-90 0,1-4-181 15,4-2-600-15,2-3 90 0,0 0 105 0,0 0 77 16,18-13 115-16,-5 2 51 16,5-1 52-16</inkml:trace>
  <inkml:trace contextRef="#ctx0" brushRef="#br0" timeOffset="29945.52">20984 5219 1471 0,'-2'6'456'16,"-4"0"43"-16,-2 2-36 0,-4 5-109 15,1 4-9-15,-4 1-27 0,2 1-24 16,0 1-41-16,-5 6-22 0,3-3-26 0,5-3-31 16,2-1-16-16,2-1-9 0,-1-1-55 0,5-4 6 15,1-3-18-15,2 1-2 0,1-1-50 0,5-4 19 16,-1-3-13-16,2 2 0 0,-1-4 7 15,5 0-28-15,-3-2 6 0,-1 0 4 0,2-4 11 16,-2 2 5-16,0-2 0 0,-1 0-5 16,-4-1-8-16,-1 0 11 0,0 3-27 0,-4-2 11 15,0 1-61-15,2 4-23 0,-12-1-52 16,0 1-64-16,2 0-94 0,-7 1-341 0,1 3-396 16,-2 2 104-16,-5 2 67 0,0-2 131 0,-3 5 53 15,-12 1 77-15</inkml:trace>
  <inkml:trace contextRef="#ctx0" brushRef="#br0" timeOffset="32560.52">14946 12505 1313 0,'-3'0'453'0,"3"0"-41"0,0 0-36 0,0 0-43 16,15 9-31-16,-7-8-5 0,2 2-67 0,3 1-12 16,1-1-3-16,3 2-26 0,1 0-76 0,2 0-3 15,-1-1-51-15,-1 0-26 0,0 1-84 16,-3-2-31-16,1 2-125 0,-2-2-129 16,0 0-531-16,-4 0 37 0,0 0 124 0,-2-2 68 15,-3 0 101-15</inkml:trace>
  <inkml:trace contextRef="#ctx0" brushRef="#br0" timeOffset="32788.86">15017 12608 1190 0,'-4'3'440'0,"4"-3"-46"15,0 0-38-15,2 5-28 0,-2-5-8 0,10 5-57 0,-4-5 11 0,1 3-64 16,3-2-18-16,1 0-41 0,2 0-8 15,0-1-48-15,-1 0-39 0,1-2-20 16,3 0-43-16,-1-2-73 0,-2 2-73 0,-1-3-80 16,4-3-105-16,-5 3-474 0,-1 0 34 0,0 0 102 15,-3-4 44-15,-2 4 44 0</inkml:trace>
  <inkml:trace contextRef="#ctx0" brushRef="#br0" timeOffset="33039.26">15174 12352 1346 0,'0'0'432'0,"13"3"-114"0,-5 2-11 15,2 1-36-15,3 2-20 16,2 3-23-16,-4 1-3 0,3 2-10 0,2 0 44 0,-3 2-29 16,0 0 6-16,-3-2-29 0,0 1-33 15,-2 1-2-15,-1 0-29 0,-1 0-28 16,-4 0 11-16,-1-1-45 0,-1 0-22 0,-3-1-15 15,-2 3-6-15,-3 0-51 0,0-1-28 0,-5 1 6 16,0-3-50-16,1-1-56 0,-1-2-89 16,-2-6-190-16,2 4-437 0,3-3-8 0,-3-1 102 15,0-1 95-15,5-2 58 0,-2 1 63 0</inkml:trace>
  <inkml:trace contextRef="#ctx0" brushRef="#br0" timeOffset="39495.41">13634 3937 1530 0,'0'-4'520'0,"0"4"-39"15,0-4-59-15,0 4-35 0,0 0-54 0,0 0-11 16,0 0-40-16,0 0-13 0,-3 15-1 0,3-6-45 16,0 1-28-16,-3-1-11 0,1 3-28 0,1 1-74 15,-1-1-21-15,0 1-56 0,-2-1-48 16,2 4-24-16,0-4-30 0,-1-3-23 0,0 3-70 16,3-2-37-16,0-3-109 0,-4 2-194 15,4-3-381-15,2 0 123 0,-2-1 7 0,0 0 156 16,2-4 42-16</inkml:trace>
  <inkml:trace contextRef="#ctx0" brushRef="#br0" timeOffset="39678">13741 3922 962 0,'0'-6'456'0,"3"3"-55"0,-3-1-6 0,0 1-119 16,0 3-12-16,0 0-3 0,0 0-41 15,0 0-5-15,0 0-5 0,-3 15-34 16,-2-5 6-16,3 2-51 0,-1 1 17 0,-2 1 1 15,0 3-44-15,2-2-3 0,-2 4-15 0,-1-2-38 16,2 1-34-16,1-3-23 0,-4 1-56 16,4-3-10-16,-2-1-62 0,2-2-91 0,-2 1-173 15,-3 2-83-15,6-3-375 0,-1-4 93 0,1 1 122 16,2-4 83-16,-4 1 2 16</inkml:trace>
  <inkml:trace contextRef="#ctx0" brushRef="#br0" timeOffset="39972.17">13562 3913 1059 0,'7'-11'387'0,"0"3"-16"16,-1 2-28-16,-1-4-46 0,1 3-18 0,1 1 51 0,3 1-10 0,-2 3-33 15,5-2-29-15,-3 1-12 0,1 3-16 16,-1 1-17-16,2 4-11 0,1 0-23 0,0 4-15 16,0 3-18-16,-1 5 0 0,-1-1-26 15,-1 5-15-15,-2 0-15 0,0 2-44 0,-3 0-49 0,2 1-7 16,-4 0-31-16,2 1-41 0,-5-2-5 16,3 2-54-16,-3-4-43 0,2 1-80 15,-2-1-120-15,0 2-537 0,0-2 48 16,0 0 90-16,0 0 74 15,0-2 112-15,0 2 3 16</inkml:trace>
  <inkml:trace contextRef="#ctx0" brushRef="#br0" timeOffset="42513.65">13821 5599 1220 0,'0'0'448'16,"0"0"-33"-16,0 0 33 0,0 0-31 0,0 0-28 16,4 13-48-16,-3-6-6 0,1 1-23 15,1 4-66-15,-1 0 5 0,-2 2-31 16,1-1-23-16,1 3-15 0,-2 2-54 0,0-3-18 15,2 2-41-15,-2-2-46 0,0 1-66 0,0-2-19 16,0 3-27-16,-2-4-68 0,2-1-63 16,-2 0-217-16,4-3-521 0,-2 0 65 15,0-4 99-15,2-2 93 0,1-1 100 0,-3-2 30 0</inkml:trace>
  <inkml:trace contextRef="#ctx0" brushRef="#br0" timeOffset="42720.07">13956 5649 1415 0,'0'0'417'0,"0"0"-12"0,0 0-42 16,-5 10-38-16,2-3-23 15,1 2-30-15,2 0-34 0,-2 2 2 0,1 2-30 16,-1 2-20-16,2-1-21 0,0 0-29 0,0 0-40 0,-3 2-18 16,3-1-31-16,0-2-51 0,-2 2-38 15,2-2-13-15,-2-5-75 0,1 3-102 0,1-3-127 16,-2 1-518-16,2-5 66 0,-3 1 80 0,3 0 34 15,0-5 104-15</inkml:trace>
  <inkml:trace contextRef="#ctx0" brushRef="#br0" timeOffset="43028.46">13754 5725 1241 0,'2'-7'397'0,"1"-3"-26"0,0 2-31 15,2-3-25-15,2 2 3 0,-2-2-29 0,3 3-41 16,2-2 0-16,0 3-20 0,0 0-33 16,-1 0-11-16,3 2-18 0,2 0-15 15,-2 5-10-15,-2 2-21 0,3 0 3 0,3 1-5 0,-1 3-21 16,-2 5-33-16,2-3-15 0,-2 3-23 15,-3 2-21-15,5 3-41 0,-4-2 3 16,-1 1-49-16,-2-2-36 0,0 4-18 0,-1-3-40 16,-2 4-93-16,3-2-130 15,-1 0-492-15,-3 1 36 0,2 0 146 16,0-2 43-16,-4 3 90 0,4-5 93 0</inkml:trace>
  <inkml:trace contextRef="#ctx0" brushRef="#br0" timeOffset="70611.92">14415 11600 1064 0,'0'0'438'0,"-2"-1"-34"0,2 1-40 0,0 0-42 0,5-5-22 0,-5 5-26 0,8 0-31 15,-3-1-18-15,-5 1-17 0,13 1-6 0,-6 0-18 16,-2 2-35-16,3-1 2 0,-3 3-18 16,2-1-16-16,-4-1 4 15,3 4-9-15,-4 0-7 0,0 1-18 0,-4 1 5 0,0 0-4 16,1 0-22-16,-6 3-10 0,2 0-12 0,-1 2 28 15,-2-1-16-15,1 0-5 0,0-1-7 16,-1 0-26-16,3 0 2 0,-3-4 8 0,3 2-12 16,2-3-6-16,-2 0 3 0,5-3-44 0,0 1 31 15,0-1 0-15,0-4-13 0,3 5 3 16,-3-5 7 0,10 0 11-16,-5 0-21 0,5 0-20 0,0-1-6 0,4 0-22 0,-2 1-6 15,1-3-7-15,3 3-26 0,-1-1-10 16,2 1-48-16,-1-1-39 0,-1 1-200 15,3 1-522-15,-5 0 90 0,3-1 43 0,-3 4 97 16,2-2 34-16,-5 3 71 0</inkml:trace>
  <inkml:trace contextRef="#ctx0" brushRef="#br0" timeOffset="73518.1">14428 11599 824 0,'0'0'258'0,"0"0"-35"0,0 0-23 0,0 0 25 15,0 0-25-15,0 0-21 0,0 0 5 0,0 0-7 16,0 0 53 0,0 0-30-16,0 0-6 0,0 0-12 0,0 0-18 0,0 0-11 15,0 0-30-15,10 1-5 0,-10-1-13 0,0 0-10 16,10 2 15-16,-10-2-16 0,6 3-4 0,-6-3-11 15,5 2 3-15,-5-2-18 0,7 2-2 16,-4 0-19-16,2-1 13 0,-2 2 1 0,-1 0 9 16,1 0-25-16,0 0 8 0,-1-1-24 15,0 3-1-15,1-2 27 0,-2 0-21 0,1 2-9 16,-2-1 20-16,2 0-23 0,-2 2 15 0,0-1 3 16,-2 0-8-16,2 1-7 0,-2-1 22 0,1 0-2 15,-2 0-23-15,1 1 8 0,0 0-9 16,-1 1 1-16,0-1 8 0,0 0-16 15,1 1 0-15,-3-1 6 16,2 1-9-16,1-1 34 0,-3 2-18 0,2-1-7 0,-2-1 12 16,5 0-23-16,-5 1-18 0,3-2 21 15,-4-1-3-15,4 3 10 16,-1-1 8-16,-2 0-17 0,2-1-17 0,1 0 16 0,-1-2-2 0,1 2 10 0,2-4-21 16,-3 4 8-16,1-3 13 0,-1 2-23 15,3-4 7 1,0 4 1-16,0-4 20 0,-3 4-21 0,3-4 16 0,-2 3 2 0,2-3-17 0,0 0 25 15,0 0-23-15,0 0 15 16,0 0-12-16,0 0-6 0,0 0 3 0,0 0 13 16,0 0-6-16,0 0 4 0,15-8 4 15,-12 6 11-15,-3 2-29 0,8-3 36 0,-4 1-22 0,2 0 22 32,-1 2 3-32,0-3-26 15,0 1 13-15,3 1-8 0,-3-3 3 0,3 3 0 0,0-1-18 0,-1 0 26 0,1 0-21 16,2 0 5-16,-3 0 3 0,1-1-23 0,0 1-18 0,0 0-1 15,-1-1-42-15,1 0-24 0,-2 1 26 0,1 1-26 16,-4-1-79-16,2-2-43 0,-5 4-106 16,10 0-63-16,-5 0-372 15,-5 0-61-15,0 0 10 0,10 5 108 0,-9-3 127 16,1 3-9-16</inkml:trace>
</inkml:ink>
</file>

<file path=ppt/ink/ink19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06:19.75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brush xml:id="br2">
      <inkml:brushProperty name="width" value="0.05292" units="cm"/>
      <inkml:brushProperty name="height" value="0.05292" units="cm"/>
      <inkml:brushProperty name="color" value="#002060"/>
    </inkml:brush>
  </inkml:definitions>
  <inkml:trace contextRef="#ctx0" brushRef="#br0">8505 3241 1044 0,'1'-4'484'15,"-1"4"74"-15,-1-8-31 0,1 8-25 16,0-4-54-16,0 4-39 0,0 0-61 16,-2-4-10-16,2 4-107 0,0 0-24 0,0 0-23 0,0 0-2 15,2 20-26-15,-2-11-20 0,0 4-3 16,0 2 5-16,0 3-38 0,1 2-23 0,1 2-1 15,-2 4-9-15,0-2-26 0,-2 0-31 16,1-2-35-16,1 2-32 0,0-2-50 0,-2-1-19 16,0 0-43-1,-2-2-20 1,4-1-59-16,-2-2-131 0,2-3-79 0,-2 0-492 0,2-1 75 0,-3-4 84 0,3 1 107 0,0-2 80 16,-3-4 31-16</inkml:trace>
  <inkml:trace contextRef="#ctx0" brushRef="#br0" timeOffset="278.52">8497 3288 1384 0,'11'-17'428'0,"2"5"-24"16,0 3-48-16,0 0-31 0,-1 5-13 0,2-2-35 15,0 2-3-15,0 2 12 0,1-1-122 16,-5 3 5-16,2 3-8 0,-1-1-28 0,-1 3-17 0,-2 2 12 15,0 0-36-15,-3 4 15 0,-2-3-20 16,-3 2-20-16,-3 4-13 0,0-1-26 16,-2 4-21-16,-3-2-22 0,-2 1-16 0,0 2-17 15,-3-2-3-15,3-3-44 0,0 0-25 16,0-2-54-16,2-1-67 0,0-2-140 0,0-3-126 16,6-2-361-16,-1 0 108 0,3-3 56 0,0 0 87 15,0 0 87-15</inkml:trace>
  <inkml:trace contextRef="#ctx0" brushRef="#br0" timeOffset="500.5">8842 3170 1492 0,'0'0'463'0,"0"0"-46"0,0 0-38 16,-11 12-8-16,3-4-99 0,1 5-24 15,-4 3-13-15,1 3-20 0,-2 1-23 0,-1 10-18 0,2-4-20 16,4-2-3-16,1 1-13 0,2 0-35 15,0-1 2-15,2-4-16 0,2 0-27 16,2-1-42-16,-1 0-20 0,4-3-43 0,-2-1-55 0,4-1-45 16,1-3-92-16,0-2-137 15,-3-2-32-15,5 0-451 0,2-5 77 0,2 1 36 0,-2-5 53 16,1 1 108-16</inkml:trace>
  <inkml:trace contextRef="#ctx0" brushRef="#br0" timeOffset="758.48">9138 3333 1159 0,'0'-4'389'0,"0"4"-23"0,0 0-10 0,0 0-34 0,-15 3-12 0,10 0-44 15,-5 2-5-15,-1 5 34 0,-3-2-6 16,0 3-12 0,1 1-37-16,1-2-17 0,-1 3-24 0,0-2-9 0,3 2-6 0,0-1-48 0,2-1-3 15,1 0-5-15,1-2 5 0,2 2-33 0,0-5 18 16,4 2-34-16,0-1-5 0,0-1 1 15,3 3 7-15,2-4-15 0,1 0-21 0,1-1-18 16,4-2-46-16,-1 2-33 0,5-4-28 16,1 0-16-16,-1-3-50 0,3 1-27 15,0-2-43-15,0 1-125 0,2-8-226 0,-4 7-442 16,-1-1 145-16,0-2 44 0,-5 2 105 0,0-4 90 16,-4 3 43-16</inkml:trace>
  <inkml:trace contextRef="#ctx0" brushRef="#br0" timeOffset="939.85">9172 3353 1395 0,'-5'-2'417'0,"5"2"-10"0,0 0-95 0,-11 5-2 16,7-2-13-16,1 4-29 0,-2 4-9 0,3 0-16 15,-2 2-7-15,0 5-11 0,1-1 59 0,3 1-5 16,-3 1-41-16,3 2-20 0,0-1-24 0,0 0-38 16,0 1-61-16,3-2-28 0,-3 0-93 15,1-2-33-15,1-2-41 0,0 0-61 0,0-2-103 16,-1 0-204-16,4-1-518 0,-3-3 83 15,1-2 132-15,0-5 65 0,1 2 51 0,-3-3 104 16</inkml:trace>
  <inkml:trace contextRef="#ctx0" brushRef="#br0" timeOffset="1196.95">9242 3140 1259 0,'10'-6'489'0,"0"5"-13"0,0 1-18 15,1 3-100-15,1 1-25 0,-2 3-28 16,6 2-16-16,-3 4 54 0,5 1-23 16,2 9-3-16,1 2-43 0,-6 3-10 0,0 2 5 15,-4 2-57-15,-6-2-22 0,-2-3 19 16,-1 3-32-16,-7 0-44 0,0 7-48 0,-5-3-39 16,-1 2-59-16,-2-3-95 0,3-8-45 15,3-4-75-15,-1-10-225 0,2 5-627 0,1-1 84 16,0-4 110-16,3-4 111 0,1-1 71 0,-1-2 95 15,2-2 30-15</inkml:trace>
  <inkml:trace contextRef="#ctx0" brushRef="#br0" timeOffset="1398.98">9585 3404 1223 0,'13'-7'481'0,"0"4"36"0,-1-3-56 16,-1 1-62-16,1 1-38 0,-4 2-46 0,2 0-49 0,1-2-71 16,-3 3-52-16,-1 0-53 0,0 1-62 0,-7 0-66 15,8 4-175-15,-2 0-184 0,-4 2-465 16,-2 1 109-16,-5 1 29 0,2 3 58 16,-5 4 78-16</inkml:trace>
  <inkml:trace contextRef="#ctx0" brushRef="#br0" timeOffset="1549.15">9593 3589 959 0,'0'4'471'0,"0"-4"-12"16,-3 4-109-16,3-4 1 0,3 4-46 0,-3-4 2 0,4 2-51 16,2 1 0-16,-6-3-11 15,10 0 55-15,-5 0-54 0,3 0-29 16,2 0-35-16,0-3-26 0,-2 2-54 0,2-1-50 0,1-1-40 16,-1 2-83-16,0-1-55 15,-2 1-166-15,4-1-212 0,-3 1-399 0,3 0 68 0,-2 0 139 16,3-3 28-16,1 3 59 0</inkml:trace>
  <inkml:trace contextRef="#ctx0" brushRef="#br0" timeOffset="1836.27">10695 2986 1085 0,'-2'5'471'16,"-1"1"-41"-16,0 4-31 0,1 2-30 0,0 2-49 15,-1 3-36-15,3-1-10 0,-3 1-64 0,0 4-44 16,1 0-48-1,-5 1-49-15,4 0-92 0,0-1-100 0,1 0-200 0,1-1-526 0,1-3 65 16,0-2 52-16,3 0 95 0,2-4 66 16</inkml:trace>
  <inkml:trace contextRef="#ctx0" brushRef="#br0" timeOffset="2127.27">11046 3044 1704 0,'3'-4'597'0,"-3"4"-32"16,0 0-48-16,0 0-120 0,0 0-15 0,0 0-34 0,-18 18-18 16,5-7-46-16,0 4-36 0,-10 9 16 0,-2 1-54 15,-1 2-13-15,0 3-20 0,-10 8-11 0,1 5 13 16,-4 0-38-16,3 1-8 0,0-1-26 16,3 1 24-16,-1-2-39 0,1 0-28 15,3-2-51-15,-1 0 0 16,3 0-54-16,7-8-49 0,1-5-38 15,1-1-41-15,4-4-12 0,5-4-37 0,3-4-5 0,1-2-30 0,4-4-24 16,2-2-66-16,0-1 3 0,2-2-34 0,3-2-35 0,-2 1-85 16,7-6-323-16,1-1 42 0,6-3 96 15,1-3 55-15,5-2 22 16</inkml:trace>
  <inkml:trace contextRef="#ctx0" brushRef="#br0" timeOffset="2401.06">10913 3562 1300 0,'2'3'468'15,"-2"3"-120"-15,0 1 0 0,-2 3-45 0,0-1 4 16,-2 4-18-16,-3 2-33 0,2 3-15 0,0 3 63 16,-5 3-25-1,4-2-61-15,-1 1 12 0,2 0-7 0,0-3-34 0,4 0-5 0,1-3-30 16,0-3-13-16,6 3-13 0,-3-4-18 16,4-2 18-16,1-3-51 0,2-1 43 15,0-2-38-15,1-3-8 0,-1-2-71 0,0-1-3 16,5 0 10-16,-2-4 21 0,-3 0-1 0,3-1 4 15,-5 2 7-15,-1-1 2 16,-4 1-15-16,0 1 13 0,-1-1-41 0,-2 4 0 0,0 0-43 16,-10-2-60-16,10 2-61 0,-20 8-58 15,2-1-108-15,3 3-530 0,-6 3-144 0,-7 5 93 0,-1 0 102 16,-4 2 77-16,-1 0 28 0,1 3 120 16</inkml:trace>
  <inkml:trace contextRef="#ctx0" brushRef="#br0" timeOffset="5696.43">10924 6638 844 0,'0'0'353'0,"2"-2"-25"0,-2 2-18 15,0 0-26-15,0 0-31 0,-3 10 21 0,3 1-8 16,-2 8-43-16,-1 6-10 0,1 17-11 16,1 2-20-16,-1 19-3 0,0 1-21 15,-2 6-17-15,0 5-26 0,-2 4 13 0,-1 2-2 0,-1-1-14 16,-2 1-14-16,-5 0-11 0,4-2-13 15,-4 0 13-15,-1-6-31 0,-2-2-2 0,3-5 13 16,-2-3-24-16,1-4 13 0,-2-6-17 16,5-1-11-16,0-13-5 0,1-2 33 0,1-1-38 15,1-5 5-15,0-6 13 16,2-6-5 0,3-4 5-16,0-3 5 0,2 0-8 0,-2-2 5 0,3-3 29 0,-1 1-16 0,0-2-7 0,1-1-1 15,2 0-7-15,-2-2-5 0,2-3 2 16,2 4-20-16,-2-4-1 0,8 1 19 0,-1-1 2 15,1 0-25-15,5 0 13 0,0 0-16 0,5 0 0 16,2 0 23-16,5 1-10 0,6-1 79 16,3 0-20-16,15 0-62 15,4 1-15-15,4 1-10 0,4 0 5 0,13-1 23 0,4 3-3 16,1-2-7-16,5 3 12 0,6-4-20 16,3 6-12-16,2-1 19 0,7 0-4 0,-2 1-3 15,3-1 5-15,25 1-18 0,2 3 13 0,4-3 28 16,-1 0 1-16,0-1 19 0,5 0-40 0,1 0 25 15,5 1-2-15,-3-3 5 16,0-2-3-16,5 2-23 0,-2-3 16 16,-6 1-16-16,0 2 18 0,-4-3-10 0,-24-1 3 0,23 1 7 15,-24-1-13-15,-2 0 0 0,-2 3 1 0,-5-2 2 0,-5 1-8 16,-3-2-5-16,-5 3 18 0,-7 1-20 16,-8-3-16-16,-19 2 10 0,-1-1 16 0,-12-2-5 15,-11 3-24-15,-3-2 11 16,-3-1 3-16,-5 0 12 15,-3-1 3-15,-2-2-13 0,-3 2-8 0,1-3 21 0,-4 1-3 0,0-2 11 0,-1-1-11 16,-3 0 10-16,-1-1 24 0,0-4-11 16,1 1 11-16,-3-5 12 0,-3-2-2 0,1-1-18 15,0-5 25-15,-4-1-2 0,4-4-11 0,-3-14-17 16,-1 0-10-16,1-2 17 16,-2-7 8-16,4-12-28 15,-4-5 8-15,6-4 12 0,-1-5-41 0,4-5 6 0,3-4 23 16,1 3-3-16,6-23-11 0,-2 23-24 0,-1 1 32 0,3 1-20 15,1 2 0-15,-3 5 13 0,3 8 5 0,-2 4-10 16,-1 7-8-16,-2 12 7 0,-1 6-9 0,-2 4-1 16,-2 9 1-16,-1-1-27 0,1 6 29 15,-1 0-23-15,-1 7-23 16,-1-1 0-16,0 1-25 0,2 1-11 0,-2 3-34 0,0-3-45 16,0 5-3-16,0 2-33 0,0 0-13 0,-2-1-5 15,2 5-23-15,0 0-48 0,0 0-47 0,0 0-110 16,0 0-20-16,0 0-500 0,-6 11 88 15,4-5 107-15,-1-1 59 16,-2 2 136-16,0 0-3 0</inkml:trace>
  <inkml:trace contextRef="#ctx0" brushRef="#br0" timeOffset="7593.8">11338 7782 1474 0,'-5'-2'392'0,"-2"-1"-9"0,2 2-60 0,5 1-34 15,-14 0-7-15,7 1-29 0,0 3-28 0,-1 1 1 16,0 1-34-16,0 2-8 0,1-2-20 15,-1 6 2-15,2-3-33 0,2 2-10 0,-2 2-36 16,4 0 3-16,-1 3-3 0,1-2 8 16,-1 0-19-16,6 2-19 0,-3-2 7 0,2-1-16 15,1 3 1-15,2-3-13 0,0 1-21 16,1-1 16-16,4 0-3 0,-3-3-8 0,4-3 9 0,-1 0-14 16,0-1 3-16,5-2-21 0,-2-2 8 15,0-2 18-15,2-1-7 0,-2-4-6 16,3 3 0-16,-1-3-10 0,0-2 8 15,-2 0 12-15,0-4 11 16,-2 0-15-16,-1-2-4 0,-3 1 19 0,-2 0-18 0,0 0 20 16,-2-1-10-16,-2 0-10 0,-1 3 23 0,0-1-8 15,-1-1-10-15,-4 0 13 0,2 0-3 0,-4 0-13 0,-1 0 8 16,1 3-10-16,-3-1 2 0,1 3-20 0,-1 0 28 16,0 0-38-16,-3 2-13 15,3 0-3-15,2 5-18 16,-2-1-15-16,0 2-10 0,2 0-51 0,-2 3-1 15,2 3-4-15,0-1-60 0,3 2-45 0,0 1-95 0,2-1-93 16,3 3-480-16,0-3 112 0,3 2 7 0,0-2 101 16,4 1 97-1,1-1 43-15</inkml:trace>
  <inkml:trace contextRef="#ctx0" brushRef="#br0" timeOffset="8032.15">11910 7808 1256 0,'0'0'461'0,"-10"4"-110"0,5-2-16 0,-3 2-43 16,3-1-18-16,-3 5-13 0,1 1-41 0,-1-1-28 15,3 3-10-15,-3 2-21 0,4-1-10 0,0 1-3 16,2 0-38-16,0 3 1 0,2-3-12 15,4-1-19-15,0 1-14 16,3-1 9-16,3 0-29 0,3-1 7 0,0-1-27 0,5-1 0 0,0-2 4 16,2-1 6-16,-2-4-15 0,5 0-9 15,-5-3 32-15,5 0-21 0,-2-1 5 16,-1-3 21 0,-2-2-1-16,0 0-12 0,-3-2 44 0,-2 0-22 0,-3-1 32 0,-4-3-8 0,-1 2-5 0,-2 1 2 15,-3-1 23 16,-4-2 72-31,-3 0 1 0,-1-3-35 0,-4 3-4 0,-2 2 7 0,0 2-35 0,-2-2-11 0,-2 4-18 0,0 1-22 16,0 0 12-16,2 4-18 16,1-1-30-16,-2 3-47 0,1 2 8 0,-2 1-36 0,0 1-17 15,2 0-55-15,-1 5-48 0,2-2-2 16,2 0-45 0,5 0-47-16,-2 2-83 0,4-5-133 0,4 3-512 0,2 0 88 0,0-4 96 0,2 4 37 15,4-3 99-15,4-2 51 0</inkml:trace>
  <inkml:trace contextRef="#ctx0" brushRef="#br0" timeOffset="8471.81">12441 7765 1072 0,'0'0'407'0,"-13"6"-5"16,8-1-46-16,-3-2 43 0,3 4-59 0,-5 2 1 15,3-3-31-15,-1 7-60 0,0 2-14 16,0 0-16-16,3-2-23 0,0 5-18 16,2-5-23-16,1 1-22 0,2 1-19 0,2-1 0 15,1 0-20-15,4-1-21 0,-1 1 5 0,4-3-5 16,0 0 6-16,1 0-11 0,4-3-10 0,0-1-26 16,1-2 23-16,1-1-4 0,-1-3-1 15,2-1-5-15,0 0 5 0,0-4-2 16,2 3 25-16,1-4 10 15,-3-1 16-15,-3 2 3 0,1-4 4 0,-1 0 11 0,-4 2 10 0,-1-1 7 16,-3-4-53-16,1 3-7 0,-3-3 9 0,-2-2-10 16,-3 5 6-16,2-3 7 0,-4-1-31 15,-1 0 11-15,-2 2 2 16,2-2-8-16,-2 2-35 0,-2-2 10 0,-1 4 5 0,-2-2-13 0,-3 2-74 16,3 1-8-16,-6-1 3 0,4 3-16 0,-2 1-30 15,2-1-36-15,-1 4-26 0,0 1-10 0,0 0-20 16,1 0-57-16,1 1-28 15,1 3-66-15,0-2-154 16,0 3-192-16,4 0-269 0,-1 0 61 0,4-3 106 0,3 0 110 0,-3 2 12 16,3-4 88-16</inkml:trace>
  <inkml:trace contextRef="#ctx0" brushRef="#br0" timeOffset="8866.81">13123 7726 1146 0,'-5'4'448'0,"-3"-1"23"15,1 3-15-15,-1 3-59 0,0 0-26 0,0 3-54 16,1 3-30-16,-1 2-26 0,-2 1-3 0,4 1-22 16,2-2-52-16,1 1-17 15,3-3-22-15,-3 2 6 0,6-3-10 0,2 3-10 0,3-3-16 16,0-1-13-16,2-1 8 0,3-1-20 15,2-3-23-15,0-1 17 0,3-1 3 0,1-3-25 16,1-1 27-16,1-4-7 0,-1-1 5 0,1 1 21 16,1-4 43-16,-4 0-34 0,1-1-1 15,1-5 1-15,-2 0 1 16,-5 0-21-16,-3 0 26 0,0-4-110 0,-5 1 23 16,0 1 2-16,-2-3-2 0,-3 3-26 0,-2-2 21 0,-1 2-31 15,-3-4 13-15,-1 4 0 0,-4 1 2 0,-1 2-28 16,-1-1-36-16,-3 5-32 0,-1 0-27 15,-1 3-46-15,0 4-27 0,0 0-32 0,-5 4-50 16,-3 2-78-16,3-6-212 16,-10 13-524-16,2 4 91 0,-2-2 85 15,2 1 156-15,3-3 44 0,-3 1 74 0,6-1 102 0</inkml:trace>
  <inkml:trace contextRef="#ctx0" brushRef="#br1" timeOffset="12983.25">14210 7039 1292 0,'0'-7'433'0,"0"1"-21"16,0 1-15-16,-3 3-34 0,1-2-28 16,2 4-43-16,-5-2 3 0,5 2-24 0,0 0-20 15,-13 8-36-15,8 1-3 0,-3 0 52 0,0 7-16 0,1-2-7 16,0 6-26-16,-1 3-16 0,0-2-27 16,3 4-24-16,0 4 9 0,5-2-42 15,-1 2 15-15,2-2-7 0,1-1-21 0,4-1-43 16,3-1-10-16,0-5-5 0,1 0-19 15,2-1-7-15,1-6 5 0,3 1-15 0,1-6 15 16,-1-1-28-16,2-3 2 0,0-6 24 16,2 0-16-16,3-7-13 0,10-7 34 0,-4 0-8 0,-1-5 17 15,0-3 1-15,-5 2-28 0,-3-3 17 0,-4 0 9 32,-6 0-16-32,-5 6 7 0,-5 1 11 0,0-2 18 15,-4 1-26-15,-4 0 8 0,0 0-3 0,0 3-2 0,-2 4 17 0,-3 0-17 16,1 1-33-16,-4 5-14 0,3 0-48 15,-2 2-36-15,0 4-38 0,2 0-59 0,-3 3-46 16,1-1-82-16,2 3-210 0,-2 4-581 16,2 2 138-16,-3-1 85 15,4 3 99-15,-2-2 103 0,0 0 10 0,3 1 116 0</inkml:trace>
  <inkml:trace contextRef="#ctx0" brushRef="#br0" timeOffset="23363.25">17623 8700 1377 0,'0'0'389'15,"0"0"-13"-15,0 0-10 0,0 0 46 0,0 0-46 16,0 0-10-16,-3 14-18 0,0-5-90 16,1 0-23-16,2 3-20 0,-3 1-26 0,1 5-23 15,-1 1 3-15,1 1-8 0,-1 5-5 0,-2 4-36 16,0 6-15-1,0-5-8-15,2-2-46 0,-2-1-39 0,2 0-12 0,1 1-13 16,-3-3-49-16,2 1-17 0,1-6-31 0,-1 2-47 0,0-2-84 16,3-1-69-16,0-8-169 15,0 2-394-15,-2 1 51 0,2-1 72 0,2-7 95 16,-2 2 27-16</inkml:trace>
  <inkml:trace contextRef="#ctx0" brushRef="#br0" timeOffset="23802.04">17635 8807 913 0,'3'-7'361'0,"2"-1"-15"0,0-3-24 16,3 5-35-16,2-2-18 0,3 1-8 0,-3 0-21 16,6 0-14-16,-1 3-29 0,0 0-3 0,1 2-30 15,-1 1-8-15,3 2 8 0,-3 1-38 0,3 3 9 16,-2 1-17-1,-1 2-23-15,-5-1 7 0,0 5-7 0,-4 0-8 0,-1 0-3 16,-5 1-10-16,0-1-7 0,-5 4-16 0,-3-1-5 0,0 2 11 16,-5-1-9-16,-2 2-14 0,-2-1-24 15,1-2-10 1,-2 1-18-16,0-2-44 0,0-1-19 0,0-1-22 0,3-2-4 0,2-2-19 16,0-2-33-16,3-2-86 0,0-1-80 15,2-3-75-15,3 0-421 16,5 0 20-16,-8-2 89 0,8 2 75 0,-2-4 79 0</inkml:trace>
  <inkml:trace contextRef="#ctx0" brushRef="#br0" timeOffset="24234.4">18354 8688 1328 0,'-6'-2'422'0,"6"2"-27"16,-10 1-119-16,2 0-5 0,1 6 11 0,-1-1-21 0,-2 1 46 0,0 7-15 15,1 2-46-15,-3 1-34 0,2 4 18 0,-6 10-4 16,1 3-37-16,2 0-15 0,-2 4-2 0,5-1-42 16,-1 1-9-16,3-1-1 0,2-2-5 15,0-5-18-15,3-2-5 0,3-3 8 16,0-4-49 0,3 1-27-16,-1-1 14 0,4 2-20 0,1-5-46 0,-2-3-11 0,5 1-22 15,0-1-26-15,-1-3-13 16,1-6-36-16,0 1-17 0,2-1-65 0,-3-6-153 0,3 0-530 0,1 0-23 15,0 0 136-15,5-6 66 0,-3-1 46 0,1-4 164 16</inkml:trace>
  <inkml:trace contextRef="#ctx0" brushRef="#br0" timeOffset="24495.83">18613 8824 1423 0,'0'0'435'0,"0"0"-41"0,-8 7-30 16,5-2-34-16,-2 1-10 16,3 3-21-16,-4 1-22 0,4 4-27 0,-1-1-27 15,-2 3-13-15,2 2-41 0,-1 3-5 0,0 0 5 0,0 3-34 16,-2-1-12-16,1-2-36 16,-2 2-23-16,4-4-28 0,1-1-49 0,-2-1-20 15,0-1-23-15,4-2-34 0,-3 1-10 0,1-4-81 16,4-1-150-16,-2-4-78 0,3 4-523 0,-1-2 157 15,1-6 45-15,0 2 18 0,2-2 116 16</inkml:trace>
  <inkml:trace contextRef="#ctx0" brushRef="#br0" timeOffset="25392.64">18602 8865 908 0,'-5'-9'323'0,"5"9"-19"0,0 0 39 0,8-5 8 16,-3 4-49-16,-5 1-31 0,10-2 8 16,-5 2-35-16,-5 0-22 0,13 0-4 0,-5 1-24 15,-1 0-30-15,-2 0 20 0,1 2-17 0,2-1 4 16,-4 0-84-16,-1 2 16 16,2 2 22-16,-2-1-51 0,-3 1 11 0,0 1-1 0,-1 1 3 15,-1-1-25-15,-3 2-6 0,0 0-5 16,2-2 6-16,-2 3 1 0,2-3-9 0,-2 0-18 0,3-1 0 15,-1-1-19-15,1 0 4 16,2-2 9-16,0 2-27 0,0-1 7 0,3 0-10 0,1-4-8 16,2 5 8-1,2-4-21-15,-1 3 42 0,3-2-14 16,3 4-2-16,-2-1 0 0,1 0 13 0,-2 0-18 0,1 0 36 0,-1 2-24 16,0 1 27-16,-2 0-6 0,0-1 18 15,-3-1 15-15,-3 1 88 0,1 2 9 0,-3 0-30 0,-3 0 13 16,-2 1-18-1,-5 3-18-15,0-1 18 0,-3 0-16 0,-5 1-43 0,0-1 11 0,-1-1-6 16,-3-2-18-16,2 1-36 16,3-3-10-16,-3 0-66 15,2-1-21-15,3-2-38 0,2-1-36 0,-2 1-62 0,4-3-7 0,-1-1-129 16,2-5-165-16,0 4-502 0,2-3 71 16,0 2 108-16,3-3 92 0,0-2 87 0,2 1 25 0,1-4 88 0</inkml:trace>
  <inkml:trace contextRef="#ctx0" brushRef="#br0" timeOffset="25672.83">18792 8727 1400 0,'13'-2'407'0,"-1"6"-46"0,4-1 74 0,-3 1-18 16,5 3-41-16,4 1-15 0,-1 4-18 0,7 6-18 0,0 1-18 0,-4 0-51 15,1 5-2-15,-7 2-1 0,-5-3-22 0,-2-2-32 16,-7 3 1-16,2 0-36 0,-6-3-11 16,-3 5 6-16,-4 0-39 0,-9 7-5 0,1-2-109 0,-4-4 4 15,-3 3-64-15,3-5-15 0,2-5-46 16,1-2-52-16,6-5-40 0,0 0-69 0,-3-1-106 16,5-5-672-16,3-1 107 0,-1-1 99 0,2-5 70 15,4 0 97 1,0 0 13-16,-6-6 82 0</inkml:trace>
  <inkml:trace contextRef="#ctx0" brushRef="#br0" timeOffset="25875.64">19433 8975 1126 0,'12'0'384'0,"-1"-1"-41"15,1 1-46-15,-2-1-62 0,1 1-79 0,-3-2-48 16,2 2-67-16,0-2-249 0,-2 2-549 0,0 0 76 16,-8 0 79-16</inkml:trace>
  <inkml:trace contextRef="#ctx0" brushRef="#br0" timeOffset="26128.94">19376 9143 1574 0,'0'0'494'0,"0"0"-108"16,0 0-22-16,8 4-44 0,-3-3-46 15,-5-1-16-15,8 1-20 16,-1 0-10-16,-7-1-3 0,13 0-58 0,-5 1-27 0,0-1-32 15,-1 0-54-15,1 0-47 16,0 0-45-16,2 0-36 0,0-1-24 0,2 1-58 0,-3-2-74 0,-1 1-93 16,0-2-63-16,2 2-449 0,-3-3 47 0,0 3 97 15,-1-2 54 1,-1-1 117-16</inkml:trace>
  <inkml:trace contextRef="#ctx0" brushRef="#br2" timeOffset="79313.78">20129 9250 1425 0,'0'0'415'0,"14"-5"-34"0,-2 4-35 0,7-1-44 0,6-1-21 0,6 1-19 15,13-2-22-15,5 2-9 0,2 1-29 16,2-3-23-16,1 4-8 0,0-1 6 15,3-1-44-15,2-1-18 0,-3 2-12 0,1 0-37 0,2-1 19 16,-2-1-26-16,-4 2-8 16,0-3 8-16,-4 2-11 0,-10 1-27 15,-6-3-14-15,-3 3-7 0,-4 0-17 0,-5 1-27 0,-1-1 82 0,-4 1-15 16,-3-2-30-16,1 2-14 0,-3-2 14 16,-1 2-65-16,-2 0-2 0,-2 0-18 0,0 0-98 15,-6 0-38-15,0 0 24 0,8 0-145 16,-8 0-60-16,0 0-446 0,0 0 77 0,-12 6 56 15,4-2 95-15,0-1 54 0</inkml:trace>
  <inkml:trace contextRef="#ctx0" brushRef="#br2" timeOffset="79973.59">20805 9488 1095 0,'7'-2'412'0,"-2"1"-23"0,1-2-46 0,-6 3-28 15,7-1 0-15,-7 1-87 0,7-1-26 0,-7 1-20 16,0 0 5-16,0 0-34 15,0 0 6-15,0 0-24 0,0 0-19 0,0 0-9 16,-22 5 11-16,12-2-16 0,-1 2-17 0,-1 0-1 0,-2 0-17 16,2 0-3-16,-1 0 23 15,-3 2-18-15,4-1-23 0,-1-1-5 0,3 1-8 16,-2 1 1-16,0-1-4 0,5-3-14 0,-3 0 14 16,4 2-4-16,1-2-3 0,2 2-18 15,1 0 16-15,0-3 7 0,2-2-16 0,5 7 9 16,-3-3-13-16,6-3-3 0,0 4 10 0,0-3-5 15,4 3-2-15,-2-1 15 0,1-1-31 0,4 2 26 16,-4 0 5-16,6 1-25 16,-3-1 9-16,3-1-4 0,-6 2 23 0,1 0 30 15,-1-1-30-15,-2 1 43 0,-3-1-16 16,-3 1 32-16,-1 1 81 0,0-1-28 0,-4 0-33 0,-2 1 21 16,-3 1-14-16,-2 2-19 0,-4-1-22 0,1 0 1 15,-5 0-16-15,1-1-33 0,-1 1-38 16,0-2-16-16,0 0-53 0,3-3-44 0,3-1-16 15,-2 1-45-15,3-2-29 0,0-2-76 16,2 4-133 0,0-4-229-16,1 0-309 0,1 0 100 0,6 0 82 0,-10 0 74 0,10 0 87 0,-7 0 51 15</inkml:trace>
  <inkml:trace contextRef="#ctx0" brushRef="#br2" timeOffset="85292.99">20827 8626 1156 0,'0'0'423'16,"0"0"-47"-16,0 0-10 0,0 0-48 15,0 0-24-15,0 0-38 0,0 0-26 0,-20 5-12 16,15 0-29-16,-5 1-2 0,2 0-38 15,-2 0 9-15,-1 0-9 0,-4 3-21 0,2 0-18 16,1 0-8-16,1-1-15 0,-4 3 16 16,4-2-24-16,-1-1 13 0,2 0-23 0,1-1 16 15,1-1-19-15,-1 1-22 0,1-2 15 16,3 1-1-16,2-4 14 0,1 4-21 0,-1-1 6 0,1-1 30 16,2-4-34-16,7 4 6 0,-4-1 26 15,5-1 48-15,2-1-10 0,0 0-11 16,1 1-30-16,1-1 36 0,4 0-46 0,1-1-6 0,1 0-12 15,2 0-49 1,-3 0 10-16,3 0-27 16,-2 0-11-16,5-1-26 0,-1-2-25 0,-3 3-11 0,3-2-25 0,-6 2-5 0,2-2-3 15,-3-1-30-15,-1 2 10 16,1 0-49-16,-5 1-33 0,2-1-80 0,-3 0-89 0,-1-2-49 0,-4 2-486 16,2 1 92-16,-1-2 47 0,-5 2 86 15,0 0 49-15</inkml:trace>
  <inkml:trace contextRef="#ctx0" brushRef="#br2" timeOffset="85507.73">20896 8556 1338 0,'0'0'417'0,"0"0"-27"0,-12 13-45 15,9-7-25-15,-2 7-36 0,0 5-15 0,-2 2-21 16,-1 4 44-16,-3 14-26 0,-1-1-17 16,0 1-81-16,-2 6-40 0,-1 6-56 0,1 0-90 15,0-7-82-15,4-2-209 0,-1 0-592 16,1 2 38-16,0-5 108 0,2-2 107 16,2-6 16-16,2-4 97 0</inkml:trace>
  <inkml:trace contextRef="#ctx0" brushRef="#br2" timeOffset="86870.32">22539 8832 1581 0,'0'0'507'0,"0"0"-64"0,0 0-13 16,-9 9-43-16,4-3-11 0,3 3-59 0,-2 0-20 15,0 6-23-15,1 1-8 0,-2 7-10 0,0 2-18 16,-3 0-59-16,0 12 24 0,3-2-109 16,-2-7-9-16,-1 8-13 0,3-9 2 0,-3-3-36 15,2 1 3-15,-1-1-33 0,2 0-13 16,1-6-23-16,-2 1-42 0,3-3-6 0,0-1-34 15,1-1-26-15,0-2-33 0,0-4 5 0,1 3-41 16,-2-4-38-16,6-1-77 16,-2-3-107-16,0 2-54 15,-1-5-410-15,1 3 113 0,-1-3 53 0,0 0 113 0,0 0 47 0</inkml:trace>
  <inkml:trace contextRef="#ctx0" brushRef="#br2" timeOffset="87152.46">22481 8913 1246 0,'8'-12'381'0,"-1"5"-12"16,1 1-34-16,0 2-20 0,-1 1 49 0,4-1-16 16,-4 2-26-16,3 2-22 0,-1 0 30 15,1 4-54-15,0-2-68 0,-2 2-29 16,0 0 0-16,-1 3-23 0,1 2-7 0,-6-1 7 15,3 4-20-15,-5-2-21 0,-2 3 5 0,-3 2-28 16,0-3-7-16,-5 5-11 0,-1-1-18 0,-4 1-30 16,2-3-36-16,-3 3-24 15,1-4-25-15,0-1-53 0,2 0-26 0,0-3-29 0,3 2-43 16,0-5-71 0,2 0-195-1,3 1-75-15,0-4-383 0,5-1 102 0,0-2 95 0,0 0 97 0,0 0 54 0,15-8 94 0</inkml:trace>
  <inkml:trace contextRef="#ctx0" brushRef="#br2" timeOffset="87412.47">22861 8810 1325 0,'0'0'443'0,"0"0"3"16,0 0-68-16,0 0 1 0,-16 13-36 15,10-6-2-15,-1 1-19 0,-2 5-15 0,0 5-38 16,-3 1-23-16,2 4-29 0,-2 9-25 0,-2-1-10 15,3 2-5-15,-1 1-52 0,4 0 13 16,0-7-12-16,4-1-11 0,0 0-51 0,0-3-5 16,3 3-5-16,0-4-11 0,1-2-20 15,1-1-28-15,0 0-54 0,1-1-35 0,3-4-17 0,-2 1-34 16,-1-4-19-16,3-3-41 0,-2-1-82 0,2 0-135 16,2-3-264-16,-4-1-253 15,5 0 122-15,-1-3 67 0,0 1 41 16,-7-1 107-16</inkml:trace>
  <inkml:trace contextRef="#ctx0" brushRef="#br2" timeOffset="87656.35">23035 9061 1525 0,'0'0'635'0,"0"0"-139"0,0 0-40 0,0 0-23 0,-11 6-47 0,6-1-17 16,3 2-21-16,-2 0-54 0,0 1 83 0,1 3-29 15,-1 1-31-15,-2 1-30 0,2 0-42 16,-2 2-99-16,1 2-46 0,-2-1 3 0,1 0-29 0,1 1-15 16,-1 1-62-16,-1-3-25 15,2 3-39-15,0-2-45 0,-2-1-19 0,1-2-30 16,4 0-44-16,-4-1-17 0,2-2-29 0,3-1-110 16,-4-9-156-16,3 9-497 0,1-1 116 0,1-4 79 15,0-1 86-15,-2 0 86 0,2-3 43 16</inkml:trace>
  <inkml:trace contextRef="#ctx0" brushRef="#br2" timeOffset="88010.96">23068 9049 1241 0,'16'-10'389'16,"-1"6"-31"-16,-5 0-10 0,0 3 8 15,-2 1-51-15,-2 1-6 0,1 0-20 0,-4 5 70 16,1-2-32-16,-4 2 8 0,-4 2-69 0,-4 0-8 16,-2 4-20-16,-6 5-10 0,-1-4-116 0,-9 6 16 15,0 0-6-15,0-1-27 0,6-5-16 0,4 0 8 16,3-3 74-16,-2-2-13 0,5-1-25 16,3 0 27-16,-1-1-27 0,2-1 10 0,2 1-21 0,1 1-17 15,0-3-6 1,1 0 11-16,4 0 27 0,1 1-40 0,0-2 8 0,4 2-21 15,1-1-8-15,2-2-43 0,3 1 2 0,0-1-25 16,2 0-36-16,3-1-36 0,-3-1-26 16,2-1-27-16,-1 1-9 15,1-1-45-15,-1-1-46 0,-2-1-47 0,1 1-202 16,-1-1-432-16,-2 0-95 0,0-2 107 0,-2 1 90 16,-2 1 133-16,-1-3 18 0,-3 0 100 0</inkml:trace>
  <inkml:trace contextRef="#ctx0" brushRef="#br2" timeOffset="88300.07">23314 8749 1459 0,'0'0'547'0,"9"4"-42"0,-2 0-111 0,-2 3-23 15,3 5-13-15,2 1-30 0,2 5-8 16,-1 3 0-16,3 12-54 15,-5 0-5-15,1 3-25 0,-2-2-34 0,-2 3-5 0,-5-6 82 0,-2 0-31 16,-3-4-38-16,-3 11-41 0,-3-2 10 16,-4 0-48-16,0-4-60 0,-2 0-53 15,-2-2-69-15,2-2-28 16,-1-6-24-16,4-4-55 0,0-4-52 0,4 0-113 0,-2-4-271 0,0 0-458 16,6-4 100-16,0-3 113 0,2 0 55 0,3-3 101 15,-4 0 30-15,4 0 82 0</inkml:trace>
  <inkml:trace contextRef="#ctx0" brushRef="#br2" timeOffset="88513.44">23607 9094 1333 0,'16'-1'504'0,"-4"-3"-53"16,1 2-36-16,0-2-67 0,-2 2-54 16,1 2-64-16,-2-2-43 0,3-1-43 0,-3 3-73 15,0 0-66-15,-2 0-110 0,0 0-199 0,-4 4-139 16,-1-3-343-16,-3 4 34 0,0-5 145 16,-3 8-20-16</inkml:trace>
  <inkml:trace contextRef="#ctx0" brushRef="#br2" timeOffset="88689.99">23614 9201 1297 0,'0'0'374'0,"0"0"-11"0,0 0-17 0,3 6 53 0,-3-6-7 0,8 1-29 15,-2 2-43-15,0-3-20 0,-6 0-19 0,13 0-37 16,-5 1-34-16,2-1-29 0,-2 1-60 0,2-1-29 16,-2-1-36-16,3 2-48 0,-4-1-29 0,0 0-20 15,-1 0-102-15,2 0-182 16,-8 0-236-16,10 1-353 0,-4 2 49 0,-6-3 169 0,4 2 43 15,-4 2 49-15,0-4 113 0</inkml:trace>
  <inkml:trace contextRef="#ctx0" brushRef="#br2" timeOffset="90841.9">24668 8682 1487 0,'0'0'432'0,"3"7"-91"16,-1-1-32-16,-2 5-19 0,-2 0 53 0,2 4-44 0,-3 4-17 15,1-1-37-15,0 3-24 0,-4 3-22 0,3 0-32 16,-3 0-57-16,-1 2-36 0,0-1-20 15,-1-2-47-15,0-2-50 0,1 3-80 16,1-4-123-16,-1-6-174 0,2 3-478 0,1-3 110 0,-2 0 48 16,5-5 146-16,-1 2 31 15</inkml:trace>
  <inkml:trace contextRef="#ctx0" brushRef="#br2" timeOffset="91102.27">24966 8910 1249 0,'2'-3'483'0,"-2"3"-47"0,0 0-109 16,0 0-20-16,0 0 1 0,-10 18-12 15,2-10-17-15,-5 9-12 0,0 1-22 16,-9 6 70-16,-2 3-41 0,1 2-28 0,-5-1-11 16,0 2-20-16,-5 5-35 0,4-7-29 0,-6 8-41 0,7-9-23 15,-3 2-44-15,4-2-48 16,-5 0-33-16,6-1-37 0,-1-4-32 0,3 2-34 15,7-7-56-15,1-3-79 0,2-7-172 0,4 5-502 0,0-1 62 16,5-3 105-16,-3 0 61 16,4 0 66-16,-2-1 60 0</inkml:trace>
  <inkml:trace contextRef="#ctx0" brushRef="#br2" timeOffset="91493.45">24884 9398 1139 0,'0'0'366'0,"0"0"-16"0,0 0-30 0,0 0-33 0,0 0-26 0,-27 8-23 16,13-3-15-16,2 0-39 0,-7 1-15 15,1 0-15-15,0 1-6 0,2 0-35 16,1 1-3-16,2-2-21 0,0 2-20 0,6 0-23 0,-1 1-12 15,3-2-4-15,0 2 9 16,2-2 4-16,3 1-7 0,0 0-8 0,0 2-10 0,3-3 31 16,1 6-16-16,-3-6 6 0,2 5 37 15,1-2 11-15,-1-2 13 0,-3 0 18 0,0 3 18 16,0-5 15-16,-1 4-11 16,-3-1-1-16,-1-1 65 0,-3 2 4 15,1-1-29-15,-6 1-28 0,-1 1-15 0,-1-3 4 0,-8 2-27 0,2-1-44 16,-4 2-36-16,1-3-33 0,-2-1-48 15,1 2-39-15,-1-5-46 0,4 2-70 16,1-1-52-16,-1-4-181 0,1 1-616 0,3-2 123 0,0-2 64 16,0 1 95-16,-2-1 94 15,-6-3 69-15,1-2 41 0</inkml:trace>
  <inkml:trace contextRef="#ctx0" brushRef="#br2" timeOffset="93450.8">12569 11484 1438 0,'-2'-3'466'0,"2"3"-46"0,0 0-1 0,-5 13-58 16,2-2-20-16,3 2-11 0,-3 5-33 15,1 2-28-15,-3 5-29 0,2 1-25 0,-2 10 0 16,0-4-56-16,3-4-8 0,-4 0-46 16,4-2-33-16,-1 1-34 0,-2 0-5 0,2-3-51 0,1-1-30 15,-1-2-34-15,0-3-44 16,1-1-60-16,2-1-91 0,0-3-97 0,-2 0-63 15,-1-3-467-15,3-1 106 0,0-2 53 0,0 0 95 16,0-3 25-16</inkml:trace>
  <inkml:trace contextRef="#ctx0" brushRef="#br2" timeOffset="93756">12574 11459 1241 0,'13'-17'407'16,"0"4"-41"-16,2 3 0 0,-2 3-56 15,0 1-6-15,2 4-104 0,-2-1 2 0,0 5 18 16,0 1-33 0,-3 3 77-16,-2 1 7 0,0 3-40 0,-3 2-34 0,-3 2 0 0,-2 0-16 15,-3 4-40-15,-1 1-8 0,-4 3 13 0,-2-1-43 16,-1-1-4-16,-7 6-17 0,-2 1-20 0,2-7-44 15,5-6 20-15,-5 4-74 0,5-6 6 16,-2-1-47-16,2-2 3 0,1 1-29 16,1-3-45-16,1-2-14 0,2-2-160 0,3-3-34 15,-3 0-110-15,5 0-437 0,3 0 61 0,0 0 143 16,1-7 84-16,4 2 34 0,3-2 77 16</inkml:trace>
  <inkml:trace contextRef="#ctx0" brushRef="#br2" timeOffset="94030.71">13005 11319 1279 0,'-13'15'459'15,"-2"2"-14"-15,4 1-48 0,-9 10-19 16,2 3-45-16,0 2-13 0,3 2-46 0,-1 4 18 15,1 1-44-15,3 1-51 0,-2-1 39 0,7 3-62 16,-3-4-18-16,4 1-15 16,-1-5 2-16,4-4-41 0,3-6 6 0,0-2-36 0,2-3-31 0,4 4-23 15,-2-5-39-15,2-1-35 0,-1-4-47 16,3 0-58-16,0-5-77 16,2-2-182-16,-2-1-563 0,2-3 108 15,0-2 69-15,1-1 74 0,3-2 76 0,0-2 65 0</inkml:trace>
  <inkml:trace contextRef="#ctx0" brushRef="#br2" timeOffset="94507.02">13341 11461 1039 0,'-8'5'427'0,"-7"5"72"0,0 7-61 16,-6 6-46-16,-2 4-6 0,0-1-30 0,2 5-54 16,1 0-20-16,0-1-24 0,1-1-28 0,7-4-9 15,2-4-27-15,2 0-15 0,5-4-25 16,1-1-26-16,-1-2-5 0,3-3-13 0,0-1 10 15,3-1-30-15,2-3-13 0,2-2-19 0,1 0-14 16,3-4 2-16,1-4 15 0,1 0-17 16,3-2-3-1,1-4-21-15,-1 2 3 0,2-2 8 0,-3 1 8 0,-2 2-19 16,-1 0 8-16,-3 3-5 0,1 1 10 0,-5 1 1 0,2 4 27 16,1 3-38-16,-5 1 16 0,2 5 19 15,-3 1 1-15,1 1-25 0,-1 1 7 0,-2 3 20 16,0-2-12-16,0 2-44 0,0-1 38 0,0 0-38 15,-2-1 8-15,0 0-13 16,2-2-48-16,-1 0-16 16,1-1-3-16,0-4-48 0,0 2-41 0,-2-5-47 0,2 1-35 0,0-2-112 0,0-4-188 15,2 0-468-15,-2 0 98 0,0 0 127 16,0 0 54-16,0 0 41 0,3-18 84 16,-1 6 62-16</inkml:trace>
  <inkml:trace contextRef="#ctx0" brushRef="#br2" timeOffset="94793.95">13517 11179 990 0,'6'3'522'16,"4"7"-20"-16,1 1-18 0,4 5-54 15,5 8-69-15,1 2-23 0,0 5-26 0,-1 5-5 16,-2 0 39-16,2 10-24 0,-2 4 11 0,-5-9-11 15,-2 1-73-15,-1 4 2 0,-5-2-6 16,-3 0-14-16,-2 0-24 0,-2-2-28 0,-1 0-10 16,-5-2-113-16,-2-1-10 0,-2-2-20 0,-4-3-39 15,1 1-12-15,-3-2-39 0,-2-4-21 16,1-3-45-16,1-1-44 16,3-9-59-16,2-3-82 0,3-10-210 0,3 3-553 15,-1-2 136-15,5-3 75 0,3-1 109 0,-8-5 118 16,6-1 46-16,-1-3 21 0</inkml:trace>
  <inkml:trace contextRef="#ctx0" brushRef="#br2" timeOffset="95060.14">14000 11715 1387 0,'10'-3'489'0,"1"2"-49"15,1-1-41-15,1-1-51 0,3 1-53 0,-1 1-14 16,3-3-58-16,-3 3-64 0,3-1-36 0,-2 0-59 16,-1 1-85-16,0-1-74 0,-2 2-212 15,0 0-125-15,-3 0-408 0,-5 0 75 0,0 2 107 16,0 1 72-16</inkml:trace>
  <inkml:trace contextRef="#ctx0" brushRef="#br2" timeOffset="95236.59">14123 11868 1082 0,'0'0'443'0,"0"0"-26"0,0 0-28 0,11 1 36 15,-11-1-36-15,10 0-56 0,-2 0-36 0,-2 0 0 16,3-1-44-16,1 1-48 0,0 0-21 15,-2 0-45-15,2 0-57 0,0-1-18 16,-2 1-54-16,2 0-46 0,-2 0-28 0,-1 0-59 16,-1 1-148-16,-1 0-141 0,0 1-484 15,0 0 82-15,0 0 51 0,-3 1 64 0,-1 0 123 16</inkml:trace>
  <inkml:trace contextRef="#ctx0" brushRef="#br2" timeOffset="99560.88">14841 11492 941 0,'0'0'346'0,"0"0"-31"0,-10 11 5 15,4-3 33-15,1 3-51 0,2-1 0 0,-1 6-51 16,1 1-16-16,-2 2-14 0,3-3-37 0,-1 6 3 15,3-2-31-15,0-1-8 0,3 0-12 16,-1 0-23-16,3 0-1 0,0-2-4 0,0-2-19 16,3 0-27-16,2-2 38 0,-2-4-57 0,2 2 13 15,0-3 8-15,3-3-12 0,0-1-19 0,0-2 18 16,-1-2-15-16,-1 0-3 0,2-2 24 16,0-2-24-16,-1-1 5 15,-1-3 42 1,1-3-14-16,-1 2-15 0,-1-4 13 0,-5-2-12 0,0 1-4 15,0-4 3-15,-2 1-86 0,-3-4 14 0,0 1 1 0,-2-3 7 16,1 4-8-16,-4-5 11 0,0 1 2 0,0 5 8 0,-2 0 11 16,-1 2-9-16,0 1-4 0,0 1 9 15,-2 3-14-15,0 1-24 0,2 3 28 0,-2 2-40 16,-3 3-11 0,3 2-28-16,-1 0-33 0,-1 5-13 0,-1 3-49 0,0 3-132 15,0 1-167-15,-2 3-466 0,2 6 102 0,-5 8 54 16,3-6 162-16,2 5 25 0,0-4 56 0</inkml:trace>
  <inkml:trace contextRef="#ctx0" brushRef="#br2" timeOffset="99844.24">14579 11986 1497 0,'0'0'527'0,"0"0"-53"0,0 0-16 0,0 0-36 15,0 0-20-15,10 5-64 0,1-3-28 16,-1-2-21-16,8 0 0 0,5 0-112 0,2-2-3 0,6 1-5 16,0 0-36-16,3-1-10 15,12 0-3-15,-8-1-25 0,-5 1 20 0,1 2-41 0,-1-2-28 16,-2 1-33-16,-5-1-31 0,-3 2-12 16,-1 0-29-16,-3-1-51 0,-1 1-18 0,-3 0-11 15,-2 0-27-15,-1 1-36 0,-3-1-64 16,-2 3-167-16,-4-1-74 0,1 2-417 0,0-2 102 15,-7 3 49-15,2 0 98 0,-3 0 58 0</inkml:trace>
  <inkml:trace contextRef="#ctx0" brushRef="#br2" timeOffset="100264.66">14964 12172 1517 0,'0'0'389'0,"0"0"-61"0,0 0-36 0,0 0-21 0,-18-1-28 15,10 3-33-15,1-1 10 0,-4 2-38 0,1 0 20 16,2-2-25-16,-5 4-21 0,3-1-28 0,3-2 5 16,-3 3-25-16,2-3 4 0,0 4-9 15,3-3-3 1,-1 1-29-16,-1 0 16 0,4 2-23 0,1 0-5 0,-1-2 5 0,3 2-13 15,0-1-23-15,0 1 29 0,3 1-16 0,-1-1-3 16,4 2 1-16,-2-1-19 0,2 2-10 16,-1-2 21-16,0 0-13 0,2 1 23 0,-1 0-16 15,-1-2 22-15,0 2 11 0,-2-2 14 0,2 0-18 16,-2 1 69-16,-3-1-36 16,2-1 18-16,-2 0-23 0,-2-1 2 15,1 2 21-15,-6 0-23 0,2 0-8 0,-5-1-7 0,-1 0 2 16,1 1-8-16,-5-3-12 0,2 2-13 0,-3-2-3 15,1-1-10-15,-3-1-5 16,2-1-49-16,1-1-12 0,-3-1-29 0,5-1-46 0,-2-2-33 0,2-3-56 16,-2-2-16-16,7 1-17 15,1-4-78-15,1 2-158 0,-4-4-5 16,13 1-479-16,1-1 85 0,2-2 132 0,1 0 45 0,3 0 104 16,4 0 23-16</inkml:trace>
  <inkml:trace contextRef="#ctx0" brushRef="#br2" timeOffset="100503.38">15392 11757 1195 0,'8'0'420'0,"-1"-2"-49"0,-1 2-18 16,4 0-94-16,-2-3-60 0,2 3-63 0,0-2-62 15,1 2-174-15,-4-2-148 16,3 3-479-16,0-1 36 0,-2 1 51 0</inkml:trace>
  <inkml:trace contextRef="#ctx0" brushRef="#br2" timeOffset="100692.1">15405 11890 1023 0,'0'0'400'0,"0"4"-34"0,0-4-8 0,0 0-25 0,0 0-26 0,5 4-31 0,-5-4-38 0,8 1-7 16,-8-1-11-16,10 0-41 0,-2 0 26 0,0-1 13 15,-1 1-73-15,0-1-14 0,4-1-39 16,-1 1-69-16,0-1-59 0,1 2-71 0,-1-4-167 15,0 3-642-15,3-2 73 16,-3 0 60-16,-2-1 89 0,2 0 57 0</inkml:trace>
  <inkml:trace contextRef="#ctx0" brushRef="#br2" timeOffset="101398.7">16156 11592 916 0,'0'0'343'15,"0"0"-21"-15,-8 7-27 0,6-1-37 0,0 0-7 16,1 2-10-16,-1 1-49 0,2 0 2 16,-3 1-38-16,6 2 8 0,-3-1-36 0,3 1 13 15,-1 0-23-15,3 0-24 0,-2 0-7 0,1 0-15 16,4-1 7-16,-2-2-25 0,1 1 0 15,1-2 18-15,2-2-16 0,-2-1 0 16,4 0 57-16,-2-2 7 0,1-3-5 0,-1 0-22 0,4 0 9 16,-2-3 34-16,-2-1-52 15,1-2 24-15,-1 1-14 0,0-2-2 0,-2 0-10 16,0-1 10-16,-3-3-15 0,0 0 23 0,-2 2-15 16,-1-3-16-16,-2 1-21 0,0 0-63 15,0-2 15 1,-2 3-23-16,-1-3 15 0,-3 1 3 15,-1 2-3-15,-1-2 29 0,1 5-16 0,-1-3-2 0,-3 3-1 0,1 0 8 0,0 4-2 16,-2-2-18-16,4 3-6 0,-2 0-17 0,-1 2 3 16,3 0-45-16,-2 3-14 0,2 0-3 0,1 0-52 15,2 0-12-15,-1 1-26 0,4-1-48 16,-1 1-49-16,3-4-120 0,3 7-34 16,-1-4-455-16,6 0 94 0,0 1 70 0,2-1 43 15,0-3 105-15</inkml:trace>
  <inkml:trace contextRef="#ctx0" brushRef="#br2" timeOffset="101702.62">16862 11461 1489 0,'0'0'476'0,"0"0"-66"0,0 0-21 0,0 0-31 0,0 0-94 16,-6 11-11-16,3-4-17 0,-2 0-13 0,0 1 2 15,-2 4-26-15,1-2 9 0,-1 4-24 0,1 0-15 16,-1 3-20-16,-1-1-16 0,-2 2 2 16,0 1-9-16,-3 1-29 0,2-1 5 0,-1 1-12 15,1-2-31-15,-1 1-5 0,-1-2-29 0,0 0-15 16,3-4-33-16,-1 1 11 0,1-4-32 16,0 2-7-16,2-5-36 0,1 2-13 0,-3-2-43 15,2 0-13-15,0-3-49 31,0-1-31-31,3 2-145 0,5-5-18 0,-13-3-462 0,8 3 12 0,5 0 101 0,-10 0 80 0,5-2 97 16</inkml:trace>
  <inkml:trace contextRef="#ctx0" brushRef="#br2" timeOffset="101850.16">16548 11605 527 0,'-2'-5'-59'16</inkml:trace>
  <inkml:trace contextRef="#ctx0" brushRef="#br2" timeOffset="101983.88">17072 11765 1272 0,'4'3'384'0,"-1"-2"-8"16,-3-1-54-16,3 4-53 0,-3-4-82 16,4 3-64-16,-4-3-108 0,1 3-199 0,1-2-546 15,-2-1 37-15,0 6 53 0,0-6 138 0</inkml:trace>
</inkml:ink>
</file>

<file path=ppt/ink/ink19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08:06.535"/>
    </inkml:context>
    <inkml:brush xml:id="br0">
      <inkml:brushProperty name="width" value="0.05292" units="cm"/>
      <inkml:brushProperty name="height" value="0.05292" units="cm"/>
      <inkml:brushProperty name="color" value="#002060"/>
    </inkml:brush>
  </inkml:definitions>
  <inkml:trace contextRef="#ctx0" brushRef="#br0">4975 1225 1492 0,'-5'0'481'0,"0"1"-51"0,5-1-26 0,0 0-63 0,0 0-16 0,0 0-18 16,0 0-48-16,20 3-11 0,-4-2-5 0,5 2-41 0,9-2 1 16,1 1-37-16,15 0-20 0,2 1-34 0,1-1-19 0,2-1-29 15,-2 1-57-15,-10-1-27 16,7 3-67-16,-11-3-26 0,-4 0-74 0,0 1-209 16,-13-1-40-16,5 1-498 0,-5 0 84 0,-2-1 134 15,-4-1 48-15,-1 1 63 0</inkml:trace>
  <inkml:trace contextRef="#ctx0" brushRef="#br0" timeOffset="203.31">5136 1402 857 0,'-4'1'369'0,"4"-1"55"0,0 0-22 0,0 0-54 15,0 0-7-15,20-2-65 16,-5 0-17-16,3 0-34 0,8-1-15 0,2-1-13 15,3 0-2-15,15 1-24 0,-2-3-25 0,-1 0-51 16,-7 4-26-16,-5-2-18 0,2 1-56 0,-2 1-59 16,-2 0-69-16,-5 4-138 0,-3-2-157 15,5-2-450-15,-5 4 103 0,-1-2 68 0,-4 0 49 16,-2 0 64-16</inkml:trace>
  <inkml:trace contextRef="#ctx0" brushRef="#br0" timeOffset="2660.78">14851 484 1087 0,'3'-5'382'0,"-1"1"-21"0,-2 0-11 16,2-1-27-16,-2 1 10 0,0 0 71 16,0 0-33-16,0 4-53 0,1-7-1 0,-1 7-5 15,-1-6-69-15,-1 4 24 0,2 2-73 16,-5-3 21-16,5 3-20 0,0 0-44 0,-16 6-18 0,9-1 8 15,-3 3-21-15,-1 3-20 0,1 4-5 16,-3 2 9-16,-5 10-22 0,0 0-7 16,1 3-22-16,1 3 27 15,3 0-55-15,-4 0 9 0,4 1-37 0,-1-2-7 0,2 1-6 16,4-5-12-16,1-6 13 0,1 2-18 0,1-4-6 16,3-1 9-16,-1-2-11 0,3-1 7 0,0-1-22 15,0-2-3-15,3-1 13 0,2 0-3 0,0-5 11 16,3 0 28-1,0-3 7-15,-1-1-40 0,4-3 45 0,1-1-20 16,1-3 13-16,3-1 3 0,-1-3-9 0,5-3 19 0,0 0 2 16,-2-2 3-16,-1-1 2 0,0-2-17 0,1 2 53 15,0-4-25-15,-2 1-3 0,-1 1 0 16,-3 0 8-16,1 3-1 0,-5 1-17 0,2 3 28 16,-4 0-10-16,1 1 2 15,-2 2 8-15,1 2-26 0,-2 1-15 0,-1 2 11 0,-3 1 9 16,0 0-5-16,0 10 24 0,0-2-34 0,-3 2 20 15,3 3-19-15,-4 0-6 0,4 0-3 16,-3 1 6-16,3 0 2 0,0 0-16 0,0 0 17 16,3-1-35-16,-1 0 24 15,3-2 3-15,0 0-8 0,1-1-6 0,-2-2 19 0,4-2-24 0,-3-1 29 16,3-1 0-16,0-1-1 0,-1-2-4 16,-2-1 7-16,3-2 21 0,0-2-21 15,0 2-2-15,-3-3 7 0,0-1 23 0,0-1-15 16,-3 0-10-16,1-1 0 0,-3 0-8 0,0-1 8 15,-5-1 2-15,3-1 1 0,-1-1 4 16,-3 1-27-16,-1 0 9 0,2 0-7 16,-1 2 15-16,-1-1-7 0,2 4-21 0,0-1-31 15,0 1 18-15,2 1-12 0,-2 0 28 0,3 1-11 0,-1 0-17 16,3 4 19-16,0-3-6 0,0 3-9 16,0 0 6-16,5-3 23 0,-5 3-3 0,13 0-7 15,-6 0 25 1,3 1 2-16,1 1-27 0,2-1 20 0,2 1-26 15,1 2 14-15,1 0 22 0,1 1 8 0,1 0-16 0,1 1 21 16,-2 1-13-16,0-1 6 0,-3 0 2 0,1 1-21 16,-4-1 29-16,-1 2-44 0,-1-1 13 15,-2 0 7 1,-4 1-9-16,0-1 7 0,-2-1 41 16,-2 2-26-16,0 0 13 0,-2-1-2 0,1 0-21 0,-2-2 15 0,1 0 14 0,0 0-24 0,-1 0 36 15,3-3-13-15,-3 2 34 0,3-4-29 0,0 0 6 16,0 0 7-16,0 0-20 0,0 0 10 15,0 0 10-15,0 0 2 0,3-15-30 16,0 9 24-16,-1-2-14 16,4 0 3-16,1-2-18 0,-2 1 38 0,3-1-54 0,-3 1 27 15,3 0-24-15,2 1 20 0,-5 0 3 16,3 1-10-16,-1 2-18 0,-1-1-20 0,-1 0-26 0,2 2-21 0,-2 0 11 16,-2 0-52-16,2 2-27 0,1-1 9 15,-2 2-73-15,-4 1-21 0,8-1-77 16,-8 1-133-16,8-3-149 0,-3 3-437 15,-5 0 92-15,8 2 72 0,-8-2 61 0,10 2 92 0,-5-2 87 16</inkml:trace>
  <inkml:trace contextRef="#ctx0" brushRef="#br0" timeOffset="3128.43">15535 760 1095 0,'0'0'461'0,"0"0"-39"0,0 0-2 0,0 0-121 0,0 0-17 0,6 9-23 15,-4-2-14-15,-1 0-14 0,1 2-14 16,0 0-9-16,1 1-45 0,0 1 1 16,-3 2-26-16,0 0 59 0,2 1-10 0,-4 0-20 15,2-4-27-15,0 1 9 0,-3-2-19 0,3 1-25 16,0-2 11-16,0 0-11 0,-3-1 5 0,3 0-11 16,-2-2 52-16,2-1-92 15,-2 0 23-15,1-2-18 0,1-2-7 0,0 0 12 0,0 0-18 16,0 0-5-16,0 0 13 0,-5-10 15 0,5 5-18 15,3-1-22-15,-1-1-14 0,1-1 13 16,-1-1-10-16,4 0-28 0,2 1-13 16,-1-1 3-16,1-1-18 0,2 1-16 0,3-2-15 0,0 3-38 15,-1 1-6-15,-1 1-22 0,1 2-19 16,2-2-40-16,-2 2-34 0,-2 3-17 16,0-1-52-16,-1 4-115 0,-2-4-13 0,1 5-530 15,-1 1 77-15,-1 0 182 0,1 2-23 0,-2-1 59 16,-2 0 79-16</inkml:trace>
  <inkml:trace contextRef="#ctx0" brushRef="#br0" timeOffset="3693.76">15769 974 1400 0,'0'0'412'0,"0"0"-18"0,0 0-15 0,13-8-29 0,-11 3-30 0,1 2-7 0,2-2-55 0,0 0 3 0,-2-1-23 16,0 0-17-16,1-1-24 0,-1 1-41 0,0-1 10 15,-1 1-23-15,0 1 11 0,1 2-21 0,-3-2-7 16,3 1-32-16,-1 2 16 0,-2 2-33 16,0-5-10-16,0 5-3 0,0 0 5 15,0 0 13-15,0 0-90 0,-8 14-15 0,4-9-3 0,1 0-4 16,3 1 30-16,-3 1-31 0,1-3 21 16,2 2-47-16,2-1 6 0,-2 1-5 0,3-2 20 15,2-1-18-15,0 1 13 0,6-2-5 16,-4-1 18-16,3-1 3 0,4-1-4 0,-2-1 24 15,1-1-5-15,3-2-21 0,-2-1 26 0,2-1-5 32,-1-1 7-32,1-1-2 0,-3-2 8 0,2-3 4 0,-2-1 50 0,-3-3-47 15,2 0 11-15,-3-4 7 0,1 0 2 0,-2-11 4 16,0 4 9-16,-4 4-17 0,2 2 22 16,-1 4 32-16,-3 0 20 0,3 4 20 0,-4 1 5 15,1 1-22-15,0 3 7 0,-2 3-31 0,0 1-17 16,0 2 4-16,0 4 13 0,0 0-38 0,0 0 31 15,-7 11-34-15,2 0 6 0,2 2-6 0,-2 3 21 16,2 2-43-16,-2 5 14 0,0 0-12 16,0 1-2-16,5-2-27 15,-5 1 9-15,5-2-62 0,-2 0 15 0,2-2-38 0,0 1-8 16,2-2-35-16,0 1 17 16,1-2-53-16,0-3 7 0,1-1-28 0,2-2-28 0,-1 0-56 0,2-2-72 15,1 0 20-15,-3-3 6 0,3 1-108 16,0-3 18-16,0 0-450 0,2-2 45 0,-2-1 121 15,2-1 61 1,0 0 44-16</inkml:trace>
  <inkml:trace contextRef="#ctx0" brushRef="#br0" timeOffset="4258.17">16328 910 775 0,'0'0'315'0,"3"-6"-5"16,-3 6 43-16,0-4-43 0,0 4 7 0,2-4-43 15,-2 4 15-15,0-4-20 0,0 4-44 0,0 0-10 16,-5-5-20-16,5 5-98 0,-3-2 8 16,3 2-8-16,-5-3-28 0,5 3 21 0,-5-2-18 15,5 2 15-15,-8-1-26 0,8 1 6 0,-7 1-29 16,7-1 26-16,-8 4-5 0,3-2-5 16,0-1 4-16,0 3 6 0,2-2-28 0,1 1-8 15,-4 0 16-15,4 1-18 0,-1-2 12 16,0 1-12-16,3-3-1 0,-4 6-4 0,4-3 14 0,0-3-27 15,0 6 8-15,0-6 1 16,2 5-1-16,-2-5 4 0,5 5-15 0,-2-4 8 0,2 1-10 16,0 1-1-16,-2-1 6 0,4 0 10 15,1 0-33-15,-3 0 15 0,5 0 17 16,-2 0-42-16,0-2 15 0,0 2 20 0,-1-1-2 16,1 0-6-16,2-2-4 0,-2 0 7 0,2 0 5 15,0-2-23-15,-2 1 34 0,3-3 9 16,1 0 11-16,-2-2 5 0,1 1 23 15,1-2 3-15,2-2 13 0,-2-1 14 0,0-1-19 16,-3-1 7-16,3-5 13 0,1-1 15 0,-5-3-41 16,2 1 8-16,0-12 5 0,0 7 51 15,-4 4 31-15,-1 3-28 0,0 1-26 0,-2 4-7 0,-1 1-39 16,1 2-23-16,-1 2-10 0,0 0-18 0,-1 5-13 16,-2 2 25-16,1 2-25 15,0 0 49-15,0 0-36 0,-10 11 15 0,6-1-10 16,-2 1-25-16,1 4 28 0,-2 0-11 15,4 4-28-15,-2-1 26 0,3-1-57 0,-1 1-73 0,3 0-22 16,-3-1-22-16,3-1-39 0,3 0-27 16,-1-2-29-1,-1 0-26-15,1-1-48 0,0-1-77 16,1-2 23-16,-1 0-69 0,-1-3 10 0,1-1-437 0,0 0 91 0,-2-2 44 0,3-1 100 16,-3-3 72-16</inkml:trace>
  <inkml:trace contextRef="#ctx0" brushRef="#br0" timeOffset="4508.89">16533 904 1054 0,'0'0'315'0,"-6"-4"-8"0,4 1-28 16,2 3 59-16,-2-5 0 0,2 5-11 0,-3-5-45 16,3 5-8-16,5-5-28 0,-2 1 17 15,4-1-66-15,-1 2-28 0,4-1 41 16,0-2-51-16,1 0-21 0,4 0-5 0,1 0-2 0,1-1-31 16,-4 3 12-16,5-2 3 0,-3 2-22 0,1 0 24 15,-1 1-101-15,-2 0 27 0,2 1-12 16,-4 2 0-16,1 0 20 0,-2 0-3 15,1 2 19-15,2 2-29 0,-1-1 24 0,-3 3-16 16,1-1 87-16,-3 1-5 0,1 1-41 0,0 1-13 16,-3-1-15-16,0-1-15 15,0 3-29-15,-2-2-38 0,1 1-33 0,-4 2-59 16,0-1-19-16,0 1-68 0,0 1-128 0,-4-1-205 16,3 0-499-16,-1-3 138 0,2-1 82 15,-3 0 69-15,1-3 51 0,0 0 101 0</inkml:trace>
  <inkml:trace contextRef="#ctx0" brushRef="#br0" timeOffset="4644.54">16810 773 865 0,'0'-6'222'0,"3"3"-96"0,-3-1-93 0,2 0-123 16,0 2-514-16</inkml:trace>
  <inkml:trace contextRef="#ctx0" brushRef="#br0" timeOffset="5244.22">17061 785 1548 0,'-5'8'458'16,"0"0"-35"-16,2-1-103 15,-1 2-31-15,1 2-28 0,0-2-5 0,1 2-33 0,-1 0-19 0,3 1-14 0,-3-2-32 16,6 0-12-16,-3 2 11 16,3-1 22-16,2-2-8 0,-1 1 29 0,2-1-54 15,-1-3 2-15,0 0-12 0,3-1-21 16,2-3-18-16,-2 1-5 0,2-3 8 0,3-2-15 16,-3 1 15-16,-2-1-24 0,2-2 6 15,0-2-10-15,-2 0-13 0,-3-3-5 0,0 1-6 0,-2-1-22 16,-3 0 12-16,0 0-17 0,-1 1 17 15,-1-1-7-15,-3 0-34 0,0 0 16 16,0 2-8-16,0 1 0 0,2 0-2 0,-4 1 5 0,1 0-8 16,3 3-8-16,-4-1-2 0,4 2-3 0,3 1 10 15,-6-1-10-15,6 1 8 16,0 0-2-16,0 0-9 0,0 0 4 0,0 0-1 16,0 0 2-16,0 0-9 0,14 10 12 15,-6-7 42-15,4 1-52 16,1 0 13-16,1 1-16 0,1 0 21 0,1 1 5 0,-2 0 0 0,2-1-5 15,-3 0 11-15,2 0 9 0,-4 0 8 0,1-1 3 16,-2 1-21-16,1 0-20 0,-3 0 36 0,-1-2-21 16,1 0 15-16,-1 0 11 15,-1 1-16-15,-2-2-5 0,-1 1 1 16,3-2-6-16,-2 2 20 0,2-1 4 0,-6-2 24 0,5 1 11 0,0 0-15 16,-5-1 20-16,0 0-31 0,13-2 21 15,-8 2-10-15,-5 0-23 0,11-4 7 16,-7 3 10-16,2 1 16 0,-6 0-41 0,12 0 23 15,-4 1-10-15,-3 2-3 0,3-2 21 16,0 2-16-16,-1 0-61 0,4 0-11 16,-4 0-7-16,-2 0 16 0,3 1-24 0,-3-1-15 0,1-1-18 15,-2 1-46-15,2 0-42 16,-2-1-47-16,2-1-39 0,-1 1-70 0,-5-2-193 0,13 0-562 0,-8 2 80 16,3-1 149-16,-1-1 74 0,1 0 63 15,-1-1 78-15</inkml:trace>
  <inkml:trace contextRef="#ctx0" brushRef="#br0" timeOffset="5440.08">17894 887 1405 0,'3'-2'448'0,"3"0"-54"0,-2 0-43 0,4-1-31 15,-3 1-49-15,3-1-54 0,2 1-66 0,-2 0-81 16,0-1-60-16,-1 2-128 0,0 0-148 16,-1 0-535-16,-6 1 23 0,8 0 109 0,-8 0 63 15</inkml:trace>
  <inkml:trace contextRef="#ctx0" brushRef="#br0" timeOffset="5619.62">17928 929 883 0,'0'0'463'0,"0"0"-43"16,0 0-36-16,25-3-31 0,-17 1-54 0,3 1-25 0,-1-2-20 0,3 2-24 15,2-2-38-15,-2 1-51 0,2-2-44 0,0 4-41 0,0-2-63 16,-1 0-126-16,1-4-200 0,1 3-525 0,-4 1 85 16,1-1 67-16,2 0 120 0,-4 0 38 0</inkml:trace>
  <inkml:trace contextRef="#ctx0" brushRef="#br0" timeOffset="10476.49">19420 732 1069 0,'0'0'366'0,"0"0"-33"0,0 0-18 16,0 0-41-16,0 0-13 15,0 0 69-15,18-4-56 0,-10 4-15 0,0-1-26 16,1 0-36-16,0 1 0 0,3-3-41 0,-4 3 0 0,5-2-18 15,-3 1-20-15,0 0-39 16,0-1 3-16,1 0-74 0,-1 1-21 0,2 0-18 0,-2 0-56 16,1-1-58-16,-3 1-81 0,4-5-147 15,-1 5-490-15,-1-1 82 0,-2 0 11 16,0-1 109-16,2-1 142 0</inkml:trace>
  <inkml:trace contextRef="#ctx0" brushRef="#br0" timeOffset="10712.1">19925 541 1090 0,'0'0'420'0,"0"0"-44"0,0 0-38 0,0 0-13 0,0 0-10 0,0 0-18 16,0 11-34-16,0-4-7 0,0 3-53 15,0 0-11-15,-2 3-8 0,2 1-28 0,-1 3-23 0,-1-1 10 16,-3 2-35-16,3 0-3 15,-2 1-18-15,2-3-51 0,0 3 10 0,-1-2-49 16,0-3-17-16,1 1-37 0,1-2-45 16,-3 0-54-16,4 0-100 0,0-5-113 0,-3 1-527 15,6-1 82-15,-3-2 49 0,4 0 87 16,-3-3 63-16</inkml:trace>
  <inkml:trace contextRef="#ctx0" brushRef="#br0" timeOffset="11172.65">20892 490 1190 0,'2'-3'399'16,"-2"3"-23"-16,0-3 34 0,0 3-34 0,0 0-17 16,0 0-42-16,0 0-36 0,0 0-4 15,0 0-24-15,0 0-17 0,-5 15-16 0,0-7-23 16,3 0-36-16,-4 2 13 0,1 0-2 15,2 3-31-15,-1-1 7 0,-2 1-28 0,2 3 14 16,-2-1-19-16,3-3-10 0,1 1-21 0,-3 1 6 0,2-1-29 16,3 0 24-16,-2-1-14 0,2-2-12 15,0 2 0-15,0-2-8 0,2 0-12 0,1-1-6 16,2-1-5-16,-1-1-48 16,0 0 7-16,3-1-10 15,1-1-28-15,0-1-11 0,2 0-25 0,0-3-38 0,0 1-21 0,0-1-33 16,1 0-52-16,-1-1-89 0,0-2-148 0,0 1-507 15,-1-1 84-15,-2 2 95 0,-2-4 25 0,1 2 116 16,-4 0 33-16</inkml:trace>
  <inkml:trace contextRef="#ctx0" brushRef="#br0" timeOffset="11657.81">20738 682 924 0,'7'-8'286'0,"-4"6"-4"0,4-2-39 16,2 0-31-16,1-1-14 0,2 1 45 0,1 0-18 15,3-2-33-15,2 0 2 16,2 1-55-16,-2 0 12 0,0 0-31 0,2 1-23 0,-4 0 16 16,-3 2-18-16,3-2-29 0,-4 1 3 0,-2 1-12 15,-2 1-11-15,0 0 23 0,-1 0-18 16,-1 1 3-16,-6 0 2 0,8 2 0 0,-6 1-4 0,0 0 9 15,1 2-12-15,-1 0-19 16,-1 2 9-16,1-1 12 0,-2 2-25 0,2 0 7 16,1 1 0-16,0-1 16 0,1 3-16 0,-1-3-2 15,5 1 12-15,0 0-2 0,2-2-15 16,2 0 33-16,4 0-11 0,-1-1 1 16,3-2-16-16,3-2 16 0,-3 1 10 15,-2-1 2-15,1-3 13 0,-1 0 3 0,-1-2 2 0,-5 3 3 16,1-3 51-16,-1 0 6 15,-3-1-19-15,-1 0-87 0,0-2 6 0,-5 0 4 16,0 0-17-16,-2 0 7 0,-4-1 5 0,3 1-14 0,-6-4 22 16,0 4-28-16,1-1 15 0,-1 2-8 0,-2 0-27 15,2 1 17-15,-3 0-35 16,3 2 4-16,-4 0-22 0,2 2-26 0,0 0-26 16,2 0-4-16,-2 1-55 0,1 1-15 0,0-1-25 15,1 2-41-15,3-2-42 0,1 2-132 0,4-3 30 0,-6 4-540 16,6-4 88-16,0 0 119 0,0 0 111 15,0 0 7-15</inkml:trace>
  <inkml:trace contextRef="#ctx0" brushRef="#br0" timeOffset="12138.04">22115 563 1067 0,'8'-11'432'16,"-6"9"-101"-16,3 0 1 0,-2-2-40 0,4 1-26 15,-2-3 6-15,0 2-34 0,1 1-21 0,1-3 19 16,-2 1 45-16,1 0-27 0,0 2-26 16,-2 0 2-16,-2-1-25 0,1 1-6 0,2 1-17 15,-5 2-18-15,5-5-18 0,-5 2 0 0,0 3-16 16,0 0-4-16,0 0-26 15,0 0-3-15,0 0 10 0,0 0-4 0,0 10-24 0,0-4 6 16,-1 0-32-16,-3 3-14 0,2 0-6 16,-1 1 11-16,0 2-1 0,-2 1-15 0,4 0-5 0,-3 1-36 15,2 0 8-15,0 2-46 0,-2-2-3 16,2 2-20-16,2-1-67 16,0 0-15-16,0 0-56 0,0-2-88 15,0 1-104-15,0-1-131 0,5-2-445 0,-3-1 107 0,-1-1 48 16,5 0 88-16,-5-2 59 15,2-2 89-15</inkml:trace>
  <inkml:trace contextRef="#ctx0" brushRef="#br0" timeOffset="12369.97">22089 844 1187 0,'10'-2'351'0,"-2"1"33"0,4-1-49 0,4 0-33 0,-1 0-2 16,6-1-55-16,0 0-53 0,2 2-28 15,2 0-64-15,1-1-26 0,0 2-107 0,-1 0-98 16,3 0-165-16,-2 0-503 0,-3 3 36 16,0-2 144-16,0-1 40 0</inkml:trace>
  <inkml:trace contextRef="#ctx0" brushRef="#br0" timeOffset="15255.72">4870 10443 952 0,'0'0'271'0,"0"12"-15"16,0-7-36-16,0 0 8 0,-3 0-31 15,3 3-25-15,-2 1-6 0,0-2-12 0,2 5-37 16,-1-4 16-16,-1 4-7 0,-1 0-3 0,1 0-36 16,0 0 0-16,1 2-16 0,-4-3-9 15,3 2-29-15,1 0-20 0,-1-2-31 16,-1-1-31-16,1-1-43 0,1-1-67 0,1-3-50 0,-2 1-53 16,0 0-34-16,2-1-375 0,0-2 5 15,2 1 80-15</inkml:trace>
  <inkml:trace contextRef="#ctx0" brushRef="#br0" timeOffset="15508.64">4916 10461 1008 0,'0'0'310'0,"0"-5"-29"0,0 5-40 0,0 0-18 0,0 0-21 0,0 0-18 16,0 0 6-16,0 0-29 0,0 0-8 0,-5 17-43 16,5-11 3-16,0 1-16 0,0 0-10 15,-3 1 8-15,1 2-16 0,2-2-4 0,-3 3-16 16,3-1-16-16,-2-1-33 0,-1 1-2 16,3-1-49-16,-3-1-20 0,3 0-101 0,-2 1-22 15,2-2-46-15,-2-1-95 0,2 0-408 0,-3-1 24 16,2 0 105-16,1-2 34 0</inkml:trace>
  <inkml:trace contextRef="#ctx0" brushRef="#br0" timeOffset="16082.06">4763 10550 854 0,'0'0'336'0,"2"-6"-11"0,-2 6-38 16,5-6 2-16,-5 3-20 0,5-2-26 0,-2 0-28 15,4-2-13-15,-1 1-84 0,-2 0-13 0,2-1-13 16,1 1 2-16,-2-1 17 0,3 0-32 0,0 0-7 16,-3 1 7-16,3 0 5 0,-4 0-32 15,3 0 4-15,0 1 5 0,-2-1-27 16,0 4-6-16,0-2 20 0,3 0-14 0,-5 1-11 0,2 1 36 15,-1 0 46-15,-4 2 7 16,8-1 8-16,-8 1-15 0,8 0-2 0,-8 0-26 16,7 3-13-16,-3 1 23 0,0-1-26 0,-1-1-12 0,0 4 2 15,1 0 18-15,-1 1 5 16,0-2-25-16,0 1-8 0,1 0 15 0,-1 1-28 16,-1-1-2-16,1 0-8 0,2-1 10 0,-4 2-8 15,1-3 21-15,0 0-23 0,1 1 10 0,-3-2-15 16,0 1 15-1,3 0-33-15,-1-1 0 0,-2-3-15 0,0 5-37 0,0-5-27 0,2 2-18 16,-2-2-85-16,3 4-149 0,-3-4-160 16,0 0-459-16,0 0 113 0,3 5 53 0,-3-5 88 15,2 2 94-15</inkml:trace>
  <inkml:trace contextRef="#ctx0" brushRef="#br0" timeOffset="17020.73">17343 10557 813 0,'0'0'351'0,"3"-3"-33"0,-3 3-14 16,0 0-35-16,0 0 7 0,0 0-30 15,0 0-36-15,7 8 0 0,-6-2-10 0,-1-2-26 16,2 3-28-16,-2 0-6 0,2 1-22 0,-4 2 7 16,2-2-14-16,0 3-32 0,0-2-30 15,-2 2-24-15,2-2-15 0,-1 1-17 16,-1-1-21-16,-1 0-36 0,3-1-21 0,-2-1-81 16,1-1-65-16,-1 0-66 0,-3-1-74 0,8 1-374 15,-3-6 41-15,2 5 59 16,0-2 85-16</inkml:trace>
  <inkml:trace contextRef="#ctx0" brushRef="#br0" timeOffset="17270.59">17454 10586 1264 0,'2'-5'435'0,"-2"5"-53"0,0-5-11 16,0 5-64-16,0 0-31 0,0 0 3 15,0 0-43-15,0 0-24 0,0 0-20 0,0 0-13 16,0 0-7-16,0 0-29 0,0 0-5 16,-3 15 3-16,1-12-31 0,-1 3-10 0,1 0 0 15,1 1-13-15,-1 0-15 0,0-1-19 16,-1 3-22-16,1-3-26 0,1 1-20 0,-1-1-36 0,-1-1-47 16,1 2-7-16,-1-4-117 0,3 3-83 15,-2-2-97-15,-1-2-496 0,3 3 71 16,0-5 72-16,-3 7 115 0,3-6 105 15</inkml:trace>
  <inkml:trace contextRef="#ctx0" brushRef="#br0" timeOffset="17561.68">17361 10562 1069 0,'3'-2'343'0,"-1"-1"-58"0,1 1 9 0,-3 2-33 16,10-1-15-16,-10 1-26 0,0 0-41 15,13 3-2-15,-8 1-11 0,1 1-35 0,-2-2 4 16,2 4-40 0,-4-2 5-16,3 1-34 0,-2 1-25 0,-1-1-20 0,1 1-19 0,-1 2-30 15,1-1-33-15,-1-2-60 0,-2 2-96 0,0 2-111 16,-2-2-250-16,2 0-159 15,-3 3 22-15,-2-4 129 0</inkml:trace>
  <inkml:trace contextRef="#ctx0" brushRef="#br0" timeOffset="19072.18">3553 6726 975 0,'0'0'476'0,"-3"-6"-49"0,3 6-50 0,-3-1-32 0,3 1-22 0,0 0-16 16,0 0-51-16,-3 13-34 0,6-6-9 15,0 4-3-15,-1 0-26 0,1 2-30 0,2 0-6 16,-2 4-30-16,1-1 15 0,2 2-18 0,-4 0 21 15,4 0-93-15,-2-3-30 0,-2-2-13 16,2 4-41-16,-1-4-38 0,1 0-75 0,-1-1-135 16,-1-2-95-16,-1 0-530 0,1 1 93 0,0-5 89 15,1 0 35-15,-3 0 65 16</inkml:trace>
  <inkml:trace contextRef="#ctx0" brushRef="#br0" timeOffset="19374.04">3485 6776 1044 0,'0'-12'486'0,"-2"4"-30"0,2 0-39 0,2 0-15 16,1 5-31-16,0-3-33 0,0 2 0 16,4 2-113-16,-2-2-18 0,1 2-15 0,1 2-7 0,0 0-32 15,3 1-2-15,-2 0-10 0,0 4-15 16,0-1 14-16,2 2-19 0,-3 1-6 0,1 0 0 15,0 2-36-15,0 1-12 0,-3 2-3 16,0-3 13-16,-2 3-31 0,1 0 2 0,-1-1-25 16,0 2-15-16,-3-3-21 0,0-1-23 15,0 3-17-15,0-5-32 0,0 3-27 0,-2-1-14 16,2-4-27-16,-1 1-39 0,-2 1-39 0,3-2-130 16,-2-4-74-16,2 0-479 0,-2 2 80 15,2-3 35-15,0 0 129 0,0 0 37 0</inkml:trace>
  <inkml:trace contextRef="#ctx0" brushRef="#br0" timeOffset="19614.8">3693 6571 1064 0,'0'-2'469'0,"0"2"-62"0,-2-4-44 0,2 4-30 15,0 0-34-15,0 0-35 16,-8 14-18-16,8-6-13 0,-2 0-31 0,2 3-20 0,0 3 17 15,0 3-42-15,0 1-4 0,2 2-12 0,0 1-26 16,4 4-13-16,-4-3 1 0,0 2-21 16,4-2-57-16,-1 2-2 0,0-7-41 0,0 2-5 15,1-4-35-15,-1 0-17 0,4-1-30 16,-1-5-10-16,-3 1-38 0,3-3-34 0,0-1-118 16,0 0-89-16,-1-5-417 0,0 3-6 15,0-4 118-15,0 0 72 0,-7 0 82 0</inkml:trace>
  <inkml:trace contextRef="#ctx0" brushRef="#br0" timeOffset="20081.41">3886 6630 1341 0,'0'0'368'0,"0"0"-32"0,-9 9-21 16,5-2-54-16,1 1-26 0,3 1 1 0,-3-2-27 15,1 6-11-15,0-2-37 0,1 2-18 0,1 1-10 16,0 1-25-16,1-2-13 15,1-1-3-15,0-2-8 0,1 1-25 0,2-1-10 16,-2-2-6-16,2-3-7 0,0-1 8 0,1 0-14 0,1-3 34 16,-2-1-25-16,-5 0 7 0,12-2 10 15,-6-3 39-15,-1 4-47 0,0-3 37 16,0 3 4-16,0-1-22 0,-3-2 17 0,-2 4-27 16,8-2 22-16,-8 2 3 0,6 0-13 0,-6 0-2 15,7 2 2-15,-1 3-28 16,-4-3 23-16,1 3-23 0,2 2-11 0,-2-1-22 0,2 0-44 15,-3-1-30-15,1 2-14 0,2-1-30 0,-3 0-15 16,1-1-24-16,-1-3-71 0,1 3-92 16,0-2-80-16,1 0-481 0,-1-2-10 0,-3-1 169 15,6 1 8-15,-6-1 68 0,0 0 101 16</inkml:trace>
  <inkml:trace contextRef="#ctx0" brushRef="#br0" timeOffset="20391.04">3927 6496 1566 0,'5'-2'394'0,"-1"0"-18"0,2-2-25 15,1 3 13-15,4 1-60 0,2 1 6 16,5 1-11-16,-1 3-17 0,4 1-29 0,2 2 67 15,0 3-53-15,-2 0-14 0,-1 2 21 0,8 5-41 16,-9 1-13-16,1 5-41 0,-5-4 11 16,-5-1-47-16,-2 1 0 0,0 2-35 0,-3-3-26 15,-2 1-49-15,-1-2-18 0,0 0-66 0,-2-3-49 16,0-1-48-16,-2 0-26 0,0-3-49 16,2 0-105-1,-3-1-171-15,1-2-532 0,1-4 50 0,-1-1 152 16,2-3 46-16,0 0 66 0,-5 0 85 0</inkml:trace>
  <inkml:trace contextRef="#ctx0" brushRef="#br0" timeOffset="20664.23">4383 6561 1346 0,'2'-3'384'0,"1"0"-49"15,2-2 3-15,3 0-59 0,-1 2-54 0,1-5-61 16,2 3-36-16,-2 1-56 0,0-1-54 16,2 2-123-16,-2-1-108 0,-3 0-102 0,3 2-435 15,-3 1 24-15,2 1 119 0,-7 0 41 16</inkml:trace>
  <inkml:trace contextRef="#ctx0" brushRef="#br0" timeOffset="20820.04">4418 6684 1236 0,'0'4'422'0,"0"-4"-99"0,3 4-49 15,-3-4-6-15,8 2-27 0,-8-2-29 0,8-1-20 16,-8 1-5-16,15-4-43 0,-7 3-6 0,-1 0-64 15,3-3 3-15,4 2-54 0,-4-2-8 0,0 2-56 16,3-3-117-16,-3 3-32 0,0-2-61 16,-1 3-46-16,0-1-455 0,-1-2 43 15,-1 4 64-15,1 0 64 0</inkml:trace>
  <inkml:trace contextRef="#ctx0" brushRef="#br0" timeOffset="22442.5">4773 6360 1021 0,'-6'-1'350'0,"6"1"-27"0,-12 0-8 0,6 4-49 0,1-2-13 15,0 3-17-15,0 1-36 0,3 1-19 0,-1 1-14 16,3 1 43-16,0 2-11 0,0 2-30 0,3-2 5 16,-1 3-12-16,3 0-40 15,1 0-4-15,1-1-10 0,3 1-34 0,-2-4-5 16,0 1 0-16,2-3-20 0,0 1-8 0,0-3 5 15,1-1 2-15,2-2 9 0,-3-2-24 16,1-2 18-16,-1-2-61 0,2 0-8 0,-2-3 8 16,-2 0 17-16,0-2-35 0,-3-2 59 0,0 0 13 15,-3 1-3-15,-2 0-6 0,-2-1 22 16,-1-3-14-16,-2 3 8 0,-5-1-20 16,2 0 0-16,-4 0-6 0,1 0-9 0,-2 3-34 0,-2 0-21 15,5 3 4-15,-3-1-9 0,0 2-25 16,2 3-13-16,1 1-25 0,0 0-52 0,3 3-31 15,-1 0-40-15,1 4-144 0,4-3-43 0,-2 5-471 16,2 2 117-16,3 1 42 0,-2 1 84 16,2 1 87-16</inkml:trace>
  <inkml:trace contextRef="#ctx0" brushRef="#br0" timeOffset="28208.29">7744 11028 1103 0,'0'0'399'0,"0"0"-12"0,0 0-32 0,0 0-37 0,11 12-44 16,-4-4-21-16,-4 3-17 0,5 0-39 0,-1 4-11 15,1-1-22-15,2 6 3 0,-2-1-39 16,0 4-39-16,-1-3-35 0,0 3-28 16,1-2-42-16,-2-2-61 0,-2 4-81 0,-1-5-101 0,3-3-104 15,1 3-477-15,-4-5 116 0,2-1-6 16,-3-1 106-16</inkml:trace>
  <inkml:trace contextRef="#ctx0" brushRef="#br0" timeOffset="28476.96">7821 11066 1215 0,'5'-10'441'16,"1"4"-47"-16,-2 0-41 0,4 2-18 0,-3 0-35 15,3 0-6-15,-1 3-25 0,1 1-39 0,3 0-2 16,-4 0 3-16,4 3-55 0,-4 0-43 15,1 1 39-15,0 1-34 0,0 3-2 0,-1-2 4 16,-2 3-32-16,-3 1-21 0,1-1-8 16,0 4-43-16,-6-2 0 0,3 2-39 0,-3 0-20 15,1 1-30-15,-3 0-65 0,2 1-43 16,-2-3-123-16,-10 1-182 0,12 0-471 16,1-5 110-1,-1-1 69-15,3-4 52 0,0 0 71 0</inkml:trace>
  <inkml:trace contextRef="#ctx0" brushRef="#br0" timeOffset="28776.78">8093 10916 1197 0,'-5'7'397'0,"2"0"43"15,-2 1-38-15,0 5-51 0,2-2-5 16,-2 2-73-16,2 2-27 0,3-1-10 15,-2 4-16-15,-1-3-10 0,6 2-36 0,-3-2-23 16,0 0-8-16,2-1-2 0,1 0-16 0,0-1-4 16,0-1-52-16,1 0-5 0,-1-1-31 15,4-3-30-15,-1 0-42 0,-2-2-15 0,2-1-48 16,-1 1-105-16,0-3-147 0,3-2-452 0,-3 0-49 16,-5-1 54-16,10-2 97 0,-4-1 87 15,1 0 69-15</inkml:trace>
  <inkml:trace contextRef="#ctx0" brushRef="#br0" timeOffset="29040.81">8283 10978 1226 0,'-3'3'445'16,"-2"4"-20"-16,-3-1-36 0,3 0-56 15,-3 4-3-15,0-2-23 0,1 3-59 0,0-3-10 16,-1 3-17-16,2-3-32 0,1 4-7 15,-2-5-6-15,2 3-14 0,1-2-27 0,0-2-27 0,1 1 25 16,1-1-44-16,1 0 11 0,1-1 3 16,0-2-37-16,0 2-20 0,3-1 13 0,-3-4-10 15,5 3-11-15,1-1-12 0,-2-1 10 16,-4-1 5-16,11 0-44 0,-4-1-25 16,1-1 23-16,0 1-52 0,-1-1-14 0,1-2-39 15,2 1-82-15,-2 0-51 0,0-3-126 0,-8 2-76 16,7-2-500-16,-1 1 121 0,-1 0 87 15,0-1 53-15,-2-1 75 0,2 0 36 16</inkml:trace>
  <inkml:trace contextRef="#ctx0" brushRef="#br0" timeOffset="29209.26">8308 10976 837 0,'0'0'371'0,"0"0"71"0,0 0-29 15,0 0-29-15,-11 5-34 0,11 1-37 0,-2 0-17 0,2 0-22 16,0 2-36-16,0 1-5 0,0 1-30 15,2 1-19-15,-2 2-25 16,4-1-11-16,-2 1-17 0,0-1-52 0,1 4-28 0,0-3-56 16,0 1-59-16,-1 0-59 0,3-3-187 0,-3 2-650 15,1-2 108-15,2-3 48 0,-2 1 77 16,-1-4 77-16,1 0 74 0</inkml:trace>
  <inkml:trace contextRef="#ctx0" brushRef="#br0" timeOffset="29473.62">8370 10707 1387 0,'23'11'435'0,"-3"0"-13"0,-1 1-48 15,8 7-36-15,-1 0 0 0,-3 3-39 16,0 0-43-16,-7-1-5 0,-4-2-26 16,2 12-20-16,-4-5-69 0,-6 1-49 0,-1 1-54 15,-6 1-51-15,-1 11-87 0,-6 3-125 16,1 1-254-16,-6-2-417 0,2-2 100 0,-2 1 115 16,-3-4 84-16,-5 7 21 0</inkml:trace>
  <inkml:trace contextRef="#ctx0" brushRef="#br0" timeOffset="31315.49">7859 11631 913 0,'0'-5'328'0,"0"5"12"0,0 0-30 0,0 0-31 15,0 0-36-15,-2 11 6 0,2-4-34 0,2 2-23 16,-2 1-34-16,3 1 4 0,-1 1-9 0,1 1-15 16,2-1-28-16,-2 0-2 0,-1 1-21 0,4 0-5 15,-2-2-3-15,-1 1-22 0,2-3 12 16,-2 3-13-16,2-3-13 0,-3-2-7 0,1 0 13 15,0 0-29-15,-1-2 19 0,-1-1-21 16,1 1 23-16,0-1-8 0,1-1-20 0,-3-3 28 16,0 0-26-16,0 0 6 0,0 0-14 0,0 0 11 15,0 0 13-15,0 0-6 0,0-12 4 16,-5 5 6-16,2-1 1 0,-2-3 0 16,2 2-15-16,-1-1 4 0,-2 1 11 0,1-1-5 15,0 2-59-15,0-2 20 0,2 2-13 0,-2 2 24 16,0-1 15-16,0 1-5 0,0 1 63 15,0-1 4-15,-3 5-11 0,3-2 5 0,-3 1-10 16,8 2 5-16,-13 3-10 0,3 0-28 0,5 2-13 16,-3-1 18-16,0 4-13 0,4-1-8 15,-4 1 13 1,3 0-23-16,0 2 29 0,2-1-27 0,-2 1 19 0,2-1-8 16,3 0-3-16,-2-2-10 0,2 3 18 0,0-1-18 0,0-2-25 15,2 1 25-15,-2 0-23 0,3-1-23 0,-1 0 0 16,1-1-46-16,2-1 10 0,0 0-30 0,0-2-8 15,1 2-59-15,1-3-57 0,0 0-61 16,1-1-115 0,0-1-483-16,0 0 30 0,2-3 148 0,1 1 52 0,1-3 102 0</inkml:trace>
  <inkml:trace contextRef="#ctx0" brushRef="#br0" timeOffset="31518.65">8046 11675 1023 0,'-2'-3'405'0,"2"3"-44"0,0 0-23 16,0 0-34-16,0 0-20 0,0 0-23 16,0 0-17-16,-2 15-27 0,2-8-22 15,2 2-8-15,-2-1-31 0,0 0-5 0,0 2-13 0,2 1-2 16,-2-1-37-16,1 1 1 16,1 0-20-1,-2 0-24-15,0 0-41 0,3 1-25 0,-3-2-21 0,0-1-81 0,0 2-88 0,2-3-176 16,-1 1-530-16,1-1 125 0,-2-2 77 15,0-1 62-15,2-2 76 0</inkml:trace>
  <inkml:trace contextRef="#ctx0" brushRef="#br0" timeOffset="31682.93">8047 11624 302 0,'0'0'-39'0</inkml:trace>
  <inkml:trace contextRef="#ctx0" brushRef="#br0" timeOffset="32044.49">8213 11558 949 0,'-2'8'389'0,"-3"-1"-15"0,4 1-62 0,-1 4-5 15,-3 0-2-15,2-1-41 0,1 2-31 16,-3 1-29-16,4-1-17 0,-1 0 0 0,0 0-26 16,2 1-28-16,-3-1-10 0,6-3-38 15,-3 2 22-15,2-2-25 0,0-1-10 0,1-2 12 16,2 0-20-1,1-2-20-15,-2-1 15 0,2-3-8 0,-1-1-20 0,-5 0-3 0,12-5-3 16,-6 0-2-16,2-2-71 0,-1 0-1 16,-1-1-2-16,1 2 15 0,-4-1 5 15,4 1 3-15,-4 1 3 0,-1-1 17 0,4 4-13 0,-4-2 4 16,3 4 4-16,-5 0 3 0,8-1-3 16,-8 1 10-16,10 1 3 0,-5 3-23 15,0-2 3-15,0 2-44 0,0-1-5 16,1 1-47-16,-1 1-24 0,2-2-75 0,-1 1-126 0,-1-1-460 15,2 0 23-15,1 0 112 0,-3 0 65 0,1-1 40 16</inkml:trace>
  <inkml:trace contextRef="#ctx0" brushRef="#br0" timeOffset="34060.37">10690 10120 839 0,'5'-2'394'0,"3"-4"-43"16,-3 4-26-16,2-2-41 0,-1-1-25 0,1 3-42 16,-1-3-2-16,-2 5-30 0,0-3-16 0,0 0 5 15,-4 3-39-15,6-2 6 16,-6 2-31-16,0 0-5 0,0 0 23 0,0 0-33 15,0 0 7-15,-10 11 0 0,4-7-22 0,1 2-14 0,-5-1 1 16,2 3-24-16,-2-1-4 16,-3 1 30-16,3 0-20 0,-1-1-14 0,1-1 6 15,0 1 3-15,-1-1-6 0,4 0 3 0,-1 1-18 16,-2-2-2-16,5 1-6 16,0-1-2-16,-1 1-8 0,4-4 13 0,0 2 8 0,2-4 7 15,0 6-25-15,0-6-3 0,7 3 7 0,-2 0-6 16,1-3 19-16,1 1-17 0,3 1-11 15,0-2 6-15,-2 0 17 0,2 0-15 0,1 3-5 16,-3-2 3-16,2 1-16 0,-2-2 16 16,-1 0 7-16,0 4 10 15,-1-3-2-15,-1 1 21 0,0 1-11 0,-4 0-15 16,1 2 17-16,-2-1-71 0,0 0 13 0,-2 1 3 16,-1 2 7-16,-2-2 10 0,0 2-20 0,-1-1 8 15,-4 1 2-15,2-1-3 0,-2 0 1 0,0 1-9 16,2-1-29-16,-2 0 35 0,3-2-41 15,-1-1-26-15,0 2 6 0,5-5-55 0,-5 4-48 16,4-1-109-16,1-2-86 0,3-1-186 16,0 0-251-16,0 0 79 0,0 0 110 0,0 0 72 15</inkml:trace>
  <inkml:trace contextRef="#ctx0" brushRef="#br0" timeOffset="34401.81">10852 10107 883 0,'0'0'371'0,"-8"12"-41"15,8-6-51-15,-2 0-18 0,2 0-25 16,0 4-29-16,0-1-2 0,2 0-31 16,-2 0-18-16,5 2-13 0,-2-2-38 0,-1 1-10 15,3-2-8-15,0-1-3 0,0-1 11 16,1 0-21-16,1-2-10 0,1-1-10 0,-1-1-23 0,1-1 22 15,0-1-6-15,2-1-12 0,-5-1 32 16,3-1-80-16,0-1 8 0,-3 3 5 16,0-4 8-16,0 1 20 0,-2-1 10 0,-1 0 8 15,1 0-10-15,-3-1 8 0,2 0-19 0,-2 3-4 16,0-2 15-16,-2 0-16 0,0 0-2 16,1 3-3-16,-4-3-7 0,2 3-3 0,-1-2-20 15,-2 2-6-15,6 2-50 0,-8-4-29 0,1 3-61 16,2 1-47-16,5 0-148 15,-8 0-450-15,8 0 20 0,-7-2 90 0,4-2 97 16,3 4 64-16</inkml:trace>
  <inkml:trace contextRef="#ctx0" brushRef="#br0" timeOffset="34643.82">11090 9857 1162 0,'0'0'440'0,"0"0"-56"16,0 15-18-16,3-9-8 0,-3 3-33 0,2-1-25 16,0 3-37-16,1 2-30 0,0 4 5 0,2 0-46 15,0 2-5-15,-2 0 10 16,2 1-35-16,-2 4-24 0,1-5-33 0,-1 2-31 0,0-2-38 16,-1 3-18-16,-2-1-41 0,2-2-31 15,1 0-61-15,-3 0-87 0,1-2-106 16,-5-3-114-16,8-1-484 0,-4-1 123 15,2-1 15-15,0-3 89 0,0-3 96 0</inkml:trace>
  <inkml:trace contextRef="#ctx0" brushRef="#br0" timeOffset="35023.35">11390 10013 844 0,'0'0'346'0,"-13"0"-21"0,5 3-36 0,1 0-20 0,-3 0-26 16,2 0-23-16,-3 2-28 0,1 0-18 15,0-2-25-15,0 2-19 0,2-1 1 0,3-1-14 16,-3 1-19-16,3-2-6 0,0-1-3 0,2 2-25 16,3-3 31-16,-5 2-15 15,5-2-9-15,0 0 6 0,0 0 5 0,0 0-28 16,0 0-19-16,13 2 14 0,-13-2 10 0,8 2-18 0,-3-1 10 15,-5-1 36-15,10 1-28 0,-7 0-13 16,-3-1 10-16,10 3 8 0,-8 0-5 0,-2-3 5 16,6 4-7-16,-4-2 4 0,-1 2 3 0,1-1-87 15,-2 2-5-15,0 0 2 16,0-2 6-16,-2 3-8 0,1-1 5 0,-1 2-3 16,-1-1-33-16,0 0-7 0,1-2-29 0,0 0-31 15,-1 1-43-15,2-1-56 16,1-4-59-16,0 2-72 0,0-2-470 0,0 0 55 0,6 5 90 15,-6-5 57-15,0 0 86 0</inkml:trace>
  <inkml:trace contextRef="#ctx0" brushRef="#br0" timeOffset="35335.66">11421 10061 511 0,'0'0'215'16,"0"0"-20"-16,0 0 5 0,10 6-29 0,-7-4-7 15,1 2-36-15,0-2-5 0,0 4-11 16,2-2-9-16,-1-1 9 0,0 2-22 0,0-4 2 15,2 2-7-15,1-1-26 0,-3-2 25 0,3 0 18 16,-8 0 85-16,16-5 21 0,-9 4-29 16,1-4-5-16,0 2-79 0,-1-1 35 0,-2-2 24 15,-2 0 68-15,2 1 4 0,-3-2-9 16,1 2-33-16,-3 0-12 0,0-1 25 0,0 0-120 16,-2 0-11-16,1 1-2 0,-3 0-10 15,-2-1-10-15,2 4-19 0,-2 1 1 0,1-2-47 0,5 3-20 16,-13 3 0-16,6 0-43 15,-1 2-18-15,-2 1-21 0,2 0-31 0,0 1-28 0,-2 6-153 16,-5-1-54-16,5 1-471 0,2 0 41 16,0-2 148-16,-2 2 42 0,2 1 71 15</inkml:trace>
  <inkml:trace contextRef="#ctx0" brushRef="#br0" timeOffset="37060.32">13569 12369 1039 0,'13'-4'302'0,"5"0"-18"0,8-2-36 0,17 0-10 0,9-1-33 0,14 1-33 15,1-1-4-15,5-1-14 0,2 0-8 0,2-1-26 16,-1 3-38-16,0-2-15 0,-1 1-1 0,0-1-30 15,-4 3-38-15,-4-2-14 16,-10 4-94-16,-7-1-84 16,0-2-62-16,-13 5-484 0,-5 1 39 0,-8 0 84 0,-5 0 59 0</inkml:trace>
  <inkml:trace contextRef="#ctx0" brushRef="#br0" timeOffset="37329.81">13444 12562 1072 0,'15'0'335'0,"3"-1"-30"0,8 1-21 0,7 0-107 15,16-2-16-15,9-1-18 0,12 2-7 16,-9-1-6-16,9-2-27 0,-9 2 2 0,-2 1-8 15,13-3-12-15,-13 0-16 0,0 1 7 16,-3 0-22-16,1 0-33 0,-4 1-29 16,1-1-23-16,-5-2-94 0,-3 2-106 0,-5-3-32 15,-5 1-451-15,-6 0 20 16,-1-1 95-16,-3-2 41 0</inkml:trace>
  <inkml:trace contextRef="#ctx0" brushRef="#br0" timeOffset="40938.39">17015 10737 793 0,'0'6'328'0,"0"-6"-26"0,0 0-39 15,0 0-4-15,0 4-13 0,0-4-8 0,0 0-26 16,0 0-10-16,0 0-7 0,15-5-1 15,-9 0-25-15,4 2-20 0,-2-2-16 0,4-2 13 16,0 1-18-16,2-3 5 0,-1 1-13 0,5 0-10 16,-3-2-15-16,5 1-23 0,1-1 2 15,2 0-2-15,-5-1-3 0,5 2-8 0,-2 1-102 16,-1-3 23-16,-1 4 0 0,-2 1-2 16,-1-1 17-16,2 1-4 15,-4 3-19-15,0 0 31 0,-1 1-2 0,-1-1-11 0,-2 3 21 16,1 0 0-16,2 1 2 0,0 3-10 0,-3-1-13 15,-2 2 116-15,4 0-31 16,-2 2-16-16,-1 2 16 0,0-2-21 0,-1 1-15 16,0 1-5-16,0 0 5 0,-1-1-10 0,1 1-11 15,-1-1 19-15,-1 0-6 0,2 1-10 0,-4 0 15 0,2-2-4 16,-2 2-29-16,-1-1 7 0,2-2 14 16,-2 1-31-16,-1-1 10 0,2 1-2 0,-2-1-29 15,0 0 13-15,3-1-10 0,-4-1-2 16,1 0-16-16,0 1-23 0,-2-2-5 0,3 0-1 15,-3-3-17-15,0 6-20 0,0-6-52 0,0 0-112 16,0 5-54-16,0-5-571 0,0 0 84 0,0 0 11 16,-3 2 149-16,3-2 55 0</inkml:trace>
  <inkml:trace contextRef="#ctx0" brushRef="#br0" timeOffset="41628.26">17361 10612 665 0,'0'6'394'0,"3"0"-35"0,-1 4-39 16,-2 0-31-16,2 2-13 0,-1 3-38 0,-1 2-18 15,0-1-33-15,0 4-23 0,0-1 2 0,0 1-9 16,-1 1-42-16,-1-1 5 16,0-1-41-16,-1 1 6 0,0-2-24 0,1-2-30 0,0 1-28 15,-1-2 9-15,-2-1-1 0,4-3-52 0,-1-2-49 16,0 1-43-16,-1-2-54 0,1-1-107 16,1 0-489-16,-1-2 79 0,2-4 28 15,0-1 100-15</inkml:trace>
  <inkml:trace contextRef="#ctx0" brushRef="#br0" timeOffset="41964.84">17479 10576 924 0,'0'0'327'0,"0"0"-25"0,0 0-10 0,-5 11-31 16,3-2-2-16,2 1-42 0,-3 4-17 0,3 3 5 15,0 0-47-15,-1 4-17 0,-1 1-3 16,2 0-20-16,0 1-10 0,-2-2-70 0,2 3-7 16,-3-1-34-16,3-2 19 0,0-2-29 0,0 3-3 15,-3-3-14-15,3-1 9 16,0-3-50-16,-2-2-27 0,2 1-25 0,0-3-81 0,0 2-22 15,-2-4-32-15,2-1-11 0,0 0-391 0,0-1 7 16,0-2 54-16</inkml:trace>
  <inkml:trace contextRef="#ctx0" brushRef="#br0" timeOffset="49691.57">18105 10976 995 0,'-10'5'423'15,"9"-1"-37"-15,-1 1-25 0,-3 2-26 0,4 1-10 16,-1 3-51-16,0 2-36 0,-1 1-12 0,0-1-19 16,3 6-36-16,-2 0 9 0,0 2-40 15,-2-1 6-15,2-1-23 0,0 1-26 16,-1-1-30-16,3-1-11 0,-3 0-25 0,1-3-28 15,2 2-37-15,-2-3-17 0,1-1-28 16,-1-1-44-16,2 0-56 0,-3-1-131 0,3-5-59 16,0 2-480-16,-2-1 93 0,4-1 32 0,-2-2 138 15,0-2 18-15</inkml:trace>
  <inkml:trace contextRef="#ctx0" brushRef="#br0" timeOffset="49998.53">18074 10999 916 0,'8'-8'343'0,"-1"2"-18"0,1 0-36 16,0 2 57-16,2 2-19 0,-2 2-17 0,-1 2-39 15,4-1-86-15,1 4-29 0,-1 1-18 0,-1 1 11 16,-2 2-19-16,2 1-20 0,-5 1 28 15,1 2-28-15,-4 0-12 0,-2 0 14 16,0 1-32-16,-2 2-11 0,-4-2 18 0,1 4-28 16,-3-2 0-16,-2-2-1 0,-3 3-29 0,5-3-42 15,-4 0 21-15,1-3-57 0,1 1-23 16,-3-3-30-16,3-1-54 0,2 0-72 0,1-3-151 16,1-2-496-16,2 0 84 0,2-2 92 0,2-1 62 15,0 0 66-15</inkml:trace>
  <inkml:trace contextRef="#ctx0" brushRef="#br0" timeOffset="50268.84">18372 10925 1064 0,'-6'7'459'0,"1"2"-52"0,-3 1-21 16,1 1-97-16,-2 5-23 0,-1 3-35 15,0 2 12-15,0 1-31 0,-2 10-45 16,6-3 9-16,1-2-7 16,-3 7-23-16,4-5 0 0,3-5-13 0,1-2-12 0,0 0-27 0,1 0-7 15,1-3-18-15,3 0-17 0,-2-1-19 16,2 1-23-16,2-5-7 0,-4-2-26 0,5 3-31 0,-1-6-28 16,-2 0-41-16,3-2-66 0,-3-1-116 0,3-5-110 15,0 1-455-15,0-2 146 16,-1-2-8-16,4-2 102 0,-1-2 44 15</inkml:trace>
  <inkml:trace contextRef="#ctx0" brushRef="#br0" timeOffset="50471.33">18620 11034 1113 0,'0'0'353'0,"0"0"-15"0,-13 9-21 0,10-4-14 0,-2 2-63 0,3 1-4 15,0 4-19-15,-1 1-17 0,-2 5-16 16,0 1-23-16,2-1-40 0,-2 5-27 0,-1-2-27 0,-1 2-26 16,2-3-39-16,2 1-68 15,-2-3-77-15,3-1-101 0,1-3-78 0,-1-2-228 16,2 0-221-16,0-4 90 0,3 2 57 16,-3-5 78-16</inkml:trace>
  <inkml:trace contextRef="#ctx0" brushRef="#br0" timeOffset="50688.97">18779 11024 1338 0,'5'-6'446'0,"-2"0"-21"15,-1 3-49-15,-2 1-23 0,0 2-79 16,0 0-16-16,0 0-14 0,0 14-50 0,0-6 1 0,0 4-29 16,-2 0-12-16,1 3-8 0,-1 1-26 0,2 4-15 15,0-1 28-15,0 2-46 16,-2 1-5-16,2-2-41 0,-3 0-36 0,2-1-20 15,-1 2-47-15,0-2-33 0,0-3-58 0,1 1-75 16,-2-3-169-16,-1-2-337 0,2 0-80 16,-2-4 89-16,2-1 9 0,0-2 83 15</inkml:trace>
  <inkml:trace contextRef="#ctx0" brushRef="#br0" timeOffset="50877.75">18635 11246 1354 0,'0'0'412'0,"-5"-3"-36"0,5 3-46 16,0 0-15-16,0 0-23 0,-5-2-21 0,5 2-12 16,0 0-52-16,0 0-12 0,0 0-16 15,21 3-26-15,-13-3-38 0,2 2 16 0,0-1-18 16,0-2 20-16,2 1-28 0,-3 0-72 0,1-2-30 16,0 1-39-16,0-1-79 0,0-2-144 15,-2 3-217-15,0-3-446 0,-3 1 106 0,1-2 61 16,-2 0 107-16,-1-2 67 0</inkml:trace>
  <inkml:trace contextRef="#ctx0" brushRef="#br0" timeOffset="51145.61">18902 10850 1177 0,'11'5'494'0,"-4"1"-36"0,3 1-18 0,-2 1-91 0,5 3-22 16,0 7-12-16,1 1 10 0,4 6-31 15,-2 4-15-15,-5-5 8 0,-1 0-46 0,-2 0 7 16,-3 0-41-16,0 3-4 0,0-2-32 16,-3 2-10-16,-2-4-10 0,-2 1 54 0,0 1 5 15,-4-1-64-15,1 0 0 0,-3-3-54 16,2 1-41-16,-3-2-61 0,2-3-39 0,-1-2-58 0,0-1-62 16,-2-2-49-16,5 0-189 0,-1-3-701 15,2-5 110-15,0 0 81 0,2-2 149 0,2-2 62 16,0 0 40-16,0 0 78 0</inkml:trace>
  <inkml:trace contextRef="#ctx0" brushRef="#br0" timeOffset="51386.77">19335 11084 1571 0,'8'-4'458'0,"2"-1"-25"16,-1 4-77-16,0-1-21 0,-1-1-53 0,0 3-24 16,1-1-33-16,-1 1-53 0,1-1-65 0,-2 1-48 15,2 0-54-15,-3 1-189 0,2-1-182 0,-8 0-517 16,10 4 100-16,-9-2 58 0,-1 2 73 16,0 0 73-16</inkml:trace>
  <inkml:trace contextRef="#ctx0" brushRef="#br0" timeOffset="51541.59">19320 11218 1267 0,'0'0'432'0,"0"4"-38"0,0-4-43 0,0 0 46 0,0 0-36 0,17-3-46 0,-17 3-29 16,14-1-30-16,-7 0-10 15,3 1-52-15,1-2-37 0,2 0-42 0,0 2-44 0,2 0-63 16,0-1-39-16,-4 0-115 15,1 0-125-15,1 1-172 0,-2 0-463 16,-1 1 102-16,0 0 75 0,-3 0 107 0,-1-1 28 0</inkml:trace>
  <inkml:trace contextRef="#ctx0" brushRef="#br0" timeOffset="54227.79">19189 9925 962 0,'0'0'409'0,"0"0"-53"0,0 0-5 15,-3 11-54-15,1-3-16 0,2-1-25 16,-2 4-25-16,2 0-42 0,0 2-12 0,-3 1-13 16,3-1-39-16,-1 0-33 0,-1 2-51 0,0 0-13 15,0-2-43-15,2 3-49 0,-4-3-54 0,2-1-66 16,0 1-103-16,1-5-25 16,0 2-497-16,-3-1 121 0,2-2 9 0,0 3 114 0</inkml:trace>
  <inkml:trace contextRef="#ctx0" brushRef="#br0" timeOffset="54450.73">19161 9932 1208 0,'2'-2'407'0,"-1"0"-41"0,3-1 5 15,-4 3-79-15,0 0 2 0,14 3-51 0,-7 0-15 16,1-2-8-16,0 3-71 0,0 1 2 0,2-2-41 15,0 3-64-15,0 0-39 16,1-1-48-16,-1 0-117 0,2-1-96 0,-2 2-96 0,3-6-490 16,-3 5 95-16,4-5 82 0,-4 0 44 15</inkml:trace>
  <inkml:trace contextRef="#ctx0" brushRef="#br0" timeOffset="55092.24">19499 9919 860 0,'0'0'384'0,"0"0"-8"0,-17 6-31 0,9-2-17 16,0 2-36-16,-2 0-29 0,-1 2-17 0,-1 0-44 0,-1 1 19 16,2 1-32-16,-1 1 0 0,-1-1-53 0,3-1-21 0,-1 4-25 15,2-4-60-15,3 0-12 0,1-1-15 0,0-1-26 16,2-2-15-16,3 0-26 0,0-1-77 16,0-4-41-16,5 3-10 0,-5-3-13 15,13-1 11-15,-5-3 17 16,-1 1 39-16,3-4 33 0,1 1 0 0,-1-1 46 0,3-4 46 15,-2 0 49-15,1 2 41 0,-2-3 69 0,1 1-26 16,-1 0 8-16,2 2 46 0,-4 2-13 16,-2 1-2-16,-1 1-3 15,2 0-81-15,-4 3 19 0,2 1 9 0,-5 1-9 0,0 0-25 0,8 3 21 16,-7 3-23-16,-1 0 12 0,0 0-20 0,0 1 10 16,-1 0-26-16,-2 4 1 15,1 2-18-15,0 0-42 0,1-1 9 0,-2 1-73 16,3 1-40-16,0 0-34 0,0-5-25 0,3 4-46 0,0-3-23 15,-1-2-14-15,4-2-73 16,1 1-254-16,0-2-191 0,1-3 142 16,1 3 39-16,-1-5 397 0,1 0 184 0,2-4 52 0,-1 1-6 15,0-3 38-15,0 1 49 0,-1 1 44 0,-3-2 64 16,0 1 94-16,1 0 26 0,1 0-15 16,-2 2-98-16,-2-1-10 0,1 1 1 0,-2 0-22 15,-3 3-22-15,0 0-13 0,0 0-34 16,8 5 1-16,-6-3-1 0,0 2-17 0,-1 0 5 15,2 0-31-15,3 1-8 0,-2 0 3 16,1 1-23 0,2-4-8-16,1 4 3 0,1-5 7 0,0 3 13 0,-1-3-15 0,2-1 13 0,0 1 28 15,0-2 0-15,-2-1 5 0,0-1 76 16,-3 0 24-16,2-1-18 0,-4-1-18 16,2-1-80-16,-4 2 29 0,-1-2-31 15,0 0-20-15,-3 1 4 0,-2 0 6 0,2-1-23 0,-3-1 13 16,-3 2-24-16,1 2 3 0,1-1-33 0,-1-1-8 15,-2 3-31-15,1-4-7 0,2 4-62 16,-2-1-27 0,1 1-17-16,2 0-32 0,1-1-49 15,0 2-75-15,5 1-89 0,-3-7-46 0,5 3-491 0,-1-3 168 0,6 1-27 0,-2-2 68 0,8-5 90 16</inkml:trace>
  <inkml:trace contextRef="#ctx0" brushRef="#br0" timeOffset="55506.27">19968 9806 1177 0,'3'0'351'15,"-3"0"-11"-15,8 6 31 0,-3-1-35 16,-3 1 9-16,1 2-43 0,-3 0-23 0,3 3-36 16,-3-1-25-16,4 2-24 0,-3-1 4 0,1 3-24 15,-2 0-13-15,3 0-13 0,0-3-33 16,-3 2 13-16,2-1-23 0,0-1-28 0,2-2 13 0,-4 1-31 16,2-3 10-16,-2 1 10 0,2-3-40 15,-2 1 4-15,0-4-2 0,3 3-18 16,-3-5-5-16,-3 4 8 0,3-4 9 0,0 0-4 15,-8 0-8-15,8 0-7 0,-7 1-4 0,7-1 1 0,-10 1 18 16,4 1-6-16,-2 0 4 16,-2 1-17-16,3 1 34 0,-3-1-40 0,2 4 1 15,-2-2 27-15,2 0-19 0,3 1-15 16,-2-1 36-16,1-2-16 16,3 3-2-16,1 1 3 0,-1-3-9 0,3 1 1 0,0-5-18 15,6 4-5-15,-2-2-6 0,4-1 14 0,0-1-31 16,2-1 12-16,1-2 16 0,1 2-8 0,1-4-10 15,0 3 33-15,-1-2-15 0,-3 2 10 0,3-2 13 16,-4 3-23-16,2-1 23 16,-2 1-5-16,0-2 15 0,-1 6-18 15,-7-3 13-15,13 2 0 0,-8-1 3 0,-2 0-3 0,2 3-20 16,-1-2-16-16,-3 2-36 0,2-2-43 0,-3 4-59 16,0-1-90-16,0 0-219 0,-3-2-577 0,3 3 118 15,-1-2 77-15,-1-1 77 0,2-3 73 16,-2 5 63-16</inkml:trace>
  <inkml:trace contextRef="#ctx0" brushRef="#br0" timeOffset="55644.36">20163 10010 890 0,'0'0'272'0,"1"-5"-129"0,-1 5-161 0,2-5-248 0,-2 5-328 0</inkml:trace>
  <inkml:trace contextRef="#ctx0" brushRef="#br0" timeOffset="56107.17">20279 9769 1423 0,'0'-9'455'0,"0"3"-4"0,0 0-39 0,0 2-54 0,0 1-4 0,0 3-116 16,0 0-21-16,0 0-27 15,0 0-16-15,0 0 5 0,-1 16-23 0,-1-4-5 0,2 0-20 16,0 6 73-16,-2 1 4 0,2 2-37 0,0 3-15 16,0 0 6-16,0 6-37 0,-3-3-15 15,3 2-2-15,-5 8-27 0,2-9-11 0,-2-4-4 16,1 2-25-16,-4-2-20 0,2-4-11 16,-1 2-23-16,-1-4-43 0,3-3-6 0,-3-1 8 15,1-3-12-15,-1 0-3 16,3-3 0-16,1-1-11 0,-2-1 1 0,2-1 2 0,0-1 0 0,1-3-2 15,3-1 28-15,0 0-3 16,-5 1-2 0,5-1 15-16,0 0-3 0,0 0 16 0,5-13 5 0,0 7-10 0,-2 0-6 0,4-3 4 0,1-1 27 15,0-2 5-15,3 0-2 16,-1-1-18-16,0 2 16 0,2 1 9 0,-1 0-2 16,-1 2 28-16,-2 2-15 0,2 0 15 0,-2 1 8 15,-1 3 13-15,1-2-8 0,-2 4 35 0,1 0-27 16,-7 0-3-16,10 4 3 15,-5-2 28-15,0 2-57 0,-2 0 36 0,1 1-30 0,-3 0-13 16,2 0-18-16,-1-2-6 0,-2 3-37 0,-2 0-21 16,2 1-29-16,-3-3-104 0,0 2-228 0,-2-3-540 15,3 2 51-15,1-1 128 16,1-4 87-16,-4 2 41 0,4-2 67 0</inkml:trace>
  <inkml:trace contextRef="#ctx0" brushRef="#br0" timeOffset="56824.71">20556 10019 1054 0,'5'-2'466'0,"-3"-2"-59"16,-1-3-33-16,-1 4-8 0,2 0-44 16,-2-3-27-16,0 6-4 0,0-7-17 0,0 7-48 15,-2-3 1-15,2 3-37 0,0 0-9 0,0 0-4 16,0 0-23-16,-13 7-11 0,9-4-20 0,0 3-8 15,-1-2 0-15,0 2-20 16,2 0-13-16,0 1-8 0,1-2-33 0,0 1-18 0,2-2-15 16,0 2-41-16,0 0-16 15,2-2-23-15,3-2-63 0,-2 2-73 0,2-2-86 16,4 0-131-16,-2 0 3 0,3-4-157 0,-3 0-276 16,4 2 128-16,-1-2 39 0,2-1 96 0,-1 2 178 15,1-3 396-15,-4 2 74 0,2-1 34 16,-2 1 66-16,-3 1 18 0,1 0 20 0,-6 1 68 15,7 0 22-15,-7 0-13 0,3 4-23 0,-3-4-20 16,4 5-28-16,-2-1-16 0,0-3-10 16,-2-1-15-16,2 5-16 0,0-1-15 15,-2-4-5-15,3 3-8 0,-3-3-23 0,8 3-5 0,-8-3-7 16,8-3-21-16,-1 2-18 0,-2-3 12 16,1 0-76-16,1-2 10 0,1-1 1 0,1-3 19 15,-1 1-2-15,1 0 65 16,-2-4 29-16,2 0-14 0,-3-4-13 15,2 2 40-15,-3-2-20 0,1 1 0 0,-2 4 36 0,2 0 8 16,-4 0-41-16,2 5-24 0,-2 1-9 0,0 2 30 16,-2 4 3-16,0 0 12 0,0 0 90 0,-11 11-23 15,6-2 24-15,-2 2-24 0,1 5-13 16,-1 0-18-16,0 0-12 0,-1 2-14 16,2-3-19-16,1 4-9 15,0-2-55-15,2-3 4 0,-1 0-35 0,1-1-39 0,3-2 0 0,-1 2-43 0,1-3-3 16,0-2-34-1,-2-2-50-15,2 2-156 0,0-2-190 0,0-1-523 0,2 0 73 16,-2-4 115-16,0-1 84 0,4 4 123 0,-4-4 13 16,0 0 59-16</inkml:trace>
  <inkml:trace contextRef="#ctx0" brushRef="#br0" timeOffset="57413.56">21376 9864 1144 0,'0'0'486'16,"0"0"-51"-16,0 0-18 0,0 0-38 0,0 0-120 0,0 15-29 16,0-11 3-16,0 1-51 0,0 1-11 15,0 0-9 1,2 0-24-16,0 0 0 0,-1 1-7 0,0-1-1 0,1 1-15 0,2-1-33 15,-3 0-13-15,2 0-5 0,2 0-5 0,0-1-23 16,0-3-10-16,2 3 4 0,-1-4-2 0,-1 2-10 16,0-2 0-16,4-1-10 0,-9 0 7 15,15-3-12-15,-8 2-11 0,0-2 29 0,1 0-3 16,-2 2-23-16,0-1-6 0,0 0 9 0,-3 1 30 16,-3 1-26-16,10 0 21 15,-10 0-28-15,10 4 23 0,-5-2-10 0,-2 2 2 16,2-1 6-16,0 1-29 15,0-2 28-15,-2 3-15 0,2-2 0 0,1 0 18 0,-2-1 26 0,2 0-27 16,-2-1 6-16,2 0 3 0,-6-1 23 16,14-1-16-16,-10-2 0 0,3 1-25 15,0-3 20-15,0 4-13 0,-1-5 14 16,0 0 4-16,-1-1-38 0,0 2-23 0,0-3 10 0,2 0-59 16,-3-1-23-16,-1 2-38 0,1 0-31 0,-1-2-69 15,2 1-108-15,-5 1-99 16,2 0-474-16,6-2 118 0,-3 0 46 0,0 3 66 0,1-1 82 15</inkml:trace>
  <inkml:trace contextRef="#ctx0" brushRef="#br0" timeOffset="57549.66">21768 9831 1192 0,'0'6'356'0,"0"0"72"0,-2-1-52 0,2 2-33 16,2-1-36-16,-4 2-18 0,2-1 6 15,2 3-52-15,-2-2-26 0,0 2-22 0,0-2-29 16,0-1-38-16,0 2-25 0,3-2-50 15,-3 0-37-15,0-1-83 0,0 0-171 0,-3-2-153 0,3 0-472 16,0 0 26-16,3-1 146 0,-3-3 84 16,2 4 21-16</inkml:trace>
  <inkml:trace contextRef="#ctx0" brushRef="#br0" timeOffset="57664.31">21817 9803 847 0,'0'-4'256'0,"-2"-2"-118"0,2-2-199 0,0 3-559 0,0 0 134 0</inkml:trace>
  <inkml:trace contextRef="#ctx0" brushRef="#br0" timeOffset="57931.05">22061 9563 1049 0,'-3'6'443'0,"0"3"-36"16,-2 1-5-16,3 3 35 0,-3 0-30 0,2 4-18 0,0 2-58 16,-1-1-19-16,1 1-18 15,0 1-127-15,-1 6-16 0,0-5 15 0,2 0-53 16,-1-2-42-16,-2 0-32 0,3 2-49 16,1-5-31-16,-3 0-18 0,4-2-41 0,-3-2-15 0,6-3-29 15,-3 2-89-15,2-4-66 0,0-1-100 16,-1 0-477-16,-1-1 101 0,2-3 45 0,2 1 75 15,-4-3 84-15</inkml:trace>
  <inkml:trace contextRef="#ctx0" brushRef="#br0" timeOffset="58205.21">22173 9653 1469 0,'0'0'491'0,"0"0"-22"16,0 0-137-16,0 0-9 0,0 0-29 15,-5 13-2-15,5-10-31 0,-2 3-25 0,-1 0-16 16,1 0-21-16,-3 0-4 0,2 1-18 16,-2-1-16-16,4 2-13 0,-3 2-30 0,1-2 10 15,0-2-31-15,1 4-2 0,0-2 7 16,0-2-15-16,1 4-12 0,-2-1-19 0,3-2-12 16,0 3 17-16,3-2 52 0,-1-2 12 15,-1 1-12-15,1 0-47 0,2-1 26 0,0-1-40 16,0 1-24-16,-3-4-33 0,4 3-16 0,0-5-53 15,0 5 0-15,0-5-62 0,-5 0-23 0,8-1-97 16,-8 1-179-16,8-4-543 0,-6 4 18 0,-2 0 103 16,3-6 89-16,-3 6 62 15,-5-7 153-15,2 4-5 0</inkml:trace>
  <inkml:trace contextRef="#ctx0" brushRef="#br0" timeOffset="58383.7">21948 9775 1136 0,'-5'-2'530'0,"5"2"-8"0,0 0-46 0,4-4-69 16,-4 4-23-16,9-3-31 0,-1-1-51 0,2 4-7 16,2 0-47-1,-1-1-36-15,6-1-27 0,-1-1-119 0,1 1-48 0,1 2-46 0,3-3-46 16,-1 2-34-16,1-1-91 0,2-1-157 0,1 2-578 16,-4 0 84-16,3-1 84 0,-1-2 127 0,-5 4 65 15,-1-1 52-15</inkml:trace>
  <inkml:trace contextRef="#ctx0" brushRef="#br0" timeOffset="58690.74">22764 9469 1341 0,'0'0'522'0,"0"0"-51"0,-3 17-56 0,3-9-39 15,0 6-33-15,-3 0-39 0,1 1-25 0,-1 2-7 16,0 1-55-16,1 1-37 0,1 1-35 15,-3 0-65-15,-2 3-73 16,2-3-35-16,1-1-82 0,-2 1-120 0,3-1-100 0,-4-1-128 16,4-1-405-16,1-3 82 0,0-1 57 0,0 0 58 15,1-3 88-15</inkml:trace>
  <inkml:trace contextRef="#ctx0" brushRef="#br0" timeOffset="58969.88">22786 9681 1241 0,'13'-12'381'16,"-3"5"-48"-16,0 1-31 0,2 0 3 0,-3 5-21 15,-1 0-20-15,2 1-9 0,0 1 1 0,0 0-33 16,0 3-21-16,0 0-2 0,-4 0 87 16,-1 3-47-16,1-1 6 0,-4 0-33 0,3 2-14 15,-8 1-15-15,3-1-107 0,-5 3-5 0,-2-3-21 16,-1 4-18-16,1-1-38 0,-4-2 0 15,-2 2-15-15,3-4-44 0,0 0-11 0,2 0-32 16,1 1-16-16,-1-5-41 0,2 3-20 16,2-4-118-16,1 2-67 0,3-4-61 0,0 0-458 15,0 0 74-15,0 0 74 0,7-12 62 16,-1 6 77-16</inkml:trace>
  <inkml:trace contextRef="#ctx0" brushRef="#br0" timeOffset="59248.33">22981 9703 1213 0,'-1'3'386'0,"-3"4"-20"16,2-1-46-16,0 0-125 0,1 1 2 0,-2-2-38 15,3 3-16-15,0 1-18 16,5-2-7-16,-2-1-5 0,2 0 15 0,0-1-21 0,3-2-25 0,0 2-10 16,3-3 0-16,-1 1-3 0,0-2 2 15,0 0 14-15,0-2 17 0,0 0-5 0,-1-2 13 16,-3 1 1-16,0-3-14 0,-2 4 13 15,0-4-8-15,-4-1-4 0,0 1-29 0,-1 0 7 16,-4 0 6-16,0 0-20 16,-2 0-19-16,1-1 11 0,-4 4-16 0,2-2-22 0,-2 1-34 15,-3-1-18-15,3 3-36 0,2-4-38 16,-2 5-33-16,3-2-80 0,-1 2-153 0,0-1-121 0,4-1-355 16,-2 1 36-16,6 1 124 0,-1-3 88 15,1 3 105-15</inkml:trace>
  <inkml:trace contextRef="#ctx0" brushRef="#br0" timeOffset="59475.72">23304 9424 1384 0,'2'-1'377'0,"-2"1"-34"16,0 0-29-16,0 0 4 0,6 9-37 0,-6-3-22 15,0 4 2-15,-3 1-43 16,1 0-11-16,0 4-5 0,-4 3-30 0,3-1-21 0,-1 2-21 15,-4 2-2-15,0 1-28 0,0-3 13 16,3 5-42-16,-1-5-25 0,-1-2-43 0,2-2 2 16,0 1-31-16,5-2-50 0,-5-1-4 0,3-3-48 15,1-1-38-15,0 2-131 0,0-6-130 16,1 0-441-16,1 0 31 0,1 0 146 16,0-4 66-16,2 2 82 0</inkml:trace>
  <inkml:trace contextRef="#ctx0" brushRef="#br0" timeOffset="60066.83">23466 9444 1057 0,'0'0'407'0,"0"0"-16"0,0 0 50 0,-1 12-32 16,0-6-22-16,-2 2-42 0,0 2-2 0,2-2-38 16,-1 1-29-16,-3 1-20 0,3-1-28 15,-1 1-18-15,1-1-39 0,-1 0 21 16,2 2-33-16,-3-3-39 0,2 2 6 0,1-3-6 15,-1 0-12-15,-1 0-6 0,1-1-7 0,2-1-16 0,0-1 21 16,-1-1 5-16,1-3-44 16,3 7 8-16,0-4 3 0,-3-3 15 0,5 3-95 0,0-3-10 15,0 3 13-15,0-1 10 0,2-1 8 16,-1 3 5-16,-1-1-15 0,1 0 17 16,1 0-15-16,2 2-5 0,-5-1-20 0,1 0 10 15,2 1-36-15,-4-1-6 0,3-2-47 0,-2 2-27 16,0-2-22-16,-2 0-52 0,3 1-64 0,-5-3-76 15,0 0-195-15,0 2-463 0,0-2 122 16,0 0 67-16,0 0 57 0,0 0 74 0,-16-5 84 16</inkml:trace>
  <inkml:trace contextRef="#ctx0" brushRef="#br0" timeOffset="60262.59">23099 9553 1218 0,'-7'-3'491'0,"3"3"-35"0,0-2 61 0,4 2-46 15,0 0-67-15,0 0-20 0,0 0-2 0,0 0-65 16,0 0-30-16,22 2-18 0,-11-2-39 16,5 0-10-16,1 3-12 0,7-1-50 0,0-1-48 15,1-1-48-15,5 4-34 0,-2-3-67 0,5 1-35 16,-2-2-36-16,0 0-64 0,0 0-56 16,5 0-136-16,-3 3-653 0,0-3 110 0,3 0 77 15,-3 0 103-15,1-2 66 16,-1 2 95-16</inkml:trace>
  <inkml:trace contextRef="#ctx0" brushRef="#br0" timeOffset="60591.01">23992 9424 1261 0,'-8'1'453'0,"0"2"-20"16,0 1-54-16,4 0-115 0,-2 1-16 15,5-2-23-15,-6 4-30 0,7 1-3 0,-3 1-26 16,1-2-20-16,2 2 5 0,0 1-21 16,2 1 11-16,0 1 5 0,-1 0-8 15,2 1-20-15,1-2 23 0,-3-1 0 0,2 2-18 0,-1-1-1 16,-1-3 27-16,-1 3-29 0,-1-4 57 16,-1 3 15-16,-1-1-28 0,-2-2-13 0,-3 4 0 15,0-4-59-15,-2-1 23 0,0 2-8 16,-1-2-22-16,-1 0-57 0,1-1-46 0,0 2-23 0,0-6-36 15,3 4-43-15,0-2-46 16,3-2-62-16,0 1-130 0,5-2-149 0,-4 0-448 0,4 0 36 16,0 0 105-16,0 0 33 15,12-12 118-15,-5 10 34 0,1-4 96 0</inkml:trace>
  <inkml:trace contextRef="#ctx0" brushRef="#br0" timeOffset="60728.58">24016 9606 1151 0,'3'-1'438'16,"-3"1"-13"-16,0 0-18 0,8 2-110 0,-3 2-10 15,-5-4-11-15,1 6-10 0,1-3-58 0,-2 2 4 16,0 1-10-16,0 1-43 0,0-1 7 16,0-1-48-16,-2 3-39 0,1-2-33 0,-4 3-46 15,3-1-84-15,-4-1-82 16,3 1-108-16,-6 1-576 0,6-3 79 0,-2 1 39 0,0-1 64 0,3-4 74 16,0 2 57-16</inkml:trace>
  <inkml:trace contextRef="#ctx0" brushRef="#br0" timeOffset="60832.09">24068 9569 414 0,'0'-5'-64'0</inkml:trace>
  <inkml:trace contextRef="#ctx0" brushRef="#br0" timeOffset="61560.64">24329 9369 1279 0,'-2'7'410'0,"-1"2"-34"16,-2 1-41-16,2 2-7 0,-4 5-28 15,3-3-29-15,-3 4-30 0,1-2-29 0,0 0-7 0,1 1-23 16,-2 0-34-16,-1-2 11 0,3 1-52 15,1-5 3-15,-3 1-25 0,6-1 7 0,-3 0-8 16,-1-3-35-16,5 0-6 0,-3-2 4 0,-1-1-9 16,4 1-23-16,-4-2-2 0,2-1 8 15,-1-2 12-15,3-1-28 0,-7 3 15 16,7-3-22-16,-5 2 10 0,0-2-1 0,5 0 11 0,-8 3 3 16,1-2-11-16,3 0 13 0,-2 0-28 0,0 3 28 15,-2-2-23-15,4 0 10 16,-3 2 11-16,0 0-14 0,2-2 11 0,0 0-8 15,4 3 1-15,-3-4-16 0,1 4 17 0,2-1-19 16,1-4 17-16,1 7-20 16,2-5-21-16,2 1 28 0,0 0-20 0,3-3-30 0,3 3 9 15,-1-3-25-15,2 1 10 0,1-2-7 0,0-2 19 16,2 3 1-16,1-3-12 0,-1 0 4 16,0 0 20-16,-2-2 1 0,3-1 5 15,-2 1 2-15,-3-1-9 0,-1-1 37 16,-2 3 6-16,-3 0 12 0,0-1 8 0,-3 3 1 0,-2-1 1 15,0 3 27-15,0 0-29 0,-7-5 13 16,7 5 20-16,-10 2-17 0,10-2-8 16,-9 3 15-16,3 0-5 0,0-1 8 0,1 0-11 15,-2 3-22-15,4-3-11 0,-2 2 38 0,4 0-32 16,-3-1 32-16,2 0-19 0,2-3-24 0,0 4 36 16,4 0-16-16,-4-4-4 0,6 2-11 0,-1 0 28 15,2-1-9-15,-2 0-6 16,3-1 12-16,0 0 4 0,0 0 2 0,2 0-3 15,-3 0-5-15,5-1 1 0,-3 0 9 0,0-1 8 0,-3 2-2 16,2-1 12-16,-3 1-4 0,-5 0 7 0,15 1 7 16,-10 1-1-1,1 0-35-15,-1-1 37 0,0 4 74 0,0-3-36 0,-2 4-8 16,1-2 32-16,-3 2-32 0,1 0-7 16,1 0-11-16,-3-2-10 0,0 2-17 15,-3-1 17-15,0 1-43 0,-1 0-60 0,1-1-27 0,-4 2-51 16,1-1-62-16,-4 0-80 15,2 2-178-15,-2-1-699 0,0-1 122 0,-1-1 57 0,-1 0 164 0,0 1 15 16,-2-3 85-16,-1 4 68 16</inkml:trace>
  <inkml:trace contextRef="#ctx0" brushRef="#br0" timeOffset="62559.51">23368 10132 1520 0,'0'0'384'0,"0"0"-49"0,-2 14-17 0,2-7-34 0,-2 3-13 0,-1 1-10 16,0 1-46-16,2 0 18 0,-3 2-49 16,-1-1-12-16,2 5-8 0,1-1-36 0,-2-1-11 15,0-3-1-15,2 3 55 0,0-3-12 0,-2-1-26 16,2 1-10-16,2-4-26 0,-1 0 34 16,0-1-29-16,0-2 13 0,1-1-33 0,1-3 8 15,0 2-3-15,-1-4-8 0,0 0 6 0,0 0-16 16,13-5 15-16,-7 2-5 0,-1-2-15 15,4 0 11-15,-3-1-16 0,3 3-26 0,-3-2 18 16,4 0 10-16,-2 1-4 0,1 2 2 0,-2 0-26 16,0 2-5-1,1 0-66-15,0 2 2 16,-3-2-8-16,3 2 16 0,-1 2 15 0,-1-1-30 0,-1 1-6 0,-3 1-2 0,4 0-8 0,-2-2-18 16,-1 3-28-16,-3-1-23 0,3 0-48 15,-1-2-3-15,2 3-24 0,-2-1-42 0,0-3-42 16,3 2-43-16,0-2-29 0,0 2-19 15,1-3 35-15,3 3 2 0,-1-2 6 16,0-2 71-16,-1 0 77 0,3 0 75 0,-2-2 73 16,1-2 83-16,-2 3 35 0,2-3 44 0,-1 1 26 15,-2-2 14-15,2 0 6 0,-3-1-2 16,1-1 17-16,-2 1-5 0,0-1-12 0,-2 1 4 0,0-2-5 16,-2 1-30-16,0 1 30 0,0 1-17 0,0-1-16 15,-2 1 23-15,0 4-38 0,-2-4-5 16,4 5-9-16,-8-1-34 0,8 1 9 15,0 0-20-15,-12 4 18 0,9-1-11 0,-2 0 6 16,0 3-16-16,3-3 59 0,-2 3 18 16,2 0-33-16,0 1-10 0,2-1-8 0,0 0-11 15,2 1-76-15,4 0-18 0,1 2-33 16,0-2-13-16,4-4-8 0,2 3-56 0,0-3-49 0,2-1-28 16,3-2-69-1,0 0-48-15,4 0-37 16,-1-2-81-16,0-1 43 0,-1-1 38 0,1 0 32 0,-3-2 32 0,2-1 57 0,-4 1 51 15,-1-2 87-15,-5 2 77 0,3-3 51 0,-5 3 64 16,-2 0 38-16,-2 2 3 0,-1-2 23 16,-1 1-5-16,-2 0-2 0,0 5 14 0,-5-6-1 0,0 5-9 15,-1 0-10-15,-1 0 3 16,-2 1-10-16,0 0-3 0,0 0 0 16,-2 2-6-16,3-1-22 0,0 2-23 0,1-1 23 0,-1-1-57 15,2 3 16-15,-1 1 10 16,3-2-30-16,-2-2 27 0,5 4-71 0,-3-3-31 0,4-2 3 15,2 6-69-15,-2-6-19 0,6 5-45 0,-1-5-85 16,2 0-76-16,-7 0-60 0,13 0-422 16,-3 0 34-16,2 0 117 15,-3 0 64-15</inkml:trace>
  <inkml:trace contextRef="#ctx0" brushRef="#br0" timeOffset="63177.93">24198 10120 1174 0,'0'0'474'0,"0"0"-113"16,0 0-31-16,0 0-18 0,-2 17-28 0,0-8-38 16,0 0-18-16,2-1-10 0,-2 3-34 0,0 2-15 15,-2-1-13-15,4-1-31 0,-3 1-17 0,0-3 2 16,1 2-18-16,0-3-10 0,1 1 0 15,-1-2-18-15,-1-1 13 0,3-2-11 16,0 1-7-16,-2-2 18 0,-1 0 33 0,1-1-15 16,2-2 12-16,-6 4-4 0,6-4-1 0,-5 1-12 0,5-1 4 15,-5 3-14-15,0 0-1 16,4-3-10-16,-3 5-20 0,4-5 28 0,-3 5-31 0,0-2 18 16,3-3-41-16,0 6 0 0,0-2-11 0,0-4-40 15,6 5 5-15,-1-3-23 16,0 0-41-16,0 0-23 0,2-2-31 0,1 1-40 15,1-1-83-15,1 0-97 0,0 1-622 0,0-1 97 16,-2 1 49-16,-1-1 133 0,-1 4 49 0,1-2 107 16</inkml:trace>
  <inkml:trace contextRef="#ctx0" brushRef="#br0" timeOffset="63545.04">23972 10369 1315 0,'0'4'433'0,"0"-2"-136"0,0 4-13 15,1-2-33-15,0 1-11 0,3-2-58 0,1 1-49 16,-2-2-61-16,5 2-70 0,2-2-145 0,-2 0-149 15,3 1-432-15,1-3 15 16,0 1 69-16,4-1 59 0</inkml:trace>
  <inkml:trace contextRef="#ctx0" brushRef="#br0" timeOffset="65971.59">19930 11019 985 0,'-1'-6'420'0,"1"6"53"0,1-4-58 16,2 0-23-16,2 1-42 15,0 1-25-15,0-1-43 0,3-1 15 0,2 2-67 16,-2-2-5-16,0 2-4 0,2-2-17 0,-3 4-42 16,3 0-1-16,-2 0 0 0,2 3-15 15,-2-1-79-15,2 2-16 0,0 0 3 0,-1 1-13 16,3 1-6-16,-2 1 4 0,0 0-16 0,-4 0 18 16,-1 2-16-16,1-1 11 0,-2 0-5 15,0 1 2-15,-4-1-10 0,0 1 23 16,-4 0-20-16,2-1-1 0,-1 4-4 15,-4-3 2-15,1 1 5 0,-1-1 13 0,1 0-8 0,-1 0-10 16,-1 0-7-16,3-4 17 0,0 2-20 16,0-1 15-16,0-3 8 0,2 2-18 0,0 0-11 15,1-3 19-15,-1 1 2 0,3-3 11 0,0 6-11 16,0-6 0-16,6 3 15 0,-1-3-14 16,-5 0-14-16,12 0 21 0,-4 0-21 0,3 0-5 15,-1-1 3-15,5-1-10 0,1-1-11 16,4 3-28-16,3-3-15 0,0 0-8 0,3 3-25 0,-3-2-32 15,2 1-22 1,-4 0-23-16,-1-2-16 0,-3 3-43 16,-3 0-15-16,-1 0-54 0,0 3-95 0,-3-2-8 0,0 1-471 0,-3-1 26 15,-3 2 90-15,0 0 25 0,-3-2 105 16</inkml:trace>
  <inkml:trace contextRef="#ctx0" brushRef="#br0" timeOffset="66345.17">19754 11380 1220 0,'0'0'400'0,"-6"2"-37"0,6-2-43 0,0 0-15 0,0 0-8 16,15 4-28-16,-7-3-1 0,9-1-17 15,0 1-31-15,7 2-2 0,0-3-44 0,2 2-8 16,7-2-4-16,0 0 55 0,1-2-12 16,4 2-49-16,13 0 26 0,-2-3-8 15,0 2-18-15,-2 1-25 0,-2-3-19 0,-9 1 11 0,-5 0-5 32,-1 0-36-32,-5 1 5 0,-1-1-5 0,-3 2-21 0,-3-1 11 0,0 1-13 0,-5 0-8 15,2-1-15-15,-7 1 2 0,4-1-12 0,-4 1 9 16,0-2-22-1,0 2-49-15,-3-1 3 0,-5 1-44 0,10 0-5 0,-10 0-10 16,7 1-49-16,-7-1-40 0,1 4-57 16,-1-4-154-16,0 6-537 0,-2-1-16 0,-4-2 55 0,1 6 127 15,-3-2 141-15,-2 1-8 0,0 5 100 0</inkml:trace>
  <inkml:trace contextRef="#ctx0" brushRef="#br0" timeOffset="66795.24">20084 11624 1121 0,'5'-5'509'0,"-2"2"-25"0,2-1-70 0,3 3 1 0,0 0-120 15,0-2-45-15,1 3-24 0,-1 0-4 0,2 0-32 16,0 0-6-16,-2 3-5 16,0-1-23-16,0 1-10 0,-1 1-15 0,-2 0 7 15,-2 1-30-15,-1 0 17 0,-4 2-12 0,-1 0-6 0,-2 2-10 16,-2 2-15-16,-4 2-2 0,-4 4-4 16,-1-2 1-16,-7 4-26 0,2-1 16 0,1-5-29 15,0 3-4-15,2-3 14 16,5-4-4-16,-3 1-1 0,6-3 3 0,0 0-15 0,3-1 18 15,-1-1-19-15,2-3 42 16,2 4-13-16,2-5 0 0,2 3 2 0,0-4-4 16,0 0-24-16,6 6 21 0,2-6-16 0,0 2 5 0,2-2-25 15,1 0 3-15,1 0 20 0,1 0 0 16,3 0 7-16,2-1-37 0,0 1-9 0,2-1 1 16,3 0-21-16,-2-1-8 0,-1 0-17 0,-2 0-21 15,0-1-28-15,-3 2-8 0,1-1-36 16,-1-2-10-1,1 2-61-15,-4-1-34 0,1 1-104 0,-5-1-198 0,4 0-499 0,2-2 144 16,-2-2 79-16,1-1 102 0,2-2 57 0,-2 0 109 16</inkml:trace>
  <inkml:trace contextRef="#ctx0" brushRef="#br0" timeOffset="67132.13">20925 11265 1172 0,'5'-3'432'0,"0"3"-73"16,0-1-26-16,3 0-34 0,2 1-33 0,-2-1-43 16,4-1-72-16,-1 2-69 0,-3 0-90 0,2 0-138 15,0-1-192-15,-2 2-414 0,0 2 43 16,-3-2 84-16,0 0 57 0</inkml:trace>
  <inkml:trace contextRef="#ctx0" brushRef="#br0" timeOffset="67321.62">20920 11356 1108 0,'-6'3'407'0,"6"-3"-3"0,-5 1 29 0,5-1-21 0,0 0-28 0,0 5-46 0,0-5-34 0,8 3-27 16,-8-3-8-16,13 1-44 15,-5 0-10-15,2 1-62 0,3-4-22 16,0 2-49-16,5 0-80 0,-3-1-48 0,3 1-59 0,0-2-176 0,0 2-694 16,1-2 112-16,-3 0 64 0,1-1 113 15,-3-1 52-15,2 2 114 0</inkml:trace>
  <inkml:trace contextRef="#ctx0" brushRef="#br0" timeOffset="67770.16">21794 11056 1023 0,'0'0'374'0,"0"0"-21"0,0 0-28 0,0 0-25 0,0 0-8 0,0 0-1 15,-10 9-40-15,8-5-20 0,-2 2-27 0,0 1 6 16,3-1-18-16,-1 4-20 0,-1-2-29 0,1 2 11 16,-1-1-26-16,1 2 15 0,-3 1-35 15,4-3-11-15,-4 3-36 0,3-2-22 0,1 2-9 16,-3-2-27-16,1 2-21 0,0-1-43 16,-1 0-16-16,1-2-33 0,0 0-21 15,1-1-43-15,0 0-66 0,2-2-88 0,0-2-59 0,-1 2-432 16,1-1 28-16,1-1 134 0,-1 0 40 15,2-2 61-15</inkml:trace>
  <inkml:trace contextRef="#ctx0" brushRef="#br0" timeOffset="68484">22009 11150 1269 0,'-10'0'412'0,"10"0"-7"0,-13 2-62 16,5 1-36-16,1 1-21 0,-1-1-30 0,-2 4-7 0,2 0-32 15,0 1-35-15,1 1 2 0,0 1-22 16,1-1-14-16,1 1-28 0,2-2-35 15,1-1-6-15,2 3-10 0,0-1 3 0,5-3 0 16,0 0-31-16,1-1 10 0,1-2 15 0,3 1-14 16,0-3-22-16,1-1 9 0,0 0 12 0,-1 0 10 15,0-2-7-15,-3-2-51 0,1-2 22 0,0 2-7 16,0-5 0-16,-1 2-5 16,-4-1-5-16,1-1 12 0,-1 1 3 0,-3 1-10 0,3-1 0 15,-1-1-1-15,0 2-9 0,-2 0 10 16,-2 2 5-16,0-2-26 15,2 2-20-15,0 2-28 0,-3-1-11 0,3 4 18 0,-1-7-33 16,-1 5-25-16,2 2-11 0,-4-3-25 16,4 3-16-16,0 0-53 0,0 0 7 0,0 0 31 15,0 0 5-15,0 0 33 0,7-2 8 0,-7 2 8 16,0 0 25-16,13 1 18 16,-13-1 24-16,8 3 17 0,-3-2 41 15,0 1 3-15,-2 0 43 0,3 2-13 0,-2-3 1 0,0 5 32 0,0-3-2 16,2 2 1-16,-2 0-1 0,0 0-13 0,2 1 16 15,-3-1-39-15,1 2 21 16,2-1-3 0,0-1-2-16,-2-1-1 0,4 2-7 15,-3-1 5-15,3-1-13 0,1-1 24 0,0-3 9 0,-2 3 1 0,1 0 2 0,2-3 13 0,0-2 23 16,0-1-8-16,1 2 18 0,-2-1 13 16,-1-3-7-16,-5 0 96 0,3 2 1 0,-1-4-8 15,-1 2-31-15,-3-1-31 0,-1-1 24 0,0 1-113 16,-1-1 0-16,-1 1-26 15,-3 0 26-15,2 2 15 0,-4-2-25 0,2 3-9 0,-3-1 7 16,0 2-19-16,3 1-13 0,-2-1-23 0,7 2-17 16,-16 3-57-16,9-1-20 15,-1 2-55-15,0-1-50 0,0 3-31 0,4-1-67 16,-2 0-94-16,3-2-92 16,1 1-482-16,2 1 121 0,0-5 45 0,5 4 103 0,0-2 70 0,0-1 60 15</inkml:trace>
  <inkml:trace contextRef="#ctx0" brushRef="#br0" timeOffset="68737.55">22606 11101 1361 0,'9'-5'379'0,"-1"2"-5"15,-1 1-36-15,-4-2 2 16,3 4 49-16,-6 0-41 0,4 0 0 0,-4 0-30 0,0 0-26 0,0 0-16 16,0 6-25-16,0-6-23 0,-3 8 10 15,0-3-44-15,-1 1 9 0,1 3-55 0,-4 1-12 16,1 0-19-16,1 1-9 0,-3 3 5 15,0-1-24-15,0 1-22 0,0-1-21 0,0 1-10 16,-1 1-49-16,1-2 5 0,-2-1-23 0,2 1-58 16,1-5-11-16,0 3-28 0,-1-3-36 0,2 1-48 15,1-3-75-15,0 0-174 0,0-1-532 16,3-2 51-16,-1 0 133 0,2 0 44 16,1-3 74-16,0 0 87 0</inkml:trace>
  <inkml:trace contextRef="#ctx0" brushRef="#br0" timeOffset="68891.57">22480 11149 1203 0,'-4'-5'427'0,"1"4"-51"0,3 1-38 16,-5-5-23-16,5 5-51 0,-3-2-70 15,3 2-40-15,0 0-57 0,-4-2-84 0,4 2-128 16,0 0-187-16,0 0-448 0,12 6 28 0,-4-3 105 15,0-1 28-15</inkml:trace>
  <inkml:trace contextRef="#ctx0" brushRef="#br0" timeOffset="69060.03">22725 11262 1525 0,'0'0'456'0,"6"0"-44"0,-6 0-33 0,0 0-21 0,4 4-30 15,-4-4 27-15,0 0-35 0,0 0-66 16,5 1-70-16,-5-1-69 0,0 0-87 0,0 0-56 15,0 0-235-15,7-1-643 0,-7 1 79 0,0 0 59 16,0 0 92-16,0 0 100 0,0 0 33 0</inkml:trace>
</inkml:ink>
</file>

<file path=ppt/ink/ink19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0:08.248"/>
    </inkml:context>
    <inkml:brush xml:id="br0">
      <inkml:brushProperty name="width" value="0.05292" units="cm"/>
      <inkml:brushProperty name="height" value="0.05292" units="cm"/>
      <inkml:brushProperty name="color" value="#0070C0"/>
    </inkml:brush>
  </inkml:definitions>
  <inkml:trace contextRef="#ctx0" brushRef="#br0">17764 3487 1650 0,'0'0'477'0,"-6"-2"-27"0,6 2-25 0,0 0-74 0,-2-3-95 0,2 3-36 0,0 0-8 15,8-6-22-15,-3 5-1 0,2-1-17 16,1 1-9-16,0 1-22 0,3 1-28 16,-1 1 2-16,2 0-2 0,1 3-1 0,0 0-17 15,-3 2-3-15,1-1-10 0,1 3-23 0,-4 1 2 16,-3-1-12-16,1 3 7 0,-4 0 18 16,-2 1-15-16,-6 1 0 0,2 1-20 0,-7 4 22 15,-2 0-5-15,-10 5 67 0,0 1-20 0,-3-5-27 16,1 0 22-16,5-3 7 0,-1-3-75 15,1-2 4-15,1-1-1 0,1-2 3 16,3 0 0-16,5-2-13 16,0-1-3-16,-3 0 24 0,8-4-19 0,-3 3 19 0,3-3-11 0,0 0 0 15,3 0-12-15,2-2-1 0,0 0-7 0,0 0 18 16,12 2-18-16,-4-2 10 0,2 0 0 16,0 0 0-16,5-1 15 0,-1 0-12 15,1-1-31-15,1 2 10 0,1-2 33 16,1 0-41-16,-2 1 11 0,2-3-49 0,-3 3-23 15,0 0-20-15,-2-2-65 0,0 1-12 16,0 1-21-16,-3 1-35 0,0-3-67 0,1 1-44 0,-1 1-156 16,-3 1-122-16,3-4-377 0,-2 2 87 0,2-2 123 15,-2-1 61-15,0 2 93 16,0-3 53-16</inkml:trace>
  <inkml:trace contextRef="#ctx0" brushRef="#br0" timeOffset="376.68">18110 3562 1551 0,'-15'3'478'0,"9"-1"-37"0,-1 1-34 0,1 2-31 0,2 1-56 16,-2 2-8-16,1 1-28 16,2 2-12-16,1 1-127 0,0 0-9 0,2 1-5 0,0 0-26 15,2 1-16-15,0 0-22 0,1-2 7 0,4-2-25 16,-1 1 2-16,4 0 0 15,1-2-31-15,-1-1 14 0,0 0 78 0,3-5-17 0,0 2-10 16,0-3 7-16,-1-2 20 0,1 0-17 0,-5-2 25 16,2 0 16-16,-2-4 7 0,0 3 8 15,-1-4-48-15,-2 0 35 0,-5-1-92 0,2-1 0 16,-4 0-2-16,-3-2 9 0,2 3-19 16,-2-4-9-16,-3 2 11 0,-1 1-3 31,1-1-4-31,-3 0 32 0,3 1-35 0,-2 1-6 0,3 2-7 0,-3-1-39 0,2 2-15 0,0 3-10 15,0-2-41-15,1 2-8 16,1 2-18-16,-1 0-63 0,-1 1-14 0,5 1-71 0,-1 1-64 0,1-1-121 16,3-2 19-16,-3 5-101 0,3-5-406 15,6 3 94-15,-1-3 87 0,0 3 55 16,2-3 60-16</inkml:trace>
  <inkml:trace contextRef="#ctx0" brushRef="#br0" timeOffset="694.92">18203 3612 668 0,'7'0'350'0,"-7"0"-81"0,7 1 0 0,-4 0 69 0,-3-1-6 0,8 5 4 0,-6-4-1 15,5 3-58-15,-3-1-80 0,1 2-8 16,0 0-33-16,0 2 0 0,0-1-15 0,4 2-23 16,-3 0-26-16,0 2 3 0,1-2-21 0,1 2-10 15,2-4-5-15,3 1 12 0,-3-2-4 0,5-2 0 16,-2 2-1-16,1-3-2 0,1 0 13 16,0-2 15-16,-2-2 21 0,2 1 20 15,1-1 15-15,-4-2-4 16,1 1 42-16,-5-1-32 0,-1-2 92 0,-1 1 2 0,-1-1-2 15,0 0-34-15,-3-2 1 16,-3 0-32-16,-3 2 19 0,2-4-121 0,-6 3-7 0,1-2-8 0,-3 1-18 16,-1 0-23-16,1 1 18 0,-3 1-8 15,0 1-25-15,1 2-21 0,-2 0 13 0,1 2-41 16,-1 1-10-16,-2 0-67 0,1 4-35 0,-1-2-44 16,-2 2-59-16,3 3-59 0,2-4-31 0,0 3-130 15,3-4-87-15,0 3-466 16,2 0 187-16,0-2-15 0,6 0 114 0,1 1 85 0,1-4 47 15</inkml:trace>
  <inkml:trace contextRef="#ctx0" brushRef="#br0" timeOffset="942.91">18874 3320 1246 0,'5'-4'620'0,"0"3"-103"0,-2 0-49 0,-3 1-38 16,5-1-13-16,-5 1-28 0,0 0-18 0,5 3-12 15,-3 2-52-15,-2 0-31 0,5 3-14 16,-4 4-12-16,1 1-27 0,3 6-36 0,-2 0 2 16,-1 5-25-16,1-1-23 0,-3-3-21 15,3 1-30-15,1 3-21 0,-1-2-64 0,-3-2-69 16,3 0-41-16,-1-1-38 0,1 0-42 0,0-2-27 16,-1-3-57-16,0 2-5 0,-1-4-7 15,4-2-57-15,-2 0-36 0,-1-3-71 0,0-2 46 0,-2 0-482 16,4-2 26-16,-2-2 126 0,-2-1 50 15,0 0 78-15</inkml:trace>
  <inkml:trace contextRef="#ctx0" brushRef="#br0" timeOffset="1238.08">18874 3638 924 0,'-8'-1'460'0,"8"1"-25"0,0 0-48 15,0 0-18-15,0 0-96 16,0 0-9-16,0 0-31 0,12-7-10 0,-3 4-31 0,3 0-16 15,2-1-4-15,2-3-21 0,0 1 2 16,1 1-14-16,0 0 4 0,0-2 3 16,-1 5 5-16,-3-4 13 0,0 2-29 0,0 1 19 15,-1 0 15-15,-1 2-5 0,-1 0-11 0,0 1-20 16,-2 1 8-16,2 0-10 16,-2 2-26-16,1 0 28 0,-3 1-13 0,0 2-18 15,1-1 9-15,-2 2 29 0,-2-1 14 0,3 1-34 16,-4 1 6-16,0 0-50 0,0 0-32 0,-2 0-52 0,0-2-43 15,0 2-77-15,3-2-97 16,-3 1-34-16,0-1-94 0,-3 0-220 0,6-2-538 0,-2-1 100 16,-1-3 112-16,4 3 108 15,-4-3 110-15,0 0 36 0,8-9 64 0</inkml:trace>
  <inkml:trace contextRef="#ctx0" brushRef="#br0" timeOffset="1366.55">19248 3470 1034 0,'-2'-4'378'0,"-1"1"-24"0,0 0-39 0,0 0-29 0,3 3-53 0,-8-4-51 0,2 4-54 0,6 0-80 16,-10 3-132-16,4-2-279 0,1 2-359 0,0 1 28 15,0 1 82-15</inkml:trace>
  <inkml:trace contextRef="#ctx0" brushRef="#br0" timeOffset="2244.73">19266 3477 1717 0,'10'5'566'0,"-7"-3"-49"0,2 1-138 0,-2 4-24 0,-1-1-17 15,3 0-13-15,-2 2-51 0,2-1-25 0,-2 1-4 16,-1 1-25-16,0-1-35 0,4 1-16 16,-4-2-3-16,1 1-41 0,0 0 3 0,-1 1-5 15,0-3-18-15,1 1-33 0,-3-4 18 16,3 2 4-16,-1-1-9 0,-2 0 2 0,2 0-3 15,-2-4 90-15,3 5 8 0,-3-5 7 0,3 2 19 16,-3-2-47-16,0 0-30 0,0 0-26 16,0 0 22-16,11-6-16 0,-7 4-6 15,0-3-105-15,-2 1 0 0,2 0 0 0,2 0 0 0,-1-1 0 16,0 1 0-16,0-1 0 0,3 1 0 0,-3 1 0 16,2-2 0-16,-1 3 0 0,-1-1 0 15,4 3 0-15,-3-1 0 0,-1 0 0 0,-5 1 0 16,14 2 0-16,-10-1 0 15,4 2 0-15,-2 0 0 0,-2 0 0 0,2-1 0 0,0 2 0 16,-5-2 0-16,6 2 0 0,-6-2 0 16,4 3 0-16,-3-3 0 0,1 2 0 0,-1-3 0 0,-2 4 0 15,0-5 0-15,6 3 0 0,-4-2 0 16,-2-1 0-16,4 5 0 0,-4-5 0 0,4 1 0 16,-4-1 0-16,5 3 0 15,-5-3 0-15,0 0 0 0,10-4 0 0,-2 2 0 0,0-1 0 16,-1 1 0-16,1 0 0 0,0-3 0 15,2 1 0-15,0 1 0 0,3-3 0 0,-2 1 0 0,-1-1 0 16,0 1 0-16,0-2 0 16,1 1 0-16,-1-1 0 15,-2-1 0-15,2 2 0 0,-5 0 0 0,3 0 0 0,-1 1 0 0,-4 1 0 0,2 0 0 16,-2 0 0-16,-1 2 0 0,0-2 0 0,-2 4 0 16,2-3 0-16,-2 3 0 0,0 0 0 15,0 0 0-15,0 0 0 0,0 0 0 0,-12 8 0 16,12-8 0-16,-5 7 0 0,2-3 0 15,1 2 0-15,-1 0 0 0,1-2 0 16,-1 3 0-16,1-1 0 0,2-1 0 0,0 1 0 16,0-1 0-16,0 0 0 15,2 1 0-15,1-3 0 0,0 3 0 0,1-1 0 0,2 0 0 16,1-2 0-16,1 1 0 0,0-2 0 0,2 1 0 0,0-2 0 16,-2 0 0-16,2-1 0 15,2 0 0-15,-3-1 0 16,1-3 0-16,3 2 0 0,-3-2 0 0,3 1 0 0,-2-3 0 15,-1 0 0-15,0-3 0 0,2 0 0 0,-2-1 0 0,-1 1 0 16,-1 2 0-16,2-3 0 0,-3 2 0 0,0 1 0 16,-1 1 0-16,-1-1 0 0,1 2 0 15,-2 0 0-15,1 4 0 0,-2 0 0 0,-3 1 0 16,0 0 0-16,13 2 0 0,-8 2 0 16,0 0 0-16,2 1 0 0,-4 2 0 0,3 0 0 0,-4-1 0 15,4 3 0 1,-4-1 0-16,0-2 0 0,-2 2 0 0,0 1 0 0,-2-3 0 0,-4 2 0 15,1 2 0-15,-3-1 0 0,-6 1 0 0,0-2 0 16,-1 1 0-16,-1 0 0 0,0-7-24 16,-3 8-1307-16,-1-2 118 15,-1 0 164-15,0-1 119 0,4 1 68 0,-2-5 73 0,-1 3 91 16,0-2 73-16,-1-1 44 0</inkml:trace>
  <inkml:trace contextRef="#ctx0" brushRef="#br0" timeOffset="3228.3">18317 4741 1172 0,'-2'-3'425'0,"2"3"-52"0,0 0-30 0,0 0-12 16,0 0-34-16,-10 8 5 0,9-2-26 0,-4 4 67 15,3-1-64-15,0 2-23 0,2 1 8 0,-6 4-129 16,4-1 4-16,-1 0-40 0,-2 2 17 16,2 1-34-16,1-2 12 0,-1 1-12 0,0 0-13 15,1-3-7-15,0-1 12 0,-1 1-15 0,0 1 10 16,-1-3-36-16,3 1 0 0,-1-4 3 16,-1 2 0-16,1-3-8 0,-1 0-10 0,3-1-13 15,-2-1 6-15,-1-2-1 0,3 2-3 0,0-2-9 16,0 1-11-16,0-5-23 0,0 4-33 15,3-1-20 1,-3-3-32-16,0 0-12 0,2 2-33 0,-2-2-26 0,0 0-49 0,10-1-89 0,-10 1-95 16,8-1-496-16,2 0 99 0,-2-1 85 0,0 1 64 15,0 0 112-15</inkml:trace>
  <inkml:trace contextRef="#ctx0" brushRef="#br0" timeOffset="3620.07">18964 4932 1031 0,'0'0'379'0,"0"0"-26"0,-6 0-25 0,6 0-16 0,0 0-28 15,0 0-25-15,0 0-44 0,24 0 2 16,-12 1-22-16,-1-1-13 0,1 0-1 0,6 0-22 16,0 0-13-16,1 0-5 0,3 0 7 15,-3 0 1-15,3-1 2 0,-1 0-54 0,1 0-25 16,-3-1-19-16,-3 2-7 0,1-1-30 15,-1 0-19-15,-1 0-45 0,-2-3-45 0,-3 4-14 16,2-2-98-16,-1 1-143 0,-3-2-190 0,2 0-355 16,0 0 115-16,-2 2 54 0,-3-3 79 15,3 0 66-15</inkml:trace>
  <inkml:trace contextRef="#ctx0" brushRef="#br0" timeOffset="3974.4">19317 4791 1392 0,'0'0'458'0,"-4"-2"-38"0,4 2-26 16,0 0-30-16,0 0-39 0,0 0-21 0,0 0-25 16,0 0-20-16,10 10-29 0,-3-8-109 0,0 3-9 15,1-3-2-15,1 3 5 0,0 1-25 0,2 1-13 16,-1-1 10-16,2-1 61 0,-1 2 16 15,-1-4-23-15,3 5-13 0,-3-1-33 0,-2-3 40 16,2 4-50-16,-4-1 15 0,2 0 20 0,-4 1-74 16,-2 0 8-16,-1 0 12 0,-1 1 34 15,-1 1-62-15,-3-2 24 0,1 4 15 16,-4-1-1 0,1-1-32-16,-1 1 5 0,-4 0-8 0,4 1-3 0,-6-1-28 0,5-1 3 0,-2-1-31 15,-3-1-33-15,3-1-28 0,2 0-34 16,-2 0-28-16,0-1-33 0,-1 0-41 0,4 1-41 15,-1-2-56-15,0 0-152 0,0 0-314 0,3-2-166 16,-2 3 104-16,-1-2 77 0,3 1 70 16,0-1 94-16</inkml:trace>
  <inkml:trace contextRef="#ctx0" brushRef="#br0" timeOffset="4743.79">18264 5762 1456 0,'0'0'399'0,"-3"-7"-20"0,6 3-41 0,-1-1-21 16,4 2-12-16,-2-3-59 0,6 3-11 0,-1 1-7 15,3 0-23-15,4-1-3 0,-1 2-7 16,0 2-50-16,-2 2 4 0,0 0-8 16,0 1-13-16,-1 1-5 0,-3-1-13 0,-2 3 2 0,-2 2 3 15,-2-1-22-15,-3 1-9 0,-1 1-25 16,-3 2-3-16,-4 2-12 0,-2-2 4 0,0 0 4 15,-1 1 70-15,-1-1-17 0,-2 1 0 16,2-3-25-16,-1 2-14 0,0-5 44 0,3 1-94 16,-1-2-55-16,4 3 50 0,-1-5 6 0,3 1 24 15,-2 1-20-15,1-4-21 0,1 2 18 16,5 1-3-16,-3-3 13 16,3-2-10-16,0 6 3 0,0-6-26 0,10 4 35 0,-4-2 4 15,4-2-9-15,1 2-7 0,4-2 10 0,-2 3-18 16,2-3 1-16,3 1-6 0,-2-1-5 0,1-1-41 15,1 1-21-15,-2-3-9 0,-1 1-50 0,3 2-12 16,-2-1-30-16,-1-2-17 0,1 2-55 16,-2-1-70-16,2-2-91 15,-1-2-17-15,1 5-541 0,-1-1 53 0,-2-1 99 0,2 1 114 0,-2 1 56 16,4-3 56-16</inkml:trace>
  <inkml:trace contextRef="#ctx0" brushRef="#br0" timeOffset="5020.3">18941 5852 1297 0,'-4'2'433'0,"4"-2"-42"0,0 0-24 0,0 0-9 15,0 0-48-15,0 0-31 0,19 2 2 16,-9-2-40-16,2 2-8 0,4-2 7 15,-1 0-35-15,1 0-21 0,2 1-7 0,1 1-34 16,-2-2-15-16,1 0 5 0,0 0-46 0,0 0-46 16,-3 0-10-16,1-2-26 0,-2 2-38 0,-3 0-23 15,2-1-31-15,-2-1-54 0,-1 2-26 16,0-1-109-16,0-2-105 0,-2 1-182 0,-3-1-333 16,2 1 102-16,-4-1 57 0,2 0 69 0,-2 1 89 15</inkml:trace>
  <inkml:trace contextRef="#ctx0" brushRef="#br0" timeOffset="5355.34">19123 5713 1535 0,'0'0'499'0,"-3"-4"-40"0,3 4-47 0,0 0-3 0,0 0-45 0,0 0-44 0,10-3-21 0,-10 3-89 16,15 3-38-16,-4 0 9 15,1-2-35-15,2 5-2 0,0-4 7 0,3 3-36 16,0 1 31-16,-1 0-6 0,1 2-22 0,-2 1-13 0,1-1 15 16,-1-1-20-16,-1 2-18 0,-2 0 21 15,1-1-6-15,-3 1 85 0,-4-2-16 16,2 2-33-16,-6 1 10 0,0-1 6 0,-2 1-16 16,-2 3 13-16,-4-1-62 0,0 0 3 15,-5 2-20-15,0-1-34 0,-4 2-35 16,2 0-60-16,-2-1-61 0,0 2-38 0,-1-2-79 15,1-1-50-15,2-1-114 0,-2 2-223 0,-1-1-464 16,5-2 98-16,-3 1 125 0,0 0 95 0,0-3 103 0,-2 2 48 16,1 2 28-16</inkml:trace>
  <inkml:trace contextRef="#ctx0" brushRef="#br0" timeOffset="6102.97">18243 6775 1318 0,'8'-2'412'0,"-1"0"-26"15,1 1-61-15,0 1-20 0,2 1 5 0,-2 3-31 16,2-3-33-16,-2 3-6 0,-3-2-20 16,0 4-20-16,0 0-3 0,-2 1-38 0,-3 1-13 15,0 1-13-15,-3-1 7 0,1 2-35 0,-1-2-5 16,-2 1-8-16,2-1 75 0,-2 0-34 16,3-1-13-16,2 1-12 0,-2 0-14 0,2-2 4 15,0 1-32-15,1 0 49 0,2 0-30 16,0 0-8-16,0 0-8 0,-1 2 23 15,3-2-2-15,-2 0 40 0,-1 1-15 0,0-2 39 0,1 4-18 16,-3-4-80-16,3 2 33 0,-3-2-9 0,-5 1 14 16,2 0-27-16,-2 0 74 0,0 2 10 15,-3-1 20 1,-2-1-45-16,-1-2-72 0,-3 0-54 0,0 2 0 0,2-5 0 0,-1 3 0 0,0-3 0 16,-2 1 0-1,5-2 0-15,-1-1 0 0,1 2 0 0,2-2 0 0,0 1-93 0,8-1-94 16,-10 0-33-16,10 0-20 0,-5-1-6 15,5 1-28-15,0 0-25 0,0 0-93 16,0 0-217-16,0 0-77 0,18-2-318 0,-9 2 111 0,0 0 48 16,1-2 80-16,0 0 107 0,4 1 49 15</inkml:trace>
  <inkml:trace contextRef="#ctx0" brushRef="#br0" timeOffset="6453.51">18935 6919 1282 0,'0'0'438'0,"-10"0"-57"0,10 0-25 0,0 0-29 0,0 0-7 0,0 0-7 0,0 0-27 0,0 0-4 16,0 0-54-16,23 1-3 0,-10-1-25 0,-2 0 30 16,4 0-48-16,3 0-8 0,-3-1 5 15,3 1-23-15,0 0-30 0,2-1-4 0,1-3-22 16,-3 3 0-16,2 0-28 0,-2-2-21 16,-3 0-20-16,1 2-44 0,-1-3-5 15,-1 2-64-15,-2-2-31 0,-2 4-22 0,1-3-47 16,-3 0-48-16,2 2-83 0,-3-5-163 0,-2 5-494 15,-2 0 141-15,2-3 66 0,-2 2 26 0,-1-2 97 16,-2 4 59-16</inkml:trace>
  <inkml:trace contextRef="#ctx0" brushRef="#br0" timeOffset="6713.47">19233 6739 1425 0,'0'-3'535'0,"0"3"-118"0,0 0-27 0,12 2-17 0,-12-2-50 16,13 5-11-16,-3-3-18 0,0 4 3 16,-1 1-36-16,6 2 11 0,-2-1-32 15,2 0-7-15,-2 3 59 0,0-1-10 0,-1 0-21 16,-1 1-8-16,-1 1-71 0,-2-3-31 16,-3 2 33-16,0 0-25 0,-3 0-36 0,-2-1 20 15,0 1-30-15,-4 2-24 0,-2-1-32 16,-1 0-29-16,-3 2-38 0,-1-1-83 0,-4 0-42 0,-1 4-73 15,-1-4-83-15,1 1-139 16,-4-1-753-16,1 2 144 0,2-3 94 16,-4 0 80-16,-7 5 95 0,4-2 122 0,-6 0 26 0</inkml:trace>
  <inkml:trace contextRef="#ctx0" brushRef="#br0" timeOffset="7433.47">18323 7935 1412 0,'0'0'446'0,"0"0"-47"0,0 0-40 15,-16 4-17-15,8 2 55 0,-2 0-38 0,0 3-24 16,-5 0-30-16,-3 4-14 0,0 1-19 16,0 2-34-16,0-2-36 0,-8 5-10 0,6-1-36 15,2-4 26-15,3 1-44 0,-1-1-15 0,5-1-13 16,-1-1-8-16,4-1-10 15,0-2 24-15,4 2-47 0,1-3 18 0,0-2-18 16,1 3 18-16,2-4 13 0,2 3-11 0,3-4-37 16,0 1-4-16,3 1 29 0,2-2-21 0,1-2-89 0,5-2-8 15,-2 0 0-15,4 0-25 16,1-1-32-16,1-1-25 0,1-1-17 0,-1-2-6 16,-2 1-51-16,0-2-18 15,-1 1-31-15,-1-2-59 0,-3 1-122 0,0-6-85 0,-3 6-451 16,0-2 68-16,-3-2 114 15,-1 2 51-15,-3-3 65 0,2 3 109 0</inkml:trace>
  <inkml:trace contextRef="#ctx0" brushRef="#br0" timeOffset="7650.73">18320 7932 1008 0,'0'0'430'0,"0"0"31"0,0 0-131 0,-13 10 21 16,10-2-19-16,-4 0-32 0,2 4-3 0,0 4 66 15,0 0-12-15,-1 8-16 0,1-1-92 0,0 2-28 16,-3 11-20-16,3-2-11 0,-3 2-10 0,1 0-23 15,4-6-20-15,-2-3-13 16,2-1-3 0,-1-1-28-16,1-1-26 0,0-4-30 0,1-1-28 0,2-5-42 0,-2 0-58 0,2-2-54 15,2-1-44-15,0-5-35 0,1 1-90 16,4-6-197-16,-1 1-415 0,2-2 49 0,2-3 64 16,3 0 105-16,-1-3 77 0,4-3 48 0</inkml:trace>
  <inkml:trace contextRef="#ctx0" brushRef="#br0" timeOffset="7961.98">18976 8119 1476 0,'0'0'487'0,"0"0"-9"0,6-1 45 16,-6 1-37-16,14 0-53 0,-3 0-19 0,2 0-14 15,5-1-55-15,2 1-33 0,4-3-7 0,1 2-21 16,1 1-30-16,5-1-14 16,-1-1-56-16,-7 0-22 0,6 0-37 0,-4 1-15 15,-4-3-61-15,-1 3-29 0,-3-1-56 0,-3-1-20 16,-1 3-64-16,-1-4-24 0,-2 1-68 0,-1 3-72 0,0-2-195 16,-6-2-593-16,2 4 91 15,-4-3 126-15,1 0 90 0,-2 3 59 0,0-7 107 16,0 7 25-16</inkml:trace>
  <inkml:trace contextRef="#ctx0" brushRef="#br0" timeOffset="8163.34">19362 7958 1300 0,'1'-3'468'0,"-1"3"8"16,0 0-33-16,5 0-26 0,-5 0-2 15,0 0 36-15,14 6-11 0,-7-2-23 0,1 1-64 16,0 4 16-16,2 0-121 0,0 0 13 15,-2 1-41-15,2 3-30 0,0 0-19 0,-2 1 1 16,-3 0-44-16,1 1 25 0,-2-2 57 0,-4 3-61 16,2-2-11-16,-4 3-48 0,0-2-80 0,0 4-64 15,-4-1-36-15,-2-1-66 0,3-1-51 16,-3 0-57-16,-2 2-155 16,0-4-536-16,2 0-107 0,-4 1 150 0,3-6 27 0,-3 4 114 15,0-3 72-15,-4 2 80 0,-2-2 48 0</inkml:trace>
  <inkml:trace contextRef="#ctx0" brushRef="#br0" timeOffset="8905.17">18345 9226 1359 0,'9'-7'458'0,"1"2"-36"16,-2 2-66-16,-1-2 18 15,-2 0-67-15,0 3-38 0,1-1 10 0,-2 1 2 16,-4 2-43-16,6-3-20 0,-6 3-8 0,0 0-36 16,0 0-10-16,0 0-34 0,0 0 31 0,-26 8-33 15,13-4-25-15,0 3-19 0,-3 0-7 16,-1 0-23-16,2 0 33 0,-1-1-31 0,1 4-5 15,2-3-5-15,3-1 1 0,0 2-14 16,2-2 0-16,0 0-7 0,3 0-1 16,5-1-12-16,-3 1 2 0,3-2 1 0,3 1-6 15,0 0-5-15,2 1 5 0,2-1 6 0,1 1 27 16,3 0-7-16,-1 1-3 0,0 1 19 0,0-1 6 16,0 0 6-16,-1 0 29 0,-2 2 14 15,-2-3 21-15,-3 3 31 0,1-3-26 0,0 4-3 16,-6-1-27-16,0 3-11 15,-1-2 8-15,-4 4-3 0,-2-1 3 0,-3-1-39 0,-3 2 6 16,-2-1-6-16,3-2 11 0,-5 1-29 0,6-3-32 16,-1 0 2-16,2-1-29 0,0-1-68 0,3-3-39 15,0 1-54-15,2-3-56 0,3-1-20 0,0 0-67 16,5-1-95-16,0 0-181 16,0 0-497-16,0 0 72 0,0 0 158 15,28-7 77-15,-15 2 57 0,5 1 86 0,2-1 90 16</inkml:trace>
  <inkml:trace contextRef="#ctx0" brushRef="#br0" timeOffset="9141.73">19041 9456 1251 0,'12'0'479'0,"-1"1"10"16,4-2-46-16,3 1-29 0,0 0-35 0,5 0-36 15,1 0-26-15,-2-2-35 0,1-1-23 16,3 3 50-16,-5-2-9 0,3 0-67 0,-3-1-21 0,-3 0-56 16,-2 0-56-16,-1 1-79 0,0-1-32 15,-4 1-37-15,1 0-52 0,-2-1-26 0,-1 2-104 16,-1 0-185-16,-4 0-557 0,2 0 78 0,-6 1 52 16,7-3 103-16,-7 3 127 0,0-6 0 15</inkml:trace>
  <inkml:trace contextRef="#ctx0" brushRef="#br0" timeOffset="9373.9">19415 9319 1331 0,'0'0'491'0,"0"0"62"0,10 1-31 16,-10-1-74-16,10 9-18 0,-5-6-5 0,3 4-110 15,0 2-31-15,0-2-13 0,0 1-25 0,-2 4-8 16,0-2-38-16,-1-1-13 15,2 3-39-15,-4 0-10 0,2 0-5 0,-4 0-43 0,-1 2-29 16,-3-1-38-16,-2 0-41 0,2 2-79 0,-2 0-46 16,-5-1-57-16,3 2-56 0,-2-2-164 0,-1 2-629 15,0-2 145 1,-3-1 55-16,-2 0 93 0,-3 3 106 0,0-3 28 0,-10 3 72 16</inkml:trace>
  <inkml:trace contextRef="#ctx0" brushRef="#br0" timeOffset="10123.93">18166 10557 1041 0,'-10'12'420'16,"5"0"-13"-16,-3 1-43 0,2-1-44 16,-3 4-31-16,4-1-10 0,-1 4-41 0,2 0-18 15,1-1-13-15,0 1-51 0,1 0-25 16,2-3 15-16,2 2-44 0,1-4-12 0,2 0-6 15,3-1-20-15,-1-1 0 0,1-5 3 0,2 2-13 16,0-3-1-16,0-2 14 0,1-1-29 0,-3-1 11 16,0-2 10-16,0-1 5 0,-1-2 5 15,-4 1 28-15,1-3-35 0,-4 2-1 0,0-4 0 16,0 0-2-16,-4-2 10 0,-2 1-28 16,3-2 3-16,-4 2-16 0,-1 0-15 0,1-1 7 15,-1 2-9-15,0 1-32 0,-2 0-7 0,5 0-36 16,-3 4-28-16,2-3-36 15,-1 5-49-15,2-1-74 0,5 1-112 0,0 0-167 0,-10 1-368 16,10-1 99-16,0 0 54 0,2 7 57 31,-2-7 53-31</inkml:trace>
  <inkml:trace contextRef="#ctx0" brushRef="#br0" timeOffset="10466.87">18968 10737 1313 0,'0'0'481'0,"0"0"-41"0,0 0-5 0,0 0-43 0,0 0-36 0,0 0-36 15,24-3-21-15,-14 3-40 0,5-3 2 16,1 3-26-16,2 0-35 0,-1-2 5 0,7 2-39 16,-3-2-28-16,4 1 3 15,-5-1-23-15,4 1-26 0,-2-1-28 0,-3 0-28 0,1-1-46 16,0-1-19-16,-5 4-53 0,1-5-22 15,-3 3-14-15,0-2-74 0,0 3-72 0,-3-1-110 16,0-2-550-16,-1 1 34 0,-3 0 96 16,0 0 49-16,-2-1 75 0,0 3 106 0</inkml:trace>
  <inkml:trace contextRef="#ctx0" brushRef="#br0" timeOffset="10818.92">19315 10537 1328 0,'5'-2'466'0,"-5"2"-26"0,10-3-66 0,-3 2 15 0,1 2-51 0,1-1-26 0,1 4-102 15,0-2 13-15,2 3-42 16,-1 1 16-16,1 0-2 0,-1 0-31 0,2 2-18 0,-3 2 2 0,0-2-30 16,-5 3 23-16,1 1-21 0,-2 1-20 15,-4 1-11-15,-2 0-9 0,-3 3-52 16,-3 2-15-16,-5 1-49 0,-7 8-64 0,2-2-56 16,-5 0-103-16,2-3-229 15,-4 3-513-15,1-1 148 0,-1-1 96 0,2-3 130 16,-3 3-26-16,0-3 59 0</inkml:trace>
  <inkml:trace contextRef="#ctx0" brushRef="#br0" timeOffset="21665.46">20737 4570 1182 0,'0'0'381'0,"0"0"1"15,-7 11-37-15,7-4-14 16,-3 1-40-16,1 4-37 0,0 2 2 0,1 2 36 0,0 2-31 0,-3 1-26 16,4 2-35-16,-2-1-21 0,-1 1-18 15,0-1-25-15,1 0-46 0,0 0-32 0,1 0-63 16,-1-1-20-16,2-4-6 0,0 0-61 0,0 0-64 16,0-2-67-16,3 0-66 0,-1-5-44 15,0-1-133-15,3 1-396 0,1-5 142 0,-1 2 62 16,0-4 26-16</inkml:trace>
  <inkml:trace contextRef="#ctx0" brushRef="#br0" timeOffset="22003.65">21004 4652 1238 0,'0'0'310'0,"-10"11"-46"0,8-7-21 0,-1 4-15 0,3-1-31 0,0 1-28 15,0 2-34-15,3-1 4 0,-1 1-42 0,1-2 0 16,2 3-23-16,2-3-2 0,1-2-13 16,2 0-3-16,-2 1-5 0,5-3 11 0,-3-3-3 15,3-1 7-15,0-1 29 0,0 0 2 16,2-5 26-16,-4 1 3 0,1-2 22 16,0 1 8-16,-4-4-20 0,0 1 74 0,-3-2 0 15,-1-1-13-15,-3 0 8 0,-2-1-29 0,-5 0-4 16,1-1-29-16,-3 1-74 15,-2-2-18-15,-6 1 3 0,4 2-28 0,-7 1 2 16,3 2-26-16,-1 2-22 0,-1 2-47 0,3 0-50 0,-2 5-19 16,0 0-41-16,-3 5-38 15,2 1-107-15,-3 5-152 16,1 2-501-16,0 1 107 16,-6 4 70-16,6 0 137 0,4-2 24 0</inkml:trace>
  <inkml:trace contextRef="#ctx0" brushRef="#br0" timeOffset="23257.48">20802 5586 1448 0,'12'-5'354'0,"-1"0"-14"0,-1 3-7 0,2 0-49 15,-3 2-18-15,-1 2-7 0,-1 0-42 0,3 3 3 16,-3 0-23-16,-1 2-17 0,-3 1-24 16,2 3 0-16,-2 1-15 0,-4 1-1 15,-4 2-24-15,0 3-27 0,-1 2 19 0,-6 2-14 0,-1 6-22 16,-2-5 18-16,2-3-8 16,-5 5-24-16,6-3 1 0,-1-5-5 0,2 0-16 15,1-4 16-15,2 0-8 0,1-2-15 0,2 0 15 16,1-3-10-16,-3 1-16 0,7-1 16 15,-2-2-18-15,4-3-33 0,1 1 10 16,2-3-21-16,2-1-38 0,2-1-15 16,5-3-34-16,2-1-28 0,5-5-15 0,2-1-23 0,7-6-59 0,1 0-15 15,0-3-39-15,-3-1 10 0,3 2-22 16,-5 1 89-16,-6 4 66 0,-4 1 11 16,-1 4 43-16,-7 1 36 0,0 3 67 0,-1-1 20 15,-4 4 41-15,-1 2 23 0,-2 0 26 16,0 0-10-16,0 0 2 0,0 9 0 0,0-9 0 15,-5 10-31-15,5-1-2 0,0-1-5 0,0-1 7 16,0 0 5-16,3 0-32 0,-1 0-6 0,3-1 23 16,1-1-10-16,3 0 0 0,0-3 33 15,1 2 8-15,0-4 15 0,0 0 20 16,0-3-9-16,0 0 22 16,-1-2-2-16,1 0 21 0,-3-1 12 0,1-2 10 0,-2-3-28 0,-4 2-15 15,0-1-84-15,1 0-1 0,-6-1-20 16,0 1 18-16,-4 0-15 0,-3 0 7 0,1 0-13 0,-5 0-61 15,-2 4-8-15,-2 0-17 0,5 1-34 16,-2 5-56-16,-1 0-31 0,-2 3-34 16,-2 2-76-1,-1 4-168-15,-1 4-488 0,-9 5-7 0,3 2 115 0,-1 3 54 16,1-1 77-16,3 6 82 0</inkml:trace>
  <inkml:trace contextRef="#ctx0" brushRef="#br0" timeOffset="23974.22">20840 6675 1371 0,'8'1'420'16,"0"0"-36"-16,0 2-10 0,-1 0-36 0,2 2-5 15,-3 1-31-15,-3-1-57 0,2 1 6 16,0 0-31-16,-2 1-5 0,-1 1 3 15,-1-3-123-15,1 2 2 0,-2 0-20 0,2-1-3 16,2 2 0-16,-2 0-15 0,0-1 13 0,2 0-13 16,-2-1 2-16,0 2 29 0,3-1-26 15,-2 2 28-15,-3-2-13 0,2 0-5 0,-2-1 42 0,0 2 1 16,-2 1-17-16,-1 0 95 16,0-3-39-16,-2 2-3 0,-2 2-35 0,-1-2 0 0,-2 1 0 15,-3-1-31-15,0-1-21 16,3-1-33-16,-3 2-4 0,0-3-68 15,3 0-38-15,-1 1-22 0,2-3-55 0,1 2-48 0,3-5-52 16,-1 1-135-16,6-1-115 0,-5-1-533 0,5 1 83 16,1-9 101-16,1 3 108 0,3-5 36 0,2 0 100 15</inkml:trace>
  <inkml:trace contextRef="#ctx0" brushRef="#br0" timeOffset="24250.63">21004 6745 1041 0,'0'5'330'15,"0"1"-20"-15,0 1-23 0,1-1-13 0,1 3-26 0,0 0-25 16,1 0-44-16,0 1 28 0,4-1-30 16,-2 1-13-16,6-2-29 0,-1-2 4 15,5 3-40-15,-2-5 12 0,3 0 6 0,-1-3 21 16,1 0-15-16,-1-1 3 0,0-1 76 16,-2-1 21-16,3-3-31 0,-6-1 15 0,2-2 3 15,-4-2-85-15,-3 2 14 0,0-3-17 16,-4 0-4-16,-2 1-33 0,-4-2-9 0,-3 1-4 0,-2-1-8 15,-1 4-10-15,-4 1-62 0,-2 0-15 32,4 4-66-32,-3 2-27 0,-2 2-30 0,3 0-40 0,-5 6-81 0,-1 1-209 0,-7 8-512 0,0 6 64 15,2-1 166-15,3 3 24 16,-2 1 61-16,4 1 102 0</inkml:trace>
  <inkml:trace contextRef="#ctx0" brushRef="#br0" timeOffset="25004.83">20778 7975 1121 0,'0'0'373'0,"0"0"-32"15,0 0-3-15,0 0 38 0,-7 16-20 16,2-8-3-16,0 3-54 0,-3 0-9 16,-2 4-39-16,-3-1-29 0,3 5-4 0,-5 0-52 0,2-1-2 15,-1-1 2-15,2-1-25 16,2-3-33-16,2 1 15 0,3-1-24 0,0-3-1 16,0 1-9-16,2 0-15 0,3-3-7 0,0 2 0 15,3-1 4-15,1-2-14 0,2-2-11 16,2 0-16-16,-1 0-12 0,6-2-7 0,-2-1-32 15,1 0-2-15,1-2-21 0,3 0-20 0,-1-2-28 16,0 0-46-16,0 1-18 0,-1-3-90 16,1 1-151-16,0-1-212 0,-4 1-345 15,-1-3 96-15,0 2 105 0,0-3 80 0,-5 0 74 16</inkml:trace>
  <inkml:trace contextRef="#ctx0" brushRef="#br0" timeOffset="25176.29">20817 8029 972 0,'0'0'420'0,"-8"3"33"0,6 2-43 16,-3 2-16-16,2-1-28 0,1 1-13 0,-1 5-51 15,1-1-8-15,-1 2-114 16,3 1-17-16,0 4-9 0,-1 0-23 0,2 2-44 0,-2-1-8 16,1 1-43-16,0 1-23 0,1-2-65 0,-1-1-50 15,3 1-49-15,-1-4-95 0,3-2-140 16,1 3-474-16,1-7 46 0,-2 1 102 0,3-5 67 15,0-2 92-15</inkml:trace>
  <inkml:trace contextRef="#ctx0" brushRef="#br0" timeOffset="25485.15">21005 8182 1052 0,'-3'8'409'0,"3"1"-43"0,0-1-15 0,-3 2-57 0,6-1-38 0,0 3-5 0,1-5-44 16,1 3 21-16,4-2-51 16,-2-2 7-16,6-2-18 0,2-2 21 0,-2 0-38 0,5-4 25 15,-2 1 5-15,4-4-18 0,-5 0 13 16,3-3-79-16,-2 1 13 0,-4-3 25 0,-1 2-5 16,-2 0 10-16,-6-2-8 0,1 1-14 0,-5-1-9 0,-2 2-5 15,-2-2-27 1,-3 2 4-16,-4 0-20 0,0 2-21 0,-5 1-38 0,0 0-36 15,2 5-33-15,-3 0-54 0,2 0-17 16,-2 7-45-16,-2-1-48 0,-1 3-214 0,0 5-544 16,-4 3 67-16,-1 5 102 15,3 0 111-15,1 1 45 0,1 1 116 16</inkml:trace>
  <inkml:trace contextRef="#ctx0" brushRef="#br0" timeOffset="26519.27">20676 9169 1072 0,'0'0'438'15,"0"0"-36"-15,-8 12 20 0,8-4-7 0,0 3-47 0,-2 2-53 16,2 0-10-16,-2 5-39 0,2 1-33 15,0 0 7-15,0 0-43 0,0 5-48 16,-1-5-21-16,2 3-44 0,-2-1-22 16,2-2-37-16,-1 1-48 0,2-2-48 0,0-2-34 0,1-1-64 15,-3-2-72-15,5-1-99 16,-1-1-451-16,-2-3-44 0,4-1 73 0,-2-2 83 0,1-4 132 16,2 2 1-16</inkml:trace>
  <inkml:trace contextRef="#ctx0" brushRef="#br0" timeOffset="26891.62">20856 9317 1282 0,'0'0'425'0,"-9"1"-39"0,9-1-4 0,-7 5-131 16,2-3-13-16,3 5-36 0,-1 0 10 0,3 2-35 15,-3-1 10-15,3 2-39 0,0 0-17 16,3 1 4-16,0-1-22 0,2-1 2 15,4 3-15-15,0-2 2 0,3 0-2 0,0-4 0 0,0 1-21 16,1-3 8-16,-1-3 16 0,1 2-1 0,0-3-30 16,-2 0 20-16,-1-3-2 0,0 3 38 15,0-5 12-15,-2 2-9 0,-3-3-16 16,2 0-7-16,-4-1 61 0,-1 0 0 0,-2-2-16 16,0 2-4-1,-2-2-52-15,0-1 28 0,-4 4-38 0,1-2 21 0,-1-2-100 16,-4 4-21-16,0-2 13 0,0 2 15 15,0-1-17-15,0 2 4 0,2-1-22 0,0 4-29 0,-1-2-23 16,1 0-5-16,0 3-22 0,0-1-14 0,3 2-33 0,5 0-28 16,-10 0-18-16,10 0-31 15,0 0-38-15,-8 0-43 0,8 0-67 16,0 0-24-16,0 0 57 0,0 0-76 0,30-2-42 0,-19-2-368 16,5 2 56-16,1-4 97 0,1 0 3 0</inkml:trace>
  <inkml:trace contextRef="#ctx0" brushRef="#br0" timeOffset="27182.22">21143 9243 568 0,'5'-3'386'0,"2"3"-25"0,-7 0-2 0,8 4-93 0,-7-1-8 16,1 0 11-16,-2 3-21 0,0 1 57 16,0 1-16-16,0 3-23 0,-2-1-7 0,2 3 2 15,0 1-41-15,0-2 0 0,0 5-61 0,2-3 25 16,0 0-46-16,3 2-2 0,-2-4-8 16,3 0-8-16,4 0-33 0,0-2 31 0,1 2-44 15,-1-6 3-15,2 0 13 0,4-4-26 0,-3 1 2 16,3-5 9-16,0-1-27 15,-3 2 14-15,5-6 4 16,-2-2-89-16,-1 2 0 0,0-3 44 0,-4-1 76 0,-3-1-25 16,-3 0 9-16,2 0-22 0,-5-2 18 0,-2 4-10 15,-2-3-14-15,-5 0-1 0,2 4-22 0,-3-1 4 16,-3-1-22-16,-4 4-37 16,4 1-14-16,-6 4-42 15,2-1-37-15,-1 3-43 0,-1 3-24 0,1-1-68 0,-3 4-144 0,-5 5-176 0,5-4-433 16,-1 6 105-16,0-2 77 0,1 2 66 0,-1 1 80 15,2-1 63-15</inkml:trace>
  <inkml:trace contextRef="#ctx0" brushRef="#br0" timeOffset="28946.98">20276 9154 1103 0,'0'0'463'16,"-10"0"-56"-16,10 0-18 0,0 0-23 0,0 0-10 15,0 0-51-15,0 0 4 0,22-3-14 16,-11 1-65-16,10-2 11 16,-1 0-11-16,8 0-66 0,0-2 20 0,1 0-35 0,1 0-39 0,-1 0 23 15,-1 0-26-15,-2 1-15 0,2 1-2 16,-5 0-6-16,-3 2 21 0,-2-3-2 0,-2 5 7 16,2 2-74-16,-5 2 10 0,-1 0 18 15,-1 4 10-15,1 0 10 0,-1 4-17 0,-4 2 79 16,-1 3-16-16,-1-3 11 0,0 5-3 15,-1 3-12-15,-4-2-26 0,1-1-13 0,-1 5-8 16,-1 3-12-16,-1-3 4 0,0-5-30 0,-1 3 21 16,1-2-19-16,1-1-7 15,-1-1-31-15,0 0 11 0,-1-3-32 0,3-2-20 0,-3-1-10 16,3 1-36-16,-2-1-46 16,2-1 8-16,0-2-16 0,-2 1-43 0,2-2 5 0,0 1-26 15,2-5-43-15,-2 2-31 0,2 0-38 0,-2-2-90 16,3-2-51-16,-3 1-522 0,5-2 66 0,-5-1 75 15,0 0 143-15,0 0 43 0,0 0 52 16</inkml:trace>
  <inkml:trace contextRef="#ctx0" brushRef="#br0" timeOffset="29258.11">20530 9400 1287 0,'0'0'410'0,"0"0"38"16,0 0-8-16,10-6-43 0,-3 6-29 16,-3-2-4-16,1 0-119 0,3 1-17 0,-1-1-8 15,2 2-28-15,-1 0-10 0,-2 0-18 0,2 0-5 16,-1 0-16-16,1 0-36 15,0 0-9-15,-3 0-55 0,3 0-10 0,-1 2-38 16,-1-1-28-16,-6-1-44 0,12 0-35 0,-7 2-45 0,1-1-63 16,1 0-102-16,-2-6-170 0,1 3-437 15,-6 2 125-15,10-1 31 0,-7-1 105 16,-1-1 54-16</inkml:trace>
  <inkml:trace contextRef="#ctx0" brushRef="#br0" timeOffset="29758.48">20271 9154 1402 0,'-7'0'476'0,"7"0"-23"16,-9 0-56-16,9 0-10 0,0 0-32 0,0 0-104 16,0 0-13-16,0 0-18 0,0 0-22 15,19-6-6-15,-4 2-21 0,5-1 8 0,6 1-15 16,3-2-26-16,9-4-12 0,3 4 2 0,-2-1-3 16,-4 1-33-16,-7 1 16 0,-2 3 4 0,-3-2-17 15,0 2-10-15,-5 2 9 0,0 3 32 16,-3 1-29-16,1 2-15 0,-1 0 23 15,-1 5 82-15,-4-2-16 0,0 4-27 0,-3 4 19 16,1-4-111-16,-1 6 6 0,-4 0-4 16,3 0-3-16,-4 5 29 0,3 1-1 0,-5 1 13 15,3-2-35-15,-1 2-17 0,-2-1-11 0,0-1 4 16,-2-2 13-16,2 0-8 0,-3 3 14 0,0-6-6 16,3 0-13-16,-2 0-48 15,0-3 43-15,2-2-36 16,0-1 11-16,-1-3-19 0,-1-1-32 0,2 2-1 0,0-4-66 15,0-1-18-15,-3 1-26 0,6-1-28 0,-3-6-51 0,0 0-10 16,3 5-26-16,-3-5 5 0,0 0-56 0,0 0-82 16,0 0-54-16,10-11-458 0,-8 8-17 0,-2-2 111 15,0 0 55-15,0-1 76 0,-2 0 52 16</inkml:trace>
  <inkml:trace contextRef="#ctx0" brushRef="#br0" timeOffset="30030.34">20417 9447 1750 0,'-10'0'430'0,"7"-2"-23"16,3 2-46-16,0 0-13 0,0 0-43 15,0 0 15-15,0 0-26 0,0 0-12 0,26-1-18 16,-9 0-26-16,2-1-31 0,4-1-10 16,1 0-36-16,3 0-7 0,1-3-3 0,3 4 64 0,0-3-26 15,7-3-20-15,-4 3-97 16,-6 2-21-16,0-2-5 0,0 1-23 0,-2-3-23 15,-5 4-18-15,-1 0-43 16,-2-2-1-16,0 3-32 0,-3-2-19 0,-2 2-10 16,0 0-2-16,-3-1-39 0,1 2-5 0,-1-1-15 0,-3 0-36 15,3 1-39-15,-4 1-138 0,-1-3-2 0,2 5-466 16,-4 0 33-16,3 2 69 0,-4-3 57 0,3 4 84 16</inkml:trace>
  <inkml:trace contextRef="#ctx0" brushRef="#br0" timeOffset="30996.84">20989 9306 1446 0,'-13'0'466'0,"0"1"22"0,1 3-4 15,1-3-74-15,4 5-13 0,-1-2-26 16,0 3-8-16,0 0-63 0,4 1 2 16,-2 4-21-16,3-2-25 0,1 3-38 0,0-2 12 15,2 3-17-15,2-1-32 0,0 1-17 16,1 2-13-16,3-2 21 0,2 0-26 0,1-1-34 15,2 0-2-15,-1-1-15 0,5 1-3 0,3-2-7 16,2-1-3-16,1-1-34 0,2-2 9 0,0-3-9 31,0-2-7-31,0 1 18 0,1-6-8 0,-1 2-35 0,5-4-9 0,-3-2 26 0,-1 1-4 16,-2-2-6-16,-3-3 2 0,-1 4-4 0,-4-5 17 16,1 0-17-16,-6 0-3 0,1-1 7 0,-2 0-9 15,-3 2-16-15,-2-2 0 0,-3 0 0 16,0 1 0-16,-2-3 0 0,-4 3 0 15,1 0 0-15,-3 0 0 16,-2-1 0-16,0 2 0 0,-3 2 0 0,-1-1 0 0,-2 2 0 16,-1 2 0-16,2 2 0 0,-2 1 0 0,1-1 0 15,-2 2 0-15,3 1 0 0,-3 1 0 0,2 0 0 16,-1 1 0-16,1 0 0 0,1 1 0 0,1 2 0 16,0-2 0-16,1 3 0 15,-1 1 0-15,2 1 0 16,2-1 0-16,0 3 0 0,-1 0 0 0,5 1 0 0,-2 0 0 0,-1 1 0 0,4 1 0 15,0 0 0-15,0 0 0 16,3 2 0-16,-1-1 0 0,0 0 0 0,3-2 0 16,0 0 0-16,3 2 0 0,-1 0 0 15,1-1 0-15,2-3 0 0,0 3 0 16,0-2 0-16,5-1 0 0,-2-3 0 0,2 1 0 0,3-1 0 16,0 0 0-16,0-2 0 0,3-2 0 15,1-1 0-15,0-1 0 0,-1 0 0 0,3-1 0 0,-2-1 0 16,4-2 0-16,-2 2 0 0,-2-3 0 0,1-2 0 15,-3 2 0-15,2-3 0 0,-3-1 0 16,-1 1 0-16,-1-1 0 16,-2-1 0-16,0-2 0 0,-7 1 0 0,3 0 0 0,-1-2 0 15,-4-1 0-15,-1 1 0 16,-4-1 0-16,2 1 0 0,-1-1 0 0,-3-1 0 0,-3 3 0 0,1 0 0 0,0 3 0 16,-2-2 0-16,0 3 0 0,-3 0 0 15,2 3 0-15,-1-1 0 0,0 1 0 16,-2 3 0-16,1-1 0 15,1 1 0-15,1 1-98 0,-1 0-132 0,1-1-29 0,1 4-35 0,1-2-34 16,0 2-45-16,-1 0-129 0,0 2-110 16,2-2-440-16,0 2 123 0,0-1 54 0,3 1 119 15,-2-3 76-15,2 2 65 0,-1-2 57 0</inkml:trace>
  <inkml:trace contextRef="#ctx0" brushRef="#br0" timeOffset="34209.19">20627 10499 1499 0,'6'-1'469'0,"-6"1"-34"0,10-1-5 0,-10 1-38 16,11 4-39-16,-7-3-5 0,4 3-61 0,-3 0-18 16,-2 2-26-16,-1-3-8 0,0 4-27 15,-2 2 1-15,-2-2-24 0,-3 1-14 0,0 4-12 16,-3-4-46-16,3 1 7 0,-1-1 3 0,-3 1-36 16,4-2 15-16,2 0-28 0,0-4 6 15,1 3-16-15,2-1-13 0,0-1-18 16,0 0 16-16,5 1-3 0,-2 1-15 0,2-1 20 15,0 1-5-15,0 0-5 0,2 1 25 0,-1-1-4 0,-3 1 56 16,-1 0-21-16,0 0 3 0,1 0 17 16,-3 3 52-16,-3-3 44 31,-1 4-26-31,-2-3-128 0,-4 3-59 0,-3 1 0 0,1-3 0 0,-4 0 0 0,3 0 0 0,-3 0 0 0,2-3 0 16,1-2 0-16,0 2 0 0,2-2 0 0,1-2 0 15,5-2 0-15,-2 0 0 0,7 0-164 16,-6-6-164-16,4 0-71 0,4-1-88 15,4-6-163-15,3-1-479 16,2-3 113-16,2-2 87 0,10-6 138 0,-2-1 69 0,4 3 80 0,-2 2 56 16</inkml:trace>
  <inkml:trace contextRef="#ctx0" brushRef="#br0" timeOffset="34481.87">20768 10538 880 0,'8'-2'269'0,"-2"1"5"0,-2 3 64 0,-4-2 17 16,6 7-35-16,-6-2-2 0,2-1-14 0,-2 2-2 15,0 1-48 1,0 0-3-16,0 1-13 0,0 2-49 0,3-1 6 0,-1-2-9 0,3 4-98 0,-2-4 19 15,5 0-35 1,0-1-1-16,2 0 19 0,4-1-3 0,-3-3-8 0,2-2 3 0,0 0 41 16,2-2-10-16,1-3-11 0,-1-2 39 0,2 2-3 15,-3-5 26-15,1 1-44 16,-2-1 1-16,-5 0-4 16,-1-2 6-16,-4 1 77 0,2 1-39 0,-4-2-12 0,-2 0-6 15,-4 1-7-15,2 3-14 0,-4-3-124 0,-1 6-26 16,-3-2-18-16,-1 4-26 0,2 0-53 0,-3 6-26 15,0-1-36-15,-2 0-33 0,-3 4-26 16,3 0-23-16,-3 4-89 0,2-1-103 0,-2 5-548 0,3 1 67 16,-1-1 93-16,1 3 70 15,-1-3 106-15,4 3 38 0</inkml:trace>
</inkml:ink>
</file>

<file path=ppt/ink/ink19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0:52.654"/>
    </inkml:context>
    <inkml:brush xml:id="br0">
      <inkml:brushProperty name="width" value="0.05292" units="cm"/>
      <inkml:brushProperty name="height" value="0.05292" units="cm"/>
      <inkml:brushProperty name="color" value="#0070C0"/>
    </inkml:brush>
  </inkml:definitions>
  <inkml:trace contextRef="#ctx0" brushRef="#br0">5480 2890 1384 0,'0'0'430'0,"0"0"-33"0,18 6-31 0,-5-3-13 0,8 1-58 16,2 1-19-16,18 3-40 0,5 1-19 0,5-3 8 0,18 4-38 15,-2-1-31-15,5-1-2 0,2-1-26 0,0 0 0 16,3 2-33-16,0-2-13 0,-3-1-34 16,-2-3-30-16,-5 3-18 15,-11-2-41-15,-2 1-28 0,-8-3-10 0,-7 0-59 0,-8 1-75 16,-3-1-115-16,-5-2-575 0,-3 1 25 0,-5 0 118 16,-1-1 79-16,-4 0 51 0</inkml:trace>
  <inkml:trace contextRef="#ctx0" brushRef="#br0" timeOffset="243.87">5765 3169 1052 0,'-2'4'389'0,"6"0"-57"0,6 1-32 0,4-3-11 0,6 1-23 0,11 0-40 0,15-1-11 0,10 1-16 0,16-2-17 15,7-1-23-15,3 0 56 0,0-2-39 0,1-2-22 16,-3 4-18-16,-1-3-39 0,-7-1-36 16,-13 3-15-16,-1 1-33 0,-2 0-90 0,-5 2-89 15,-1 1-116-15,-4 5-186 0,-11-3-395 16,-6-1 49-16,-3 1 139 0,-1 2 63 16,-7-1 67-16</inkml:trace>
  <inkml:trace contextRef="#ctx0" brushRef="#br0" timeOffset="4705.76">4524 5181 1535 0,'5'13'471'0,"-5"-6"-41"16,3 3-43-16,-3 4-11 0,2-1-53 0,0 5-16 15,-2 1-51-15,0 2-11 0,0 0-24 16,1 1-22-16,-1 1-48 0,2-2 11 15,-2 2-19-15,0-2-64 0,3 2-12 0,-3-3-31 0,2 1-54 16,-2-1-39-16,1-3-4 0,0-1-59 16,0-2-70-16,4 3-99 0,-3-5-100 15,1 1-535-15,0-4 84 0,-1 1 106 0,1-3 55 16,-1 0 88-16</inkml:trace>
  <inkml:trace contextRef="#ctx0" brushRef="#br0" timeOffset="5062.99">4522 5277 1489 0,'7'-11'441'0,"3"3"-52"15,3 0-16-15,-2 2-40 0,3 0-23 0,2 3-24 16,-1 1-22-16,1 0-31 16,2 2-21-16,0 0-25 0,-3 3 18 0,-2 1-33 15,3 2-1-15,-4 0-12 0,-2 2-31 0,0 0 33 0,-2 1-92 16,-5 2-2-16,2-1-8 16,-5 3-11-16,-3 0 6 0,-1-1 64 0,-2 4-8 15,-4 2-23-15,-3-2-13 0,-2 0-41 16,1-2-63-16,0 2-22 0,3-6-24 15,-2 1-22-15,3 0-30 0,0-4-41 0,5-1-104 0,-1 0-147 32,1-4-545-32,0-1 46 0,5-1 125 0,0 0 55 0,0 0 122 0,0 0 46 0</inkml:trace>
  <inkml:trace contextRef="#ctx0" brushRef="#br0" timeOffset="5325.93">4844 5130 1290 0,'0'0'394'0,"0"0"-18"0,-7 14 57 0,4-3-62 16,1 3-13-16,-4 3-7 0,-1 5-31 15,4 3-98-15,-5 11-27 0,1 1-11 0,-1 1-35 16,2 0 9-16,4 1-22 0,-5-1 7 16,4 2-15-16,3-8-30 0,-2-5-4 0,2 1-17 15,0-5-41-15,0-1 15 0,2-1-64 0,0-2-10 16,1 0-15-16,0-1-54 0,1-5-18 15,0-1-31-15,0-1-48 0,2-2-144 16,-1-3-115 0,0-2-484-16,3-2 154 0,-1-3 15 0,-7 1 77 0,18-7 67 0</inkml:trace>
  <inkml:trace contextRef="#ctx0" brushRef="#br0" timeOffset="5662.84">5060 5336 1433 0,'-7'3'394'0,"1"4"-33"16,-2 2-36-16,3 1 0 0,-3 3-30 15,3 3-29-15,0-1-15 0,0 3-31 16,5 4-28-16,0-3-11 16,0 1-17-16,0 0-23 0,5-2-13 0,0 1-15 0,0-1-1 0,3-4-17 15,0-1 0-15,2-1-8 0,-2-1 5 16,-1-5 15-16,3 1 60 0,-4-3 27 0,2-1 32 15,-1-2-73-15,-1-1 1 0,-6 0-13 0,0 0-1 16,10-3-86-16,-8 0 23 0,-2 3-8 0,0-8-20 16,0 8 2-16,-5-7-5 0,0 2-10 15,2 0-21-15,-5 2-25 0,0-1-21 0,-1-1-35 16,1 2-37-16,0-1-33 0,-5 2-35 16,3-4-26-16,0 2-18 0,-1 1-54 0,1-2-56 15,0 0-123-15,-1-2-28 0,4 2-476 16,0-3 58-16,1 0 139 0,1-4 80 0,0 0 63 15,2-2 46-15</inkml:trace>
  <inkml:trace contextRef="#ctx0" brushRef="#br0" timeOffset="5884.06">4998 5189 998 0,'5'-8'340'0,"3"2"77"0,-3 0-22 16,3 6-27-16,2 0-71 16,-2 3-2-16,4 2-9 0,4 2-27 0,-1 3 2 0,3 4-3 15,0 2-9-15,5 5 12 0,0 5-31 0,-3 2 47 16,1 1-14-16,-5 4-38 15,-1 0 3-15,-2 3-15 0,-3-2-16 0,-5 3-10 0,1 1-62 16,-4-6 16-16,-2-3-31 0,-3-2-38 0,1 1-29 16,-1-2-56-16,-2-2-33 31,3-4-71-31,-3-1-45 16,4-5-35-16,-1-2-79 0,-1-3-198 0,1 0-588 0,1-3 87 0,0-4 115 0,1-2 99 0,0 0 57 0,0 0 70 0,0 0 60 15</inkml:trace>
  <inkml:trace contextRef="#ctx0" brushRef="#br0" timeOffset="6106.6">5791 5365 1220 0,'10'-7'377'0,"0"1"-21"0,0 1-47 0,1 2-63 16,-1-2-34-16,-3 4-48 0,4-1-64 16,-4-1-59-16,1 1-64 0,-3 2-95 0,-5 0-46 15,8 3-84-15,-5 0-466 0,-3 1 56 16,-3 1 26-16</inkml:trace>
  <inkml:trace contextRef="#ctx0" brushRef="#br0" timeOffset="6282.07">5770 5513 1185 0,'-3'3'419'0,"3"-3"-9"0,-5 3 58 0,5-3-55 16,0 0-27-16,-2 2-35 0,2-2-11 0,0 0-117 16,0 0-16-16,0 0-20 0,20-8 15 15,-7 3-41-15,2 3-35 0,3-4-24 0,2-5-45 16,4 5-42-16,-1-2-35 0,0 0-39 0,0-1-46 16,0 1-57-16,0 1-122 0,-5 0-146 15,-3 2-463-15,3-1 76 0,-5 0 47 16,-2 3 107-16,-1 0 123 15</inkml:trace>
  <inkml:trace contextRef="#ctx0" brushRef="#br0" timeOffset="7522.85">993 2928 847 0,'-16'0'384'0,"7"0"-64"0,6 0-21 0,3 0-4 16,0 0-16-16,0 0-31 0,0 0-15 0,37 1-11 15,-12-1 40-15,23-1-7 0,9-2-34 16,20-1-14-16,5-1-25 0,2-2-3 15,1 1-15-15,2-1-13 16,5-1-36-16,3 2-38 0,-3-5 2 0,-4 3-46 16,-1 2-17-16,-5 0-4 0,-5 0-52 0,-3 2-32 0,-15 1-46 15,-5-3-64-15,-5 3-74 0,-11 2-115 16,-7 1-553-16,-10 0 105 0,-4 0 84 0,-6 1 52 0,-6 1 89 16</inkml:trace>
  <inkml:trace contextRef="#ctx0" brushRef="#br0" timeOffset="7815.58">945 3288 865 0,'0'0'381'0,"30"-9"-38"0,-4 2-31 0,13-2-12 15,7-2-31-15,18-4-24 0,8-2-19 0,2 0 7 16,3-2-34-16,0 1-2 0,5 2-35 31,-3-2-19-31,1 1-2 0,-1 0-1 0,1 1-14 0,-4 2-1 0,-6-1-25 0,-3 2-5 16,-6 1 0-16,-12 3 4 15,-3-2-19-15,-5 3-14 0,0-1-15 0,-7 4 1 16,-7 0-6-16,-6 0 23 0,-3 3-28 16,0-1 7-16,-5 1-9 0,0-2-19 0,-1 4 34 15,-4-3-26-15,0 1-5 0,0 1-5 0,-3 1-28 0,0-2-31 16,-5 2-10-16,7-2-34 0,-7 2-27 0,0 0-32 15,3-2-60-15,-3 2-114 0,0 0-81 16,0 0-510-16,0 0 80 0,0 0 66 0,-16 6 85 16,9-5 71-16</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1T16:08:15.132"/>
    </inkml:context>
    <inkml:brush xml:id="br0">
      <inkml:brushProperty name="width" value="0.05292" units="cm"/>
      <inkml:brushProperty name="height" value="0.05292" units="cm"/>
      <inkml:brushProperty name="color" value="#0070C0"/>
    </inkml:brush>
  </inkml:definitions>
  <inkml:trace contextRef="#ctx0" brushRef="#br0">15523 736 1116 0,'-13'7'412'0,"8"-1"-34"0,2 1-45 15,-2 3-15-15,0 2-27 0,-2 3-35 0,-1 6-18 16,0 0-35-16,3 1-14 31,-8 11-7-31,3 0-16 0,0-1-10 0,4-4-23 0,-1-3-15 0,2-1-3 0,-1-2-43 0,4-2 7 0,0-1-25 16,-1-2-21-16,0-2-2 0,3-2-5 15,-2-1 7-15,2-2-33 0,-1 0 33 0,-1-4-15 16,2 0-10-16,0-4 35 0,0-2 1 16,0 0 15-16,0 0-5 0,0 0-8 0,8-18 25 15,-6 4 16-15,1-3-102 16,-1-4 28-16,4-6-6 0,-1-11 1 16,2-3 20-16,1-6-2 0,3 2-13 0,-4-10 30 0,6 10 60 15,-3 4-4-15,1 2-47 16,1 5-1-16,-2 1 3 0,1 9 2 0,-2 5 10 0,-3 3 68 0,2 3-45 31,-1 5 26-31,-1 2-23 0,2 2 6 0,-1 3 12 0,1 4 18 0,0 5-23 0,2 3-16 0,0 8-7 16,-2 3 0-1,2 9 20-15,0 3-48 0,-2 1 26 0,-3 2-22 0,0 1-9 0,-2 0-21 16,-1-6 29-16,0 7-29 16,-2-6-10-16,3-6 2 0,-3 3-22 0,0-1-27 0,1-3-42 15,-1-3-52-15,0 0-33 0,2-4-44 16,0-1-17-16,-2-3-47 0,3-2-54 0,-3-2-186 15,0-2-72-15,3-2-417 0,1-2 87 0,-1-2 72 16,2 0 53-16,-5-3 113 0,0 0 59 0</inkml:trace>
  <inkml:trace contextRef="#ctx0" brushRef="#br0" timeOffset="202.52">15344 1045 1476 0,'0'0'428'0,"-6"-2"-65"0,6 2-9 0,-5-2-32 0,5 2 36 15,0 0-30-15,0 0 15 0,0 0-77 16,23-2-15-16,-13-1-13 0,6 1-36 0,-1-1-51 16,3 0 21-16,8-2-105 0,-1 1-19 0,1-1-58 15,2 0-57 1,-2 0-40-16,2 0-70 0,0 1-125 0,-7-1-151 0,2 0-453 0,-3 2 56 15,-1-1 105-15,-1-2 54 0,-1 3 67 0</inkml:trace>
  <inkml:trace contextRef="#ctx0" brushRef="#br0" timeOffset="599.04">15887 868 926 0,'0'0'330'0,"0"0"-2"0,0 0-41 0,0 15 71 0,-2-7-38 0,1 1-49 15,2 1-2-15,-1 3-36 16,2-1-15-16,-2 2-11 0,2 1-10 0,1-2-18 0,-3 0-41 16,2 1 1-16,-1-1-29 0,-1-1-13 0,2-1 16 15,-2-1-21-15,3-2 31 16,-3 0 28-16,2 0-21 0,-1-3-15 0,1 0-17 16,-2-2 1-16,0-3 116 0,2 3-12 0,-2-3-11 15,0 0-46-15,0 0 10 0,6-11 0 16,-4 5-115-16,0-1 2 0,1 1 11 0,2-2-18 0,1 0 7 15,-1 0-9-15,2 1-14 0,-2 1 21 16,1 2-20-16,2-1 2 0,-1 1-3 16,0 3-2-1,-1 0 13-15,-6 1-13 0,13 3 35 0,-8 1-17 0,0 2-10 16,0 0 10-16,0 2-1 0,0 1-11 0,-2 0-7 0,1 0-1 0,0 0-34 16,-2 0-38-16,-2 1-16 0,3-2-56 15,-3 1-41-15,2 0-33 0,-2-1-41 0,3-1-34 16,-3 0-27-16,3-1-183 0,-1-2 21 15,0-1-514-15,1 0 76 0,-3-3 124 0,7 1 19 16,-1-1 93-16,2 0 44 0</inkml:trace>
  <inkml:trace contextRef="#ctx0" brushRef="#br0" timeOffset="1834.2">16403 956 1261 0,'-6'-2'372'0,"6"2"-22"0,-8 0-40 0,8 0-26 16,-12 2-89-16,7 0-32 0,-1 1-4 0,-2 1 2 15,3-1-27-15,-4 4 4 0,1-1-23 0,0 1 3 16,3-1-16-16,-1 0-5 0,-1 1-7 16,2-2-8-1,2 2 0-15,-2 0-26 0,3-1-28 0,1-2 13 0,-1 1-23 0,2 1-3 0,0-3 16 16,2 1-15-16,-2-4-16 0,3 3 23 15,3-2-8-15,-6-1-7 0,0 0 2 0,14-3 0 16,-8 1 0-16,-2 0 16 0,2 0-29 16,-1-1 14-16,0 2 17 0,-5 1-21 0,5-2-14 15,1 1 20-15,-6 1-6 0,0 0-14 16,8 3 7-16,-4-1-8 0,-4-2 13 0,6 5-5 16,-2-3-20-16,-1 0-9 0,2 2 19 0,-2-4-21 15,-1 3-2-15,4-1 13 16,-6-2-21-1,10 1 28-15,-10-1 18 0,12-4-10 0,-4 2 5 0,0-4 33 0,3 1-5 0,-1-3 26 16,0 0 20-16,0-3 3 0,0-1 13 0,-2 0 30 16,-1-1-5 15,1-1 3-31,0-2 5 0,0-4-3 0,-3 2 11 0,3-4-14 0,-3-2 22 0,0 1-52 0,-3 4 20 0,3 0 1 0,-2 2 12 16,-1 3-7-16,1 2-8 15,-2 2-6-15,-1 2-12 0,2 1-25 0,-2 2-11 0,0 4-7 16,0 1 9-16,0 0-17 0,0 0 74 0,0 19-82 15,-2-7-12-15,1 4 32 0,-2 2-7 16,1 1-20-16,0 2-6 0,-1 4 80 0,0 0-11 16,1 0-48-16,0-3-8 0,1 0-43 15,-1-2-21-15,2-1-48 0,-3-3-39 0,3 0-15 16,0-2-19-16,0-1-29 0,0-2 1 0,3-2-45 16,-3-1-21-16,2 1-13 0,-1-5 11 15,1 1-54-15,3-2-118 0,-2-2-51 16,-3-1 87-16,8 0-41 0,-8 0-34 0,12-5 60 15,-4 1 168-15,-3-3 47 0,3-1 89 0,2 1 23 16,-2-4 60-16,-1 0 96 0,1-2 39 0,2 2 35 16,-2-2 8-16,-1 2 37 0,-2 0 1 0,3 0 37 15,-2 1-26 1,-2 2 48-16,-1 1 8 0,2-1-40 0,-2 3-68 0,-1 0 14 0,1 0-34 16,0 2-13-16,-3 1 6 0,0 2-26 15,0 0 2-15,0 0 6 0,0 0-18 0,7 8-24 16,-6-2 19-16,-1-1-29 0,2 2 6 0,-2 1-16 15,2-2-10-15,-2 1-2 0,3-1-34 16,0 0 0-16,-1 1-26 0,0-3 1 16,1-1-11-16,2 1 13 0,-2-2-2 0,2-1-6 15,-5-1 18-15,11 0 11 0,-4-2-8 0,-2 0-21 16,3-2 24-16,0-1 12 0,-3 1-7 16,2-1 40-16,1 0-12 0,-3-1-11 0,0 1 31 15,0 0 1-15,-2 2 9 0,2 1-25 0,-3-1 0 16,-2 3 7-16,0 0 108 0,8 5-36 0,-5-1-20 15,-3 5 25-15,2 1-27 0,-2 3 24 16,0 2-14-16,-2 3-26 0,1 1 4 0,-1 3-34 16,0-1 11-16,-1 4-14 0,0-1-13 15,1 1-29-15,-3-2-25 0,2-3-56 16,1-2-36-16,0-2-65 0,-2-2-9 0,2 0-34 16,0-5-48-16,2 0-131 0,-1-4-158 0,1-1-418 15,0-3 128-15,0-1 5 0,0 0 146 0,0 0 47 16,0 0 96-16</inkml:trace>
  <inkml:trace contextRef="#ctx0" brushRef="#br0" timeOffset="2160.61">17035 916 1085 0,'-15'7'330'0,"2"-3"-13"0,1-1-25 15,4 1-23-15,3 1-44 0,-1-1-10 16,2 1-15-16,-2 1-23 0,2 1 2 0,3-1-31 16,-2 3-15-16,6 0-10 0,-2 0 15 0,-1 1-2 15,2 0-13-15,0 2 5 0,4 1 28 16,-4-1-43-16,2 0 15 0,-3 0 0 0,-1-2-8 16,3 1 10-16,-3-1 91 0,0 0 12 0,-3-1-39 15,3-1-28-15,-3 1 11 0,-1-1-31 16,1 0-21-16,-2-2 1 0,2 1-26 15,-4-2-6-15,4-1-30 0,-3 0-18 0,-1-2-66 0,2 1-57 16,0-1-35-16,0-2-52 0,5 0-36 16,-8 1-28-16,8-1-74 0,-8 0-128 15,8 0-543-15,-4-1 29 0,4 1 138 0,0 0 43 16,0 0 67-16,0 0 74 0</inkml:trace>
  <inkml:trace contextRef="#ctx0" brushRef="#br0" timeOffset="2469.05">17161 1052 1249 0,'11'-11'407'0,"-1"2"-36"16,-3-1-46-16,1 1-8 0,-2 0-10 0,-2 1-38 16,1 1-3-16,-2-1 3 0,-1 3-18 0,1-1-13 0,-3 2-43 15,0-1-6-15,0 5-20 16,-3-5 5-16,3 5-41 0,0 0 0 0,0 0-89 15,-15 10-14-15,8-6-7 0,-1 5 18 0,3 0-10 16,2 1 0-16,-2 1 10 0,0-1-13 16,2 0-8-16,1 0 9 0,2 0-22 0,0-1-2 15,4-1 1-15,0 0-12 0,3 0-50 16,0-1 5-16,2-2-46 0,1-2-16 0,5 1-46 0,-2-3-25 16,0-1-8-16,5-1-8 0,0-1-48 15,3 0-115-15,6-3-513 0,12-4 65 16,-1-1 68-16,0-3 91 15,1 0 76-15</inkml:trace>
  <inkml:trace contextRef="#ctx0" brushRef="#br0" timeOffset="2961.03">18107 519 977 0,'0'0'407'0,"-12"10"-56"0,9-2 10 0,0 1-64 0,1 4-16 16,-1 2-14-16,3 4-50 0,-2 2-15 16,2 0-28-1,0 2-2-15,2 2-57 0,-2-2-7 0,2-1-26 0,-1 3-39 0,4-5-7 0,-2 0 7 16,-1-2-40-16,0 0 12 0,3-5-20 15,-4 0 13-15,4-1-16 0,-3-3-5 0,1-1 8 0,-3-1-2 16,2-3 9-16,1-2 14 0,-3-2-22 16,0 0 6-16,0 0 11 0,0 0 14 15,0 0-9-15,0 0 4 0,-15-11 21 0,9 6-13 16,-1 1 28-16,-1 0-32 0,-2-2 14 0,0 3 3 0,0 0-5 16,-1 1 0-16,-2 2-1 31,0 0-9-31,0 0 12 15,-2 3-9-15,0 0 37 0,2 1-7 0,-2 0-33 0,2 1-1 0,0 1 14 0,5 0-27 0,-2 0 22 0,2 2-1 16,1-2-10-16,4 0 0 0,-2 2-3 0,5 0 1 16,0-2-24-16,0 1 14 0,5-1 7 0,0 1-42 15,3-1-4-15,0-2-28 0,2 0-28 16,3 0-27 0,2-2-19-16,-2 0-29 0,3-1-38 0,1-2-41 0,-1 1-36 0,4-2 0 15,0 1-314-15,1-2-203 0,-1-1 51 0,1 1 100 16,0 0 82-16</inkml:trace>
  <inkml:trace contextRef="#ctx0" brushRef="#br0" timeOffset="3711.09">18448 880 962 0,'0'-4'284'0,"0"4"-7"0,0-4-19 0,0 4-7 0,0-6 69 15,0 6-26-15,-3-5-22 0,1 3 12 32,2 2-49-17,-5-5-2-15,5 5-5 0,-5-1-46 0,5 1-21 0,0 0 0 0,-13 1-30 0,13-1-19 0,-7 4 4 0,-1-2-19 0,5 2-20 16,-4 0 20-16,1 1-20 0,1-2-13 15,0 2 2-15,2-1-12 0,-1 1-8 16,3-1-18-16,-4-1-10 0,3 2-13 0,-1-2-20 16,3 2-6-16,0-5 16 0,0 5-25 15,0-5 24-15,0 0-19 0,3 4 20 0,-3-4-8 0,7 1-8 16,-7-1 1-16,8-1 23 0,-8 1-9 16,10-2 17-16,-10 2-1 0,10-1-23 15,-10 1 23-15,11 1 6 0,-6 1-24 0,0-2 16 16,2 1 2-16,-4 2-13 0,4-3-4 0,-1 2 30 31,-1-1-18-31,1 1-8 0,1-1 11 0,-7-1-3 0,13-1 46 0,-8 0-30 0,3-2 20 16,0 0 25-16,2-2-7 0,-2-1 15 0,2-1 18 15,0-2-7-15,-2 0 17 0,2-3-45 16,0-1 2-16,-3 1-1 16,-1-4 9-16,2 0 17 0,-3-5 3 0,2-1-2 0,-2-1 51 15,0 1 20-15,-2 3 15 0,0 1-33 0,-1 4-10 31,-1-1-58-31,1 4-4 0,-2 0 42 0,0 3-60 0,0 0 19 0,0 3-21 0,-2 2-15 16,2 3-1-16,0 0-2 0,0 0 16 0,-18 17-16 16,15-6-18-1,-3 1 29-15,2 4-24 0,-2 3 31 0,4-1-48 0,-1 1-6 0,2 0-15 16,1 0-56-16,1-2-16 0,-1-2-20 0,3 3-57 16,-1-5-33-16,1 0-20 0,0-1-8 31,-1 0-36-31,1-2-27 0,-1-2-24 0,3-1-52 0,-2-1-37 0,-1-6-8 0,2 2-523 0,-2-1 65 15,-2-1 97-15,0 0 74 0,0 0 69 16,8-4 28-16</inkml:trace>
  <inkml:trace contextRef="#ctx0" brushRef="#br0" timeOffset="3939.89">18433 788 1011 0,'-3'-3'430'0,"3"3"-49"0,0 0-25 16,11-6-21-16,-4 3-51 0,1 0-33 0,6-1-13 16,-2 0-28-16,5-1-8 15,4 1-25-15,-3-2-21 0,8 1-23 0,-1 0-25 0,1-1-19 16,2 1-35-16,0-1-18 0,-2 2-46 0,2-1-8 16,-2 2-64-16,-1 0-33 0,1 1-39 15,-5 0-110-15,2-1-109 0,-3 1-308 16,-2 1-64-1,-3-1 44-15,1 1 119 0,-4 0 37 0</inkml:trace>
  <inkml:trace contextRef="#ctx0" brushRef="#br0" timeOffset="4272.74">19015 685 632 0,'0'0'327'0,"0"0"-63"15,0 0-49-15,0 0-10 0,0 0 23 16,0 0 61-16,-23 6-28 0,15-3 3 16,0 1-39-16,-2 1-66 0,0 1-6 0,0 2 11 0,-1-1-36 15,-1 3-15-15,2-1-14 0,-1 2 1 31,3-3-26-31,0 3 21 0,1-1-21 0,0-2-7 0,1 2-16 0,4-3-7 0,-1 1-11 16,0-2-15-16,3 0-18 0,0-2 10 0,3-1-5 0,-1 1 3 16,1-2-6-16,3-2-2 15,-6 0 26-15,17-3-11 0,-9 0-7 0,5-1-13 16,0 0 18-16,-1-2 20 0,-1 1-10 0,1 0 26 16,2 1-1-16,-4 0 16 0,0 2 8 15,0-1-13-15,-3 2 30 0,1 0-14 0,4 0-6 16,-4 3 2-16,1-1-17 0,-1 3-3 0,2-1-7 15,0 1-29-15,0 1-43 0,2 0-36 16,-3 1-56-16,3-1-52 0,1 0-48 16,-2 0-113-16,1-1-50 0,-1 0-516 0,1-1 118 0,-2-1 39 15,1 0 87-15,-3 0 94 0</inkml:trace>
  <inkml:trace contextRef="#ctx0" brushRef="#br0" timeOffset="5633.62">15858 1679 1346 0,'-4'-7'407'0,"-2"1"-23"0,1 2-36 16,-2 2-31-16,-1 2-56 0,-2 0-7 0,2 2-34 15,-5 2-8-15,0 1-32 0,-2 6-73 0,-3 2-12 16,2 1-6-16,-9 9-14 16,4 0 22-16,1 1-20 0,5-1-24 0,5-5 22 0,-1 2-27 15,1 2 4-15,4-5-9 0,2 0-15 0,1 0 8 16,0-2-21-16,6-2 8 31,0-1-12-31,2 0 7 0,2-1-29 0,4-3 32 0,1 2-52 0,2-3 8 0,1-3-51 0,0-1 18 0,3-2-55 16,-1 1 1-16,4-4-43 0,0-2-57 15,2 0-82-15,0 0-43 0,0-4-18 16,3 2-420-16,-3-2 51 16,-3 0 69-16,4 1 74 0</inkml:trace>
  <inkml:trace contextRef="#ctx0" brushRef="#br0" timeOffset="6319.92">16095 1849 959 0,'-11'2'308'0,"4"0"-50"0,-1 1 1 15,1 0-11-15,-4 2 0 16,4-1-48-16,-1 2-8 0,-1 1-8 31,0-1-25-31,1 1-3 0,3-1-43 0,-3 1-11 0,3-1-12 0,0 1-16 0,2-1 0 0,1 0-7 16,-1-1-29-16,3 0-10 0,0-1-13 0,0-4-2 15,3 6 28-15,0-5-28 0,-3-1 8 0,10 0-19 16,-5 0-10 0,-5 0 14-16,10 0 1 0,-3 0 1 0,-7 0 0 0,11 0-1 15,-3 0-7-15,-3 3 3 0,0-2-21 16,0 2 10-16,0 0-17 0,1 0 12 0,-2 1 0 0,-1 1-20 15,4-2-1-15,-1 1 9 0,-1-1-11 16,0-1 21-16,0-1 12 0,1 0 6 0,-6-1 15 0,12-4-6 16,-4-1 37-16,2 0 18 15,-2-4 99 1,-1 0-2-16,3-4-57 0,0-2 24 0,-4 0-6 0,2-1 11 0,-1-3-31 0,-1-1 15 16,-1-4 93-16,0-1-47 15,0-1 8-15,-2 1-87 0,1-1-13 0,2 2 11 0,-4 5 4 16,1 1-7-16,0 6-28 0,-1-1-3 15,1 5 16-15,-1 0-11 0,-2 3-7 0,3 5-1 0,-3 0-19 16,0 0 27-16,2 13-36 0,-2-3 8 16,0 3 19-16,0 3-19 0,-2 3-3 0,2 2-35 15,2 2-16-15,-1 1 1 0,1 2-16 16,0-1-41-16,1-1-41 16,2 0-30-16,1-6-27 0,-2 0-27 0,-1-3-28 0,2-1-83 15,-2-2-137-15,2-2-63 0,0-1-360 0,0-3 39 16,0-1 143-16,1-1 22 0,1-2 83 0</inkml:trace>
  <inkml:trace contextRef="#ctx0" brushRef="#br0" timeOffset="7146.68">16662 1761 908 0,'-6'4'348'0,"-2"0"-7"16,1 1-44-16,-1 3-31 0,0 1-8 0,0 1-17 0,-2 3-49 0,6-2-15 16,-4 2-14-16,0 2-22 0,5-4-33 0,-2 1 2 15,3-3-5-15,1 1-13 16,1-1-31-16,1-1 8 0,-1 0-2 0,2-2-18 16,5 0 9-16,-4-1-24 0,5-1 12 15,-2-2-18-15,1-1 13 0,0-2 8 16,-7 1-21-16,16-2-5 0,-8-2 10 0,-3 0 8 0,3-1 5 15,-1-1-2-15,-2-1 7 0,1 2 72 16,-1 0-29 0,0 0 1-16,-1 0 18 0,-1 1-44 0,0 2 0 0,0 0 8 0,-3 2-24 15,0 0-4-15,7-2 13 0,-7 2-34 0,0 0 20 0,0 0-20 16,1 9 1-16,-1-9-6 16,2 6-28-16,-2-4-1 0,0-2 4 0,5 6-16 15,-5-5-26-15,0-1 11 0,5 4-31 0,-5-4 8 16,8 1 7-16,-8-1 8 0,0 0 18 0,13-3-15 15,-8 2 12-15,-5 1 3 0,10-3 8 16,-7 0 12-16,1 1-2 0,-4 2-13 16,6-4 23-16,-2 3 3 0,-4 1-18 0,6-2 7 0,-6 2-2 15,5 0 18-15,-5 0-26 0,0 0 11 16,8 3-29-16,-6-1 28 16,-2-2-20-16,6 3 13 0,-6-3-5 0,7 2-11 0,-4 0 29 0,-3-2-21 15,10-2 25-15,-5-1-17 16,3-1 20-16,2-2 13 0,0-1 21 0,4-1 40 15,-7-2-12-15,6-1-67 0,-3 0 54 0,-3-1-13 16,4-1 28-16,-4-1-10 16,1-3 93-16,0 4-12 0,-5-4 19 0,4-1-72 0,-2 2 16 15,-2 0-19-15,2 1-19 0,-3 1-6 16,2 3 5-16,-2 2-10 0,0-1-21 0,0 1-35 0,-1 5 35 16,2 1 0-16,-3 3-35 0,0 0 15 15,0 0 2-15,0 0-9 0,0 17-1 16,2-8-23-1,-2 6 3-15,0-1-16 0,0 3-28 0,2 2-22 0,0 1-22 0,-1-2-30 0,-1 1-5 16,3 0-15-16,-1-3-54 16,1 0-31-16,-1-2-11 0,1 0-86 0,2-3-54 0,-5-1-174 15,6-1-358-15,-4 0 125 0,3-4 51 0,-2 1 57 16,1-2 68-16</inkml:trace>
  <inkml:trace contextRef="#ctx0" brushRef="#br0" timeOffset="7673.64">17215 1796 1238 0,'-10'0'428'0,"10"0"-49"0,-11 4-59 0,4-2-26 0,2-1-33 16,-1 4-36-16,-1-1-20 0,2 0-13 16,2 1-36-16,-2 1-20 0,0-1-41 0,0 0-24 15,3 2-20-15,-1-4-20 0,0 3-5 0,3-3-34 16,-2 0-12-16,2-3 27 0,2 5-27 0,-2-5 7 16,5 3 3-16,-5-3 0 0,5 0 10 15,-5 0-13-15,8 1-15 0,-8-1 10 0,10 0 20 16,-10 0-7-16,8 1-5 0,-8-1 12 15,10 0-19-15,-10 0 17 0,11-2-41 0,-4 2-11 16,-2-1 6-16,3-3-5 0,0 1 18 16,2-3 5-16,0 0-13 0,1-2 7 0,-1-2 45 31,2 1 35-31,-1-4 20 0,1 2-7 0,-1-1 21 0,-1-1 40 0,-2-1 0 0,0-1 18 16,1 1 16-16,-3 0-82 0,-1-3-6 0,0 5 31 15,0-1 1-15,-2 1 12 0,0-1 10 0,-1 3-28 16,0 1-2-16,1 2-26 15,-3 1 10-15,0 1-30 0,0 3 4 0,0 2-2 16,0 0-5-16,0 0 5 0,0 0-5 0,0 14-31 16,0-6-12-16,-3 3-1 0,3 0-66 0,0 2-41 15,0 1-33-15,3 1-44 0,-3 0-43 16,3 2-185-16,-1-2-512 16,0-1 72-16,1 0 82 15,0-3 75-15,-1 0 40 0</inkml:trace>
  <inkml:trace contextRef="#ctx0" brushRef="#br0" timeOffset="7957.59">17351 1762 1205 0,'0'-3'387'0,"3"-4"-21"15,1 3-36-15,2 0-31 0,-1-2-40 0,2 1-21 16,1 1-18-16,3-1-20 15,-3 2-21-15,1-1-2 0,-1 1-9 0,0 1-32 0,0-1-59 16,1 3-21-16,-1 0 26 0,-3 0-33 0,5 2 17 16,-4-1 6-16,2 3 7 15,-3 0-30-15,2 2 0 0,-2-1-1 0,1 3 14 0,-1 0-1 16,0 0-17 0,0 2-37-16,-2 1 9 0,-1 0-50 0,1-1-27 0,-1 0-39 0,1-1-30 15,-1 0-55-15,-1 0-71 16,-1-3-138-16,2 2-476 0,-2-1 66 0,3-1 87 0,-1-3 44 15,1 0 72-15</inkml:trace>
  <inkml:trace contextRef="#ctx0" brushRef="#br0" timeOffset="8079.4">17584 1630 693 0,'0'0'97'0,"0"0"-161"0,0 0-504 0</inkml:trace>
  <inkml:trace contextRef="#ctx0" brushRef="#br0" timeOffset="8683.7">17668 1699 1238 0,'-2'8'389'0,"4"-1"-17"0,-4-1-37 0,2 3-46 0,0 1-12 16,0-1-14-16,0 1-37 0,0-3-11 0,0 4-36 16,0-3-28-16,2 1-18 15,-1-1-5-15,-1-1-18 0,3 0-5 0,-1-1 0 0,0-2-5 16,4-1-21-16,-2-2 0 0,-4-1-10 16,9 0-10-16,-9 0 8 0,12-4-16 0,-4-1-10 15,-3-1 8-15,2-1 2 16,-1-1-5-16,-3 1-5 0,2-1-3 15,-3 0 1-15,1 1-29 0,-1-1 36 0,1 0-13 0,-3 1-89 0,0 2 2 16,0-1 11-16,0 2 12 16,-3-1-5-16,3 0 8 0,-2 0 0 0,1 3-16 0,1 2 16 15,-2-6 15-15,0 3-20 0,2 3 7 0,-3-2 24 16,3 2-16-16,0 0-8 0,0 0 16 16,0 0-13-16,0 0 8 0,0 0 28 15,0 0-36-15,0 0 7 0,0 0 32 0,0 0-22 16,0 0-6-16,8 11 22 0,-6-9-2 0,1 1 7 15,0 0 16-15,-1 1-16 0,3-1-2 16,-5 1 0-16,5 0 10 0,-2 0-18 0,0 0 15 16,-1-2 16-16,0 1-10 0,1-1-3 0,0 0-3 15,-3-2 19-15,4 5 14 0,-3-3 16 16,-1-2 24-16,2 3-9 0,-2-3 3 0,5 3-10 16,-5-3 7-1,3 2 1-15,-3-2-11 0,0 0 3 0,8 0-6 0,-8 0-4 16,7 0 2-16,-7 0-20 0,5 2 17 0,1-1-30 15,-6-1 18-15,7 0-23 0,0 1 12 16,-7-1-12-16,9 0-21 0,-2 0-18 0,-7 0-40 0,11 0-32 16,-4 0-22-16,-7 0-57 0,11-1-33 15,-6 1-74-15,2-1-128 0,-4-1-146 0,3 2-441 16,-2-4 114-16,-4 4 78 0,10-1 65 0,-4 0 66 16,4-1 82-16</inkml:trace>
  <inkml:trace contextRef="#ctx0" brushRef="#br0" timeOffset="9179.09">18574 1664 1402 0,'10'2'528'0,"-8"2"19"0,-1 1-30 0,4-1-51 15,-3 4-20-15,1 2-65 0,-1 2-53 0,-2 1-11 32,0 2-38-32,-2 2-23 0,0 2-49 0,-4 1-30 0,-1 3-57 0,-3 8-79 0,-4-2-36 15,-1 0-61-15,2-6-59 0,3-4-82 16,0 0-39-16,4-2-99 0,-1-3-141 16,5-2-471-16,1-2 48 0,2-1 139 0,1-2 69 31,4-2 95-31,3-3 14 0</inkml:trace>
  <inkml:trace contextRef="#ctx0" brushRef="#br0" timeOffset="9744.41">19043 1829 954 0,'0'0'341'0,"5"-12"61"0,-2 5 17 0,0 0-40 0,-1-3-28 15,3-1 12-15,-2-1-55 0,1-3-83 0,0 0-15 47,0-1-13-47,-1-2-13 0,0 3 0 0,-1 2-7 0,1 0-36 0,-1 1 17 0,1 1-27 0,1 3-31 0,-4 0 10 0,1 1-36 16,1 2 8-16,-2 2-5 0,0 3-16 15,0 0-2-15,0 0-8 0,0 0-12 16,10 11-24 0,-7-4 0-16,-2 0-30 0,1 2 15 0,0 0-46 0,1-1 10 0,2 1-15 0,0 3 0 0,2-3 7 15,-1 0 3 1,2-3 11-16,-1 1 1 0,1-2 9 0,0-2 23 0,0-1 20 0,-1-1 12 15,1-2 14-15,0-2 38 0,0-1-5 16,-1-1 33-16,0-3-20 0,-1-2-6 16,-1 0 93-16,0-3-21 0,-2 0-20 15,2-4 0-15,-2-2-5 0,-3-1-31 0,2-3 10 0,0-1-18 16,2-1-10-16,-2 1-2 0,0-1-37 0,0 5 11 16,2 3-49-16,-4 2-10 0,2 2-23 15,0 0-69-15,0 4-26 0,-1 0-40 0,2 4 4 16,-1 2-38-16,1 2-46 0,-3 1-79 15,0 0-139-15,10 9-588 0,-8-1 74 0,4-2 89 0,-4 3 128 16,4-1 14-16,-2 1 81 0,-1 1 82 16</inkml:trace>
  <inkml:trace contextRef="#ctx0" brushRef="#br0" timeOffset="10668.18">19468 1492 872 0,'0'0'428'0,"-6"10"-67"0,2-6-18 16,4 2-39-16,-2-1-37 0,2 4-14 0,-2-1-28 16,1 0-20-16,-1-1-34 0,2 1 11 15,0 1-28-15,2-3-21 0,-1 3-10 0,1-3-13 16,0-1-31-16,2 3 8 0,-2-5-5 31,2 1-20-31,2-2-9 0,-1 0-55 0,0-2-19 0,-5 0 6 0,13-2 33 0,-6 2-5 16,1-5 15-16,-3 1 84 0,3-1-4 0,-3-2 7 15,0 0-15-15,-2 0 5 0,4-1 13 0,-1-1-8 16,-2 1-34-16,-1 3 4 0,1-3 12 16,-2 4-25-16,0-1-19 0,0 1-2 15,-2 1 8-15,0 3-21 0,3-4 18 0,-3 4-17 16,0 0-4-16,0 0-7 0,0 0 8 0,0 0-18 0,0 0 18 15,3 10-8-15,-3-10-21 0,2 7-27 16,-2-4 12-16,0 1 3 0,2 0-13 16,-2-4 2-16,4 5 8 0,-4-3-15 0,0-2 13 15,6 6 10-15,-5-4 7 0,-1-2-9 0,7 3-11 16,-6-3 13-16,-1 0 10 0,8 2-8 16,-8-2 19-16,0 0-9 0,10-2-4 15,-10 2 12-15,8 0-17 0,-8 0 17 0,0 0 0 16,7 0 11-16,-7 0-18 0,0 0 4 0,0 0-12 15,10-1-7-15,-10 1-1 16,0 0 11-16,6 1 2 0,-6-1 0 0,7 2-13 0,-7-2 26 0,3 2-28 16,2 0 15-1,-5-2 5-15,3 3 5 0,-1 0-20 0,3-1-7 0,-5-2 12 16,3 3-6-16,-3-3 4 0,2 2 7 16,-2-2-2-16,3 4 4 0,-3-4 11 0,3 2-10 0,-3-2 25 15,0 0-2-15,6 3-31 0,-6-3 23 0,0 0-5 16,0 0-5-16,0 0-6 0,0 0 34 15,0 0-13-15,0 0 3 0,9-7 7 0,-9 7 21 16,5-4-38-16,-3 3-11 0,-2 1 5 0,3-6-2 16,2 4 15-16,-2 0 3 0,-3 2 15 15,6-4-30-15,-4 2-9 0,0 0 16 0,-2 2-36 16,8-3 13-16,-4 2 16 0,-4 1-6 16,0 0 3-16,9 0 10 0,-9 0-8 0,10 1 6 0,-10-1-26 15,8 2 5-15,-6 0 18 0,3-1-11 16,-2 1-9-1,-3-2 20-15,5 3-16 0,-5-3-12 0,7 2 20 0,-7-2-2 0,3 2-3 16,-3-2-10-16,7 1 18 0,-7-1-8 0,3 3 20 16,-3-3 19-16,0 0-11 0,6 0-10 15,-6 0 21-15,0 0-3 0,7-4 12 0,-7 4-7 16,5-5-15-16,0 3 28 31,-2 0-3-31,1 0 1 0,-4 2-9 0,6-4-4 0,-3 3-8 0,-3 1 17 0,8-2-17 0,-8 2 0 16,10 1 15-16,-10-1-23 15,8 3-10-15,-1 0 8 0,-2-1-3 0,1 2 8 0,-2-1-13 0,-1 0-34 16,4 1-9-16,-4-2-50 0,0 1 6 16,0-1-43-16,1 0-50 0,-1 1-1 0,-3-3-75 15,5 3-47-15,-1-2-93 0,-4-1-137 0,0 0-524 16,0 0 84-16,9-5 92 0,-9 5 73 0,3-6 81 16,1 1 66-16,-1-2 57 0</inkml:trace>
  <inkml:trace contextRef="#ctx0" brushRef="#br0" timeOffset="11044.06">20005 1354 1011 0,'0'0'343'0,"0"0"-11"0,0 0 52 0,0 0-18 15,0 0-33-15,0 0-23 0,0 0-36 16,-6 16-18 0,6-9-21-16,0 1 13 0,0 2-48 0,0-1-41 0,-2 3 10 0,4-1-26 15,-4 0-20-15,2 1-5 16,0-2-1-16,-1 1-9 0,1-1-44 0,0-2 28 0,0 0-18 15,0 1 1-15,0-2-6 0,0-1 2 0,1-2-43 16,-1 0-4-16,2-2-4 0,-2-2-10 16,6 1 31-16,-6-1 3 0,0 0-11 0,15-2 28 15,-10 1-12-15,0-1 15 0,-5 2-8 16,13-2-2-16,-5 2 15 0,-3 0 0 0,3 0 13 16,-1 2-28-16,1 0 92 0,1 0-21 15,-3 2-4-15,-1-1 9 0,1 1-94 0,-2 0 8 0,0 0-21 16,-2 1 0-16,0 1 15 0,-2-1-7 15,0 0-6-15,-2 2-7 0,0-2 5 0,-2-1-30 16,0 2-32-16,1 1-17 0,-2-3-52 16,0 1-40-16,1-3-21 15,-2 1-67-15,2-1-55 0,-3 0-63 0,4 1-183 0,-1-3-446 16,4 0 51-16,-8 0 77 0,8 0 98 0,-5-4 73 16,5 4 121-16,-3-5 77 0</inkml:trace>
  <inkml:trace contextRef="#ctx0" brushRef="#br0" timeOffset="11675.96">20321 1551 1064 0,'2'-4'423'16,"0"1"-19"-16,0-1-40 0,1 0-19 0,-3 1 8 0,0-1-5 0,0 4-58 16,0-6-27-1,0 6-45-15,0-7-31 0,-3 5-49 0,3 2 3 0,-2-4-16 0,2 4-20 16,0 0 0-16,-4-4-18 0,4 4-18 15,0 0 0-15,0 0-5 0,0 0 8 0,0 0-13 16,-12 8-16-16,12-5 16 0,0 1-20 0,0 1-16 16,0-1-13-16,3 0-20 0,0 3 20 0,-1-1-10 15,2 0 3-15,0 1-9 0,-2-1-4 16,4-1 0 0,-2 1 10-16,-1-1 8 0,4 0-21 0,-6-1 15 0,4 0-30 0,-2 1 36 15,-1-3-3-15,1 0-10 0,0 2 7 0,-3-4 1 16,4 4 12-16,-1-2 19 0,0 1-6 15,-3-3 18-15,2 3 10 0,-2-3-12 0,0 0 7 16,6 2 3-16,-6-2-6 0,0 0-12 0,0 0 3 16,0 0-11-16,7-6 8 0,-7 6-11 0,5-6-10 15,-2 3 39 1,-1-1-54-16,4-1 34 0,-2 2-17 0,2-1-14 0,-1-2-11 0,-2 2 26 16,4 0-20-16,-2-1 12 0,0 2-5 0,0-2-5 15,-2 3 3-15,3-1-11 16,-2 0 0-16,1 0 11 0,-2 1-3 0,2 0-8 15,-5 2-5-15,5-2-2 0,-5 2-29 0,8 0-4 16,-8 0-14-16,0 0-37 0,10 0-19 0,-10 0-8 16,5 4-32-16,-5-4-14 0,6 2-51 15,-4 1-56-15,0 0-46 0,-2-3-82 0,6 5-335 16,-4-3-57-16,2 0 37 16,-2 1 68-16,2-2 69 0</inkml:trace>
  <inkml:trace contextRef="#ctx0" brushRef="#br0" timeOffset="12231.17">20530 1542 803 0,'0'0'323'0,"0"0"-31"0,0 0-29 0,0 0-2 16,0 0 41-16,8 9-28 15,-6-5-20-15,1 3-47 0,1-1-12 0,-3 1 30 0,4 0-51 16,-3 1-26-16,-1 0 8 0,1-2-30 0,1 3-26 15,-1-1 17 17,-1-1-12-32,1-2-23 0,-2 1 5 0,0-2 26 0,2 0 7 0,-2 0-10 0,3-1 0 0,-3-3 23 0,0 4 21 15,0-4-80-15,0 0-25 0,0 0 5 16,0 0-13-16,0 0 5 0,0 0-10 0,5-9 15 16,-5 4-21-16,0 0-32 0,2-2-11 0,0 1 11 15,-1 0-55-15,0-1-27 0,1-1-11 16,3 3-5-16,-5 0-58 0,5-1-22 0,-2 2-45 15,2 0-74-15,0 0-88 0,-3-2-7 0,4 4-471 16,1-1 133-16,-2 1 20 0,1-1 52 16,1-1 140-16</inkml:trace>
  <inkml:trace contextRef="#ctx0" brushRef="#br0" timeOffset="12389.4">20763 1553 1164 0,'1'4'364'0,"3"1"-37"0,-1 3-4 16,0-1 22-16,-1 1-53 0,0 1-15 0,0 0-24 15,0 0-53-15,-2 2-13 16,0 1 22-16,0 0-50 0,-1 1-28 0,-2 0 9 0,1 1-65 16,-6 2-63-16,4-1-70 0,-4 2-32 15,-1-2-153-15,-1-2-172 0,0 2-486 0,0-2 120 0,0 0 98 16,0-2 35-16,2-1 60 0</inkml:trace>
  <inkml:trace contextRef="#ctx0" brushRef="#br0" timeOffset="13762.9">21417 1426 1238 0,'0'0'364'16,"-3"-4"-34"-16,3 4-28 0,0 0-20 16,0 0-16-16,-8 11-46 0,4-4 69 0,1 3-43 15,1-1-13-15,-1 4-21 0,3 1-40 0,-2 0-16 16,2 1-5-16,-3 0-28 0,3 6-46 15,0-4-26-15,3 2-23 0,1-2-28 0,-3-2 33 16,6 0-40-16,-2-3 4 0,1-1 1 16,0-2-9-16,0 0 24 0,0-5-15 15,1 1 9-15,1-3-12 0,-1-1 8 0,1-2 12 0,1-1 11 16,0-2-11-16,-2 0 21 0,-1-2 15 16,2-4-10-16,-1 2 10 0,1-3 5 15,-4-2-15-15,-2 0 13 0,2-2 0 16,-1-4-21-16,-3 2 39 15,0-1-44-15,-3-1 3 0,1 0 12 0,-1 2 8 0,-2 2-30 0,1 2 20 0,-2 1-3 16,3 2-15-16,-4 1 13 0,2 3-33 16,-3 1 15-16,2 1 7 0,0 3-15 0,-2-1 24 15,8 2-19 1,-11 2-10-16,5 0 8 0,-1 2-8 0,2 0-13 0,0 1 14 0,2-1-6 0,1 0-13 16,2 2 0-16,0-1 3 0,0 0 10 15,2 1-11 16,1 2 14-31,2-4-13 16,0 5 33-16,6-2-41 0,-1 1-8 0,-3 1 6 0,7 1 17 0,-2 1-30 0,0 1 7 0,-1 0-20 0,-1-1-15 0,2 1-8 0,-3-1 20 16,1 2-35-16,0-2 17 0,0 2-22 15,-2 0 12-15,0-4 8 0,-3 1 10 0,2-1 18 0,-1-2 0 16,-3-1 31-16,3 0 10 0,-2-1 7 16,-2 2-7-1,1-4 21-15,2-1 7 0,-3 2 10 0,-2-4 14 0,6 1-4 0,-6-1-25 0,0 0 46 16,0 0-7-16,11-6-11 15,-9 3 15-15,0-1 19 0,3-1-29 0,-4 2 16 16,3-4 0-16,0 1-14 0,-2 1-17 0,0 0 36 16,2-1-56-16,-2 2 7 0,0-1-5 15,0 2-13 1,1 0-15-16,0 1 20 0,-3 2 3 0,5-3-13 0,-5 3 26 0,0 0-23 16,12 3-21-16,-7-1 10 0,-2 0-2 0,2 3-18 0,-2 1 11 15,2-2 9-15,0 0-23 31,0 1 19-31,0 0-6 0,-2-2 0 0,4 1 21 0,-1-1 5 0,-3 1-13 0,1-2 38 0,2 0-7 0,0 0 7 16,-2-1 11-16,-4-1 33 0,10 0 17 16,-10 0-76-16,8-3 39 0,-3 0-21 15,1 0 2-15,-4 0 16 0,2-3 0 0,0-1-5 16,0 1-8-16,-1-2-18 0,0-1-18 16,1 0 34-1,-1-3-16-15,-3 0-8 0,3 0-30 0,1-1-8 0,-3 2-41 0,4-1-33 0,-2-1-25 16,2 1-42-16,0 1-33 0,2 1-41 0,-2 1-59 15,3 3-94-15,0-4-98 0,2 6-473 0,0 1 61 16,-1 0 156-16,1 1 41 16,0 2 80-16,0 0 76 15</inkml:trace>
  <inkml:trace contextRef="#ctx0" brushRef="#br0" timeOffset="14417.5">22043 1684 954 0,'0'0'287'0,"10"-8"-16"0,-7 5-2 0,2 0 66 16,-1-4-2-16,-1 1-36 0,1-1-100 0,0 0 31 16,1-1-46-16,-2 1-3 0,-1 0 10 15,-2-2-12-15,3 1-16 0,-3 2-15 0,0-1 3 16,0 1-9-16,0 0-4 0,0 1-21 0,0 1-23 15,-3 1-2-15,3 3-6 0,-5-5-15 16,5 5 3-16,0 0-3 0,0 0-20 16,0 0-6-16,-13 7 11 0,11-4-38 0,1 2 14 15,0-1-27-15,0 0-13 0,1 2-11 0,0-2 6 16,0-4-24-16,3 7 24 0,-1-5-29 0,4 2 14 16,1-3 4-16,-2 3 6 0,1-2 15 15,4 0 20 1,-3 0-13-16,6 0-27 0,-3 0 4 0,1 3 16 0,-1-3-18 0,3 3 10 0,-3-1 1 15,0 2 7-15,0 1 7 16,0-1-10-16,-2 2 19 0,-3 1-27 0,1-2 9 16,0 1 7-16,-4-1 5 0,0 0 18 15,0 1 5-15,-2-2-31 0,2 1 21 0,-2-3 16 0,-2 2 12 16,0-1 12-16,2-3 4 0,0-2 22 0,-2 5 3 16,2-5 3-16,-3 3 23 0,3-3 17 15,0 0-17-15,0 0-13 0,-7-9-18 0,7 3-1 16,0 0-19-16,0-1 4 0,0 1-4 15,2-3 66-15,0-1-18 16,3-3-20-16,-2 2-39 0,2 0-15 0,0 0-36 0,0 1-47 0,3 0-27 16,0 1-36-16,0 1-36 0,-1-1-51 0,1 4-59 15,1 0-30-15,-1 1-73 16,-1 0-99 0,-1 2-51-16,2 0-423 0,5 0 80 0,-5 2 132 0,5 0 83 0,-3 1 28 0,0 0 53 0</inkml:trace>
  <inkml:trace contextRef="#ctx0" brushRef="#br0" timeOffset="14845.3">22502 1579 890 0,'0'0'287'0,"7"9"-16"0,-4-5-15 0,-1 4-28 16,1-1-18-16,-1 2-23 0,2 1-11 0,0 3-42 16,1-1-6-1,-2 1-3 1,2 0-12-16,-2-2 2 0,1 2-23 0,-3-3-10 0,1-2-3 0,3 0-5 0,-4-2-15 0,4 2 49 15,-2-4-16-15,-1 1 0 0,3-3 16 16,-2 0 22-16,1-2 8 0,-4 0 11 0,0 0 68 0,11-4-27 16,-4-2-11-16,-4 0 10 0,5-3-4 15,-2 1-39-15,-2-2-21 0,2 0-89 16,1-1 2-16,-2 0 8 0,0-1-12 16,-2 1-27-16,2 1-22 0,0 0-6 0,0 0-4 0,-2 3-37 15,2-2-50-15,-3 3-6 0,2 0-53 16,-2 0-55-16,0 2-55 0,2 1-55 0,-3-3-63 15,2 3-497-15,1-1 85 0,0 1 94 0,0 1 100 16,-1-1 21-16</inkml:trace>
  <inkml:trace contextRef="#ctx0" brushRef="#br0" timeOffset="15041.94">22763 1562 985 0,'3'2'335'0,"-3"2"54"0,2 0-20 0,2 0 12 0,-3 1-48 15,0-1-28-15,-1 5-16 0,2-2-25 0,-2 1-3 16,0-1-44-16,2 3-27 0,0-3-3 0,-2 1-42 15,-2 2-19-15,2-1-26 0,-2 0-80 16,2-1-40-16,-2-1-42 0,2 1-104 0,-1-3-175 16,-1 2-534-16,2-3 10 0,-3 0 117 0,3-4 101 15,0 0 43-15,0 0 66 0</inkml:trace>
  <inkml:trace contextRef="#ctx0" brushRef="#br0" timeOffset="15155.05">22776 1501 1116 0,'0'-7'291'0,"0"2"-24"0,0-1-42 0,2 2-56 16,-2 1-41-16,3-1-85 16,-3 4-117-16,3-5-110 15,2 5-466-15,-5 0-11 0,0 0 101 0</inkml:trace>
  <inkml:trace contextRef="#ctx0" brushRef="#br0" timeOffset="15803.23">22999 1587 1041 0,'0'-6'338'16,"0"1"-18"-16,0 0-15 0,0 0-26 0,0 1-13 16,-3 0-23-16,3 4-20 0,-4-5-13 15,2 3-31-15,2 2-18 0,0 0 0 0,-14 2-25 16,11 2 71-16,-4 0-30 0,2 1-23 0,1 1-34 15,-3 1 16-15,4-1-8 0,-4 1-44 16,6 2 21-16,-5-1-5 0,5 0-44 16,-1-1 0-16,-1 2-27 0,3-1 12 0,0-2-29 15,3 1 11-15,0-1 16 0,-1-1-34 16,3-1-8-16,2-1 16 0,-4-2 10 0,4 1-7 0,0-2-4 16,0 0-14-16,2-3 22 0,-1 1-2 0,0-2 21 15,2 1-14-15,-1-2 16 16,0 1-20-16,0 1 30 0,-2-3-3 15,1 2 4-15,1-1-14 0,-5 0 49 0,1 2-31 0,1-1 1 16,-4 2 7-16,2 1-23 0,-4 1 15 16,6-4-20-16,-6 4 12 0,0 0-14 0,0 0 12 15,0 0-16-15,0 0 1 0,10 5-10 0,-10-5 7 16,2 2-21-16,-2-2 17 0,0 0-17 16,3 4-2-16,-3-4-2 0,0 0 2 0,5 2-5 15,-5-2-5-15,2 2-8 0,-2-2 36 0,0 0 0 16,8 0 5-16,-8 0-12 0,5-3-27 0,-5 3 24 15,0 0 18-15,11-1-31 32,-11 1 0-32,5-2 15 0,-5 2-25 0,0 0 23 0,0 0-23 0,10 2 12 0,-10-2-7 0,3 3 13 0,-1-1-18 15,3 1 2-15,-3-2 0 16,2 3 21-16,-4-4-28 0,5 4 2 0,-3-2 23 16,3 1-20-16,-2-1 23 0,-3-2-16 0,10 2 18 15,-4-2 14-15,-6 0 11 0,12-2-24 16,-7 0 25-16,1-1-16 0,3-3 14 15,-2 2-19-15,1-1 11 0,-2-1 10 0,-1 0 23 16,2 0-33-16,-3 0 12 0,1-1-4 0,2 1-11 0,-4-1-28 16,2 0 23-16,0 2-16 15,0-1-30-15,-2 2-30 16,1-2-60-16,-3 2-38 0,4 1-72 0,-3-2-22 0,1 2-88 0,0-1-156 16,0 1-555-16,1 1 135 0,1 0 44 0,-5 2 99 15,9 0 147-15,-9 0 7 0,12 1 57 16</inkml:trace>
  <inkml:trace contextRef="#ctx0" brushRef="#br0" timeOffset="16258.77">23930 1451 1328 0,'0'0'445'16,"0"0"-27"-16,0 0-42 0,0 0 44 15,0 0-47-15,1 12-37 0,-2-6 12 16,1-1-77-16,-3 2-12 0,3 1-62 0,0 0 31 0,-2 1-67 15,1 0-43-15,0 1-31 16,-3-1-75-16,4 1-19 0,-2-1-47 0,1-1-48 0,-3 0-60 16,1-1-83-16,3-1-104 0,-2-1-198 15,0 0-321-15,1-1 26 0,-1 0 143 16,2-4 110-16,0 4 18 0</inkml:trace>
  <inkml:trace contextRef="#ctx0" brushRef="#br0" timeOffset="16397.39">23902 1422 673 0,'-3'-2'176'0,"2"-2"-81"0,1 4-100 0,-4-5-59 16,4 5-435-16</inkml:trace>
  <inkml:trace contextRef="#ctx0" brushRef="#br0" timeOffset="16736.21">24002 1485 1244 0,'-3'7'330'0,"3"1"-28"0,3-1-16 0,-3 2-37 0,0 0 4 0,0-4-33 16,0 4-20-16,0-3-6 15,0 0-14-15,2-1-11 0,-1 0-11 0,0-2 70 0,0 2 23 16,1-2-21-16,1 1-45 0,1-2-6 0,-4-2 20 15,8 1-76-15,-8-1 10 0,9-2 3 16,-2 0 7-16,0-2 1 0,3 2-29 16,-6 1 13-16,3-1 84 0,-2 2-63 0,0-2 17 15,1 0-17-15,-6 2-24 0,10 2-10 0,-5-2 16 16,0 2-13-16,0 1-39 0,2 2 26 16,-4 0-41-16,3-1 2 0,0 2-22 0,-4-1-21 15,4 1-36-15,-5-2-41 0,2 0-30 16,-1-1-47-16,0 1-76 0,1 0-41 0,-3-1-126 0,0-3-179 15,7 1-524 1,-6 2 147-16,4-1 50 0,-5-2 63 0,8 1 65 0,-8-1 94 0,7 0 74 16</inkml:trace>
  <inkml:trace contextRef="#ctx0" brushRef="#br0" timeOffset="18034.74">23950 1375 1331 0,'0'0'368'0,"-7"-1"-33"0,7 1-12 0,-10 4-44 0,4 0-28 0,-2 2 20 0,1 2-43 16,1 1-26-16,-2 2-10 0,0 2-51 0,0 0-3 0,0 0-10 15,0 3-84-15,3-2-19 16,1-2 1-16,0 3 2 0,1-2-15 0,3-3 10 0,0 1-3 15,0-3-20-15,5 2-5 0,-2-2 18 16,5-1-3-16,0-1-7 0,1-3-3 16,0-2 7-16,1 0 9 0,2-2-21 0,1-1 23 15,0-3-31-15,-3 1 28 0,3-3-7 32,-2-2-6-32,1-2 27 0,-4 0-19 0,2-2-8 0,-5-2-12 0,3 0 31 0,-3 0-19 15,-2 2 8-15,-1 1-4 0,-2 0-1 0,0 2-21 16,0 2 11-16,0 0-5 0,-2 3-8 0,-4 1 5 0,4 1-5 15,-3 2-2-15,5 1 30 32,-13 0-41-32,13 0 13 0,-9 3-2 0,3-1-13 0,3 1-26 0,-2 0 15 0,3 0-15 0,2-3 3 15,-1 6 7-15,1-6-9 0,0 0 17 0,8 3-5 16,-3-3 12-16,-5 0 4 0,13-2 1 16,-5-1 12-16,1 0-14 0,2-2 33 0,1 0-2 15,-1-1 16-15,-3-2 4 0,5 2 26 16,-6-2 13-16,6 1-10 0,-5 0 25 0,0 0 3 15,-1 1-6-15,-2 2 11 0,3-1-20 0,-3 2 22 16,-4 2-17-16,-1 1-8 0,0 0 10 0,10 9-5 16,-13-1 2-16,3 1-14 0,0 4 81 15,-1 2-23 1,-1 5 5-16,-2 7 13 0,2 10-23 0,-4 3 10 0,4 3-43 0,-4 1-6 16,1 0-38-16,2 1 1 0,-2-2-60 15,-1-2-10-15,2-1-38 0,-4-2-19 0,4-8 1 16,-4-6-16-16,2 0 21 0,-4-3 41 0,2-2 2 15,-2-4 11 1,2-2 38-16,-2-2-3 0,2-3 16 0,-2-3 41 0,2-1-13 0,-2-2 13 16,2-4-3-16,3-2 18 0,-3-3 10 0,1-3 6 15,6-3-44-15,-3-4 41 0,4-5-11 0,0 1-2 16,2-7 11-16,4-11-26 16,1 3 33-16,1 0-34 0,2 0 4 15,2 3 14-15,-1 3-42 0,5 0-27 0,-6 6 44 0,5 5-25 16,-1 0 12-16,-2 4-2 0,4-1-44 0,-1 2 20 15,0 3-17-15,2-2-28 0,-3 3-16 16,-1 3-23-16,2-1-30 0,-4 3-21 0,2-1-74 16,-1 3-103-1,-2-1-169-15,0 1-475 0,0 1 30 0,0-1 143 0,-1 1 70 0,3 0 58 16,-2 0 75-16</inkml:trace>
  <inkml:trace contextRef="#ctx0" brushRef="#br0" timeOffset="18521.41">24632 1210 1469 0,'0'0'448'0,"0"0"-16"0,1 18-53 0,-2-8-36 0,0 3-41 16,-3 4-15-16,0 2-29 0,0 1-25 16,1 2-15-16,-4 3-26 0,3 0-41 0,-2 0-36 0,3 0 8 15,-1-2-31-15,2-4-28 0,-2-1 18 32,4-1-46-32,-2-3 23 0,2 0-16 0,0-4-7 0,0-1 18 0,0 0-8 0,0-2-5 15,2 0 2-15,-2-4-7 16,2 0-13-16,-2-3 16 0,0 0 7 0,0 0-41 0,0 0 28 15,0 0-5-15,0 0-23 0,2-16 39 0,-6 10-16 16,2 0 10-16,1 1-17 0,-4 0 22 0,2-1 1 16,0 2-29-16,-3-1 3 15,0 4-5-15,3 0 2 0,-4 0 24 16,7 1 27-16,-15 0-48 0,7 3-8 0,3 0 16 0,-3 0 2 0,1 1-41 16,2 1 26-16,1 0-87 15,0-1-23-15,1 1-8 0,2 1-5 0,-1-1-16 16,4 1 1-16,-1-2-8 0,2 0-31 0,5 1-15 15,-3-2-44-15,4 1-76 0,0-1-101 16,3-1-7-16,-2-1-30 0,3-1-352 0,1-1 37 16,-2-3 119-16,4 3 37 0,-2-3 84 0</inkml:trace>
  <inkml:trace contextRef="#ctx0" brushRef="#br0" timeOffset="19230.66">24750 1523 655 0,'0'0'253'0,"0"0"3"0,0 0-54 0,0 0 72 0,-8-6 3 16,8 6-39-16,0 0-26 0,0 0 3 15,-17 6-36-15,14-4-10 0,-2-1-7 0,5-1-34 0,-8 4 2 16,5 0-43-16,-1-2 5 16,1 2-23-1,0 0-17-15,1-1 6 0,2 3-29 0,-3-2 6 0,3 1 14 0,0-1-67 0,3 1-7 16,-3 0 19-16,4 0-14 0,-3-1 20 0,4 1-5 16,-1-1-10-16,0-2-1 0,0 0 3 15,2 0 29-15,-1-1-6 0,3 0 18 16,0-1 26-16,2-2 10 0,-3 0-64 0,4-5 15 0,0 1 49 15,1-1 10-15,0-3 26 16,-1 1 59-16,3-3 7 0,-2 1 80 0,-2 0 7 16,2-4-2-16,-2 1-25 0,-1-1 1 0,3-3-29 0,-4 0-7 15,0-2 12 17,-1 4-45-32,1 0 6 0,-2 2-10 0,1 2-42 0,-4 2 29 0,-1 2-23 0,2 0-36 0,-3 3-10 0,-1 3-16 0,0 2 36 15,0 0-36-15,0 0 19 0,0 0-19 16,-9 17 8-16,3-8-13 0,2 4 3 15,-2 2-52-15,-2 0-32 0,0 6-52 0,3-4-46 16,-5 3-51-16,2 2-42 0,0-2-22 0,1-3-33 16,-1 2-29-16,2-2-7 0,-2-3-18 15,2-2-6-15,0-3 16 0,2 0-46 0,2-1 23 16,-2-3 46-16,2-2-43 0,1 0 41 0,1-3 63 31,0 0 70-31,0 0 30 0,0 0 77 0,0 0 8 0,0 0 28 0,13-15 23 0,-7 9 28 16,1-1 21-1,0-2 25-15,2 1-18 0,0-2 16 0,2 1 12 0,1 0 14 0,-1-1-9 16,2 1-9-16,-2 2 22 16,-1 1-28-16,-3 0 13 0,3 1-18 0,-2 1 24 0,-2 1-6 15,-2 1-13-15,2 0 28 0,-6 2-43 0,7 0 10 32,-7 0 11-32,7 3-6 0,-7-3-8 0,1 4-9 0,-1 0-22 0,0-4 17 0,3 5-1 15,-3-1-13-15,0-4 1 0,2 5-27 16,-2-2 14-16,2 2-6 0,-2-5 14 0,3 4-16 0,4 0 28 15,-4-2-49 1,2 0 36-16,0 2 14 0,1-1-24 0,1 0 7 0,-2-2 1 16,1 2 23-16,1 0-26 15,1 0 5-15,0-1-2 0,2-1-3 0,2 1-5 0,-2-2-5 16,-1 0-3-16,1 2-27 0,4-2-19 0,-5-2-10 16,1 2-28-16,3 0-46 0,-3-1-8 0,-3 1-33 15,-1-1-26-15,0-1-69 0,-6 2-48 0,7-3-88 16,-7 1-363-1,0 2-38-15,0 0 153 0,-15-5 13 0,-1 3 82 0</inkml:trace>
  <inkml:trace contextRef="#ctx0" brushRef="#br0" timeOffset="20180.79">16186 2691 1036 0,'16'-13'305'0,"-5"2"-26"0,-1-1-13 0,2 1-7 0,-4-5-14 0,0 1 4 0,3-4 22 0,-4-2-38 0,1-1 20 15,-3-1-25-15,0-1-85 0,-5-2 16 0,2 1-23 16,-2 1-3-16,-2-2 92 0,2 4-2 0,-1 3-47 16,-1 1 14-1,2 3 2-15,-2 2-18 0,-3 1-18 0,4 5-31 0,-1 2-27 0,-3 3 9 16,5 2-20-16,0 0-10 0,-11 13-5 0,6 0 15 16,0 3-28-16,0 6-1 0,-2 3 4 0,6 4-26 15,-3 10-39-15,0 3 6 0,2 3-8 31,2-1-18-31,0 0-21 0,0-1-7 0,3-2-36 0,0-2 10 0,1-2-25 0,-1-7-1 16,0-4-12-16,-1-6-28 0,-1 1 12 0,-1-3-20 16,2-2 8-16,-2-2 10 0,0-3-16 15,2-2-20-15,-2-1-12 0,0-1 17 0,-2-4-41 16,2 2 0-16,-2-3-5 0,2-2 31 16,0 0-23-16,-3 3-128 0,3-3 10 0,-5 0-446 0,5 0 80 15,0 0 59-15,-11-4 39 0</inkml:trace>
  <inkml:trace contextRef="#ctx0" brushRef="#br0" timeOffset="20843.38">16146 2853 972 0,'5'-6'369'0,"0"0"-29"0,3-2-43 0,0 0-18 0,4-3-89 16,1 0-47-16,3-2 18 15,2 1-25 1,-3 0-21-16,1-1-2 0,-2 4 7 0,-1-6-13 0,1 6 21 0,-4-3-10 0,-3 4 20 0,4-1 6 16,-6 2-3-1,3 1-1-15,-4 1 4 0,-1 1-21 0,0-2-19 0,-1 2 71 0,0 3-1 16,-2 1-64-16,0 0 33 0,0 0-12 16,0 0-37-16,0 0-7 0,-5 14-18 0,3-7 16 15,-1 2-39-15,1-2 3 0,2 1-39 16,-2 2 13-1,2-3-31-15,2 3 3 0,-2-3 5 0,2 1 0 0,3-3 5 0,-2 2-23 0,3-1-5 16,-2-3 28-16,2 0-30 0,1-2 20 16,0 1-6-16,1-3 1 0,0 1-5 0,0-2 40 15,-1-1-40-15,-1 0 18 0,-1-2 2 16,2 0 2-16,-4-2 32 0,2 1-16 0,-2 0-3 16,-1-1 16-16,-2 0-28 0,3 2 38 0,-3-2-26 15,0 2-4-15,-3-1 22 0,3 1 0 16,0 1-22-16,-2 0 9 0,2 4 6 0,0-8-18 0,0 4 7 15,0 4-22 1,0-7 10-16,0 7-8 0,0-5-8 0,0 5-10 16,5-1 8-16,-5 1 12 0,0 0-9 0,0 0-4 0,11 5-7 15,-7 0 13-15,2-2-18 0,1 3 36 16,-2 0-26-16,3-1 11 0,-3 3-6 0,3 1 21 16,-3-1-31-16,0-1 5 0,0 2-23 0,0-2 26 15,-2 0 2-15,2-1-2 0,-3 0 33 0,1-3-13 16,0 2 29-16,-1 0 2 0,-1-2-11 15,3 1 34-15,-4-2 11 0,0-2 2 16,0 0-3-16,5 3 0 0,-5-3-18 0,0 0 11 16,0 0 22-16,3-12-37 0,-1 7-9 15,1-1-4-15,-2-1 32 0,1 0-27 0,0-3-26 16,1-2-34-16,2 1-4 0,-2 0-26 0,4 0-57 16,-2 0-7-16,5-2-46 0,1 2 0 0,-1 1-59 15,5-1-77-15,-2 3-133 0,-5 2-245 16,8-2-308-16,-1 3 108 0,0 0 71 0,-2 1 85 15,2 2 79-15,-1 1 59 0</inkml:trace>
  <inkml:trace contextRef="#ctx0" brushRef="#br0" timeOffset="21314.76">16813 2795 1277 0,'4'-5'299'0,"-1"0"-9"0,4-1-9 16,-1-2-51-16,-1 0 6 0,-2 1 48 15,2-2-18-15,-3-1-28 0,3 1 23 16,-4 0-61-16,1 0-5 0,-2 1 4 0,2 0-12 16,-2 2-13-16,0 0-5 0,0 2 5 15,-2 1-23-15,0-1-41 0,2 4 13 0,0 0-3 0,0 0-45 16,0 0 27-16,-18 7-10 0,15-1-15 15,-2 1-23-15,2-1 12 16,1 3-17-16,-1 0 5 0,3-1-1 0,-3 1 11 0,3-1-23 0,0 0-28 16,3 0 3-16,-3 0-6 0,5-2-3 15,-2 1-32-15,2-1-31 0,3-1-14 0,-1-2-42 16,1 2-29-16,2-1-7 0,0-4-44 16,0 2-49-16,1-2-59 0,2-1-37 15,0-3-124-15,2 2-461 0,1-2 103 16,2 2 46-16,4-6 108 0,-1 3 35 0</inkml:trace>
  <inkml:trace contextRef="#ctx0" brushRef="#br0" timeOffset="22089.32">17305 2539 1341 0,'-16'7'476'0,"3"0"-49"0,3 1-58 0,2 0-34 16,1 0-97-16,1 2-35 0,-1 0-11 0,2 2-34 16,2 0 9-16,-2 0-34 0,3 0-10 15,-1 0-6-15,3 0 1 0,3-3-44 0,-1 2-20 16,1 0-8-16,4-1-25 0,-1-1 2 16,4-3 5-16,0 1-15 0,1-4-31 0,1-1 7 15,3 0-17-15,-1-2 15 0,3-2-7 16,-1-1 5-16,2-3 12 0,4-2-23 0,-5 1 11 15,3-4 23-15,-5 0-21 0,0 1 18 0,0-2-23 16,-1 0 13 0,-2 1 8-16,-1 0 20 15,-3 3 30-15,-1-2-24 0,0 2 14 0,-1 2 8 0,-3 0 8 0,2-1-8 0,-5 4 8 16,2 0-25-16,-2 3 12 0,2-4-5 0,-2 4-21 16,0 0 16-16,0 0 0 0,0 0-13 15,-15 7 10-15,13 0-10 0,-3-3-5 0,-1 4 5 16,2-3-20-16,1 3 4 0,-2 0 11 0,3 0-46 15,-2 1 13-15,0-2-19 0,4 1-30 0,-3 0-10 16,3-2 23-16,0 0-10 0,0-1 14 16,2 0 12-16,-1 0-6 0,1-4 5 0,0 1-10 15,-2-2 25-15,11 3-15 0,-11-3 21 16,10-3-8-16,-3 0-5 0,-1 1 7 0,-1-2 6 16,0-2 20-16,0 0-13 0,1 1 6 15,-2-1-1-15,-1 0 21 16,4 0 0-16,-6 0 13 0,4 3 5 0,-3-3-13 0,-2 3 13 0,3-3 15 15,-3 3 10-15,0 3-30 0,0-5 0 0,0 5 28 16,0 0-36-16,0 0-8 0,0 0 8 16,0 0-10-16,0 0 15 0,0 0 10 0,0 0-27 15,0 0 4-15,0 0-18 0,0 0 11 16,-7 10-3-16,7-10 3 0,0 0-13 0,0 0 5 0,4 7 10 16,-4-7-2-1,6 2-19-15,-6-2 29 16,7-1-18-16,-7 1-10 0,13-1 13 0,-8-1 17 0,3-1-38 0,2 1 46 0,-2-1-35 15,0 3 14 1,2-2-2-16,-5 1 16 0,5 1-11 0,-4-3 41 0,1 3-28 0,1 3 13 16,-1-2 13-16,1 1 0 0,-3-2-21 15,1 5 31-15,-2-2 48 0,-1 1-7 0,0 1 2 16,-1 0 1-16,-2 0-34 0,-2 2-31 0,-1 0-20 16,3-1-38-16,-5 2-19 0,0-2-15 15,0 1-45-15,-1 0-42 0,2-2-51 0,-2 1-102 16,3-5-144-16,-1 3-548 0,4-4 85 0,-6 1 108 15,6-1 150-15,0 0-7 0,0 0 54 16</inkml:trace>
  <inkml:trace contextRef="#ctx0" brushRef="#br0" timeOffset="22283.12">17837 2378 1274 0,'0'0'461'0,"0"0"-49"0,4 10 5 0,-4-4-71 0,0 2-31 0,0 3-8 0,2 2-56 16,1 1-31 0,-3 4 0-16,2 0-23 0,3 1-112 0,-4 1-32 0,1 3-53 15,-2-1-41-15,0 0-53 0,0-1-88 0,-2 1-82 16,2-9-148-16,-3 7-433 0,0-3 78 0,3-1 37 16,-3-3 72-16</inkml:trace>
  <inkml:trace contextRef="#ctx0" brushRef="#br0" timeOffset="22581.75">17799 2625 709 0,'5'-5'296'0,"1"-1"-34"15,-1 0-14-15,3-1-28 0,2 1-33 0,2-1 2 0,-1 1-2 0,1-1-18 16,4 1-13-16,-3 0 11 0,5-1-14 0,-5 4 39 15,0 0 41-15,-3 0 0 0,0 2-21 16,1 1 21-16,-1 0-30 16,0 1-88-16,-5 3 18 0,3-1-5 0,0 3 31 0,-1 0-26 0,-2 1-18 15,0 2 8-15,2-1 79 16,-6 3-38-16,2 1-21 0,-1-3-2 0,-2 4-49 0,0-3-28 16,0 2-41-16,0-2-51 0,-2 1-54 0,-1-1-51 15,2-2-46-15,-1 0-95 16,-3 1-225-16,3-3-471 0,2-3 81 0,0 0 104 15,0-3 70-15,0 0 106 0,0 0 74 16</inkml:trace>
  <inkml:trace contextRef="#ctx0" brushRef="#br0" timeOffset="22715.44">18054 2505 977 0,'-3'-4'277'0,"0"1"-19"0,3 3-58 0,-2-7-57 0,2 7-92 0,-3-3-130 16,1 1-57-16,2 2-514 0,0 0 5 31</inkml:trace>
  <inkml:trace contextRef="#ctx0" brushRef="#br0" timeOffset="23252.44">18254 2563 1067 0,'2'12'499'0,"-4"0"-56"0,2-3-11 0,-1 1-22 0,1 0-52 0,0-1-25 16,-2-1-36-16,4 0-21 0,-2 1-22 0,1-1-47 16,-1-2-12-16,2 1-24 0,-2-2-2 0,0 1-2 15,2-2-9-15,-2-1-14 0,0-3 25 16,6 2-29-16,-6-2 22 0,0 0-34 0,15-3-64 16,-10-2-11-1,0 0 11-15,3-1-18 0,0 3 29 0,-1-2-9 0,-2 1-20 0,3 2 13 0,0-2-26 16,-3 1 29-16,3 2-37 0,0-1 19 15,-1 2 5 1,0 0-29 0,1 2-28-16,-8-2-38 0,13 0-36 0,-5 2-46 0,-1-1-12 0,-1 1-42 0,-1 0-41 0,0-1-20 15,0 0-56-15,-5-1-34 0,12 0-92 0,-6 0 107 16,2-2-32-16,-1-1 25 0,-1 0 66 0,2 0 47 16,-1 1 125-16,1 0 61 0,-3-1 57 15,0 2 28-15,1-1 43 0,-6 2 18 0,7 0 16 0,-7 0 28 16,0 0 0-16,10 6 40 0,-10-2-4 15,0 3 2-15,0 3-12 0,-3 4 7 16,3 1 54-16,-2 1 17 0,-1 2-6 16,-2 1-40-16,2 1 29 0,-2 4-51 0,0-2-26 15,-2 1-10-15,-1-3-24 0,3-4-4 16,-1 0-16-16,2-4-30 0,1 1 5 0,-2-6-54 0,3 1-3 16,1-5 0-16,1-1-17 0,0-2-24 0,0 0 11 15,13-11-44-15,0 2 3 0,0-7-21 16,10-8-25-16,0-2-11 15,3-1-25-15,2-2-16 0,-3 1 27 0,3-1-71 16,-1 3-9-16,-2 1-46 0,-2 0-44 0,3 5-69 0,-4-9-166 0,-1 15-528 16,-3 2 118-16,-5 0 108 15,2 2 81-15,-4 1 82 0,1-1 44 0</inkml:trace>
  <inkml:trace contextRef="#ctx0" brushRef="#br0" timeOffset="24640.08">19297 2539 1203 0,'0'0'424'0,"8"8"-32"15,-6-2-41-15,0 2-39 0,-2 1-25 0,0 5-18 0,0-1-37 16,-4 6-42-16,-2-2-57 0,-4 4-72 0,0 0-43 15,-5 7-107-15,-3 1-206 0,2-2-514 16,-1-1 29-16,0-4 99 0,3-7 56 0,0 2 62 16</inkml:trace>
  <inkml:trace contextRef="#ctx0" brushRef="#br0" timeOffset="25350.96">20046 2411 995 0,'0'0'289'0,"0"0"-10"0,0 0-20 0,-1 17-39 16,-1-8-7-16,-1 5-16 0,1-2-18 0,1 2-43 15,-1 0 15-15,0 4 17 0,2 2-9 16,-3-2-23-16,2 4-49 0,-3-4-26 0,2 2 1 16,1-5-14-1,-1-1 9-15,-1 0-24 0,3-1 5 0,-2-1 11 0,2-3-11 0,-2-2 6 16,2-1 10-16,0-2-21 0,0-2 33 16,0-2 24-16,0 0-5 0,0 0 4 0,0 0-2 15,2-15 8-15,-2 5 15 0,0-4 18 16,2 0-23-1,-2-7 20-15,3 1 8 0,-1-6-28 0,-1-3 16 0,5 3-14 0,-5-1-74 0,7 3 1 16,-3 0-11-16,0 5 25 0,2 4-30 16,0-1 5-16,-3 7 29 0,1-1-19 0,2 5-10 0,-1 4 5 15,2 1 3-15,-8 0 17 16,12 10-17-16,-7-3 5 0,3 4-26 0,-3 2 16 0,0 2 45 16,1 2-35-16,-1 2-23 0,-3 1-54 15,4 3-13-15,-4 2-10 0,3 0-71 0,-4-6-1 16,0 0-84-16,0 1-113 0,-1-5-133 15,-1 1-440-15,0 1 41 16,0-4 97-16,-1 0 26 0,-3-1 94 0,2-3 67 0</inkml:trace>
  <inkml:trace contextRef="#ctx0" brushRef="#br0" timeOffset="25723.88">19997 2607 1077 0,'0'0'415'0,"-1"-3"-34"15,1 3-15-15,0 0-53 16,0 0-37-16,0 0-20 0,0 0-56 0,0 0-6 31,0 0-25-31,13-1-23 0,-5-1-49 0,0 2-10 0,2-4-51 0,1 1-21 0,1-3-17 16,1 0-11-16,4-1 0 0,-3-2 0 0,1 0-22 16,1-3 12-16,4-1 7 0,-2 0 27 0,-3-1 4 15,1-2 18-15,-1 2 13 16,-2-3 13-16,-3 4 20 0,1 0-15 0,-1 0 41 15,0 0-5 1,-3 4 15-16,-1 1-5 0,2 0 24 0,-6 1-29 0,3 2-18 0,0 1 30 0,-2 3-42 16,-3 1-6-16,0 0 10 0,6 6 13 15,-4-2-20-15,0 5-6 0,-2 2 6 0,3 1-3 16,-2 2-2-16,-2 3-29 0,-2 2-7 16,3 0-6-16,-2 1-7 15,0 2-7-15,-2-1-83 0,2-2 10 0,2 0-55 0,-2 0-50 0,-1-1-12 16,3-3-59-16,0-2-82 0,0-2-92 15,-3-1-15-15,6-2-454 0,0-2 93 0,-1-1 35 16,0-2 85-16,2 1 33 0</inkml:trace>
  <inkml:trace contextRef="#ctx0" brushRef="#br0" timeOffset="26114.9">20538 2469 1052 0,'0'0'340'0,"0"0"-25"0,0 0-26 16,-16 7 3-16,8-2-57 0,1 0-20 0,-1 3-18 15,-2-1-17-15,3 1-37 16,1 2-23-16,-2-1 13 0,6-3 44 0,-3 2-29 0,2 0 1 16,1-2-11-16,2-2-10 0,0 0-13 15,0 1-7-15,2-3-3 0,-2-2-34 0,8 5 24 16,-3-4-26-16,0 1-12 0,1-1 17 15,1 1 0-15,-2-1-10 0,0 0 5 0,3 3-2 16,-1 2 33-16,0-3-21 0,-1 3 8 0,0 2 10 16,1 1-15-16,0 3-100 15,-3 0 0-15,0 1-5 0,-3-1 31 16,1 1-21-16,-2 0-5 0,-2 2-5 0,1-3-2 0,-3 0-29 16,0 1-23-1,0-3-10-15,-1 0-21 0,0 1-27 0,2-4-32 0,-2-1-40 0,2-1-146 0,1-3-93 16,-1 0-442-16,3-2 87 0,0 0 64 15,0 0 89-15,0 0 108 16</inkml:trace>
  <inkml:trace contextRef="#ctx0" brushRef="#br0" timeOffset="26725.03">20671 2501 1095 0,'0'0'369'0,"0"0"-113"0,0 0-23 0,0 0-8 0,0 12-26 0,-3-5-9 16,1 1-3-16,0 0-34 15,2 1-9-15,-1 0-21 0,-1 3-8 0,2-1-3 0,0 0 47 0,0-2-26 16,2 1-7-16,-1-1-16 0,1 0-3 16,0-3-15-16,1 1-10 0,2-1-10 15,1-5-8-15,0 0 13 0,-2-1-16 0,-4 0-12 0,13-2-6 16,-5-4 21-16,-1 0 0 16,-2 0-5-16,-3-1 13 0,4-4-6 0,-4 0 3 15,1 1-20-15,-3 0 12 0,0 2-14 0,2-1-1 16,-4-1-26-16,1 1-7 0,-1 2 10 15,0-1-10-15,-1 2 0 0,3 0 15 0,-5 1-16 16,3 3-12-16,1-2-10 0,1 4-8 0,-5-3-12 16,5 3 9-16,-2-4-7 0,2 4 23 15,0 0-21-15,0 0 11 0,0 0 5 0,0 0-24 16,8 11 22-16,-6-9-1 0,3 4-3 16,0 0 6-16,0 1-18 15,2-1 2-15,-3 2 16 0,0 0 3 0,-1 0 19 0,0 0-17 0,0 1 3 16,-1-1-3-16,0-1 12 0,1 1-20 0,-3 1-5 15,3-2 13-15,-3-1 13 0,2-1 0 16,-2-1 48-16,0 0-92 31,2 1-2-31,-2-5 25 0,2 6-7 16,-2-6 25-16,0 0-16 0,0 0 11 0,0 0 3 0,0 0 2 0,4-11 3 0,0 6 10 0,-3 2-29 0,2-3-22 16,-1 0-10-16,1-1-6 0,-1 2-33 15,4-2-25-15,-4 0-26 0,4 0-24 47,-4-1-35-47,5 1-30 0,-2 0-14 0,3 0-10 0,0-2-40 0,0 1 122 0,-1 2-15 0,3 0 12 0,0-1 62 0,-4 4 54 0,2 0 44 0,-3 1 50 16,2 2 36-16,-2-2 44 0,-5 2 23 0,8 4 10 31,-3-1 3-31,-2-1-10 0,-1 3 2 0,1 2-16 0,-3-2 3 0,3 2 3 0,-3 0-23 16,2 1-16-16,-2 2 6 0,0-3-24 0,2 1-2 15,-2-2-28-15,-2 4-54 0,2-3-56 16,-2 1-118-16,2-1-146 0,-3-1-528 0,3 0 50 15,-3-3 71-15,3 1 66 0,0-4 83 0</inkml:trace>
  <inkml:trace contextRef="#ctx0" brushRef="#br0" timeOffset="26847.98">20938 2445 931 0,'-3'-5'225'0,"1"2"-27"16,-1 0-93-16,3 3-177 0,-5-5-153 15,3 3-372-15,2 2 42 0</inkml:trace>
  <inkml:trace contextRef="#ctx0" brushRef="#br0" timeOffset="27107.69">21220 2340 1080 0,'0'0'422'0,"-11"13"-41"0,9-7-9 0,1 4 50 0,-3 0-61 0,1 2-34 0,3 3-35 16,-2 1-36-16,1 0-23 0,-1 2-15 0,0 1-36 15,-1 1-24-15,3-3-50 16,-3 2-26-16,-1 1-41 0,2-2-49 0,-2-3-69 16,2-1-20-16,1-1-23 0,-1-2-88 0,-1 0-78 15,3-5-63-15,-2 0-500 0,4-1 42 0,-2-2 98 16,0-3 100-16,5 2 48 0</inkml:trace>
  <inkml:trace contextRef="#ctx0" brushRef="#br0" timeOffset="27403.44">21386 2283 1425 0,'0'0'441'0,"0"0"-29"0,0 0-51 0,2 11-21 0,-2-7-20 0,0 4-46 16,-2 0-18-16,0 3-16 0,0-1-22 0,2 0-11 0,-2 4-35 16,-2-1-37-16,4-1 19 15,-2 4-16-15,0-3-2 0,-2 0-36 0,2 0-11 0,2-1-12 16,-2-2 2-16,1-1-2 0,1-1-15 16,-2 2-21-16,2-3 0 0,0-2-11 15,0 2 6-15,0-2 18 0,0-2-11 0,0 3-7 16,3-1-18-16,-3 0 3 0,4-2-1 0,0 4-10 15,-2-4 26-15,4 3-23 0,-2-3-85 0,0 0 11 16,0 2-29-16,1-1-40 0,0-3-29 16,-1 2-18-16,-1-2-45 15,-3-1-88-15,0 0-156 0,14 0-489 0,-14 0 139 0,0 0 28 0,4-1 104 16,-4 1 47-16</inkml:trace>
  <inkml:trace contextRef="#ctx0" brushRef="#br0" timeOffset="27558.79">21084 2456 1118 0,'0'0'341'0,"0"0"-29"0,0 0-33 0,0 0-13 0,0 0-41 0,21-3-33 16,-5 1-46-16,-2 2-56 15,5-3-34-15,3 1-66 0,-1 0-113 0,4 0-90 0,-4-1-53 0,4 1-450 16,4-1 50-16,-4 1 80 0</inkml:trace>
  <inkml:trace contextRef="#ctx0" brushRef="#br0" timeOffset="28239.12">21568 2481 901 0,'0'0'430'0,"0"0"-49"0,0 0-23 0,0 0-28 0,0 0-33 15,0 0-15-15,5 14-47 0,-4-9-22 0,1-1-19 16,2 1 11-16,-2 0-41 0,0 0-18 15,-2 2-8-15,2-2-25 0,0-2-26 0,-1 2-3 16,-1-2 16-16,3 1-38 0,-1 0 2 0,-2-4 5 16,2 6-8-16,-1-5-10 0,-1-1 3 15,0 0-13-15,0 0-8 16,0 0 6-16,10-1 2 0,-10 1 15 0,10-6-23 0,-5 1 11 0,0 2 17 16,1 0-15-16,-2-2-7 31,2 3 7-31,-2-1 20 0,0 2-25 0,0-1 10 0,-4 2-15 0,6-3 26 0,-6 3-37 15,0 0 29-15,10 3 0 16,-10-3-36-16,5 2 12 0,-5-2-9 0,5 3 2 0,-5-3-8 0,3 2 8 16,-3-2 11-16,2 3 19 0,-2-3-14 0,6 2-19 15,-6-2-10-15,0 0 1 0,0 0 32 16,4 1 24-16,-4-1 4 0,3 3 11 0,-3-3-20 16,5 2 12-16,-5-2-36 0,5 2 19 0,-5-2-27 15,8 1 19-15,-8-1-80 0,8-1-30 0,-8 1-31 16,12-1-44-16,-6 0-61 31,4-1-36-31,-2-1-120 0,3 3-110 0,-1-1-108 0,0-3-392 0,4 4 83 16,-5-1 153-16,3 0 43 0,1 2 44 0,-5-1 93 0</inkml:trace>
  <inkml:trace contextRef="#ctx0" brushRef="#br0" timeOffset="28352.12">21958 2544 1005 0,'5'0'372'0,"-5"0"45"0,5 2 13 0,1-1-33 0,-6-1-67 15,7 0 10-15,-7 0-50 0,3 3-37 16,-3-3-71-16,0 0-70 0,8 0-48 0,-8 0-112 0,5-5-213 15,-5 5-594-15,0 0 61 0,0 0 29 16,0 0 145-16,9 0 19 0</inkml:trace>
  <inkml:trace contextRef="#ctx0" brushRef="#br0" timeOffset="32400.71">21830 2501 680 0,'3'-3'187'0,"-3"3"-15"0,0 0-19 0,0 0-32 0,0 0 9 0,0 0-25 15,6-1-3-15,-6 1-55 0,0 0-37 32,0 0-28-32,6 5-59 0,-6-5-76 0,3 5-475 0,2-3 88 0</inkml:trace>
  <inkml:trace contextRef="#ctx0" brushRef="#br0" timeOffset="32691.59">22035 2500 949 0,'0'0'343'0,"0"0"0"0,0 0-48 0,10 5-40 16,-8-1-16-16,-1-1 9 0,1 4 31 16,-2 0-3-16,0-1-30 0,0 3-28 0,0 1-24 15,-2 2-17-15,1 0-31 0,-3 0-59 0,1 2-49 16,-2-2-10-16,-3 1-64 16,4-1-56-16,-2-3-110 0,2 1-110 0,-2-2-489 0,5 0 35 15,-3 0 80-15,-1-5 59 0,5 1 74 16</inkml:trace>
  <inkml:trace contextRef="#ctx0" brushRef="#br0" timeOffset="33086.53">22233 2312 1098 0,'0'0'376'0,"7"7"-51"0,-2-1-33 16,-2 0-13-16,-1 4-18 0,3 0-31 0,-2 2-25 16,2 3-26-16,-2 1-2 0,-1 0-21 0,1-1-13 15,-2 0-25-15,0 1-13 0,-1-2-26 16,1 1 75-16,-1-3-8 16,-1 0-39-16,2-2-7 0,-1-1-8 0,0-1 23 0,0-2-12 0,0-1 33 15,0 0-29-15,2-4 13 0,-2-1-30 0,0 0 25 16,0 0-7-16,0 0-26 15,8-9-6-15,-4 3-7 0,0-3-10 16,3-1 3-16,-2-5-3 16,4-1-41-16,0-2 7 0,1-1-15 0,1 1-33 0,1 1 3 0,-1 1-36 15,3-1-14-15,-2 5-37 16,0 1-11-16,-2 3-33 0,-1 1-20 0,-1 3-52 0,0 1-89 0,-4 3-98 16,1 1-406-16,-5-1-24 0,8 5 100 15,-3-1 26-15,-3 2 79 0,-1 0 105 16</inkml:trace>
  <inkml:trace contextRef="#ctx0" brushRef="#br0" timeOffset="33558.78">22512 2546 872 0,'3'-2'412'0,"1"-1"-38"0,2 0-44 0,2-4-20 0,-1-1 8 0,-2 0-42 15,0 0-30-15,1-2-8 0,1-1-5 0,-2 1-6 16,0 0-111-16,-2 1-11 0,2 0 10 0,-5 1-8 15,3 2-2-15,-1 2-18 0,-2 0 0 0,0 0 11 16,0 4-29-16,0 0 7 16,0 0-14-16,0 0-13 0,-12 7-11 0,11-2-12 15,-4 1 12-15,2 1-10 0,-1 0 10 0,-1 2-17 16,4-3 5-16,-1 1-11 0,2-2-15 16,0 2-3-16,3-1 3 31,-1-3 0-31,4 1 0 0,-2-1-10 0,2 0 15 0,1-1-10 0,1-2 18 0,1 0 18 0,-1-1-1 0,-1 0 34 15,-1-4 18-15,2 3 54 0,0-3-21 0,0-1 41 16,-1 2 8-16,-1-3-21 0,-1 1 14 0,0 0-6 31,3-1-100-31,-4 4 26 0,2-2-36 16,-2 1 28-16,0 1-46 0,-2-1 28 0,-2 4-8 0,5-2-4 0,-5 2-11 0,0 0 5 16,10 6 21-16,-6-3-41 0,-2 3 5 0,2-1 33 15,-1 3-28-15,-2 1-8 16,3-1 8-16,-4 3-18 0,3-2-5 0,-3 0 31 0,1 1-21 15,-2 0 1-15,-2 0-17 0,3 1 14 16,-4-1-31-16,3-3-13 0,-6 3-17 0,1-2-14 16,3 0-12-16,-4-1-49 0,2-2-5 0,0 0-39 15,0-2-7 1,-1 0-34-16,2-2-40 0,-2 0-29 0,6-1-61 0,0 0-94 0,-7-5-11 16,7 3-448-16,0-3 38 15,0 0 139-15,2-1 54 0,0-2 58 0</inkml:trace>
  <inkml:trace contextRef="#ctx0" brushRef="#br0" timeOffset="34480.41">22764 2485 1149 0,'0'0'376'15,"0"0"-115"-15,0 0-15 0,0 0 0 0,4 9-26 0,-4-7-21 16,3 2-7-16,-2 0 0 0,0 1-38 16,0-1-8-16,-1 2 30 0,2-3 1 0,0 1-5 15,0 1-42-15,-1 0-20 0,2-2 3 16,-1 2-1-16,0-3-17 0,-1 2-8 0,-1-4 16 15,7 2-6-15,-7-2-25 0,8 1-6 0,-8-1 34 16,0 0-16-16,11-3 1 0,-7 0-39 0,0 1 8 16,-4 2-8-16,9-3 23 0,-8 2 3 0,-1 1-26 15,6-2-8-15,-6 2 5 0,0 0 24 16,6-1-41-16,-6 1 7 0,0 0 18 16,0 0-20-16,8 4-18 0,-5-2 2 15,2 0 13-15,-5-2-25 0,5 4 17 0,1-3 1 0,-6-1-24 16,9-1 39-16,-2-2-10 0,-1 2-9 15,4-3-9-15,0 0 15 0,-1-3 0 0,1-1 0 16,0 0 3-16,0 1 17 16,0-3 9-16,0 0 12 0,-2-2 10 0,3-1-8 0,-1 1 11 15,-5-2 5-15,3-1-3 0,-1 4-15 16,-2 0 13-16,0 0 3 0,-2 1-11 16,2 2 10-16,-2 0 0 0,1 3-25 0,-3 0-8 0,-1 3 16 15,0 2-34-15,0 0 13 0,0 0 5 0,0 0-8 16,-1 14-15-16,-1-5 8 15,0 3-18-15,-1 2-26 0,0-1-49 16,1 1 27-16,0-1-19 0,2 1 18 0,0-1-28 0,0-2-10 16,0 0 7-16,2 1-20 0,0-4 41 0,1 0-18 15,2-3 28-15,-2 1 6 0,4-3-22 0,-1-2 19 16,1-1-28-16,3-1 17 0,2-4 11 16,-3-1 15-16,5-4 18 0,-2 1 5 0,2-2 3 15,-5-3 28-15,4-3 5 0,0 0-18 16,-1-2 12-16,0 0-1 0,-3-1 9 15,1-1 21-15,0 2-25 16,-2 0 9-16,0 3-4 0,-3 4 33 0,0 0-39 0,-1 2 8 0,0 4-41 16,0-2 46-16,-3 4-43 0,4 3 20 15,-5 1 8-15,0 0-23 0,0 0 7 0,7 13 29 16,-4-7-44-16,-3 6-2 0,5 0 20 0,-1 3-16 16,-2 2 24-16,2 2-8 0,-1 0-18 0,0 0 0 15,0-1-66-15,-2-1-1 0,0 0-14 16,-1-1-9-16,2-2-40 0,-4-1-19 15,1-1 16-15,0 0-35 0,-2-5 1 0,0 1 50 0,3-2-14 16,-3-2 1-16,1 0 30 0,0-1 6 16,2-3-6-16,0 0 44 0,0 0-13 15,0 0-5-15,0 0 23 0,0 0-3 0,0 0 16 0,2-16 17 16,3 10-27-16,0-1 15 0,-2-2 17 16,5 2-17-16,1-5-8 15,0 0 26-15,1 0-13 0,0-1 13 0,3 1 12 0,-3-1-7 16,5 3 13-16,-4-3 2 0,1 5 3 0,-2 0 7 15,-1-1 70-15,1 4-72 16,-3 1 23-16,1 0 10 0,-1 2-2 0,0 0 10 16,-3 1 20-16,-4 1 0 0,12 1 8 15,-6 3-10-15,-1-1 31 0,0 0-29 0,-2 3 3 0,2-1 31 16,-2 1-42-16,-1 1 19 0,0 0-11 16,-2 0 6-16,0 0-29 0,0 2 11 0,-2-2-39 0,0 1-18 15,1-2-33-15,-4 1-26 0,2 0-43 0,-4 0-74 16,2-2-75-1,3 0-179-15,-6 0-668 0,5-3 129 0,-2-1 55 0,5-1 182 16,-8 0 18-16,8 0 69 0,0 0 103 0</inkml:trace>
  <inkml:trace contextRef="#ctx0" brushRef="#br0" timeOffset="34632.37">23553 2410 952 0,'4'-3'386'0,"-4"3"-25"0,1-4-43 16,-1 4-60-16,6-3-71 0,-6 3-92 0,2-3-131 0,-2 3-238 15,2-3-407-15,-2 3 26 0,0 0 74 16</inkml:trace>
  <inkml:trace contextRef="#ctx0" brushRef="#br0" timeOffset="36190.65">23443 2388 770 0,'4'-5'335'0,"-1"3"-5"0,4-3-35 0,-3 1-26 0,3 1-6 16,-1-2-30-16,1 0-23 0,2 0-18 15,-1-1-3-15,-1-1-20 16,0 1-5-16,0-3-10 0,1 1 10 0,-2-1-36 0,1 3-85 0,-4-2 11 31,1 1-23-31,-3 1 17 0,1-1 1 0,-2 2-26 0,0 0 5 0,0 0 3 16,0-1-31-16,-2 3-3 0,2 3 26 0,-3-5-2 0,1 2-16 15,2 3-15-15,-4-1 12 0,4 1-20 16,0 0 11-16,0 0-19 0,-12 3 13 16,12-3 3-16,-3 5-8 0,2-2-5 0,1-3 3 15,1 7 30-15,-1-3-20 0,1 2-3 16,-1-1 8-16,2 2-1 0,2-1 4 0,-2 2-1 15,0 0 11-15,2 0 0 0,-3 0 7 0,4 0 8 16,-5 2-10-16,3-3 33 0,-3 2 18 16,0 0-33-16,0-1 33 0,-1 2-11 0,-1-2-14 0,-3 3 17 15,0-3 75-15,-3 3-42 16,-2-4 21-16,0 4-10 0,1-4-33 0,-3 2-47 0,2-3-15 16,-1 1-41-16,3 2-91 0,-4-5-119 15,4-2-141-15,1 2-483 0,0 0 28 16,-1-2 117-16,2 1 55 0,6-3 71 0</inkml:trace>
  <inkml:trace contextRef="#ctx0" brushRef="#br0" timeOffset="36355.18">23709 2472 954 0,'0'0'318'16,"0"0"-134"-16,3-3-240 16,-3 3-577-16,0 0 98 0</inkml:trace>
  <inkml:trace contextRef="#ctx0" brushRef="#br0" timeOffset="43766.93">19825 799 1287 0,'-2'-2'353'0,"2"2"-15"0,0-7-28 0,0 7-16 16,0 0-7-16,0 0-8 0,0 0 46 0,0 0-15 16,0 0-49-16,0 0 15 0,0 19-33 15,-1-11-109-15,-4 4 22 0,3 0-39 0,-6 1-4 16,3 3-3-16,-3-2-48 0,-2 2-47 15,2-2-15-15,-2 1-59 0,2-1-36 0,1-1-25 0,-1 0-36 16,0-3-118-16,3 1-115 0,-2-3-410 16,5-1-48-16,-2-1 102 0,2-1 57 15,0-2 76-15</inkml:trace>
  <inkml:trace contextRef="#ctx0" brushRef="#br0" timeOffset="44397.36">20079 573 829 0,'10'0'315'0,"-2"-1"-31"0,8 1-33 16,1-2 17-16,8 0-70 0,4-1-9 16,2 1-28-16,10-3-23 0,2 1-40 0,-2-1-65 15,3 0-84-15,-11 1-54 0,-3 1-87 16,-6-2 20-16,-1 2 3 0,-2-1-10 0,-6 1 33 15,-2 0 26-15,-1 0 102 0,-3-1 33 16,-2 2 55-16,-4-1 45 0,-1 0 61 0,-2 3-2 16,0-5-2-16,0 5 35 0,-8-6 11 15,4 5 7-15,-4-1 11 0,0 2-11 0,8 0-43 16,-15 3-19-16,7 0 17 0,-2 0-35 0,2 3 22 16,-2 1-44-16,2 3-29 0,0 3 24 0,-2 0 2 15,3 1-30-15,-1 2-16 0,0 3 3 16,3 0-21-16,-3 1-17 0,0 2 7 15,2-1-31-15,-2 0-7 0,-1 0-16 0,-1-1-17 0,0-1-21 16,0-2 17-16,0-3-24 31,0 0 14-31,-1-3-4 0,1 0 35 0,-1-3 6 0,2 1-11 0,1-4 49 0,0 0-3 0,0 0-2 16,1-3 12-16,-1 1 6 0,2 0-11 0,2-2 21 16,1 1 0-16,3-2-11 0,-7 1 14 15,7-1-19 1,0 0 9-16,0 0 1 0,0 0 4 0,0 0-9 0,0 0-27 0,14 2 22 0,-14-2-35 15,20-2 38-15,-11 1-25 0,7 0 4 16,1-1-25-16,-2 0-41 0,3 0-23 16,1 0-13-1,1 0-63 1,1 0-32-16,-1-1-130 0,-2-3-87 0,2 3-497 0,-4 0 11 0,1 2 130 0,-4-2 97 0,3 0 19 0,-4 3 68 16</inkml:trace>
  <inkml:trace contextRef="#ctx0" brushRef="#br0" timeOffset="44879.49">20633 873 967 0,'-3'-5'412'0,"3"1"-7"0,-3 0-34 15,3-1-36-15,3 0-33 0,-3-1 56 16,0-3-32-16,3 1-12 0,-1-2-22 16,3-1-36-16,0 0-33 0,-2 0-11 0,3 0 34 15,-2-2-149-15,1 3-7 0,-2 2 17 0,-1 0-27 16,1 1-19-16,2 2 26 0,-1 1-18 0,-2 1-10 16,2 2-20-16,-4 1 17 0,0 0 0 0,11 8 6 15,-6-3-19-15,0 2-15 0,1 0 11 16,-2-1-1-16,2 3-17 0,1-1-6 0,0 1 3 15,1-3 7-15,0 1 4 0,0 0-24 0,-1-1 33 16,1-2-17-16,-2 1 7 16,1-2 18-16,-2 0 107 0,3-1 21 0,-3-2-15 0,2 0-85 15,-7 0 1-15,9-1-9 0,-2-3-9 16,-4 2-4-16,-1-3 4 0,1 0-9 16,2-1 6-16,-1-2 13 0,0 1-42 0,-1-5 16 15,-1 3-56-15,3-1 17 0,-3 0-38 0,1 2 1 16,-1 1-70-16,1-1-36 0,0 3-33 0,-3-1-64 15,4 1-21-15,-1 1-22 0,-2 1-62 16,3 2-110-16,-4 1-82 16,3-1-430-16,2 1 107 0,-5 0 111 0,13-1-6 0,-3 0 93 0,0-1 48 15</inkml:trace>
  <inkml:trace contextRef="#ctx0" brushRef="#br0" timeOffset="45157.8">21186 563 1095 0,'-2'-6'479'0,"0"-1"-88"0,1 1-25 0,-4 0-25 16,2 0-11-16,-2 3-31 0,3-2-25 16,0 2-43-16,2 3-1 0,-8-2-33 0,8 2-15 15,-8 6-8-15,3-1-36 0,0 4 16 0,2 1-29 16,-2 2 3-16,5 3-10 0,-3 5-36 16,1 0 18-16,2 3-23 0,0 4-3 0,0 2-5 15,0-1-33-15,2 3-8 0,1-1-26 0,-3-2-25 16,0 4-36-16,0-3-20 0,-3 1-41 15,1-4-11-15,-1 2-22 0,-2-5 17 0,-3 1 18 16,1-4-7-16,-1-3-1 0,2-2-22 31,-2-1-13-31,-1-5-31 0,2 0-41 0,-1 0-59 0,0-5 36 0,3 0-54 0,-3-4-17 0,3 1-451 16,0-2 112-16,5 1 21 0,-10-3 156 16</inkml:trace>
  <inkml:trace contextRef="#ctx0" brushRef="#br0" timeOffset="45746.63">21045 943 985 0,'3'-4'305'0,"0"0"-24"0,2 1-17 0,-3 0 20 0,3 1-31 0,-5 2-30 0,8-3-28 16,-8 3-11-16,10 1-41 0,-10-1 1 16,11 1-19-16,-4 0 6 0,1-1-39 0,0 2 13 15,2-2-21-15,2 0 18 0,-1 1-35 0,2-2 0 16,2-1 7-16,1 0-15 0,-2 0-3 15,3-4-23-15,0 1 21 0,-1-1-5 0,0 0 53 16,-6-2 3 0,4 0 0-16,-4 0-23 0,-2-1 30 0,0 0 1 0,-5-1-23 0,-1 1 20 15,1-1 18-15,-3 2-31 0,0-2-5 0,-3 1-10 32,1 2-10-32,0-2 7 0,-1 2-20 0,-2 1 13 0,3-1-26 0,-4 1 10 0,5 3-46 15,-3-1 49-15,-1 0-38 16,2 1-1-16,1 0 1 0,2 3-14 0,-4-2 34 0,4 2-20 15,0 0-16-15,0 0-3 0,0 0-4 0,0 0-24 16,-6 9 72-16,6-9-71 0,6 6 20 16,-5-2-13-16,4 2 25 0,0-1-7 0,2 1-7 15,0 1-6-15,2-1 18 0,-1 1-2 0,-1-1 2 16,1 1 15 0,1-1-28-16,0 2-2 0,-1-2 15 0,-1 2-20 0,1-2-11 0,-2 0 47 15,-1-1-31-15,0 0 4 16,0 1 9-16,0-2 5 0,-2-1 25 0,-1 1-33 0,2 0 26 15,-2-1 9-15,0-1 11 0,0 2-17 0,-2-4-37 16,3 2-15-16,-3-2 23 0,0 0 15 16,3 2 6-16,-3-2-3 0,0 0 20 15,0 0 11-15,0 0-34 0,0 0 23 0,7-9-2 16,-7 5-5-16,0-1 13 0,3 1 20 0,-1-4-36 16,0 1-23-16,2-4-5 0,1 0-33 0,2 1-19 15,-4-3-35-15,5 0-18 0,2-1-28 16,0 2-36-16,0 1-28 0,-1-1-43 0,3 2-45 15,-2 2-50-15,2 0-115 0,-1 2-377 0,3 1-54 16,-2 1 88-16,1-1 173 0,2 2-25 16,-4 1 121-16</inkml:trace>
  <inkml:trace contextRef="#ctx0" brushRef="#br0" timeOffset="46345.67">21755 671 1000 0,'0'0'402'0,"0"0"-28"0,0 0-103 0,9 11-17 0,-5-4-50 15,0 0-9-15,-2 1-24 0,4 4-20 16,-4-2 13-16,0 1-41 0,0-1 0 0,0 1-3 16,-1-2-35-16,-1 1-3 0,0-3-8 0,0 2 3 15,3-3 10-15,-3 1-23 0,0-2 7 16,2 0 4-16,-2-1-4 0,0-4 6 0,0 5 13 16,0-5-1-16,0 0 1 0,5 0 12 0,-5 0-35 15,0 0 28-15,14-8-1 0,-10 5-17 16,4-3-8-16,-3 0-13 0,5 0 3 15,-2-1-13-15,0 2-15 0,2-1-16 0,0 1 14 16,0 1 6-16,-2 1-4 0,0 1 0 16,-1 1-8-16,1 1-5 0,0 1-18 0,-3 0 15 15,4 0-10-15,-5 2-2 0,1 1-6 0,0-1 11 16,-2 0 2-16,2 2-2 0,-3-2 10 31,-1 0-10-31,1 1 4 0,0-1 6 0,-2-3 23 0,3 4 103 0,-2-1-6 0,-1-3-20 0,0 0 30 16,4 3-10-16,-4-3-120 0,0 0 28 15,0 0 11-15,0 0-11 0,10-5-13 0,-10 5-5 32,6-4 3-32,-1 1 30 0,0 1-25 0,-1-1-13 0,2 1 3 0,-1 0-11 0,-5 2-7 0,10 0 7 15,-10 0 23-15,13 2-38 0,-6-1 29 16,-1 2-27-16,2-1-7 0,-1 1-3 16,1-1-61-16,0 2 31 0,-3-1-11 0,5 0-58 15,-3 0-37 1,0 1-22-16,2-2-36 0,-1 1-26 0,1-2-51 0,-1 2-77 0,0-1-158 15,1-1-451-15,-1-1 117 0,-2 0 73 0,2-1 117 16,0-1 18-16,0 2 79 0</inkml:trace>
  <inkml:trace contextRef="#ctx0" brushRef="#br0" timeOffset="46848.8">22299 737 1082 0,'0'0'295'0,"0"0"-39"0,-15 4 20 0,12-2-48 0,-4 1-11 0,1 1-14 0,1 0-32 0,-2 2-20 16,4-2-20-16,-2 1-8 0,4-1 7 15,-3 2-22-15,1-1-16 0,3-1-5 0,-1 0-3 16,1-4-30-16,1 7-16 0,2-5 16 0,1 0-36 16,-1 0 15-16,3-1-12 0,1-1 33 15,-7 0-29-15,13-1 1 0,-8 0 2 0,3 0 3 16,-1 1 2-16,-1-1-15 0,-6 1 33 15,11 1-30-15,-7 0 17 0,2 1 8 0,-2 1-3 16,1-1-2-16,-2 2-7 0,2-2-6 16,-2 1 15-16,1-1-25 0,-1 1 3 0,3-1 17 15,1 0-5-15,-7-2 14 0,17-2-4 16,-8-1 26-16,6-3-23 0,0 0 31 0,5-4 28 16,-3-1-10-16,1-1 92 0,0-1 25 0,-3-3-5 15,1 0-25 1,0-1-8-16,-2-2-13 0,-1 0-51 0,1-1-10 0,-5 0-5 15,4 0-21-15,-3 0-12 0,-3 4 25 0,1 2 56 16,-2 3 13-16,0-1-20 0,-2 3-6 0,0 1-9 16,-3 1-1-16,1 4-15 0,-2 1-8 0,0 2-28 15,0 0 13-15,0 0 8 0,-7 13-52 16,4-4-2-16,0 3-13 0,-1 0-5 16,3 3-49-16,-1 2-17 0,-1-2-60 0,3 3-22 15,0 0-32-15,0-3-50 0,-2 3-24 0,2-3-66 16,0 0-28-16,0-1-187 0,-2-1 13 0,2-2-54 15,-4-1-405-15,2 0 67 0,2-2 106 0,-3-1 86 16,1-2 25-16,-3 0 68 0</inkml:trace>
  <inkml:trace contextRef="#ctx0" brushRef="#br0" timeOffset="47110.71">22553 767 967 0,'-3'-4'371'16,"3"-2"-12"-16,0 2-22 0,3-2-35 15,0 2-12-15,2 0-34 0,2-1-80 0,-1-1-22 16,4 0-11-16,2-2-20 0,1 1-3 15,1-1-17-15,3 0-11 0,-4 0 79 0,5 0-20 16,-3 1-7-16,3 0-21 0,-3 2 23 16,-1 0-13-16,0 1-28 0,-3 0 33 0,2 2-28 15,-3 0 18-15,-2 2-5 0,2 0 30 0,-2 2-86 32,0 1 25-32,-1 1-25 0,-2 1 2 0,3 1 15 0,-3 1-17 0,0 1 4 0,-2 0-9 15,2 1-11-15,-2-1 3 0,-1 2-39 0,1-2-7 16,-3 1-70-16,0 0-12 0,0 0-77 0,0 1-46 15,-3-4-54-15,1 4-171 32,2-2-520-32,-3-1 28 0,0-1 113 0,1-1 46 0,2-2 92 0,-1 0 97 0</inkml:trace>
  <inkml:trace contextRef="#ctx0" brushRef="#br0" timeOffset="47242.78">22898 565 1069 0,'0'0'346'0,"-2"-6"-111"0,2 6-117 16,0-3-189-16,0 3-600 0,0 0 72 0</inkml:trace>
  <inkml:trace contextRef="#ctx0" brushRef="#br0" timeOffset="47852.36">23086 599 952 0,'0'5'407'0,"0"1"-18"0,0 0-46 0,0 1-3 0,-2 1-25 0,2 0-28 0,-3 1-3 0,3 0-26 16,0 0-45-16,0 0-34 15,0 1-7-15,0-1-4 0,3 0-24 0,-3-2 27 0,2 2-48 16,2-2-13-16,-2 0 0 0,0 0-12 16,3-3-29-16,-2-1-3 0,2 0 21 15,1 1-36-15,-2-4 11 0,-4 0 2 0,13-2 18 16,-8-3-34-16,0 2 9 15,2-2-4-15,-4-3 11 0,0 1-33 0,1 0 2 0,-4-1-4 16,0 0 101-16,0 1-33 0,-2-2 19 0,-3 3-45 16,3-1 42-16,-3 1-77 0,2 1 25 15,-2-1-15-15,1 2 5 0,0 0-4 0,1 0-19 16,1 0 2-16,-1 0-37 0,1 2 20 0,2 2-11 16,-2-5-7-16,2 5 10 0,0 0-7 0,0 0-1 15,4-4-10 1,-4 4 34-16,0 0-21 0,0 0-8 0,21 5 46 0,-14 0-48 0,-1-2 8 15,2 1 14-15,-1 1-24 0,1 0 24 16,0 0-7-16,-1 0-5 0,0 0 8 0,-3-1 8 16,1 1-9-16,2-1 24 0,-4 0-18 15,2-2-13-15,-2 2 23 0,2-2-10 16,-3 1 25-16,-2-3 8 16,8 4-10-16,-8-4-3 0,7 0-7 0,-7 0 20 0,8 0-5 0,-8 0 20 15,9 0-25-15,-5 0-18 0,-4 0 33 16,13 0-10-16,-13 0 15 0,11 0-25 0,-4 0-3 0,-7 0-17 15,8 0 6-15,-3 1-50 0,-5-1-15 16,10 0-65-16,-7 1-51 0,4 0-10 16,-7-1-54-16,8 1-10 15,0-1-97-15,-1 0-34 0,1 0-30 0,0 0 56 0,2 1 28 16,0-1 95-16,-2 0 59 0,2 1 94 0,-2-1 29 0,2 2 35 16,-2 0 49-1,0-1 16-15,-3-1-3 0,4 0-8 0,-5 1 18 16,-4-1 5-16,11 2-30 0,-11-2 7 0,4 1-15 0,-4-1-131 15,0 0-263-15,0 0-569 0,0 0 126 16,0 0 61-16,-19 4 82 0,7-4 180 0,0-1-106 16</inkml:trace>
  <inkml:trace contextRef="#ctx0" brushRef="#br0" timeOffset="53592.2">23590 2284 924 0,'-2'-7'340'0,"0"0"-107"15,0 0 15-15,-1 1-38 0,0 1 13 16,1-2-52-16,0 3-15 0,0 0-2 0,-2-1-16 16,2 2-23-16,1 0-2 0,1 3-26 0,-7-4 5 15,7 4-15-15,0 0-8 16,0 0 10-16,-5 11-22 0,5-5-3 0,2 1-16 15,0 0 13-15,-1 2-18 0,5 1 1 0,-2 1 4 16,1 0-5-16,0 1 13 0,1-2 31 16,-2 2-41-16,2-1 5 0,-1 0-5 0,0-2-8 15,-2 1 5-15,2-3 16 0,-3 1-3 0,-1 0-20 32,-1 0-1-32,0-2 1 0,-1 1 20 0,-4 0-28 0,3-2-3 0,-3 2-23 0,1-5-17 15,-2 3-37-15,0 0-37 0,-2-3-101 0,4-1-161 16,-2 3-471-16,-1-4 31 0,-1 2 130 15,0-1 77-15,2-1 57 16</inkml:trace>
  <inkml:trace contextRef="#ctx0" brushRef="#br0" timeOffset="54388.66">22817 2457 870 0,'0'0'356'0,"0"0"-54"0,-8 6-5 15,6-3-26-15,1 1-36 16,-1 2-20-16,0 0-20 0,2 1-113 0,-3 0 13 0,3 1-39 16,0 0 8-16,0 0-5 0,0 0 2 0,3-2-15 15,-1 2 18-15,1 0-28 16,-1-1 0-16,3-1-8 0,-2 0-2 0,3-2 7 16,-2 1-2-16,2-3-24 0,-2 1 32 0,2-3-26 15,-6 0 35-15,10 0-7 0,-10 0-13 16,11-1 8-16,-7-3-15 0,1 1 12 0,0-1-18 15,-2-1 26-15,2 2-10 0,1-4-13 0,-4 1 5 16,3 0-26-16,-2 0 3 0,-1-1-48 16,0 2-14-16,1-4-17 0,0 4-88 0,-1 1-96 15,-1 0-55-15,1 0-414 0,0 1 5 0,-2 3 118 16,5-3 56-16</inkml:trace>
  <inkml:trace contextRef="#ctx0" brushRef="#br0" timeOffset="54725.49">23066 2283 967 0,'0'0'358'0,"0"0"-22"0,0 0-67 0,-5 13-1 0,2-6-19 0,2 2-24 0,1 1-13 16,-4 3-35-16,4 0-18 0,-3 1-11 0,1 0-20 15,1 1-51-15,-3 0-3 0,1 0-23 16,0-2-81-16,1 1-47 0,0 1-54 0,0-6-122 15,-2 4-218-15,4-3-310 0,0-2 110 16,3-1 75-16,-2 0 35 0</inkml:trace>
  <inkml:trace contextRef="#ctx0" brushRef="#br0" timeOffset="54975.42">23176 2389 1238 0,'0'-5'372'0,"5"2"-47"0,0 0-64 0,1-1-13 16,1 1-43-16,3 1-47 0,3-3-60 15,0 1-47-15,0-1-87 16,2 3-33-16,0-1-118 16,5-1-309-16,-6 2-239 0,7-2 128 0,-1 1 54 0</inkml:trace>
  <inkml:trace contextRef="#ctx0" brushRef="#br0" timeOffset="55943.1">23178 2344 709 0,'16'-5'248'0,"2"1"-74"16,0 0-23-16,-3 0-72 0,3-1-76 0,0 2-65 15,0-2-76-15,5 2-420 0,-2-1 36 31</inkml:trace>
  <inkml:trace contextRef="#ctx0" brushRef="#br0" timeOffset="77960.64">4683 8026 1410 0,'-3'-1'543'0,"3"1"-19"16,0 0-32-16,0 0-37 0,0 14-53 0,3-4-25 15,-1 4-32-15,0 2-40 0,2 4-31 16,-2 4-6-16,0 4-35 0,4 9-33 0,-4 1-13 16,3 3-3-16,-2-1-20 0,-3 3-23 0,2-2-39 15,1 0-2 1,-3-9-8-16,-2-2-31 0,-1 11-30 0,3-9 0 0,-3-5-13 0,1-1-62 16,-1-2 8-16,1-5-51 0,-1 0-30 0,0 0-34 0,-1-1-100 15,1-5 15-15,0 3-89 0,1-7-202 16,2 0-474-16,-3-1 90 0,0-3 64 15,3-5 97-15,0 0 76 0,0 0 60 0</inkml:trace>
  <inkml:trace contextRef="#ctx0" brushRef="#br0" timeOffset="78274.39">4763 7951 1515 0,'0'-6'514'0,"0"3"-66"0,0 3-25 16,0 0-42-16,0 0-5 0,0 0-25 15,4 13-46-15,-1-3 63 0,0 5-35 0,1 4-46 0,2 2-37 16,-1 15-19-16,3 0-29 0,0 4-23 16,-1-1 13-16,-2 3-31 0,1 1-10 0,-2 2-33 15,2-2 15-15,-4 1-12 0,0-1-29 0,-1-4-33 16,1-5-13-16,-2-6-18 0,0 3-46 15,3-5-18-15,-3 1-12 0,0-5-50 0,0-3-20 16,-3-2-15-16,3-3-25 0,0-1-24 0,0-1-36 16,0-2-45-16,0-3-96 31,0-5-94-31,-2 0-532 0,2-2 61 0,0 0 102 0,0 0 57 0,-8-16 89 0,3 4 82 0</inkml:trace>
  <inkml:trace contextRef="#ctx0" brushRef="#br0" timeOffset="79668.03">4439 8532 1587 0,'-2'-6'481'16,"1"3"-33"-16,-1-7-54 0,2 1-28 16,0-2-28-16,2-2-31 0,-1-6 5 0,1-3-107 0,3-4-26 15,3-11-2-15,-3-2-29 0,1 0 14 0,1-3-9 16,0-1-7-16,1 0-15 0,-2-3-21 16,1 2-3-16,-2 1 13 0,0 0-40 0,5 6 12 15,-2 4 13-15,0 3-23 0,-3 9-3 0,0 2-12 16,0 1 4-16,1 1-9 15,-1 4 7-15,0 2-8 0,0 3 1 0,0-2 2 16,3 7-3-16,2-2 1 0,0 5-24 0,1 3 18 0,4 1-15 16,3 8 8-16,2 0 10 0,6 7-23 15,0 0-21-15,1 5 16 0,0-1 15 16,-2 0-21-16,-1 1-12 0,0 1 15 0,0 0-25 16,-1-2 12-16,-5-4-10 0,-3-3 11 0,1 1-9 15,-4-1 1-15,1-3 13 0,-3-3-24 16,0 1-5-16,1 1 21 0,-3-2 8 0,2-3-19 15,-5 1-15-15,3-1 8 0,-3-1-8 16,0 0 8-16,0 1 21 0,-2-3 2 0,2 1 74 16,-3-2 2-16,1 2 17 0,2-3-27 0,-4 1-25 15,3-1 20-15,-4-2-5 0,6 3-38 16,-6-3 23-16,2 1-31 0,-2-1 6 0,0 0-16 0,0 0-18 16,8 1 0-16,-8-1 0 0,0 0 0 15,4 1 0 1,-4-1 0-16,0 0 0 0,0 0 0 0,0 0 0 0,0 0 0 0,0 0 0 15,0 0 0-15,0 0 0 0,0 0 0 0,0 0 0 16,0 0 0-16,0 0 0 0,0 0 0 0,0 0 0 16,6 0 0-16,-6 0 0 0,0 0 0 15,0 0 0-15,0 0 0 0,0 0 0 16,0 0 0-16,0 0 0 0,0 0 0 0,0 0 0 0,0 0 0 16,0 0 0-16,0 0 0 0,0 0 0 15,0 0 0-15,0 0 0 0,0 0 0 0,0 0 0 16,0 0 0-16,0 0 0 15,0 0 0-15,0 0 0 0,0 0 0 0,0 0 0 16,0 0 0-16,0 0 0 0,0 0 0 0,0 0 0 0,0 0 0 16,0 0 0-16,0 0 0 0,0 0 0 0,0 0 0 15,0 0 0-15,0 0 0 16,0 0 0-16,0 0 0 0,0 0 0 0,0 0 0 0,0 0 0 16,0 0 0-16,0 0 0 0,0 0 0 0,0 0 0 15,0 0 0-15,0 0 0 0,0 0 0 0,0 0 0 16,0 0 0-16,0 0 0 0,0 0 0 15,0 0 0-15,0 0 0 0,0 0 0 16,0 0 0-16,0 0 0 0,-8-7 0 0,8 7 0 16,0 0 0-16,0 0 0 0,0 0 0 0,-5-3 0 15,5 3 0-15,0 0 0 0,0 0 0 16,0 0 0-16,0 0 0 0,0 0 0 0,-5-2 0 16,5 2 0-16,0 0 0 0,0 0 0 0,-2-2 0 15,2 2 0 1,0 0 0-16,0 0 0 0,0 0 0 0,-6-3 0 0,6 3 0 0,0 0 0 15,0 0 0-15,0 0 0 0,0 0 0 16,0 0 0-16,0 0 0 0,0 0 0 0,0 0 0 0,-4-2 0 16,4 2 0-16,0 0 0 0,0 0 0 0,0 0 0 15,0 0 0-15,0 0 0 0,0 0 0 16,0 0 0-16,0 0 0 0,0 0 0 0,0 0 0 16,0 0 0-16,0 0 0 0,0 0 0 15,0 0 0-15,0 0 0 0,0 0 0 0,0 0 0 16,0 0 0-16,0 0 0 0,0 0 0 0,0 0 0 15,0 0 0-15,0 0 0 0,0 0 0 32,0 0 0-32,0 0 0 0,0 0 0 0,0 0 0 0,0 0 0 0,0 0 0 0,0 0 0 0,0 0 0 15,0 0 0-15,0 0 0 0,0 0 0 0,0 0 0 16,0 0 0-16,0 0 0 0,0 0 0 16,0 0 0-16,0 0 0 15,0 0 0-15,0 0 0 0,0 0 0 0,0 0 0 0,0 0 0 16,0 0 0-16,0 0 0 0,0 0 0 0,0 0 0 15,0 0 0-15,0 0 0 0,0 0 0 16,0 0 0-16,0 0 0 0,0 0 0 0,0 0 0 16,0 0 0-16,0 0 0 0,0 0 0 0,0 0 0 15,0 0 0-15,0 0 0 0,0 0 0 0,0 0 0 16,0 0 0-16,0 0 0 16,0 0 0-16,0 0 0 0,0 0 0 0,0 0 0 0,0 0 0 15,0 0 0-15,0 0 0 0,0 0 0 16,0 0 0-16,0 0 0 0,0 0 0 0,0 0 0 0,0 0 0 15,0 0 0-15,0 0 0 0,0 0 0 16,0 0 0-16,0 0 0 0,0 0 0 16,0-5-200-16,0 5-59 0,0 0-58 0,0 0-88 15,0 0-163-15,4-3-512 0,-1 0 25 16,2 3 149-16,-5 0 64 0,8-7 59 16,0 6 115-16,2-1 51 0</inkml:trace>
  <inkml:trace contextRef="#ctx0" brushRef="#br0" timeOffset="81523.02">11190 6654 1092 0,'0'-4'423'0,"0"-2"45"15,0 2-35-15,0 4-16 0,0-7-18 16,-3 6-40-16,3 1-50 0,-2-4 1 0,2 4-5 15,0 0-13-15,0 0-11 0,-5 11-63 0,2-4-13 16,1 4 2-16,1 2-23 0,-4 1-15 0,2 3-13 16,-1 1-30-16,-1 2 7 0,0 3-28 15,1-3 7-15,2-1-17 0,-2 0-26 16,0 5 13-16,0-5-33 0,1-1 20 0,3-1-10 0,-3-2-11 16,3-1-7-16,-2 1 5 15,4-2 0-15,-2-3-12 0,3 1-4 0,0 0-4 0,1-4-21 16,2 1-23-16,-2-3-13 0,4 0-61 31,0 0 10-31,3-3-25 0,-3-1-13 0,2 0-37 0,2-2-19 0,-2 1-42 0,-1-1-17 16,3 0-72-16,-2-2-54 0,-2 1-154 0,-3 0-71 15,3-2-389-15,-1 2 145 0,-1-2 88 0,-4 1 48 16,-1-1 93-16,-1 4 79 0</inkml:trace>
  <inkml:trace contextRef="#ctx0" brushRef="#br0" timeOffset="81787.06">10944 6923 1251 0,'-6'-2'440'0,"-1"2"-33"15,7 0 3-15,-5-1-75 0,5 1-4 16,0 0-35-16,0 0-42 0,0 0-6 0,0 0-38 16,12-6-15-16,-1 5-19 15,-1-1-7-15,6-1-36 0,-1 1 16 0,6-3-39 0,1 3-5 16,-1-2-21-16,2 2-25 0,0-2-33 0,0 2-26 15,-2-3-41-15,1 4-34 0,-1-1-4 16,-3 0-49-16,0 1-28 0,-3 1-72 0,3 0-123 16,-5 0-53-16,1 0-489 0,-2 1 92 15,-4 3 40-15,2-1 124 0,0 1 23 0</inkml:trace>
  <inkml:trace contextRef="#ctx0" brushRef="#br0" timeOffset="82144.73">11459 6932 1220 0,'3'-2'436'0,"-1"-3"-29"0,1-1-39 0,-1 1 21 0,-2 0-79 0,3 1-67 16,-3-1-20-16,0 0-13 0,0 0 2 15,0 2-15-15,0 3-7 0,-3-8 4 0,1 5-35 0,2 3-13 16,-8-2-18-16,8 2 18 0,-10 2-31 0,10-2 23 15,-11 4-23 1,4-2 8-16,2 4-33 0,-3 1 22 0,1-1-25 0,1 2-5 16,1 2-13-16,-2-3-5 0,1 0 21 0,4 3-36 15,-1-2 2-15,0-2 0 0,3 2-18 16,0 2 29-16,0-4-11 0,3 1-23 0,-2-1 10 16,3 0-4-16,2 1 7 0,-2-3-13 0,2 0 0 15,2 0 15-15,-1-2-30 0,1 3 26 16,0-4-14-16,0 1-43 0,-1-2 16 0,3-2-44 15,-2 2 5-15,2-1-51 0,0-1-36 0,0-1-34 16,0 1-35-16,-1-3-20 0,3 2-29 16,-4-1-77-16,2 0-127 0,-2 1-70 15,0-1-409-15,-1 2 61 0,1-3 95 0,0 4 77 16,2-4 64-16</inkml:trace>
  <inkml:trace contextRef="#ctx0" brushRef="#br0" timeOffset="82432.35">11744 6869 1062 0,'-8'-5'532'0,"5"3"-43"0,3 2-20 0,-10 0-39 15,10 0-21-15,-10 3-28 0,4 1-50 16,-1-2-19-16,2 3-5 16,0 0-53-16,-3 2-27 0,3 0 4 0,0 3-24 0,0-2-18 15,2 3-43-15,-2 1 18 0,3-4-33 0,1 2-21 31,1-1-5-31,1 1-8 0,4-2-23 0,0 4-2 0,0-5-21 0,0 0-28 0,3 3-23 16,-3-6 0-16,2 2-8 0,3-2-50 0,-2 1-22 16,0-3-20-16,2-1 8 0,-2 0-36 15,-1-1-10-15,2 0-5 0,1-1-29 0,-2 0-43 16,0-3-38-16,2 1-65 16,-3-2-114-16,0 3-52 0,-1-3-386 0,2-1 46 0,-3 1 45 15,0-1 168-15,0 0 9 16</inkml:trace>
  <inkml:trace contextRef="#ctx0" brushRef="#br0" timeOffset="82859.39">11872 6751 1315 0,'0'0'382'0,"0"-6"-19"0,0 6-38 0,0 0-10 0,0 0-46 0,0 0 7 0,0 0-33 0,0 0-7 16,0 19-8-16,0-10-29 0,0 0-7 0,0 3-7 0,-3 0-45 16,3 2-7-16,0-1-5 0,0 3-7 15,3-3-24-15,-6 2-10 0,3 3 8 16,0-5-34-16,0 0 3 0,0 2 3 0,3-2-11 16,-3-5-2-16,0 3-8 0,0-3 31 15,-3 2 10-15,3-2 74 0,0-2-13 0,0-1-2 16,3-2-33-16,-1 0 15 0,-2-3 36 0,0 0-31 15,8 0-31-15,-8 0-17 0,11-4-14 16,-4 3 32-16,1-2 2 0,0 1-8 0,2 0-10 16,-2-1 5-16,2 2-5 0,-2 0 5 0,2 1-33 15,0 0-66-15,0 1 17 16,0 2-20-16,-2-1 20 0,-1-1-18 0,2 3 18 16,0-2-38-16,0 2 15 0,-2-1-7 0,-2 2-49 15,1-3-8 1,-2 3-33-16,2-2-23 0,-1 0-54 0,-3 1-25 0,3-2-52 0,-2 0-23 15,-1 3-53-15,1-5-113 0,-3 5-169 16,3-4-366-16,-3-1 69 0,0 0 158 0,5 4 60 0,-5-4 41 16,0 0 66-16</inkml:trace>
  <inkml:trace contextRef="#ctx0" brushRef="#br0" timeOffset="84350.6">21017 6645 1154 0,'0'0'379'0,"0"0"-6"0,0 0-37 0,0 0-16 0,-5 11-46 16,2-2 2-16,1 3-33 0,-3 5 8 16,0 1-46-16,0 7-13 15,2 1-16-15,-5 11 9 0,-2-1-42 0,5-1-10 0,-3 2-10 0,1-1-28 16,1-3 46-16,-1-3-24 16,4-6-45-16,-2-4-21 0,5-2-43 0,-3 0-49 0,3-3-5 15,-2 0-46-15,0-2-11 0,2-4-20 16,0 1-7-16,0-2-52 0,0-2-76 0,0-2-90 15,2-2-223-15,-2-2-236 0,5 1 29 0,-5-1 143 16,0 0 31-16</inkml:trace>
  <inkml:trace contextRef="#ctx0" brushRef="#br0" timeOffset="84639.17">21147 6611 1218 0,'0'-7'435'0,"0"2"-87"0,0 1-25 0,0-1-26 0,0 5-23 0,0-5-29 16,0 5-27-16,0 0 5 0,0 0-24 16,0 0-22-16,-9 16-6 0,6-4-9 0,-2 0-42 0,2 6-15 15,-1 2 0-15,-2 1-23 0,2 6 20 16,-2-2-15-16,3 2-10 0,-5 11 5 0,1-5 18 16,0-3-44-16,1-4 5 0,1 2-4 0,0-4-37 15,0-1 3 1,0 0 23-16,2-4-36 0,-3-2 6 0,2-1-8 0,1-1-26 0,0-3-8 15,-1-2-18-15,4 0-17 0,-3-3 5 16,0 0-39-16,1-1-10 0,0-1-56 0,2-3-26 16,0-2-38-16,0 0-49 0,0 0-105 15,0 0 3-15,0 0-484 0,4-15 99 0,-4 6 34 16,3 1 95-16</inkml:trace>
  <inkml:trace contextRef="#ctx0" brushRef="#br0" timeOffset="85131.16">20815 6868 760 0,'0'0'322'0,"0"-6"49"0,0 1-46 16,0 0 1-16,2-1-60 0,2 2 26 0,-2-5-44 15,2 1-84-15,2-3-21 0,1 2 11 16,0-3-3-16,2-4-23 0,-1 2 12 0,4-4-1 16,1-1-27-16,3-11-4 0,4 4-19 0,2-4-7 15,-3 3 16-15,1-2-6 0,1 2-5 16,2 1 5-16,1 1-13 0,-2 2-7 0,-1 4 23 16,-4 5-8-1,-1-1-18-15,1 5-3 0,-6-1 21 0,4 4 0 0,-4 0-28 0,1 1-2 0,-2 3 19 16,-1 1-1-16,1 2 6 0,-2 5-9 15,4-1-28-15,-2 5 12 0,1 1 5 16,3 1-12-16,-2 6 18 0,-2 1 48 0,3 5-5 16,2 4 8-16,2 2-21 0,-6-1-20 0,2-3 15 15,-2-2 8-15,-1-3-1 0,0 3-50 0,0-3 33 16,0 0 0 0,-2-1-36-16,1-1 36 0,-3-5-36 0,2 4 13 0,-3-3-3 0,1-2 16 15,-2-2-34-15,2 0 1 0,0 1-1 16,-2-3-5-16,0-2-23 0,-3 1 6 15,2-1 12-15,1 0 5 0,-1-2-51 0,0 1-48 0,-3-2-44 16,4 1-62-16,-4-4-53 0,3 2-90 16,-3-2-199-16,0 0-625 0,0 0 112 0,0 0 95 15,4-11 157-15,-5 7 35 0,-2-4 100 16,1 0 92-16</inkml:trace>
  <inkml:trace contextRef="#ctx0" brushRef="#br0" timeOffset="101245.03">5508 7873 1116 0,'0'0'383'0,"0"0"-27"0,0 0-20 16,0 0-24-16,0 0-15 0,0 0-34 0,0 0-14 0,0 0-19 15,0 0 24-15,0 0-78 0,0 0 29 16,0 0-44-16,0 0 13 0,0 0-59 0,0 0 11 15,0 0-3-15,0 0-23 0,0 0-11 16,0 0-12-16,0 0-3 0,-5-12-12 0,3 8 37 16,2 4-50-16,-3-6 5 0,3 1 7 0,-3 1-25 15,1 0-15-15,0-2 7 0,-2-1-5 16,0 1-8-16,1 0 16 0,-2-2-72 0,0 2 8 16,2-1-16-16,1 1 18 0,-3-1 1 15,2 2-6-15,0 0 18 0,-2 0-10 0,3 2-36 16,-1-1-6-16,1 1-17 0,-1-1-23 15,3 4-23-15,-3-4-28 0,3 4-23 0,0 0-47 16,0 0-78-16,0 0-78 0,-7 6-470 16,7-6 114-16,3 9 11 0,-3-3 92 0,0-1 64 0</inkml:trace>
  <inkml:trace contextRef="#ctx0" brushRef="#br0" timeOffset="101625.34">5511 7863 698 0,'0'-8'313'0,"-3"4"-11"16,3 0-34-16,-2 0-37 0,1-3-1 0,-1 1 62 16,-3-3-16-16,2 2-17 0,1-1-26 15,-4-2-36-15,2 2-20 0,-1-3-67 0,2 2-31 16,-2-2 3-16,0 4 5 0,2 1-21 0,-2-1 9 16,2 1-9-1,1 0-32-15,-1 1-34 0,0-1-18 0,2 3-13 0,0-1-33 16,-1-1-69-16,2 5-49 0,-3-5-30 0,3 5-70 0,0-4-23 15,3 1-473-15,-3 3 62 0,0 0 60 16,5-2 52-16</inkml:trace>
  <inkml:trace contextRef="#ctx0" brushRef="#br0" timeOffset="104304.9">5436 7689 1023 0,'0'0'402'0,"0"0"-105"0,0 0-23 16,-4-3-28-16,4 3-24 0,0 0 4 0,0 0-42 16,0 0-20-16,0 0-18 0,0 0 5 15,0 0-31-15,-3 8 8 0,3-8-20 0,3 7-21 16,-3-2 10-16,4 2-20 0,-1 0-1 0,2 0 17 15,-2 4-9-15,2 0 16 0,0 1 7 16,3 1-20-16,-1 1-12 0,1 3 14 0,-1-3-15 16,2 3-22-16,0 1 4 15,2-1 3-15,-1 2-3 16,-2-3-20-16,3 2 2 0,1-1-12 0,-2 0 23 0,1 0-29 0,-1-1-10 16,3 0 31-16,-3 0 49 0,3-1-3 0,-1-3-3 0,1 5 3 15,1-2-7-15,-2-4-101 0,0 1 11 16,-1 2 20-1,2-2 8-15,2 1-20 0,-2 3 4 16,2-5 8-16,-2 0 16 0,3 2 5 0,2 0-1 0,-3 2 11 0,3-3-28 0,2-2-13 16,-2 2 28-16,3 0-5 0,-3 1-12 0,3-1 40 15,1 0-56-15,-1-1 35 16,0 1-9-16,4-1-6 0,-4 1 8 0,0-1-2 0,9 6-24 16,-5-4 39-16,-4-1-26 0,10 2 1 15,-5-1 9-15,-1-2-35 0,8 3 38 0,-7-1-28 16,-3-2 2-16,8 2 34 0,-6 0 10 0,-1-2-21 15,-1 0-10-15,10 3-10 0,-7-2-10 16,-3-3 8-16,2 2 7 0,-1-1-8 0,9 4 3 16,-5-3 21-16,-2-1-6 15,7 2-2-15,-5 0-13 0,-5-2 13 0,3-1-13 0,7 4 18 16,-4-2-3-16,-4-3-10 0,11 3 0 16,-6 1 10-16,-3-5-12 0,11 4-11 0,-2 1-4 15,0 0 6-15,-1-2 17 0,2 1-16 0,1-2 10 16,-2 1 2-16,-1 3 4 0,4-5-17 15,-6 3-1-15,-2-1 9 0,-3-2 3 0,-2-2 6 0,9 7-11 16,-4-7-11-16,-4 4 19 16,-2-1 5-16,11 1-13 0,-6-1 13 0,-1-2 5 15,4 4-21-15,-2-3 1 0,7 3 2 0,-2-2-16 0,-5-1 32 16,-3-1-11-16,11 1-18 0,-3 4 15 16,-3-5 4-1,-5-2-17-15,10 6 4 0,-4-5 25 0,-6 1-16 0,0-2-10 16,0 2 11-16,3-1 0 0,-5-1 12 0,5 0-30 0,0 0 27 15,-1 1-17-15,-1 0-15 0,12 0 33 16,-8 0-6-16,-2-1-2 0,2-2 16 31,-2 2-26-31,10 1 12 0,0 1 1 0,-6-3-5 0,-4-2-8 0,0 3-11 0,2-3 19 0,0 2 10 0,-2-2 4 16,3 1-11-16,-3 0-17 0,0-2 6 16,0 2 8-16,1-1 4 0,2-1 19 15,-1-1-5-15,0 2-21 31,1-1 17-31,2-1-11 0,0-1 1 0,2 1 11 0,-4-2-10 0,4 1 15 0,6 0-3 0,-4 0-27 16,-6-2 25-16,-1 2-16 0,0 1 24 0,-2-2-6 0,0-2-15 16,3 3-5-16,-4-1-12 0,1-2 17 0,0 3 2 15,-1 0-7-15,1-3 0 0,0 3-7 16,0-1 9-16,2-1 3 0,-2 1 0 16,0 0-12-16,2-1-1 0,-3 2 39 0,1-2-16 0,0 1-17 15,0 2 20-15,-3-2 2 0,3-2-17 16,-3 4-9-16,0-1 1 0,-2-2 13 0,0 0 0 15,4 3-13-15,-1-4 15 0,1 2-15 16,-1 1 17-16,-1-3-9 0,3 3 2 0,-3-2-7 16,3 0-6-16,-1 0 16 0,-2 0-26 0,3 1 25 15,0-2-2 1,2 1-10-16,-2-1-2 0,2 0-1 0,-2 1 11 0,0-2 20 0,2 2-11 16,-2-1-9-16,0 0 5 0,-1 0 2 0,4 0 8 15,7-3-39-15,0 1 21 16,-8 1-2-16,-2 1-3 0,-3-1 23 15,3 1-3-15,0-2-10 0,10-1-8 0,-5 1 6 0,2 0 10 0,-2 0-3 16,3-1-5-16,-3 2-12 0,-6 0 24 16,9-3-19-16,-6 2-1 0,-2 2 14 0,8-5 1 15,2 2-9-15,-1 1 15 0,-4 0-18 16,5-2-3-16,-3 1-2 0,-2 1 15 0,-7 2 6 16,1-3-16-16,11 1-10 0,0 0-1 0,-2-2 22 15,2 2-11-15,-2-2-3 0,1-1-20 16,-7 4 13-16,-2 1 2 0,11-4 23 0,-7 1-4 15,4 1 12-15,2-2-28 0,-8 3-11 16,8-3 11-16,-7 3 15 0,-4-1 1 16,1 0 12-16,0 4-13 0,10-8-10 0,0 3 23 0,3 0-26 15,-3 1 3-15,0 0-10 0,0-1 2 16,-5 2 13-16,2-1-12 0,3-2 7 0,-7 2-3 31,6-1 21-31,1-1-10 0,0-1-8 0,0 2 10 0,-2-1 5 0,2-2-12 0,0 2 25 16,0 0-18-1,0-1 13-15,0 0-15 0,3-1 13 0,-3-1-9 0,2 2 11 0,-2-3-23 0,1 2-20 16,-1 1 22-16,-1-2 16 16,1 2 0-16,-2-2-25 0,0-1 14 0,2-1-17 0,-3 2 8 15,5-2 14-15,0 4 11 0,-1-4 8 16,4 1-10-16,-3 0-19 0,1 0 11 0,-3 0-3 0,3-1-15 16,-3 0 31-16,3 1-24 0,-1-2 19 15,0-1-39-15,2 1 31 0,-2 1-11 0,0 0 8 16,3 1 13-16,1-2-38 0,-2 1 30 15,0-1-30-15,0 1 20 0,-1 3 10 16,2-4 3-16,-2 3-7 0,0-2-19 0,-1 1 5 16,1 0-12-16,-1 0 5 0,-2 0 28 0,3 0-13 15,-1 1 8-15,-1-2-3 0,1 0-10 0,3 1 15 32,-5-1-5-32,2 0 3 0,-1 2 13 0,-1-2-21 0,0 0 15 0,0 0-2 0,0-1 8 15,0 1-29-15,-2-3-7 16,2 4 3-16,-1-1-1 0,1 0 18 0,-2 0-28 0,0-1 23 0,1 1-15 15,-1 0 23-15,2 2 20 16,-2-4-30-16,-1 2-3 0,0 1 12 0,0-2-24 16,-1 1 22-16,-2 1-5 0,1 0-15 0,1 2 15 15,-2-4 64-15,-1 2 0 0,-1 0 8 0,-3 3-13 16,3-4-5-16,-4 2 7 0,-3 2-9 16,7-3-9-16,5 0-22 0,-4 0 23 0,2 0-24 15,-3-1 3-15,-2 5-5 0,2-4 0 0,-5 1-15 16,-2 2-5-16,-1-1 15 0,1 2-8 15,-3-3-8-15,3 0 19 0,-3 2-14 16,0-1-1-16,3 1 4 0,-4-1-8 0,2-2 4 0,-3 3-6 16,2-2 0-16,-1 0 0 0,-3 3 0 15,1-4 0-15,-4 4 0 0,-1-1 0 0,0 1 0 0,-2 1 0 16,0 0 0-16,-3 1 0 16,0 0 0-16,3-1 0 0,-3 2 0 0,-2 0 0 0,0-2 0 15,0 1 0-15,1 3 0 0,-1-2 0 0,0 0 0 16,-1-1 0-16,1 1 0 0,0 3 0 15,-3-4 0-15,3 2 0 0,-2 1 0 16,1-1 0-16,-2 0 0 0,0 0 0 16,0 3 0-16,0-3 0 0,1 2 0 0,-1-2 0 0,-2 4 0 15,1-3 0 1,1 0 0-16,-5 3 0 0,5-3 0 0,-2-1 0 0,2 4 0 0,-5 0 0 16,6-3 0-16,-4 0 0 15,-2 3 0-15,5-2 0 0,-5 2 0 0,5-2 0 0,-5 2 0 16,3-3 0-16,-3 3 0 0,5-2 0 0,-5 2 0 15,5-4 0-15,-5 4 0 0,5-2 0 16,-5 2 0-16,3-3 0 0,-3 3 0 0,2-1 0 16,-2 1 0-16,6-2 0 0,-6 2 0 0,4-3 0 15,-4 3 0-15,0 0 0 0,0 0 0 0,6-2 0 16,-6 2 0-16,2-4 0 0,-2 4 0 16,0 0 0-16,0 0 0 0,3-2 0 0,-3 2 0 15,0 0 0-15,0 0 0 0,5-1 0 16,-5 1 0-1,3-4 0-15,-3 4 0 0,0 0 0 0,2-2 0 0,-2 2 0 0,5-4 0 0,-5 4 0 16,2-2 0-16,-2 2 0 0,3-4 0 16,-3 4 0-16,3-1 0 0,-3 1 0 0,0 0 0 15,3-6 0-15,-3 6 0 0,4 0 0 0,-4 0 0 32,0 0 0-32,3-6 0 0,-3 6 0 0,3-1 0 0,-3 1 0 0,4-2 0 0,-4 2 0 15,0 0 0-15,4-5 0 0,-4 5 0 0,0 0 0 16,2-4 0-16,-2 4 0 0,0 0 0 0,0 0 0 15,0 0 0-15,2-1 0 0,-2 1 0 16,0 0 0-16,0 0 0 0,0 0-67 16,0 0-117-16,0 0-39 0,0 0-25 0,0 0-47 0,0 0-22 15,-7-5-131-15,7 5-274 16,-8 0-317-16,8 0 46 0,0 0 112 0,-8 0 136 16,8 0 52-16,-8-2 58 0,4 1 72 0</inkml:trace>
  <inkml:trace contextRef="#ctx0" brushRef="#br0" timeOffset="104803.83">16995 7094 1310 0,'-6'-1'404'0,"6"1"-40"0,0 0-42 0,0 0-2 0,0 0-23 0,0 0-25 0,0 0-1 0,0 0-48 0,0 0-19 0,0 0-17 16,0 0-20-16,18 3-37 0,-18-3-2 0,16 0-5 15,-9-1-8-15,4 2-12 0,1-1-21 0,-1 0 2 16,1-1-20-16,1 0 8 16,1 0-11-16,0 0-12 0,2-1 7 0,-3 1 21 0,-1 0-11 15,2 0-25-15,1 0 3 0,-3-2 2 16,-1 3 5-16,2-1-10 0,-1 0 8 0,-1-2 17 0,-1 2-25 15,0-1 0 1,0 2 0-16,-2-1 8 0,2 0 7 0,-5-1-25 0,1 1 20 16,2 1-2-1,-8 0-8-15,10-1 5 0,-10 1-3 0,7 0-9 0,-7 0-22 0,11 0 22 16,-11 0 1-16,5 0-9 0,-5 0 7 0,0 0 6 16,8 0-24-16,-8 0 39 0,4 0-36 0,-4 0 0 15,0 0 15-15,8 2-28 0,-8-2 8 0,3 4 15 16,-3-4 5-16,3 7-12 0,-1-3 15 15,-2 0-1-15,2 2 4 0,-2 2-26 0,0 2 5 16,3 1 15-16,-3 3 0 0,-3 3-5 16,3 3-2-16,-4 5-6 0,1 3-22 0,-2 10 20 15,-5 2-8-15,-1-2-38 0,-2 5-46 16,-4 7-83-16,-4 0-83 0,1-2-129 0,-1-2-765 16,-2 1 115-16,7-11 106 0,-4 0 63 0,2 1 108 15,0 1 86-15,3-4 55 0</inkml:trace>
  <inkml:trace contextRef="#ctx0" brushRef="#br0" timeOffset="109861.28">4165 6853 1231 0,'0'0'435'0,"0"0"-61"0,0 0-29 16,0 0-35-16,0 0-29 0,0 0-37 15,0 0-4-15,5 14-30 0,-5-7-10 0,3 0-8 16,-3 1-11-16,2 3-32 0,-2-3-39 16,2 3-8-16,-2 0-2 0,0-1-43 0,0 1-9 15,0 1-50-15,0-1-24 0,0-2-71 16,0 2-21-16,0-2-74 0,-2 0-131 0,2-1-363 15,0-2-145-15,0-1 78 0,-2 0 64 0,2-2 126 16</inkml:trace>
  <inkml:trace contextRef="#ctx0" brushRef="#br0" timeOffset="110005.08">4170 6742 248 0</inkml:trace>
  <inkml:trace contextRef="#ctx0" brushRef="#br0" timeOffset="110335.67">4346 6801 714 0,'-4'1'307'0,"1"3"-51"0,0-3-21 0,1 4-7 0,0-3-15 16,-1 4-29-16,3-2-23 0,0-1-15 0,0 3-23 15,0-1-5-15,3 1-13 0,1-1-11 0,2 2-4 16,-3-1-8-16,5 1-28 0,-1 1 102 15,0 1-44 1,1-2-9-16,-3 0 20 0,0-1-6 0,-2 1-32 0,2-1 2 0,-2 0 10 0,-1 1-12 16,1-3-57-16,-3 2-10 0,-3 1 30 15,3-4-32-15,-3 2-6 0,1 1-2 0,-4-1 9 16,2 0-6-16,-1-3-6 0,0 3 10 31,-1-2-10-31,1-3-28 0,-2 1-5 0,1 1-31 0,6-2-28 0,-10-2-56 0,10 2-98 16,-10-1-115-16,7-1-458 0,3 2 75 0,-5-1 53 15,5 1 66-15</inkml:trace>
  <inkml:trace contextRef="#ctx0" brushRef="#br0" timeOffset="110676.03">4753 6683 1149 0,'0'0'414'0,"0"0"-40"0,-1-3-31 0,1 3-46 0,0 0-33 15,0 0 7-15,-6 14-35 0,6-6-39 0,-1 1 7 16,0 0-17-16,1 2-38 0,-2 3-24 15,-1-3 13-15,3 3-33 0,-3 2 3 16,3-1-16-16,-2-2-8 0,0 3-45 0,2-2-8 16,-3-1-21-16,3 1-43 0,0-1-37 0,-3 1-9 15,3-4-31-15,-2 1-67 0,2-3-94 16,0 2-49-16,0-1-374 0,2-4-117 16,-2 1 79-16,3 0 69 0,-3-1 102 0</inkml:trace>
  <inkml:trace contextRef="#ctx0" brushRef="#br0" timeOffset="111418.55">4896 6730 796 0,'0'0'302'0,"-5"8"0"0,2-4-39 0,3-1-48 0,-1 4-18 0,0-1-10 0,1 0-25 16,-1 4-1-16,1-2-18 15,0 0-12-15,0 3-8 0,-2-3-29 0,2 1 6 16,0-1-21-16,0 0 11 0,0 2-34 0,0-4-20 0,0 2 18 15,0-1-5-15,0-1-14 0,0-1 4 16,2 0 40-16,-2 0-58 0,0-2 27 0,1 3-30 16,0-3 31-16,-1-3-1 0,1 4 68 15,2 0-34-15,-3-4 20 0,4 5-18 0,-1-3-7 16,0-1 15-16,0 4-46 16,1-4 0-16,-1 3-5 0,2-1 5 0,0 1-25 0,0-3 7 15,1 3-23-15,-2-3-2 0,2 1-19 0,1-1-12 16,-1 1 10-16,1 0-7 15,-7-2 12-15,11 0 0 0,-11 0 3 0,10 0-8 0,-10 0 18 16,10-1 5-16,-10 1-13 0,8-3 3 16,-5 2 16-16,-3 1-17 0,7-2-6 0,-4 1 42 15,-3 1-22-15,4-4 7 0,-1 0-4 0,-3 4 4 16,3-3-2-16,-3 3-3 0,2-5 3 16,-2 5 15-16,3-1-20 0,-3 1-19 0,0 0 24 15,0 0-20-15,0 0 9 0,0 0-2 16,0 0 13-16,0 0-23 0,0 0 22 0,7 6 1 15,-7-6-18-15,0 0 10 0,3 7-12 16,-3-6 19-16,0-1-30 0,5 5 29 0,-4-1-19 16,-1-4-2-16,4 3-31 15,-4-3-5-15,4 1-8 0,-4-1-56 0,7 3-8 16,-7-3-112-16,5 0-88 0,-5 0-124 0,0 0-383 0,8-3 88 16,-4 1 56-16,-1 0 85 0</inkml:trace>
  <inkml:trace contextRef="#ctx0" brushRef="#br0" timeOffset="111759.34">4742 6876 834 0,'0'0'333'0,"0"0"-16"0,0 0-20 0,21-5-31 0,-11 3-28 16,2 0-38-16,4-3 15 0,-1 1 28 0,3 2-12 15,2-4-55-15,1 2-7 0,0 1-20 16,1-2-47-16,-1-2-20 0,0 2-13 0,-3 2-31 16,2 0-20-16,-5-3-25 15,1 4-16-15,-3-3-44 0,-3 4-20 0,0-3-41 16,-2 3-61-16,-1 1-55 0,-1-1-168 0,2 1-361 0,-8 0 74 15,10 1 36-15,-5-1 93 0</inkml:trace>
  <inkml:trace contextRef="#ctx0" brushRef="#br0" timeOffset="112582.21">5403 6852 803 0,'0'0'330'0,"0"0"-30"0,0 0-11 16,0 0-35-16,0 0-39 0,-5 15-11 15,5-12-32-15,0 1-1 0,0-4-17 0,-2 8-16 16,2-3-30-16,0-2 12 0,0-3-33 15,0 8 10-15,0-6-12 0,0-2-1 0,-1 6-30 16,1-6-5-16,0 3 4 0,0-3 1 16,0 0 23-16,0 0 51 0,0 0 18 0,0 0-13 15,0 0 15-15,0 0-32 0,-2-11-1 0,2 5 2 16,0 1-6-16,0-2-24 0,0-2 5 0,0 2-21 16,0 0-4-16,0-1 7 0,2 2-30 15,-2 0-19-15,0 0 19 0,1 2-8 16,1 2-8-16,-2 2-8 0,6-1 3 0,-6 1 18 15,0 0-18-15,10 6-7 0,-6-5 4 0,0 6 3 16,0-1-7-16,2-1 17 0,-1 1-41 16,2 0 18-16,-2-2-12 0,0 2-3 0,3-1 25 15,-3 0 8-15,-2 0 18 0,4-2 0 16,-1 1-2-16,-2-2-24 0,0-2-2 16,1 0 36-16,0 3 10 0,-5-3-8 0,10-3 129 15,-5 0-14-15,0 0-25 0,0 0 21 0,-2-3-6 0,2 0-5 16,-2-1-33-16,2-3-5 15,-2 1-6-15,1-1-7 0,1-3-10 0,-4 1-6 16,4 0-9-16,-3-1-14 0,-1 1-17 16,1 3-36-16,0-2-18 0,-2 5-26 0,3-4-31 0,-3 4-71 15,0 1-51-15,0 0-8 0,2 0-49 16,-1 1-30-16,-1 4-36 0,0 0-110 0,0 0-282 16,0 0-322-16,7 10 45 0,-7-6 132 15,3 1 89-15,-3 1 87 16,0 3 51-16</inkml:trace>
  <inkml:trace contextRef="#ctx0" brushRef="#br0" timeOffset="113347.13">5665 6856 1016 0,'0'-5'402'0,"-2"2"-24"0,2 3-42 0,0-5-27 0,0 5-1 0,-1-6-65 0,-1 3-21 15,2 3-14-15,0 0-29 16,0 0-28-16,0 0 8 0,0 0-13 0,0 0-34 0,0 0 3 0,-11 10-5 16,11-6-2-16,0 0-11 0,0 1-28 15,-2-1 21-15,2 0-39 0,2 1 8 16,-2 1 10-16,3-3-30 0,-1 0-22 0,-1 3 19 15,1-5 0-15,1 5 5 0,-1-6 23 0,-2 0-87 16,5 5-5-16,-2-5 28 0,-3 0 0 16,7 1 13-16,-7-1 10 0,10-1 20 15,-10 1-15-15,8-5 8 0,-5 5 108 0,2-6-9 16,0 4-30-16,-2-3 26 0,2-1-21 0,1 1-16 16,-2 2 19-16,-1-2 7 0,2 3-7 15,-2-2-44-15,-1-1 34 0,3 3-14 0,-4-2-27 16,-1 4 4-16,4-3-25 15,-4 3 13-15,3-4-18 0,-3 4 28 0,3-2-46 0,-3 2 12 16,0 0 14-16,0 0-26 0,0 0 2 16,0 0 13-16,0 0-4 0,12 2-6 0,-12-2-5 0,5 4-11 15,-5-4 1-15,5 1 2 0,-5-1-2 16,3 5-3-16,0-4 15 0,-3-1-9 0,4 2 12 16,-4-2 10-16,6 3-30 0,-6-3 14 0,3 2-4 15,-3-2-13-15,7 0 18 0,-7 0-31 16,5 0 54-16,-5 0-25 0,0 0 7 0,10-2 18 15,-10 2 12-15,6-4-1 32,-1 2 30-32,-2-1-34 0,-1 1-2 0,3 1 44 0,-5 1-11 0,5-5-7 0,-3 4-11 0,-2 1 37 31,0 0-40-31,6-4-34 0,-6 4-24 0,0 0 0 0,3-2 0 0,-3 2 0 0,0 0 0 0,0 0 0 16,10 3 0-1,-10-3 0-15,0 0 0 0,5 3 0 0,-5-3 0 0,7 1 0 0,-7-1 0 16,3 1 0-16,-3-1 0 15,0 0 0-15,11-1 0 0,-11 1 0 0,7-4 0 0,-2 1 0 16,0-2 0-16,-2 2 0 0,4-2 0 16,-3 0 0-1,3-2 0-15,-2-3 0 0,0 2 0 0,2 1 0 0,-1-4 0 0,-1 3 0 0,0 1 0 0,-2-3 0 16,2 4 0-16,-2-2 0 0,-1 3 0 16,3-2 0-16,-5 1-123 0,3 4-205 15,-3-2-33-15,0 4-28 0,0 0-177 16,-3-2-424-16,3 2-37 0,0 0 88 0,-13 7 89 0,8-2 80 15,-2-1 158 1,-1 2 8-16,0-1 30 0</inkml:trace>
  <inkml:trace contextRef="#ctx0" brushRef="#br0" timeOffset="114184.02">4057 7427 1133 0,'-5'-2'390'0,"5"2"-35"16,0 0-55-16,0 0-14 0,-16 6-17 0,12 0-49 0,1 0-5 15,-2 1-30-15,3 0-11 0,-2 3-18 0,2-1-26 16,2 2 11-16,-2-3-28 0,1 3-36 16,1 0-3-16,3-3-26 0,-1 3-7 0,1-3 6 15,2-1-30-15,1-1 27 0,-2 1-24 0,4-1-9 16,0 0-1-16,0-6-8 0,2 4 11 16,-2-4 15-16,2-4-12 0,0 4 4 0,0-6-2 15,0 4 21-15,-2-3 12 0,2-2 0 0,-4 2 8 16,-1-2 28-16,0 1-21 15,-4-2-4-15,1-1-6 16,-2 2 8-16,-1 0-18 0,-1 0 13 0,-1-1 3 0,-1-2-27 0,1 4-4 16,-3-3 10-16,2 3-31 0,-2-1 6 15,-2 1 12-15,3 2-10 0,-2-1-44 0,2 3-33 16,-3 0 0-16,1 0-30 16,7 2-1-16,-13 3-38 0,5-1-97 0,3 4-95 0,-3-1-581 15,1 1 51-15,1 0 64 0,3-2 62 0,-1 0 117 16</inkml:trace>
  <inkml:trace contextRef="#ctx0" brushRef="#br0" timeOffset="114355.93">4237 7438 1082 0,'5'4'272'0,"-3"-2"-24"16,0 3-10-16,4 2-26 0,-4-2-12 15,1 3-31-15,2-1-26 0,-4-1-63 0,3 7-27 0,-1-6-78 16,-3 4-113-16,3-4-141 0,-1 5-387 16,0-4-5-16,-2 1 70 0</inkml:trace>
  <inkml:trace contextRef="#ctx0" brushRef="#br0" timeOffset="114525.09">4288 7348 737 0,'-3'-3'161'0,"3"3"-146"0,0 0-611 0</inkml:trace>
  <inkml:trace contextRef="#ctx0" brushRef="#br0" timeOffset="114791.18">4375 7189 1136 0,'0'0'335'0,"0"17"6"0,0-9-52 0,0 3-36 0,2 2 1 0,1 5-42 0,-3 2-4 0,5 3-6 0,-3 2-49 0,4-4-25 0,-3 5 5 0,2-1-20 0,0-1-41 0,0 0-3 0,-2 1-43 0,2-6-24 0,0-1-4 16,0 1-19-16,0-4-20 0,0 2-28 0,-2-4-21 15,0-2-20-15,-1 2 3 0,0-5-54 16,2 1-121-16,-3-5-7 0,2 2-428 16,0-1-23-16,-1-4 131 0,1 3 59 0</inkml:trace>
  <inkml:trace contextRef="#ctx0" brushRef="#br0" timeOffset="115247.45">4706 7224 1300 0,'-8'8'368'0,"8"-2"-19"16,-3 0-35-16,1 4-50 0,0 0-8 0,-2 6-23 16,2-1-18-16,0 4-26 0,-3 1-20 0,2 2 8 15,-2 3-54-15,0-1 2 0,0-2 3 16,-2 1-25-16,0 3-29 0,3-2-18 0,-4-1-30 15,3-2-29-15,0-2-20 0,2-2-41 0,0-3 3 16,1-1-14-16,-1-1-24 0,1-2-75 16,2-1-67-16,0-2-61 0,2-1-512 0,-1-2 59 15,3-2 43-15,-3 2 72 0</inkml:trace>
  <inkml:trace contextRef="#ctx0" brushRef="#br0" timeOffset="115970">4911 7238 1011 0,'-3'-2'414'0,"3"2"-48"0,0 0-25 0,0 0-3 0,-15 8-67 0,8-1-10 0,1-1-33 0,-1 3-18 16,-1 1 2-16,0 2-15 0,0 1-30 0,1-1-19 15,-1 1-28-15,3-1-15 0,0 1 8 16,-1-1-21-16,4 0-28 16,-1-4 3-16,1 3-8 0,2-4-21 0,0-1 16 0,2 3-26 15,1-5 10-15,-1 2-20 0,1-2 31 0,2-3 2 16,-2-1-20-16,-3 0-3 0,10 0 26 0,-10 0-36 15,10 0 25-15,-10 0-15 0,11 0 13 16,-11 0 3 0,5 0-14-16,-5 0-9 0,8 1 17 0,-4 3 3 0,-1-2-10 0,2 4-5 15,-2-2-3-15,2 3-18 0,-2-1-3 0,2 2-12 16,-3-1 2-16,1-1-27 0,-1 3-12 0,1-1-4 16,0-1-31-1,-1 0-28-15,0-1-28 0,2 0-41 0,-2 1-95 16,3-3-56-16,-2-2-16 0,1 0-140 0,2 0-351 0,-6-2 87 0,10-2 74 15,-5 0 57-15,5 2 91 16,-2-6 569-16,-3 3 44 0,2-3 40 0,-1 0 49 0,-1 0 28 16,0 0-10-16,-2 0 41 0,2 0 18 15,-5 1-13-15,5 1-107 16,-5 1 17-16,3 1-27 0,-3 2 7 0,5-3-34 0,-5 3 21 0,0 0-30 16,0 0-16-16,8 5 8 0,-8-5-28 15,5 3 14-15,0 1-16 0,-3-4-9 16,1 3-18-16,2-1-4 0,0 0 20 0,-5-2-3 15,13 0 33-15,-13 0-7 0,10-2 118 0,-3 0 33 16,-1-1-16-16,-1 1-58 0,0-3-8 16,0 0 31-16,-2 3 2 0,-1-3 3 0,1 0 51 15,-3 2 2-15,0-2-20 0,0-1-2 0,0 6-62 16,-2-6 10-16,-1 1-9 0,0 3-47 16,1 0-3-16,-1-2-38 0,3 4-43 0,-12-1-16 15,8 1-72 1,4 0-9-16,-12 0-47 0,12 0-69 0,-8 1-130 0,3-1-101 15,5 0-513-15,-5 0 96 16,5 0 121-16,0 0 30 0,0 0 103 0,3-8 41 0</inkml:trace>
  <inkml:trace contextRef="#ctx0" brushRef="#br0" timeOffset="116163.47">5218 7201 1136 0,'0'0'356'0,"0"-3"-36"0,0 3-8 0,0 0-30 0,0 0-21 0,6 10-5 0,-4-5-39 15,1 2-2-15,-3 4 0 0,5 0-23 16,-3 3-30-16,-1 0-17 0,1 4-4 16,1-2-49-16,-3 1-48 0,2 1-57 0,-2-1-38 15,0-2-75-15,0 2-58 0,0-4-138 0,-5-1-60 16,8 1-419-16,-1-4 43 0,0 0 75 16,1-4 63-16</inkml:trace>
  <inkml:trace contextRef="#ctx0" brushRef="#br0" timeOffset="116532.65">5555 7238 811 0,'-3'13'330'0,"0"-3"-36"15,3-1-7-15,-2 1-44 0,2-2-28 0,-1-1-2 16,1 0-49-16,0-2 7 0,0 1-40 0,-1 0 27 15,1-3-4-15,0 1-11 0,0 1 77 16,0-5 13-16,-1 5-36 0,1-5-10 0,-5 3 13 16,2-1-26-16,3-2-10 0,-10 4-11 0,5-4-9 15,-3 5-29-15,0-3 5 16,-2 4-20-16,0 0-15 0,2 1-11 0,-2 2 8 0,0-1-18 16,5-2-5-16,-3 4-1 0,0-1-6 15,4-2 19-15,1 0-37 0,0 2-9 16,1-3 16-16,2-2-18 0,2 2-10 0,1-1 10 0,2-1-13 15,0-1-5-15,2 0-7 0,1-2-34 16,1-1-31-16,1-1-40 16,0-2-24-16,0 2-9 0,3-5-37 0,-1 4-38 0,2-4-220 15,-2 1-482-15,-2 3 96 16,1-3 32-16,1 1 37 0,-4 2 79 0,2-3 66 0</inkml:trace>
  <inkml:trace contextRef="#ctx0" brushRef="#br0" timeOffset="117762.58">5560 7157 1164 0,'0'0'338'0,"0"0"-23"16,0 0-28-16,0 0-24 0,0 0-9 0,-5 11-14 0,4-3-45 15,1 0 12-15,-2 3-41 0,2 0-12 16,0 4 5-16,0 2-31 0,-3 2 0 0,3 0-21 15,0 1-30-15,0 2-51 0,-2-2 9 0,1 0-75 32,0 1-24-32,1-3-59 0,0-2-39 0,0 1-147 0,-1-4-14 0,2 1-493 15,0-2 91-15,-1-1 44 0,1-2 70 0</inkml:trace>
  <inkml:trace contextRef="#ctx0" brushRef="#br0" timeOffset="118765.58">5004 7439 901 0,'0'0'296'0,"-9"6"-37"0,7-1-29 0,2 0-15 0,-2 1-20 16,4-3-42-16,-2 5 16 0,0-3-30 0,2 2-86 16,-2 1-12-16,3-1-23 0,0-1 16 0,-1-1 1 15,3-1 6-15,1 2-20 0,-1-1-8 16,2-3 22 0,1 1-14-16,-3-2 115 0,3-1-31 0,-1 0 7 0,2-2-2 0,-2-2-5 0,0 0 3 15,1 2-11-15,-2-4 3 0,1 0-18 16,-1 0-8-16,-2 0 13 0,-1-1 10 0,2-1-15 15,-3 0-28-15,1-1 15 0,-3 3-38 16,0-1-19-16,-3 1-27 0,3-1-28 16,-2 1-32-16,-3 1-114 0,2-1-128 0,-2 4-543 0,0 1 107 15,5 1 41-15,-11 0 55 0,11 0 65 0</inkml:trace>
</inkml:ink>
</file>

<file path=ppt/ink/ink2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5T16:16:39.309"/>
    </inkml:context>
    <inkml:brush xml:id="br0">
      <inkml:brushProperty name="width" value="0.05292" units="cm"/>
      <inkml:brushProperty name="height" value="0.05292" units="cm"/>
      <inkml:brushProperty name="color" value="#FFC000"/>
    </inkml:brush>
    <inkml:brush xml:id="br1">
      <inkml:brushProperty name="width" value="0.05292" units="cm"/>
      <inkml:brushProperty name="height" value="0.05292" units="cm"/>
      <inkml:brushProperty name="color" value="#C00000"/>
    </inkml:brush>
  </inkml:definitions>
  <inkml:trace contextRef="#ctx0" brushRef="#br0">20938 123 1218 0,'0'0'468'0,"-3"-2"-89"0,3 2-13 0,-2-5 59 0,2 5-51 0,0 0-26 16,0 0-23-16,0 0-33 0,-12 8-23 0,6-1-26 16,-2 3-5-16,-2 3-46 0,-1 0-8 15,-4 4-25-15,2 1 10 0,-7 8-18 16,-1-3-3-16,1 2 3 0,4-5-13 0,-1-2-27 15,-4 4-22-15,5-1-17 0,1-4 25 0,0-1-12 16,2 0-6-16,0 1-5 0,0-4-23 0,2 0-7 16,2-2-47-16,-2 0-15 0,5 0-51 31,-1-2-41-31,0-2-20 0,2 0-16 0,0-1-36 0,2-1-2 0,-2-2-29 0,5 0-94 16,0-3-77-1,0 0 3-15,-5 0-101 0,5 0-467 0,0 0 199 0,0 0-28 0,0 0 133 0,8-14 33 16,-6 9 64-16</inkml:trace>
  <inkml:trace contextRef="#ctx0" brushRef="#br0" timeOffset="285.55">20566 202 1180 0,'-2'-4'353'0,"2"4"-5"0,0-3-54 16,0 3-7-16,0 0-23 0,0 0-16 0,0 0-10 15,16 12-13-15,-7-4-15 0,4 2 33 0,0 0-2 16,2 5 10-16,11 6-21 0,2-2-15 16,1-2-97-16,-2 2-3 0,4 0 3 0,0-3-3 15,0 2-33-15,-1-1 7 0,-5-2 47 0,-6-3-80 16,1 1 14-16,0-2-24 0,-1 2 15 0,-3-4-35 16,-1 0-11-16,0-1-18 15,-4-1-9 1,-1-1-6-16,0 0-13 0,-2-2-43 0,-1 1-6 0,-1-2-27 0,1 1-6 15,-4-1-48-15,3-2-44 0,-4 2-53 0,-2-3-170 0,7 1-491 16,-7-1 93-16,0 0 40 0,0 0 107 16,7-7 65-16</inkml:trace>
  <inkml:trace contextRef="#ctx0" brushRef="#br0" timeOffset="1096.33">22999 204 1676 0,'0'0'471'0,"-5"-3"-92"16,5 3-21-16,-3-3-15 0,3 3-51 15,0 0-26-15,0 0 6 0,0 0-63 16,0 0-4-16,8 13 56 0,-5-7-35 0,1 2-11 0,-1-1-26 15,3 3 6-15,-2 0-11 16,2 0-38-16,0 0-16 0,0 1-14 0,0-2-45 0,-1 1-2 16,2-2-61-16,-1 1-34 0,1 0-56 15,1-2-25-15,0 0-57 0,0 0-20 0,2-3-44 16,-3 0-71-16,6 0-183 0,-2-1-490 16,1-1 135-16,0-2 33 0,-1 0 92 15,5-4 67-15,-1 3 57 0</inkml:trace>
  <inkml:trace contextRef="#ctx0" brushRef="#br0" timeOffset="1517">23412 198 1187 0,'2'-7'446'0,"-1"2"-24"0,-1 2 8 15,0-1-97-15,0 4-11 0,-3-6-20 16,3 6-36-16,-6 0-20 0,6 0-18 16,-12 8-18-16,2-2-18 0,-1 4-46 0,-4 1 7 15,-3 4-2-15,-5 6-38 0,0 1-8 0,-3 1-5 31,3-2 5-31,-3 1 53 0,1 1-27 0,3 0-13 0,-2-1 25 0,3 1-7 0,1-5-21 16,7-1-8-16,-1 0-37 0,0-1-12 16,3-3 1-16,1 0 5 0,0-1-28 0,0 0 23 15,4-2-3-15,0-2-10 0,-1 0-10 0,0-2-33 0,6 1-1 16,-3-2 14-16,1-1-19 0,0-1 29 16,-1 1-21-16,1 0 5 0,2-1 3 0,-3 0-8 15,2 1 0-15,2-4 0 0,-3 4 8 0,0-2-28 16,3-2 7-1,-2 4-5-15,2-4 6 0,0 0 22 0,0 0-13 0,-3 3 1 16,3-3-8-16,0 0 7 0,0 0-30 0,0 0-15 16,0 0 38-16,0 0-29 0,0 0-9 0,0 0-21 15,0 0-10-15,0 0 20 0,0 0-23 16,0 0-18-16,0 0-25 0,0 0 20 16,0 0-33-1,5-13-20-15,-5 13-4 0,4-3-12 0,-4 3-7 0,2-4 2 0,2 0-26 0,-1 2-51 0,0-2-135 16,1 1-24-16,0-5 57 0,2 4-481 15,0 0 68-15,-1 1 90 0,1-1 54 0,-2-1 82 16</inkml:trace>
  <inkml:trace contextRef="#ctx0" brushRef="#br0" timeOffset="3739.97">20692 861 903 0,'4'-4'338'0,"-3"1"-97"0,-1 3 4 0,5-2-32 16,-5 2-1-16,0 0-2 0,0 0-10 16,3-3-16-16,-3 3-2 0,0 0 51 0,0 0-23 15,0 0 2-15,0 0-17 0,0 0-24 0,-16 6-28 16,8-2-12-16,-2 0-21 16,0 1 3-16,0 0-11 0,-3 0 18 0,2 0-35 0,-1 2-13 15,2-3 12-15,-1 2-20 0,1 1-31 0,2-2 18 31,0-1-20-31,1 1-15 0,1-1 22 0,-1-1-5 0,4 1 11 0,-2-2-8 0,3 1-8 16,1 0-5 0,1-3 7-16,1 5-19 0,-1-5 1 0,5 4 19 0,0-2-13 0,0 0 13 15,0 0-21-15,3 0-12 0,-3-1 17 16,6 1-7-16,-4-1-14 0,1 2 1 0,2-2-15 16,-2 0 7-16,-1 1 18 0,-2 0 5 0,3 0-2 15,-3 1 10-15,-2-1-21 0,2 0 3 16,-2 1-53-16,0 0-4 0,-3 1 11 0,0-4 10 15,-1 7 19-15,-1-3 1 0,-1 0-4 0,0 1-1 16,-4 0 11-16,2 0-8 16,-3 0 28-16,3-1-10 0,-3 1-5 0,-2-1-5 15,0 0 10-15,2 1-13 0,-5-1 3 16,3 0-11-16,0 0-25 0,-1-2 0 0,1 1 10 16,2 0-56-1,-1-2-25-15,1 2-19 0,-1-2-20 0,2 1-41 0,2-2-113 0,5 0-48 0,-6 0-154 16,6 0-249-16,0 0 22 15,-2-7 65-15,2 7 65 0</inkml:trace>
  <inkml:trace contextRef="#ctx0" brushRef="#br0" timeOffset="4133.64">20774 876 1131 0,'0'0'325'0,"0"0"31"0,7-3-21 0,-7 3-12 0,0 0-39 15,0 0-46-15,3 9 0 0,-3-5-41 16,2 2 0-16,0 1-33 0,-1 0 0 0,-1 3-18 16,3-1-11-16,1 0-53 0,-1 2-5 15,2 0-5-15,-2-1-24 16,5-1-86-16,-1-1 28 0,1 0-31 0,0-1 23 0,2-3 2 16,0 2 14-16,3-3-24 0,0-1 24 0,-3-2 14 0,3 0 11 15,1-2 11-15,-2 0 12 0,0-2 5 0,-1 1 23 16,1-3 29-16,-2 1 22 31,0-1 16-31,-4-2-5 0,-1 1 7 0,0 1-13 0,-4-1-27 16,1-1-21-16,-2 2-11 0,0-1-14 0,-2-1 4 0,-1 3 11 0,-2-2-29 15,0 1-27-15,-1 0 2 0,-2 2-29 0,1 1-32 0,-3 0-11 16,0 1-43-16,-1 1-24 16,1 1-27-1,0 0-34-15,-1 1-43 0,-1 1-57 0,-1 3-140 0,0 0-479 0,3 1 90 0,0-1 20 16,-3 1 128-16,2 1 51 0</inkml:trace>
  <inkml:trace contextRef="#ctx0" brushRef="#br0" timeOffset="4841.8">20640 1296 883 0,'-13'6'371'0,"9"-1"-38"0,-2 0-14 0,1 3-29 15,-2 0-16-15,-1 3-26 0,0 4-2 16,1-2-131-1,1 4-20-15,1 0-8 0,-2-2-13 0,4 1 15 0,-2 0-27 0,3-2 15 16,2 0-29-16,0-3 9 0,0 2-4 0,2-3-2 16,0 1-27-16,4-3 6 0,-2-2-14 0,4-1 22 15,-2 1 6-15,1-4-1 16,0 1 82-16,-1-3 3 0,1 0 6 0,1-3 42 0,-2 2 6 16,-2-2-46-16,2-1 25 0,-2-1-26 0,-1-1 50 15,0 2-14-15,1-1-9 0,-4-1-34 16,1-1 25-16,-1 3-56 0,0-2-99 0,0 2 58 15,-1 0-25-15,-1-1-16 0,0 0-2 16,-3 2 10-16,2-1-5 0,1 2-36 0,-4 1-20 16,2-3-21-16,-2 2-8 0,3 0-25 0,-4 1-18 15,7 1-33-15,-8 0-19 0,8 0-22 0,-10 0-21 16,10 0-17-16,-5 2-47 16,5-2-51-16,0 0-77 0,0 0 31 0,0 0-466 15,0 0 67-15,0 0 143 0,0 0-28 0,18-10 61 16</inkml:trace>
  <inkml:trace contextRef="#ctx0" brushRef="#br0" timeOffset="5164.66">20784 1328 1016 0,'0'0'330'0,"0"0"-43"0,0 0-3 0,0 0-74 16,0 0-36-16,10 8-21 0,-10-3-30 0,3 1 8 16,-1 3-8-1,1 0-3-15,0 0-20 0,1 0 2 0,1 1-25 0,1 0 5 16,-1-1 59-16,3 0-21 0,-1-1-2 0,4-2-3 0,-4 1-15 15,3-1-3-15,0-3 36 16,1 0-31-16,-3 2 6 0,2-5 58 0,3 0-2 16,-6 0 36-16,4-1-8 0,-1-3 28 0,-2 1-54 0,0 0-53 15,-1-3 69-15,0 2 7 0,-3-2 11 16,0 1-47-16,-1-2 6 0,-3 1-26 16,0-2 15-16,0 0 16 0,-5 2-15 0,2-2-70 15,-4 1 0-15,1-1-32 0,-1 1-45 16,-3 1-25-16,2 2-84 0,0-1-24 0,3 2-38 0,-3 1-18 15,1 1-56-15,-1 1-56 16,0 1-165-16,1 2-503 0,-1-1-11 0,0 4 115 16,0-3 95-16,4 3 52 0,-4-1 48 0,3 2 115 15</inkml:trace>
  <inkml:trace contextRef="#ctx0" brushRef="#br0" timeOffset="5723.04">20615 1820 890 0,'6'-4'300'0,"0"-2"-16"0,0 3-13 0,-1 0-17 0,2-1-68 15,-1 1 4-15,-1 1-34 0,0 0 26 16,0 1-31-16,-5 1-13 0,8 0 85 16,-1 2-21-16,-4 1-20 0,1 1 15 0,-3 3-16 15,2 1-14-15,-1 1-16 0,0 0-23 0,-1 4-3 16,-1-1-12-16,0 3-21 15,0-2-2-15,0 1 4 0,-1 0-4 0,1 0-29 0,-2 0-9 16,2-1-14-16,0 1-2 0,-2-4-41 0,2 4-54 16,0-5-5-16,0 0-44 15,0 0-27-15,2-1-55 0,-2 1-86 0,0-2-106 16,0-1-483 0,2-2 72-16,-1 1 27 0,-1-2 142 0,0-3 76 0</inkml:trace>
  <inkml:trace contextRef="#ctx0" brushRef="#br0" timeOffset="6145.31">20548 2001 1026 0,'-8'-3'340'16,"8"3"-43"-16,-2-1-13 0,2 1-28 0,0 0-38 16,0 0 5-16,0 0-36 0,0 0-3 15,16-7-23-15,-9 4-25 0,3 0-36 0,7-1-24 16,-1-1-19-16,2-3-19 0,-2 2-17 0,4-1 19 15,3-2-27 1,-5 1 0-16,3-1-13 0,-6 1 3 0,3 0 25 0,-3 1-8 16,-1 2 6-16,-4 0-11 15,0 1 11-15,-5 1-1 0,3 0 4 0,-1 3-1 0,-2 0 10 0,-5 0 3 16,8 2-23-16,-5 1 2 0,-1 1 6 16,3 2 25-16,-3-1-33 0,2 1-15 15,-1 2-1-15,-1-4 14 0,3 2 81 0,-2-1-31 16,1 2 37-16,2-1-47 0,0-1-10 15,0-1 16-15,2-2-14 16,0 0 27-16,-1 0-11 0,4-1-3 0,-6-2 3 0,5 0 23 0,0-2 21 0,-2 1-9 31,0-2 37-31,-3-1 5 0,0 0-6 0,2-1-22 0,-3-1-64 0,-2-1 7 16,0-1-5-16,-4 0 64 0,0 1-20 16,-2-2 0-16,-3 1-21 15,2-1-23-15,-3 2-17 0,-2 1-60 0,2 1-28 16,-2 0-38-16,2 4-33 0,-2 1-29 15,0 1-30-15,-3 2-59 0,4 2-195 0,-5 2-563 0,3 3 90 0,-4 1 110 0,2 1 84 16,1 0 69-16,1 1 24 16</inkml:trace>
  <inkml:trace contextRef="#ctx0" brushRef="#br0" timeOffset="6793.4">20809 2262 1062 0,'0'0'440'0,"0"0"-33"0,0 0-26 0,0 0-22 0,0 0-16 16,6 15-16-16,-1-8-14 0,-2 1-9 15,1 1-43-15,2 1-17 0,-1 1-17 16,0 2-27-16,-1-3 7 0,0 3-22 0,-2-1-22 0,-2-1-9 16,0-1-26-16,-2 0 5 0,-1 2-33 15,0-3-13-15,-2-1-15 0,2-1 43 16,-1 0-15-16,-2-3-36 0,2 1 23 16,-4-2-26-16,5-1-2 0,-4-1-18 0,7-1 8 0,-9-1-95 15,9 1 38-15,-7-5 0 0,6 0-7 0,-1 1-8 16,0-3 18-16,4 0-11 0,1-3 6 15,0 0 13-15,1 0-26 0,2-2 0 0,-1-4 10 16,5 1 20-16,-2-1-7 0,0 1-25 16,-1 0 30-16,1 0 41 0,-1-1 3 15,-4 5 7-15,5-4 26 0,-6 3-97 16,4 1 22-16,-6 2-14 0,2 0 19 0,-4 1 1 0,2 1-13 16,0 0-5-16,0 1 10 0,-3 0 28 0,0 2-53 15,-1 0-1-15,1 1-27 16,-2 1-21-16,0 0-29 15,5 2-63-15,-8-2-15 0,8 2-37 0,0 0-25 0,-10 2-44 0,10-2-58 0,-6 3-126 16,2-2-2-16,4 1-454 0,0-2 55 16,0 0 140-16,7 5 46 0,-7-5 56 15</inkml:trace>
  <inkml:trace contextRef="#ctx0" brushRef="#br0" timeOffset="7076.37">20948 2214 883 0,'7'5'281'0,"-4"-1"-10"0,3 2-20 0,-2 1-31 0,2 1 1 0,2 1-37 15,-1-1-20-15,0 1-13 0,1-2-10 16,2 0-13-16,-1-2 12 0,3 0 37 0,0-2-6 16,-1 1 32-16,-1-4-17 0,3 0 104 0,-2-2-9 15,2 0-68-15,-1-3 58 0,-2 2 100 16,1-3-97-16,-1-1-38 0,-4 1-14 0,-2-4-78 16,1 3 109-1,-4-1-71-15,-1 0 2 16,-1 0-56-16,-4 1 82 0,0 0-33 0,-1 1-65 0,-6-1 3 0,2 2-69 0,0 2-63 15,-1-2-40 1,-1 3-81-16,2 2-57 0,-1 0-27 0,-2 0-75 0,3 2-108 0,-3 0-245 16,0 2-432-16,0-1 142 0,1 0 85 0,3 0 144 15,-3 0 60-15,4-1 55 0,1 1 51 16</inkml:trace>
  <inkml:trace contextRef="#ctx0" brushRef="#br0" timeOffset="10998.31">22835 798 1023 0,'5'-2'354'15,"0"1"-40"-15,-5 1-32 0,11 0-11 16,-4 1-30-16,2 0-18 0,-1 1-6 0,-2 1-17 0,2 1-21 16,-3-1-13-16,3 2-2 0,-3-1-10 15,-2 2-18-15,-1-1-98 0,-2 1 16 16,0 0 7-16,0 1-12 0,-2-1-3 0,0 0-18 15,-2 1 13-15,1 0-16 0,-1 0 78 16,1-1 4-16,-2 0-17 0,3 0-18 0,-2-1-1 16,2-2-7-16,0 2-18 0,-1-2 13 0,3-3 5 15,0 5-18-15,0-5-12 0,0 6 7 0,0-6-6 16,3 3-6-16,1 0 19 0,0-1 9 16,3-1-27-16,0 3 3 0,-4-1-7 15,5 0-13-15,0 0 0 0,-2 1 25 0,0-1-2 0,0 1 15 16,-1 1 23-16,-3 0 6 0,3-2-11 15,-2 2 13 1,0-1-62 0,-3 0-4-16,0 2 9 0,-3-1 6 0,2 2-8 0,-3-1 10 0,-1 1 18 15,-3-1 18-15,3-1 11 0,-3 1-16 0,0-2-8 0,1 2 13 16,-3-2-66-16,2 0-11 0,0-1 6 0,-2 0-37 0,2 0-53 16,1-1-5-16,-1 0-16 0,2 0-51 0,-1-1-7 15,7-1-19 1,-8 2-66-16,3-1-168 0,-3-1-239 0,8 0-272 0,0 0 139 0,-4-4 39 15,4 4 96-15,0 0 85 0</inkml:trace>
  <inkml:trace contextRef="#ctx0" brushRef="#br0" timeOffset="11335.91">23209 798 1169 0,'3'-1'430'0,"-3"1"-46"0,0 0-25 15,0 0-45-15,0 0-27 0,-14-1-44 0,14 1-5 0,-17 3-7 16,10 1-47-16,-2 1-15 0,1-2-10 16,-2 2-19-16,2 1-83 0,0 1-34 0,1-3-3 15,0 1 8-15,3 1-10 0,0 0 16 16,1-1-9-16,2 2-7 0,0 0 3 16,2-2 9-16,1 2-19 0,3 1 14 0,-2-1-15 15,1 0 6-15,4 0 7 0,0 2 10 0,-3-2 8 16,2 1 20-16,-1-1 27 0,-2 0-14 15,0-1 87 1,0 0-18-16,-3 0-12 0,1 2 12 0,-2-3-35 0,0 1-11 0,-3 0 18 0,-4 3-33 16,-1-2-23-16,-2 0-46 0,0 2-31 15,-5 0-38-15,2 0-65 0,-5 0-48 16,2-2-97-16,-4 3-190 0,5-1-509 0,-3-1 57 16,2 1 109-16,-2-1 108 15,1-2 59-15,-2 2 58 0</inkml:trace>
  <inkml:trace contextRef="#ctx0" brushRef="#br0" timeOffset="13880.96">22856 1427 1197 0,'5'-3'377'0,"-1"1"-39"16,-1-1-29-16,3 0 1 0,-4 1-41 16,-2 2 0-16,8-3-11 0,-6 0-89 15,-2 3 0-15,5-2-33 0,-5 2-1 0,0 0 4 0,0 0-19 16,0 0-13-16,0 0-2 0,-17 6-25 15,9-2 9-15,0 1 8 0,-3 0-45 0,-1 0-6 16,0 1 20-16,3-1-20 0,-3 1-12 16,2 0-1-16,-1 0-15 0,4-1 2 0,1 1 19 15,-1-1-32-15,1-1-9 16,1 1 4-16,2 1 1 0,1-1 15 0,0-1-28 0,2 0-1 0,2 2 17 16,0-3-9-16,-1 1 0 15,4 2-7-15,0-2 10 0,1-1 82 16,-2 2-28-16,2 0-13 0,1-1 18 0,-2-1 0 0,1 1-11 15,-2 0 6-15,-1 0 10 0,4-2 15 16,-6 1-20-16,-1-3-61 0,2 5 12 16,-2-2 77-16,0 2 38 0,-2-1-45 0,2-4 2 0,-5 6 10 15,1-2-18-15,-2 0 8 16,0 1-34-16,0-1 14 0,-2 1-13 0,-1-2-44 0,1 1-23 16,0 0-23-16,-2-1-31 0,0 0-20 0,2-1-13 15,2 0-26-15,-1 1-17 0,0 0-34 16,0-2-46-16,1 1-102 0,0 0-179 15,2-1-408-15,1 0 68 0,3-1 50 0,0 0 118 16,-7 3 46-16,7-3 85 0</inkml:trace>
  <inkml:trace contextRef="#ctx0" brushRef="#br0" timeOffset="14218.96">23094 1428 1146 0,'0'0'466'16,"0"0"-54"0,-3-6-36-16,3 6-20 0,-10 0-115 0,10 0-41 0,-9 5-16 0,3-3-15 15,1 1-11-15,1 0-40 0,-3 2-3 16,4 0 3-16,-1 2-33 0,4-2-9 0,-3 1 6 16,6 1-20-16,-3 1-11 0,4-2 13 0,-1 1 5 15,4-1-18-15,-1 3-5 0,-3-1 3 16,4-2 0-16,-2 2 17 0,1-2 6 15,-4 1-11-15,3-1 29 0,-4 0 99 0,-1-1-35 0,2-1 43 16,-4 1-92-16,-4 2-33 16,1-2 7-16,-3 3-2 0,-4 0-24 0,-1 1-22 15,-2 0-23-15,-1-1-57 0,1 0-28 0,-1 0-40 16,1 2-50-16,-6 0-30 0,3 0-59 16,-2 0-123-16,-1-2-120 0,2 3-438 0,-3 0 90 15,3-1 74-15,-3 0 126 16,2-2 55-16</inkml:trace>
  <inkml:trace contextRef="#ctx0" brushRef="#br0" timeOffset="15762.68">22765 1786 908 0,'0'0'356'0,"0"0"-18"0,0 0-31 0,-12 8-31 0,7-5-25 0,4 3-23 16,-6 1 8-16,4 4-47 0,-1 1-17 0,-4 2-9 15,5-2-45-15,-2 5-3 16,2-3 3-16,-2 3-36 0,2-4 18 0,3 1-34 16,-2-2 9-16,2-1 4 0,2 1-38 0,-2-2 7 15,1-1-1-15,4 0 1 0,-2-1-4 16,-1-1-21-16,4-1 5 0,-2-2 23 0,1 1 5 15,-2-3 19-15,2 0-6 0,-2 0-79 0,-3-2 22 16,7-1 32-16,-7 1 4 0,8-4 22 16,-5 2-19-16,-3 2 18 0,3-6-23 15,-3 2 8-15,0 4 7 0,-1-7-17 0,-1 2-1 16,-1 2-2-16,0-1-31 0,-2 2 1 0,2-3 1 16,-1 3-22-16,-2 0-10 0,-1 0-14 0,0 2-32 15,-1 0-29-15,0 0-12 0,0 0-16 16,-2 2-21-16,2-1-53 0,3 1-100 0,0-1-71 15,-5 3-14-15,5-3-442 0,4 1 74 16,1-2 49-16,0 0 145 0,0 0 11 16</inkml:trace>
  <inkml:trace contextRef="#ctx0" brushRef="#br0" timeOffset="16089.65">22915 1864 693 0,'0'0'310'15,"0"0"-26"-15,10 4-20 0,-8 0-16 16,2 2-30-16,-2 1-29 0,2-1-18 0,-1 3-7 16,4 0-23-16,-1 1-18 0,2-1-16 15,-1-1-2-15,-1 0-25 16,4 0 4-16,0-2 1 0,-2-1-1 0,2-1-10 0,-3-1 26 0,1 0-8 16,2-1 0-16,-2-2 95 0,0 0 18 15,2-3-8-15,-2 0 54 16,1-3-105-16,-5 1 5 0,0-1 5 0,0-1-18 0,-4-1-17 0,2-1-4 15,-2 0 9-15,-2-1-1 0,-4 1-27 16,1-1-19-16,0-1-5 0,0 1 0 16,-2 3-40-16,0-2-42 15,-3 2-33-15,2 0-26 0,-1 2-48 0,-2 1-33 0,4 3-31 0,-3 1-21 16,0 1-66-16,-1 3-141 0,2 1-41 16,0 2-481-16,-4 0 145 0,3 4 50 15,1 0 40-15,2-1 105 0</inkml:trace>
  <inkml:trace contextRef="#ctx0" brushRef="#br0" timeOffset="16992.41">22888 2232 982 0,'0'0'343'0,"0"0"-23"0,0 0-18 0,2-4-40 15,-2 4-24-15,0 0-21 0,0 0-7 16,-9 9-8-1,4-4-43-15,3 3-11 0,-1-2-25 0,-2 4-10 0,0 0 2 0,2 2-23 16,1 1-5-16,1 0-13 0,-1 1-12 0,2-1-3 16,0 1 5-16,2 0 5 0,-1-2-15 15,1-2 5-15,3 2-6 0,-2 0-17 0,3-2-5 16,0 0-6-16,0-1-25 0,2-2 23 0,-1-2-28 16,0 0 10-16,-1-2 3 15,-1-1 28-15,3-2 5 0,-1 0-23 0,-7 0 46 0,11-3-36 16,-6-2 54-16,0 1-26 0,-3-2 41 15,1 2-9-15,-3-2 1 16,3 2 14-16,-3-3-16 0,-3 0 71 0,2 1-12 0,-1 0-15 16,-3 0-37-16,3 0 19 0,-1-1 2 0,-2 2-18 15,0 2-40-15,2-2 14 0,-2 2-68 16,0 0-13-16,-2 2-24 0,1-3-12 0,1 3-30 16,0 0 1-1,5 1-32-15,-13 0-44 0,13 0-33 0,-10 1-37 0,6 0-81 0,-2 1-112 16,3 0-536-16,-2 1 67 0,5-3 125 0,-3 4 24 15,3-4 99-15,-2 2 54 0</inkml:trace>
  <inkml:trace contextRef="#ctx0" brushRef="#br0" timeOffset="17440.18">23292 2232 1374 0,'0'0'384'16,"-8"-1"-15"-16,8 1-26 0,-11 2-44 15,4-1 8-15,-1 2-61 0,3-1-11 0,-3 0-27 16,3 2-6-16,-2-2-54 0,1 3 11 15,3-1-46-15,-2 0 5 0,3 0-11 0,0 1-30 16,2-2 25-16,2 1-22 16,0 0-11-16,4 0-8 0,0 2-12 0,0-1 22 0,2-1-14 15,0 3-29-15,2-2 10 0,-2 0-7 0,2 0 28 16,-3 0-3-16,-1-2 6 0,2 3-32 16,-1-4-9-16,-2 2 17 0,-2 0 24 15,-1-2-16-15,1 1 13 0,-3 1-6 0,0-4 19 0,-5 8-18 16,0-1-24-16,-5-3-22 15,0 4-28-15,-1-1-55 0,-5-1-22 0,-1 2-41 16,0 0-77-16,-2 1-59 0,-1 0-210 16,2-2-455-16,-3 3 107 0,3-4 28 0,0 1 67 0,3-1 95 15,-3 1 91-15</inkml:trace>
  <inkml:trace contextRef="#ctx0" brushRef="#br0" timeOffset="20564.57">21054 109 901 0,'0'0'309'0,"0"0"-22"0,-7 6-21 16,5-2-25-16,0 0-24 0,-3 3-12 0,4-1-5 15,-1 3-26 1,0 0-18-16,-1 0-20 0,3 1-8 0,-3 1-18 0,1 0-23 0,2 2-5 16,0-3 7-16,0 1 6 0,0 1-31 15,0-1-13-15,0-1-2 0,0 1 10 0,0-1-13 16,2-1-8-16,-2-1 0 0,3 2 3 15,-3-3-10-15,3 1-21 0,-3-1-10 0,2-1 26 16,1 0-21-16,-3-1-13 0,2-1-7 16,1 1 5-16,-1-2-8 0,0 1-23 15,-1-2-23-15,2 2-38 0,0-3-60 0,-3-1-63 0,4 3-80 16,-4-3-509-16,6 0 82 0,-6 0 52 16,0 0 73-16</inkml:trace>
  <inkml:trace contextRef="#ctx0" brushRef="#br0" timeOffset="21389.68">21207 23 1005 0,'0'-4'336'0,"0"4"48"0,0-5-16 16,0 5-63-16,0 0-41 0,0 0-6 0,0 0-30 15,0 0-11-15,0 0-32 0,0 0-1 0,0 0-18 16,6 20-32-16,-6-12 4 0,1 2-18 0,-1 0-18 16,1 3 11-16,-1-3-26 15,0 1-13-15,0 2 6 0,0-2-6 0,0 0-41 0,0-1-17 16,0 1-1-16,0-1-23 0,0 1-28 16,0-2-17-16,0-1-39 0,0 0 15 0,-1 0-44 15,0 0-50-15,1-3-57 0,0 1-30 0,0-3-137 16,1 1-416-1,-1-1 51-15,0 2 145 0,0-5 11 0,3 4 57 0</inkml:trace>
  <inkml:trace contextRef="#ctx0" brushRef="#br0" timeOffset="21482.23">21297 14 1023 0,'2'-11'438'0</inkml:trace>
  <inkml:trace contextRef="#ctx0" brushRef="#br0" timeOffset="21643.1">21309 0 4697 0,'4'12'92'0,"-2"-1"-26"0,-2 2-17 0,2 2-16 16,-2-2-5-16,4 0-12 0,-4-1 7 16,2 1-51-1,-2 0-24-15,0-2-9 0,0-1-26 0,0 1-5 0,0-1-44 0,0 0 0 16,0 0-43-16,0-1-31 0,0-1-76 15,0-1 9-15,-1-1-58 0,2-1-474 0,-1 2 67 0,-1-3 99 16,1 1 72-16</inkml:trace>
  <inkml:trace contextRef="#ctx0" brushRef="#br0" timeOffset="21878.09">21156 174 852 0,'2'-4'307'0,"4"1"-15"16,1-1-23-16,0 1-44 0,4-3 8 0,-3 1-41 16,4 0-23-16,2 1 0 0,-2 0-29 15,1-1-4-15,2 0-36 0,-2 2-28 0,0-3-44 16,2 4-79-16,-5 0-83 0,-1 0-75 15,-2 0-111-15,2 2-402 0,-5 0 77 0,-4 0 48 16</inkml:trace>
  <inkml:trace contextRef="#ctx0" brushRef="#br0" timeOffset="22121">21089 216 1000 0,'0'0'325'0,"-5"1"-2"0,5-1-59 0,0 0-16 15,0 4 5-15,0-4-40 16,0 0-3-16,0 0-16 0,15 1-27 0,-9-1-9 0,4-1-4 16,0 0-11-16,2-1-25 15,2 0 0-15,1 1-13 0,1-2-23 0,-1 2-24 16,2-2 6-16,-1 0-23 0,-1 1-36 0,1 0 3 16,1-1-28-16,1-3-26 15,0 3-34-15,-5 0-68 0,0 1-67 0,1 1-59 0,-5-3-95 0,2 3-445 16,-3-1 108-16,-1 1 89 0,1-1 28 15</inkml:trace>
  <inkml:trace contextRef="#ctx0" brushRef="#br0" timeOffset="22707.82">21497 10 1128 0,'0'0'395'0,"-1"-6"-58"0,1 6-14 0,-2-4-42 16,2 4-32-16,0 0-16 0,0 0-16 0,0 0-9 31,0 0-29-31,0 14-10 0,0-8-34 0,0 2-9 0,0 0-21 0,2 2 5 15,-2-1-18-15,0 1-5 0,1 0-5 0,-1 0-13 16,0-1-15-16,2 0 7 0,-2 0-4 16,0 0 7-16,0 0-29 0,0-3 14 0,0 1-3 15,0 0-10-15,0-2 0 0,0 0 12 16,0 1 4-16,0-3-14 0,0 2-2 0,0-1 20 16,-2 0-25-16,2-4 2 0,2 5 5 0,-2-1 11 15,0-4-10-15,0 4-9 0,0-4 16 16,3 3-18-16,-3-3-4 0,0 0 1 15,0 4-12-15,0-4 30 0,0 0 3 0,4 3-10 0,-4-3-36 16,0 0 49-16,0 0-13 0,0 0 15 16,0 0-20-16,0 0-21 0,0 0 10 0,0 0 14 15,0 0 12-15,0 0-23 0,8-7-8 16,-5 4-12-16,0-1 27 0,0-1-27 0,-1 2 12 0,3-1-4 16,0 2-11-16,0-2 7 0,-2 1 14 15,1 2-19 1,0-1 16-16,0 0 5 0,-4 2 8 15,9-3-21-15,-5 3-7 0,-4 0-6 0,8 3-15 0,-3-2-5 0,-2 2 10 0,2-2-25 16,0 2-23-16,-2 1-19 0,2 0-22 16,-1-1-29-16,-3 0-43 0,1 1-33 0,2 0-146 15,-2-1-90-15,-2 0-479 0,2 2 47 32,0-1 105-32,-2 1 130 0,0-5 28 0,3 6 44 0</inkml:trace>
  <inkml:trace contextRef="#ctx0" brushRef="#br0" timeOffset="23041.8">21692 121 931 0,'0'0'328'0,"0"0"-29"0,0 0-22 0,7 0-31 0,-7 0 4 0,0 0-29 0,8 9-40 16,-6-6 11-16,1 1-28 0,-2 1-31 15,0 1 18-15,0 0-23 0,-1 0-5 0,0-1-10 16,0-1 2-16,0 0-5 0,0 1-10 0,0 0 20 16,0-1-5-16,0 0 6 0,0-4-52 15,0 6-13-15,0-6-2 0,2 4 12 0,-2-4 8 16,0 3-2-16,0-3 84 0,0 0-33 0,0 0-10 16,0 0-6-16,0 0-38 0,0 0-7 15,0 0-44-15,13-6-8 0,-10 3-33 0,1-1-56 16,2-1 7-16,-1 1-15 0,2-1-46 0,-1 1-8 15,1-3-74-15,3 1-69 0,-2 0-39 16,3-5-86-16,-1 4-298 0,0-1-81 31,0 2 94-31,0-2 42 0,0 1 99 0</inkml:trace>
  <inkml:trace contextRef="#ctx0" brushRef="#br0" timeOffset="23232.67">21909 44 445 0,'0'-4'202'0,"3"0"123"0,-3 4 3 0,0-3-52 0,0 3 1 0,0 0-24 15,0 0-81-15,0 0-3 0,0 0-13 16,-6 12-21-16,2-6-12 0,4 0-5 0,0 1 25 15,0 3-4-15,0-1-27 0,0 0 14 0,2 1 9 16,0-1-27-16,-1 0-6 0,-1-1 13 16,0 0-5-16,0 0-23 0,0-2 0 15,-1 1-7-15,1 0 4 0,0-2-12 0,-4 2-16 16,1-2-22-16,1 1-4 0,-3-1-58 0,1 0-10 16,-2-1-42-16,2 1-37 0,0-2-40 0,-4 0-104 15,3 2-76-15,0 0-490 0,-1-2 56 16,-1 2 119-16,3-2 53 0,-2 1 51 15</inkml:trace>
  <inkml:trace contextRef="#ctx0" brushRef="#br0" timeOffset="23924.46">21327 415 1011 0,'-12'2'350'0,"4"-2"-37"0,0 2-24 0,1-1-8 0,-1 0-20 15,2 1-15-15,1-1-41 0,-2 1-26 0,2 0-13 16,0-1-17-16,0 1-3 0,5-2-8 0,-4 4-23 15,4-4 0-15,0 5-17 0,0-5 2 16,4 5-36-16,0-3-3 0,-1 1-5 0,3 1-58 16,2-2-19-16,0 2 1 0,-2-1 27 0,2 0-4 15,-3 0-8-15,3 1 15 0,-1-1 5 16,-1 0 1-16,-1 0 25 0,0-1 10 0,-2 1 5 16,1 1-4-16,-1 0-9 0,-3 0 13 0,0 1 13 15,0 0-7-15,-1 0-19 16,-3 0-7-16,-1 1 10 0,0 0-20 0,1 0-11 15,-4 1 8-15,1-1-5 0,-3 0-46 16,2-2-15-16,1 1-14 0,-1 0-55 0,-1-2-62 16,1 1-59-16,5-2-90 0,-3 0-545 0,2 0 93 15,4-2 81-15,0 0 34 16,0 0 33-16</inkml:trace>
  <inkml:trace contextRef="#ctx0" brushRef="#br0" timeOffset="24160.48">21413 361 1236 0,'0'0'320'0,"1"-3"-16"0,-1 3-14 0,0 0-9 0,0 0-22 15,0 0-44-15,0 0-10 0,9 9 15 16,-7-4 25-16,0 2-24 0,1-1-22 16,-3 4-17-16,3-1-29 0,-1 1 4 0,0 2-9 15,0-2-28-15,-1 1-25 16,-1 2-23-16,0-3-18 0,0 1-42 0,3-1-1 0,-3 0-1 15,0-1-59-15,0-1-10 0,0-1-46 0,0 1-82 16,0-2-45-16,2-1-63 0,-7 1-53 16,5-2-471-16,3 1-8 0,-1-2 172 0,-2-3 20 15,3 6 67-15</inkml:trace>
  <inkml:trace contextRef="#ctx0" brushRef="#br0" timeOffset="24674.36">21382 517 988 0,'-2'-3'309'0,"2"3"-14"16,0 0-34-16,2-7-8 0,-2 7-25 0,7-4-105 0,-2 3-16 16,-2-2-25-16,2 1 10 0,0 1-15 0,3-2-3 0,0-1-2 15,-1 1-28-15,2 1-19 16,-1-3 1-16,-1 3 20 0,2-2-18 0,-1 0-8 0,1 0-2 15,-3 1-2-15,0-1 20 0,1 0-6 16,0 3-4-16,-4-2 12 0,3 0 1 16,-1 1 50-16,0 0-14 15,-5 2 24-15,5-2-7 0,-2 0-17 0,-3 2 86 0,6-3 16 0,-6 3-37 16,0 0-19-16,0 0 14 16,0 0-22-16,0 0-16 0,4 6-20 0,-4-6 2 0,-3 7-7 15,3-3 13-15,0 0-21 0,0 1 12 0,0-1-24 16,0 1-4-16,3 0-17 15,-3 0-11-15,2 0-7 0,0-1 13 0,-1 0-21 0,4 0 3 16,-3-1 17-16,1-2 3 0,2 1-23 0,-5-2 31 16,9 2-31-16,-5-1-7 0,-4-1 17 31,10-2 21-31,-4 0-8 0,-1 0 5 0,0-1-20 0,0 1 23 0,1-2-5 16,-2 0 20-16,2 2-20 0,-2 0 15 0,-1 0 10 15,2-1-33-15,-5 3 13 0,5-3 0 0,-5 3 20 16,7-1-46-16,-7 1 11 0,0 0 2 15,6 4-18-15,-6-4-15 0,2 7-11 0,-2-2-27 0,0 0-52 16,1-2-41 0,-2 3-46-16,1-1-92 0,-1 1-128 0,0 0-589 0,1 0 118 15,1-2 80-15,0-1 158 0,-1 3 5 0,1-3 49 16</inkml:trace>
  <inkml:trace contextRef="#ctx0" brushRef="#br0" timeOffset="25304.77">21822 396 1210 0,'1'-4'412'15,"-1"4"-64"-15,0 0-2 0,0 0-103 16,0 0-15-16,0 0-26 0,0 0-10 0,2 14-10 16,-2-9-44-16,0 1-20 0,0 0-16 0,0 1-4 15,2-1-19-15,-2 0-18 0,0-1-2 0,3 2-8 16,-3-1-17-16,0-2-4 15,0 1 9-15,0-1-8 0,0-4 22 0,0 5-9 16,0-5 7-16,-3 4 5 0,1-2-10 0,2-2 13 16,-8 3-18-16,5-1 15 0,-2 0 3 0,5-2 3 15,-10 4-24-15,5-2-15 0,0 2 23 32,0-2-18-32,-1 1 3 0,2 1 2 0,-2 1-15 0,2-2 3 0,1 0-11 0,0 1-12 15,-2 0-16-15,2-1-3 0,3 0-15 0,-2 2-15 16,2-5-8-16,0 5-28 0,0-5-5 0,0 0 0 15,5 3-28-15,-5-3-77 16,11 0-13-16,-7 0-77 0,-4 0-54 0,18-3 24 0,-8 2-28 16,0-2-370-16,-2 1 122 0,1 0 96 15,1 0 259-15,2-3 169 0,-4 2 48 0,0-2 75 16,-1 2 41-16,1-1 66 0,-2 1 49 16,-2 1-3-16,2 0 26 0,-4 0-8 0,-2 2-12 15,8-3-24-15,-4 2 3 0,-4 1-33 16,0 0 10-16,7-1-21 0,-7 1-20 0,0 0-18 15,2 5-10-15,-2-5-25 0,2 3 9 0,-2-3-12 16,0 5-3-16,2-3 2 0,-2-2-14 16,4 5-21-16,-2-4 12 0,-2-1-7 0,2 3-8 15,-2-3 29-15,6 2-3 0,-6-2-11 0,7 1 39 16,-7-1-5-16,8-1 5 0,-8 1 16 16,8 1-24-16,-8-1-5 15,8 1-53-15,-8-1-24 0,8 0 31 0,-6 3-28 0,2 0 21 0,0 1 7 16,-2 1-2-16,0 0-3 15,0 2-8-15,-1 0 21 0,2 1 2 0,-3 0-53 16,0 0 17-16,0 1-37 0,-3-1-29 0,2 0-34 16,-1-1-65-16,-2 1-140 0,-4-1-134 15,6 0-398-15,-2-2 57 0,0-2 97 16,1 1 52-16,0-1 73 0</inkml:trace>
  <inkml:trace contextRef="#ctx0" brushRef="#br0" timeOffset="25561.14">22033 270 1407 0,'12'8'410'0,"-2"0"56"0,-1-1-34 0,1 4-81 16,0 1-13-16,5 4 56 0,-2 1-53 0,-2 2-19 15,1 2 8 1,0 1-35-16,-4 2-24 15,-2 1-43-15,-2 0-49 0,-3 1-20 0,-1 2-21 0,-3-1-46 0,-7 6-74 0,0 1-31 16,-3-2-66-16,-2-3-52 0,-1 0-33 16,1-7-117-16,-3-10-159 0,-1 13-564 0,-1-6 78 0,2-4 129 31,3-2 32-31,1-4 133 0,-5-3 43 0</inkml:trace>
  <inkml:trace contextRef="#ctx0" brushRef="#br0" timeOffset="26811.8">23784 3 4366 0,'0'10'44'0,"-2"3"-8"16,2 1-6-16,-1 1-1 0,1 0 22 0,-3 2-38 16,3 2 17-16,0 1 1 0,0 0-8 0,0 1 5 15,-2 0-2-15,2 1-11 0,-2 3-7 16,1-1-6-16,-1-2 21 0,-1 0-10 15,1-1 5-15,-1 0-5 0,-2-1-13 0,4 0 5 0,-3-1 10 16,-2 0-12-16,2-1 5 0,1-1 7 0,-2-2 5 16,5-1-12-16,-2 0-8 15,0-4 3-15,1 1 2 0,-2-1 10 16,1-1-2-16,2 1-33 0,2-2 37 16,-2-1 9-16,4 0-21 0,0 0-13 0,1-1-4 15,-2-1 12-15,4-1 10 0,1 1-8 0,0-1 14 0,2-1-16 16,0 0 5-16,2-3 13 0,-3 2-18 0,3-2-16 15,1 1-12-15,-2-1 28 16,-1 0-30-16,3 0-6 0,-3-1-31 0,2-1 3 16,-1 2-23-16,-3-2-59 0,2 0-38 0,-2 0-103 0,-1 0-117 15,0-1-431-15,-3 0 83 16,3-2 35-16,0 1 128 0,-1 0 37 16</inkml:trace>
  <inkml:trace contextRef="#ctx0" brushRef="#br0" timeOffset="27319.72">24063 15 1005 0,'-2'-5'343'0,"2"5"-12"0,0 0-34 16,0 0 2-16,0 0-38 0,0 0-15 15,-4 11-44-15,4-4 11 0,-2 2-6 0,0 2-46 16,-1 3-12-16,3 2-11 0,0 0-18 0,-3 2-30 16,3-3 2-16,-2 0-13 15,0 1-30-15,2-1 25 0,-3-2-56 0,3 0-8 0,0-1-12 16,0-1-3-16,0-1-36 0,0 0-29 15,0-1-6-15,0-1-4 0,3 0-60 0,-3-1-24 16,0-1-97-16,2-1-59 0,-2 1-476 0,0-2 71 16,2 0 44-16,0 0 164 0</inkml:trace>
  <inkml:trace contextRef="#ctx0" brushRef="#br0" timeOffset="27526.64">23978 250 921 0,'0'0'404'15,"0"-5"-43"-15,0 5-120 0,0 0-6 0,6-6-27 16,-2 4-19-16,2 0-15 0,-1-2-12 0,2 2-27 16,1-2-17-16,0 2-34 0,-3 0-7 15,5-1-15-15,-2 1-34 0,0 0-64 16,0-1-87-16,-1 2-102 0,1 0-118 0,-1 0-389 15,1 1 66-15,-1-1 93 0,-7 1 25 0</inkml:trace>
  <inkml:trace contextRef="#ctx0" brushRef="#br0" timeOffset="27879.97">24198 235 924 0,'4'-5'340'0,"-4"0"-12"0,3 2-21 0,-1-2-18 0,-2 0 49 0,2 0-18 0,-2 0-26 0,0 1-25 16,0-2-28-16,0 6-31 0,0-6-6 0,-2 3-17 16,1-1-23-16,1 4 0 0,0 0-34 0,-8-1-12 15,8 1-31-15,0 0 18 0,-10 6-74 16,6-4-13-16,1 1 7 0,-2 0-27 0,2 3 20 15,1-3-11-15,-1 2 16 0,0 0-15 0,1 0 5 16,0 0-3-16,2-1-2 0,-3 0 15 16,3-4-3-16,3 8-17 0,0-4-6 15,-1-1-2-15,3 1-3 0,-2-1-7 0,4-1-16 16,-2-1 3-16,1 1-15 0,1-1-24 0,1 0-33 16,-1 0-7-16,2-1-21 0,0 0-3 15,-1 0-27-15,2-1-42 0,-2 1-59 0,2-1-66 16,0-2-28-16,2 0-18 0,-4 0-376 15,1 1 109-15,0-2-9 0,0 2 155 16</inkml:trace>
  <inkml:trace contextRef="#ctx0" brushRef="#br0" timeOffset="28165.55">24399 171 831 0,'-1'-4'356'0,"-3"2"-31"0,4 2 16 0,-6-5-106 0,4 3 3 0,2 2-33 0,-5-4-5 15,0 2-13-15,5 2-26 0,-3-2-10 16,3 2-5-16,0 0-31 0,0 0 15 0,0 0-32 15,-9 7-14-15,9-4-4 0,-1 1 1 0,2 1-4 16,0 0 0-16,0 2-3 0,5-2 11 0,-4 1 15 16,0 0 2-16,0 2-2 0,2-3-18 15,-2 1-11-15,0-1 111 0,0 1-23 0,-2-1-11 16,0 1 3-16,0-1-38 0,0 0 0 0,-2 0 9 16,0 0-22-16,1 0-110 15,-4 0 15-15,3-2 5 0,-1-1-17 0,-2 1-14 0,2 0-25 16,-2 0-15-16,2-1-44 0,-4-1-36 0,7-1-46 15,-7 5-36-15,7-5-125 0,0 0-92 16,0 0-441-16,0 0 65 0,-4-7 33 31,4 7 150-31,4-8 68 0,2 2 73 0</inkml:trace>
  <inkml:trace contextRef="#ctx0" brushRef="#br0" timeOffset="28372.22">24550 15 1308 0,'0'0'417'0,"3"-2"-31"0,-3 2-15 0,0 0-12 0,4 7-57 0,-3-2-8 16,-1 3-17-16,2 0-60 0,1 2-20 15,-2 0 5-15,-1 3-7 0,1 0-44 0,0 0-28 16,-1 0-26-16,0 0-38 0,0-2-41 0,2 1-39 16,-2-1-2-16,0-1-33 0,0-1-21 0,0 0-38 15,0 0-20-15,0-2-60 0,3-1-48 16,-2 0-72-1,-1-1-233-15,0-1-204 0,1 0-14 0,-1-4 114 0,2 4 63 0</inkml:trace>
  <inkml:trace contextRef="#ctx0" brushRef="#br0" timeOffset="28644.53">24504 152 916 0,'-2'-3'307'0,"2"3"-2"0,0 0-29 0,0 0-12 0,-3-5-26 0,3 5-23 0,7-3-13 0,-7 3 0 32,10-5-33-32,-7 4-15 0,5-2-16 0,0 1-5 0,2 0-2 0,0 0-19 15,-1 0 55-15,0 1 2 0,-1-1-36 16,1 0-16-16,-1-1-14 0,-2 2-39 0,-1-1-3 16,2 1-28-16,-4 0-27 0,-3 1-24 0,10 0-41 15,-10 0-36-15,0 0-64 0,10 2-50 0,-9 2-124 16,0-1-545-16,-1-3 143 0,-1 8 13 15,-2-4 105-15,1 1 111 0</inkml:trace>
  <inkml:trace contextRef="#ctx0" brushRef="#br0" timeOffset="29238.28">24237 521 967 0,'-12'-1'312'16,"6"0"44"-16,-1 1-26 0,-1-1-28 0,-2 2 3 15,4 0-67-15,-4 0-8 0,5-1-27 16,-2 1-11-16,2 1-6 0,-1-1-32 0,0 3-23 0,0-3 14 16,3 2-32-16,2-1-21 15,-1 3 13 1,2-5-18-16,-2 8 5 0,6-5-30 0,-3 0-6 0,2 2 0 0,3-1-2 0,-2 1 5 16,4-1-13-1,-3 0 10-15,1 1 6 0,0-1-42 0,0 1 34 0,1-3-18 0,-4 2 2 16,2 0 31-16,-2-1-40 0,1-1 19 15,-1 3 21-15,-3-5-7 0,0 5 48 0,0-5-44 16,-3 5-14-16,-1-1 14 0,0 1-20 0,-3 0-20 16,0-2 5-16,-1 1-16 0,0 1 21 15,1-3-44-15,-1 1-7 0,0 0-24 16,2-1-50-16,-2 1-16 16,2-1-36-16,0-1-38 0,3 1-110 0,3-2-157 0,-9 1-439 15,9-1 19-15,0 0 124 0,0 0 97 0,0 0 20 16,0 0 60-16</inkml:trace>
  <inkml:trace contextRef="#ctx0" brushRef="#br0" timeOffset="30182.44">24350 516 1151 0,'0'0'351'0,"0"0"-26"0,0 0-18 0,0 0-38 0,0 0-8 16,0 0-51-16,0 0-13 0,-10 6-36 0,10 0 11 0,-5-2-21 15,2 2-33-15,-2 1 22 16,3 0-29-16,-1 0-27 0,-2 1-17 0,4 1-14 31,-1-2-25-31,0 1 3 0,2 0-10 0,0-2-3 0,0 1-6 0,2-2-1 0,0 2 6 16,-1-2-4-16,5 1-15 0,-2-2 12 0,2-1 8 16,1 0-5-16,3-1 7 0,-3-2 11 0,1-1-26 15,1 0-5 1,1-1 5-16,0 0 13 0,-2-1-8 0,2-1-2 0,-3 1-8 15,1-1 0-15,0 0-3 0,-3-2 24 0,0 1-3 0,0-1-5 16,-2 2-11 0,-1-1 3-16,0 1 3 0,-2 0 5 15,1 0-11-15,-1 4 11 0,0-8-10 0,0 5-1 0,0 3-17 0,-1-6 30 16,-1 3-17-16,2 3 22 0,-5-4 3 16,5 4-28-16,-5-2-8 15,5 2 0-15,0 0 24 0,0 0-16 0,-8 0-11 0,8 0 26 0,0 0-4 16,0 0-6-16,0 0-3 15,-10 2 0-15,10-2-2 0,-3 2-5 0,3-2 10 0,0 0-2 16,-2 4-6-16,2-4 13 0,0 0 3 16,0 0-3-16,0 4 10 0,0-4-28 0,0 0 16 15,-3 3-3-15,3-3-10 0,0 0 2 0,4 5 5 16,-3-2 16-16,-1-3 8 0,0 0-6 16,1 4-2-16,-1-4-8 0,2 5 5 15,-2-5-12-15,0 6 4 16,0-3 6-16,0-3-11 0,2 5 3 0,0-2 18 0,-2-3-18 15,0 7 8-15,1-5-3 0,-1 2 23 0,0-4-30 16,1 6 2-16,1-4 0 0,0 3-3 0,0-2 1 16,-1 0 7-16,2 0 13 15,-3-3-11-15,4 5-9 0,-1-2 7 0,0-1 0 0,1 0-20 16,-1 0 20-16,3 0 2 0,0 0-14 0,-2-1 19 16,-4-1-40-16,10 4 23 31,-4-4 0-31,-2 1-3 15,-4-1 16-15,11 0-18 0,-11 0 5 0,10-1 10 0,-4 0 8 0,-2-2-11 16,2 2 21-16,-2-1-20 0,-1-1 15 0,2 1-18 0,0-1 0 0,-2-1 20 0,1 0-12 16,-3-2 28-16,1 2-11 15,3-2 14-15,-4 2-16 0,-1-2 7 0,0 1-14 0,0 0-14 16,0 0 9-16,0 0 30 0,-1 0-8 0,-1-1-5 16,-1 3-5-16,0-1-10 0,1 1 7 15,-3 0 1-15,4-1 4 0,-3 1-22 0,-1 0-11 16,2 1 3-16,3 2 3 0,-8-2 20 0,4 0-3 15,4 2-23-15,-8-3 8 16,8 3-7-16,-8-1 14 0,8 1-4 0,-7 0-13 0,7 0 10 16,-8 1-3-16,8-1 21 0,-8 2 5 15,5 0-26-15,-2-1-9 0,1 2 12 16,2-1 5-16,2-2-10 0,-6 5 10 16,6-5-3-16,-6 4-2 0,6-4 16 0,-2 3-11 0,2 0-5 15,0-3 2-15,0 0 9 16,0 5 1-16,0-5-12 0,2 3 0 0,-2-3 5 0,5 3 1 15,-5-3-24-15,8 0-8 0,-8 0 0 0,9-1-30 32,-9 1-41-32,10 0-13 0,-10 0-36 0,12-3-46 0,-7 3-102 0,-5 0-103 0,10-1-453 15,-4 1 3-15,2-2 145 0,-4 0 98 16,-4 2 82-16</inkml:trace>
  <inkml:trace contextRef="#ctx0" brushRef="#br0" timeOffset="30572.59">24619 529 885 0,'3'-4'389'0,"-3"4"-33"0,0 0-31 0,0 0-43 15,0 0 12-15,9 0-46 16,-9 0-20-16,0 0-28 0,10 6 5 0,-6-2-8 0,1-1-10 15,2 3-36-15,-4-2-3 0,2 2-25 16,-2 1-8-16,2 1-18 0,-2-1-35 16,-1-1 12-16,1 1 3 0,-2-1-18 0,0-1-6 15,-1 1-7-15,0-2 13 0,1 1 10 16,-1-1-15-16,0-4 18 0,0 6-34 0,0-3 106 16,0-3-32-16,0 0 3 0,0 0 6 0,0 0-11 15,0 0-15-15,0 0-8 16,0 0-16-16,0 0-9 0,0 0 4 0,-2-14-30 15,3 8 13-15,0 0-26 0,1-1-39 0,3 2-7 0,-5-2-10 16,5 0-23-16,-2 2-42 0,0 1-6 16,1 0-7-16,-1 0-37 0,0 1-8 15,1 0-23-15,-1 1-41 0,-3 2-121 0,6-7-84 16,-2 7-489-16,-4 0 149 0,0 0 15 0,11 5 74 16,-8-2 123-16,-1-1 21 0</inkml:trace>
  <inkml:trace contextRef="#ctx0" brushRef="#br0" timeOffset="30821.33">24824 550 811 0,'3'-2'371'16,"-1"-2"-107"-16,2 0-13 0,-2-1 2 15,-2 5 59-15,2-5-22 0,-2 3-35 16,0 2-19-16,-2-6-16 0,2 6-13 0,-6-1-22 0,6 1-16 16,0 0 0-16,0 0-6 0,-15 6-9 0,10-2-29 46,0 2 1-46,-1-1-19 0,-1 2-9 0,6 1-22 0,-3 0 11 0,1 0 36 0,1 1-64 0,-1-1-8 0,3-2-5 16,3 1-5-16,-2-2-12 0,1 1-27 0,2-3-17 0,-1-1-18 16,4-1-16-16,-1 0-25 0,6-2-49 15,-4 0-79-15,3-2-167 0,1-1-532 16,-1-1 90-16,4-2 68 0,-2-1 85 16,0-1 52-16,2-1 50 0</inkml:trace>
  <inkml:trace contextRef="#ctx0" brushRef="#br0" timeOffset="31362.97">25024 0 4018 0,'1'17'105'15,"-1"2"-13"-15,0 0 31 0,0 1-28 0,-1 3-6 16,1-2 19-16,-1 6-11 0,0 0-17 15,2-1-4-15,-1 3 4 0,0 0 9 16,2 0-27-16,-2 0-19 0,4-2 34 0,0 1-21 0,3 9 3 16,0-3-2-16,-1 0-9 0,1-5-17 15,-1-4 7 1,-1-2-7-16,2-1 28 0,1 0-18 0,0-1-18 0,2-1 18 0,-5-2-33 0,3-2-1 16,0-2 42-16,0 2-44 15,-1-2 18-15,-2-3-10 0,0-1-3 0,0-2 39 16,-2 0-31-16,2-2-21 0,-2 2 11 0,-1-3 17 15,1 1 9-15,-3-3 22 0,2 1-5 0,-2-4-5 16,-5 8 0-16,0-5 34 0,-3 0-19 16,-4 0-35-16,-2 2-21 0,1-2-13 15,-5 0-20-15,-4 1-36 0,3-1-26 0,-5 0-33 0,0-1-33 16,-1 1-69 0,-4-1-121-16,1-6-142 0,3 6-457 0,-1-2 65 0,0 0 124 15,-1 0 70-15,-5-2 90 0,5-1 35 0</inkml:trace>
  <inkml:trace contextRef="#ctx0" brushRef="#br1" timeOffset="37802.33">22331 8 3877 0,'1'11'108'0,"0"2"-3"16,1-1-18-16,2 2-15 0,-3-3 22 15,2 2-7-15,1 0 3 0,-3 1-3 0,1 0-18 16,1-1 5-16,-1 1-10 0,-1 1-2 0,4-1 4 16,-3-1 3-16,0 1 0 15,-1 1-10-15,1-1-20 16,3 0 15-16,-4 0-34 0,1 0 13 0,0 0 16 0,1-1-6 0,-3 2-32 15,5-2 27 1,-5 1-2-16,3-1 15 0,0 0-33 0,-3 2 23 0,2-2-21 0,2 1 1 16,-3 0-1-16,-1 0 11 0,3-1-23 0,1 1 17 15,-3-1-4-15,1 1-3 16,-2 0 20-16,4 0-22 16,-3 1 14-16,0 0 19 0,1-1-24 0,0 1-7 0,-2-1 13 15,3 1 18-15,-2-1 2 0,1 1-23 0,-2-1-25 16,2 0-8-16,1 0 22 0,-3 1-1 0,2-2 2 0,-1 2-8 15,-1-1 16-15,2-1 7 0,-2 0-28 16,2-1 13-16,0 1 5 16,-1 0-13-16,-1 0 21 0,0 0-18 0,0-2-80 0,3 2 11 15,-3 1 2-15,2-2 0 16,0 1 3-16,-2-2 13 0,1 0 35 0,-1 1-38 0,2 0 16 0,-2-2-4 16,3 2-1-16,-1 1 25 15,-1-2-21 1,1 2 26-16,-2-3-10 0,3 3 5 0,0-2-18 0,-2 2 12 0,0-1 19 0,1 1-5 15,-2 0-1-15,4-1-10 0,-3 1-9 0,0-1 6 16,-1 0 1-16,2 1 5 16,0-1 8-16,1 0-11 0,-3 0 23 0,3 0-12 15,-1-1 10-15,-2 0 2 0,2 1-20 0,-1 0-3 0,-1-2 13 16,3 2 3-16,-3-2-13 0,2-1 7 16,0 2 11-16,0 0-8 0,-1-1-7 15,-1 0-14-15,0 1 29 16,0-2-8-16,3 1 3 0,-3-2 18 0,2 2-14 0,0-1-1 0,-2-2 9 15,0 3-28-15,1-2 11 0,-1-1-11 16,0 1 16-16,0 1-16 0,2-2 1 0,-2-1-4 16,0 1 9-16,0-1-16 0,0 0 3 15,-2 3-1-15,2-2-2 0,0 0 34 0,0-1-19 16,2 0 13-16,-2 1-7 0,0-1 7 16,3 0-7-16,-6 0 4 0,3 0-14 0,0 0 19 15,0 0-9-15,0 0 5 0,0 1-11 0,0-1-12 0,0 1 2 16,0-2 0-16,0 1 26 15,0 0-34-15,0 1 16 0,0 0 0 0,0-2 3 16,0 2 14-16,0-1 4 0,0 1-3 0,0-1-6 16,3 1 16-16,-3-1-12 0,0 0-1 15,0 0-13-15,0-1 8 16,0-1-10-16,0 2 21 0,0-2-24 0,0 1 8 0,0-5-3 0,0 7 14 16,-3-4-24-16,3-3 28 0,3 7-15 15,-3-3 3-15,0-4-11 0,-3 5 21 16,3-5-13-16,0 5-10 0,0-5-3 0,0 6 10 15,0-6 21-15,0 0-10 0,0 4 7 16,0-4-17 0,0 3-11-16,0-3 28 0,0 0-2 0,3 5-23 0,-3-5-11 0,-3 4-12 0,3-4 51 15,0 4-26-15,0-4 24 0,0 7-19 16,0-2-7-16,0-1-3 16,0 0 8-16,0 2 13 0,0-1 7 0,0 1-10 0,0 1 0 0,3 1 8 15,-6 0-18-15,6 2-16 0,-2 0 6 16,0 0 20-16,-1 2 3 15,1 1-6-15,-1 1-7 0,2 0 8 0,0 1 2 16,-2 3 18-16,4 0-33 0,-4-1 23 16,2 1-21-16,0 0 0 0,2 2 8 0,-2-1 3 0,2 2 4 0,-1-1-4 15,0 1 5-15,1 2-11 0,-1 1 21 0,2 0-15 16,-4 0-9 0,4 1 17-16,-3-1-4 0,1 2-42 0,-1 0 32 0,1 1 16 15,-2-2-21-15,1 1-7 0,-2-4-3 0,2-1 0 16,-2 2-23-16,-2-3-28 0,2 1-8 0,0-3-18 15,0-2-7-15,0-2-18 16,-1-1-34-16,0-1-35 0,0-1-88 0,-2-3-109 0,1-1-485 16,2-2 55-16,0-1 104 0,-2-3 39 0,2-1 120 15,0 0 5-15</inkml:trace>
  <inkml:trace contextRef="#ctx0" brushRef="#br1" timeOffset="39362.25">20237 720 483 0,'0'0'197'16,"0"0"-23"-16,0 0 3 0,0 0-5 16,0 0-6-16,0 0-2 0,0 0 0 0,0 0-3 31,9 6-20-31,-9-6-8 0,9 0 13 0,-9 0-16 0,9 0 1 0,-2 0-8 0,0 1-11 0,1-1-22 16,0 0-11-16,2 1 0 0,-1-2 1 15,3 1-6-15,-2-1 0 0,3 1 11 16,-3 0-24-16,6-2-4 0,-2 1 4 15,0 1 11-15,1 0-3 0,1 0-31 0,-2 0-2 16,2-1 2-16,-3 0-2 0,3 1-8 16,-1-2-2-16,0 1 5 0,-2 0 7 0,3-1-2 15,-1 0 10-15,0 0-3 16,-2 0 6-16,0 1 54 0,3-3-24 0,-2 2 13 16,0 0 5-16,-1 0-22 0,-1-1-19 0,1 2 3 0,2-2 2 15,-4 1-22-15,1 0 1 0,1 0-75 0,0-1 19 16,0 1-7-16,1 0-5 0,-2-1 13 15,3 0 15 1,-2 1 7-16,-3 0 1 0,7 0-3 0,-6 1-18 0,2-2 31 0,-2 2-23 16,3-1 8-16,-1 0 22 0,1 1-22 0,0-1-1 15,-3 0 6-15,2 1 25 0,0-1-17 16,-3 1-19-16,3 1 29 16,-3 0-36-16,3-2-1 0,-3 1 37 0,3 0-8 0,-1-1 5 15,-1 1-26-15,1 0 21 0,-1 0 5 16,-1 2-18-16,0-1-10 0,1-2 3 0,-1 2 2 0,-2 0-5 15,1-1 7-15,-1 1 6 0,0-1-6 16,1 0-7-16,-1 0 16 16,-2 1 19-16,2 0-30 0,-8 0 5 15,13-1 6-15,-6 1-4 0,0-1-7 16,-1 1 13-16,0-1 2 0,1-1 16 0,-7 2-13 0,11 0-23 0,-11 0 10 16,10 0 3-16,-7 0 10 0,4-1-18 0,-7 1-8 15,9-1 28-15,-9 1-20 0,8-1 6 0,-8 1-4 16,9 0 8-16,-9 0-12 0,9-1 10 15,-2 1 17-15,-7 0-22 0,9-1-3 0,-4 0 20 16,-5 1-4-16,12 0-6 0,-12 0 20 16,9 0-27-16,-4 0 30 0,-5 0-15 0,10 0-5 15,-10 0-21-15,9 0 1 16,-9 0 27-16,6 0-5 0,-6 0-4 0,6 1 2 0,-6-1-1 0,0 0-17 16,8 1-5-16,-8-1 5 15,0 0 10-15,5 0 10 0,-5 0-22 16,0 0 32-16,5 2-7 0,-5-2-23 0,0 0-5 0,0 0 10 15,0 0 31-15,5 2-14 0,-5-2-24 16,0 0 4-16,0 0 19 0,0 0-4 0,5 2 4 16,-5-2-1-16,0 0-20 15,3 2-5-15,-3-2-29 0,0 0 24 0,0 0 5 0,0 0-21 16,0 0-23-16,0 0-30 0,0 0-3 16,0 0-26-16,0 0-20 0,0 0-3 0,0 0-53 0,-9 4-64 15,9-4-65-15,-7 3-40 16,7-3 15-16,-3 2-440 0,3-2 40 0,-7 3 108 0,7-3 3 15</inkml:trace>
  <inkml:trace contextRef="#ctx0" brushRef="#br1" timeOffset="41474.81">21571 742 642 0,'0'0'228'0,"5"1"2"0,1 0-22 16,-6-1-9-16,10 0-4 0,-5 1-26 0,-5-1-11 15,15-1-25-15,-8 1 36 16,4-1-30-16,-1 1 14 0,4 0-2 16,-2-1-28-16,2 1-21 0,2-1-9 0,0 1 12 0,-1-2-26 15,5 0 5-15,-3 1 3 0,1 0 6 0,-1 0-32 16,-1 0 8-16,2-1-20 0,-1 1 4 15,-1 0 4-15,2-1-6 16,-3 1 5-16,1-1-89 0,-1 1 13 0,2 0 4 16,-3 0-12-16,-1-1 0 0,2 0 0 0,-2 0 15 15,0 1 5-15,-3 0-7 0,4-1-3 0,-5 1 5 0,1 0 69 16,0 1-4-16,3-1-6 16,-5 1 5-16,2-1 0 0,3 1 8 15,-6 0-36-15,1 0 10 0,4-3 16 0,-4 3-8 0,1 0 0 16,-1 0-26-16,-1-1 13 0,0 1-7 15,-7 0-11-15,14 0 5 0,-7 0-7 0,0-1 15 16,0 0-10-16,-1 1 5 0,0-2 31 0,1 1-37 16,-7 1 11-16,13 0-12 0,-5 0 12 15,-3-2 20-15,3 1-35 0,-1 1-13 32,0-1 20-32,-1 1 11 0,0-2-6 0,1 1 6 0,1 1-19 0,0 0-1 0,-1 0-9 0,1-1 13 15,1 1-2-15,-3 0 12 0,-6 0 3 0,13 0-25 16,-6 0-3-16,0 0 23 15,-7 0-26-15,12-1 31 0,-7 1-20 0,-5 0-9 16,13 0 24-16,-8 0 3 0,-5 0-3 0,10 0-23 0,-10 0 2 16,10-1 18-16,-4 1-4 15,-6 0-4-15,10-3-2 0,-10 3 1 0,7 0-4 16,-7 0-2-16,8 0-2 0,-8 0-4 16,8 0 4-16,-8 0 2 0,8 0 0 0,-8 0 5 15,7 0 3-15,-7 0-24 0,0 0 27 16,8 0-9-16,-8 0 3 0,9 0-15 0,-9 0 0 0,8 0 25 15,-8 0-10-15,8-2-2 0,-8 2-11 16,11 0-7-16,-11 0 2 16,10 0 5-16,-5 2 1 0,3-4 27 0,-8 2-17 0,13 0-8 15,-6-1 7 1,-1 1 8-16,-6 0 3 0,12-1-21 0,-6 1 11 0,1-1-8 0,-7 1 20 0,10 0-4 16,-5-1-14-16,-5 1 8 0,11 0 5 15,-5 0-38 1,-6 0 31-16,9-1-14 0,-9 1 4 0,8-1 14 0,-8 1-1 0,10-2-6 15,-10 2-8-15,8 0 0 0,-1 0 42 16,-7 0-29-16,11-1 5 0,-6 1-8 0,-5 0-19 16,10-2 19-16,-3 2-2 0,0 2 3 15,-7-2-16-15,10 0 3 0,-2-2 30 16,-8 2-25-16,12 0-13 0,-7 0 3 0,2 0 10 0,-7 0 2 16,11 0-2-16,-3 0 7 31,-1 0 4-31,0 0-9 0,-1 2-10 0,-6-2-2 0,13 0-3 0,-6 0 28 15,-7 0-20 1,11 0 12-16,-3-2-4 0,-1 4 7 0,-7-2 26 0,13-2-29 0,-8 2-7 0,2 0 13 0,-7 0-8 0,13-1 8 16,-7 0-16-16,1 2 8 15,-7-1-21-15,13-1 16 0,-8 1 21 0,3-1-55 0,-1 1 29 16,1 0 7-16,0 0 11 0,-1-1 10 16,-7 1-44-16,16 0 14 0,-6 1 9 0,-2-1 8 15,2-1 11-15,-2 1-14 0,0 0 3 0,2 0-15 16,0 1 15-16,0-1 3 15,1 0 2-15,-1 0-15 0,0 0 13 0,0 0-6 16,0 0-2-16,1 1-13 0,-3-1-5 0,2 0 13 16,-2 0 13-16,2 1-21 31,-2 0 3-31,-1-1 0 0,4 0 33 0,-4-1-36 0,-1 2 26 0,1-1-6 0,0 0-1 0,-7 0 22 16,11 2-28-16,-5-2-3 0,-6 0 3 15,10 0 10-15,-10 0-10 0,10 1-12 0,-10-1-4 0,8 0 14 0,-8 0 7 16,7 0 36-1,-7 0-44-15,8 2-4 0,-8-2-6 0,9 1 18 0,-3-1 8 16,-1 1-16-16,-5-1-2 0,13 0-3 0,-6 0 42 16,1 1-24-16,1 0-13 0,0 0-10 15,0 2 8-15,1-3 10 16,0 0 21-16,0 3-31 0,1-2 0 0,-1 0 7 0,0 0-9 0,0 2 27 16,1-3-25-16,-1 4-13 0,0-4 3 15,0 1 17-15,0 1 16 0,2 0-20 16,-3-1-9-16,1 1 9 0,0 0 2 15,0-1 18-15,1-1-16 0,-1 0-4 0,4 1 7 0,-5-1 23 16,4 1-36-16,-1 0 3 0,-1 0 8 16,1-1 2-16,-1 0-28 0,2 0-31 15,-3 1 0-15,-1-1-30 0,-1 0-16 0,-2 1-23 16,2-2-43-16,-8 1-121 0,13-1-5 0,-7 1-514 16,-6 0 28-16,9-1 102 0,-9 1 52 15,5 0 17-15</inkml:trace>
  <inkml:trace contextRef="#ctx0" brushRef="#br1" timeOffset="42859.21">12803 1279 1272 0,'2'-4'430'0,"-2"4"-41"0,2-5-13 0,-2 2-38 0,0 3-31 16,0 0-18-16,0 0-35 0,0 0-16 15,0 0-3-15,0 0-25 0,-4 13-13 0,-2-3-35 16,4 3-11-16,-6 3-16 0,3 2-12 0,-5 5 46 16,-3 7-18-16,2 1-56 0,1-4 2 15,0-5-15-15,3 0-44 0,-4 1-7 0,4-2-31 16,-1 1-28-16,0-5-26 0,3-1-12 0,-2 0-24 16,1-2-43-16,1 1-31 15,0-5-66-15,2 0-83 0,-1-4-155 0,0 2-433 16,0-3 69-16,1-1 90 0,3 0 84 0,-3-2 100 0</inkml:trace>
  <inkml:trace contextRef="#ctx0" brushRef="#br1" timeOffset="43117.52">12595 1422 1118 0,'0'0'412'0,"0"0"-10"0,0 0-26 0,0 0-38 0,0 0-28 16,0 0-28-16,20 9-21 0,-9-2-92 0,-1-1-13 16,2 2-21-16,2 1-2 0,-1 0-17 0,2 1 1 15,0 1-32-15,1-1 74 16,-3-1-14-16,1 4-19 16,0-2-26-16,-2-1 7 0,1-1-61 0,0-2-41 0,-5 0-30 0,2 1-52 15,0-2-41-15,-2 0-81 0,2-2-109 0,-2 0-352 16,0 1-205-16,-3-3 87 15,2-1 79-15,1-1 51 0,0-2 98 0</inkml:trace>
  <inkml:trace contextRef="#ctx0" brushRef="#br1" timeOffset="43373.9">13062 1392 982 0,'0'0'379'0,"4"-6"-41"0,-1 4-20 0,2 1-47 0,0-2-31 15,1 2-27-15,2-1-13 0,2 1-44 16,0-1-69-16,0 1-41 0,0 1-82 16,-2 0-146-16,-1 0-92 0,1 0-435 0,0 2-28 0,-5 0 156 15,2 0 13-15</inkml:trace>
  <inkml:trace contextRef="#ctx0" brushRef="#br1" timeOffset="43537.86">13038 1519 931 0,'0'0'336'0,"0"0"-9"0,0 0-22 0,0 0-21 0,0 0-10 0,0 0-34 0,16 2-42 0,-16-2-9 0,13-2-10 0,-3-1-36 15,0 2-17-15,0-1-26 0,0-1-39 0,0 1-28 0,-1 0-43 16,3 0-44-16,-2 0-91 16,1 0-124-16,-1-5-51 0,0 6-440 0,3 0 56 0,-5-1 82 15,5 2 102-15</inkml:trace>
  <inkml:trace contextRef="#ctx0" brushRef="#br1" timeOffset="43955.2">13833 1272 1136 0,'0'0'461'16,"0"0"-118"-16,0 0-23 0,0 0-41 15,3 15-8-15,-1-7-12 0,-2 1-27 0,3 3-24 16,-1 1-14-16,-1 0-43 0,1 1-7 0,-2 0-29 16,2-2-28-16,-2 1-18 0,3 0-20 15,-2-1-39-15,-1 0-51 0,0 0-33 16,0-2-52-16,0 0-89 0,0-2-94 0,0 1-523 0,0-3 82 16,-1 1 89-1,2-1 32-15,-1-3 132 0</inkml:trace>
  <inkml:trace contextRef="#ctx0" brushRef="#br1" timeOffset="44114.33">13793 1219 655 0,'0'0'105'0,"-6"-2"-223"15,6 2-435-15</inkml:trace>
  <inkml:trace contextRef="#ctx0" brushRef="#br1" timeOffset="44537.52">13905 1227 1195 0,'5'10'445'0,"2"0"-63"0,-3-2-39 16,1 1-26-16,0-2-33 0,-2 1-36 0,1 1 8 0,1 1-48 0,-2-4-1 16,2 3-28-16,-2-1-89 0,1-2 22 15,0 0-1-15,-2 0-14 0,0-1-8 0,1 0 1 31,0-2 20-31,-1 0 31 0,1-1 12 0,-3-2 9 0,8 1 63 0,-8-1-28 0,8-4-15 16,-1 2-29-16,-2 0 6 0,0-1-13 0,3-1-18 16,-1 2 5-16,1-3-33 0,0 4 23 15,-1-1-41-15,-1 1 25 0,2 1-45 0,-1 1-11 16,1 1 26-16,0 0-8 0,0 3-3 16,-1 0-99-16,0 2 7 0,-1-1 1 0,2 3-19 0,-3-2-30 15,0 2-39-15,-2 0-4 0,1 0-42 16,-1-2-33-16,0 0-46 0,-1 0-51 31,0-2-106-31,1-3-137 0,0 2-456 0,-1 1 102 0,4-3 52 0,-2 0 145 0,-4-2 65 0,11 0 40 0</inkml:trace>
  <inkml:trace contextRef="#ctx0" brushRef="#br1" timeOffset="44980.21">14436 1097 1410 0,'0'0'440'0,"0"0"-35"0,0 0-14 0,-8 15-53 16,8-7-46-16,-2 1-5 0,1 4-37 0,1 2-35 15,-2 0-10-15,2 2-5 0,0 1-62 16,2 1 23-16,-1 0-43 0,1-2-44 0,3 0 13 16,-2-1-25-16,2-2 2 15,-2-3-33-15,1-1 7 0,-1-1 5 0,2-1 9 0,-2-1-55 16,2-1 49-16,0-3-7 0,-2 0-9 15,-1 1-2-15,-2-4 3 0,3 0-16 0,-3 0-17 16,0 0 15-16,0 0 10 0,0 0-36 0,0 0 36 16,-11-10 5-16,7 4-10 0,-4 2 8 15,0 0 4-15,-2 0 6 0,2 1 0 16,-2 0-10-16,-1 3 15 0,1 0-8 0,0 0 21 0,-1 1-8 16,-1 3 2-16,2 0-2 0,0 0 34 0,0 1-9 15,1 1-9-15,2 0 22 31,-1 1-25-31,3-1 26 0,0-1-32 0,2 2 6 0,1-1 10 0,2 0 3 0,-2 0-10 0,4-1-22 16,0-1 12 0,1 0-4-16,2 1-96 0,3-3-4 0,-1 1 17 0,1-3-1 0,2 1 23 15,3-3-20-15,-2 2-24 0,-1-2-35 16,3-1-23-16,2-1-15 0,-5 1-27 0,3 0-35 16,0-2-20-16,2-1-36 0,-4 2-100 15,3-1-106 1,-1 0-400-16,-2 0-9 0,2 2 75 0,-1-1 102 0,-4 1 66 0,2 0 72 0</inkml:trace>
  <inkml:trace contextRef="#ctx0" brushRef="#br1" timeOffset="45353.93">14618 1392 1195 0,'5'-5'430'16,"-2"0"-36"-16,2 0-51 0,0-2-15 0,0 2-36 16,-2-2-13-16,1 0-77 0,-1-1-15 15,2 1 15-15,-3-1-28 0,-1 1-8 0,2-1-4 0,-3 2-4 16,0 0 6-16,0 0 20 0,0 1-17 16,-3 0-34-16,2 2-10 15,1 3-8-15,-7-3-2 0,7 3-37 0,-7 0 24 0,7 0 3 16,-11 6 9-16,6 0-9 0,0 2-32 15,0 2-7-15,2-1-5 0,-2 2 10 0,5 1-25 16,-3-2-6-16,3-1-17 0,3 2 9 0,-3 1-14 16,5-2-37-16,0-1-17 15,0 0-19-15,5 0-24 16,-1-2-22-16,3-2-45 0,1-2-19 0,-3 0-55 0,3-2-32 0,-2-1-181 0,1-1-18 16,1-2-484-16,3-1 72 15,-2-2 130-15,0 0 57 0,1-2 82 0,-2-1 56 16</inkml:trace>
  <inkml:trace contextRef="#ctx0" brushRef="#br1" timeOffset="45800.07">14879 1204 1098 0,'-2'-5'335'0,"1"0"-15"0,-1 0 8 15,0 2-26-15,2 0-8 0,0 3 82 16,-6-3-48-16,6 3-29 0,0 0-15 0,0 0-17 16,-8 11-6-16,4-2 5 0,4 1-2 15,-3 4-37-15,0 2 4 0,3 4-26 0,-2 2-124 0,4 5 47 16,-2 0-28-16,3 11-25 15,-3-3-11-15,0-5-21 0,3 11-2 0,-3-7-41 0,2-6-26 16,-2 2-9-16,0-1-29 0,2-2 15 16,-2-5 31-16,0-2-8 0,0 0-2 15,0-4-2-15,0-2 58 0,0-3-5 0,0-1 5 16,-2-1 3-16,2-5 17 0,-2 1 26 0,-1-3-12 16,3-2 4-16,0 0-17 0,0 0 13 15,-8-14 12-15,6 5-13 0,-1-5 6 0,1-4-24 16,2-2-2-16,0-1-8 15,0-7 1-15,5 0 4 0,-3 0 16 0,3-9-49 0,3 8 18 0,-2 5-13 16,1 3 11-16,3 1-31 0,-2 5 17 16,0 1 1-1,0 4 17-15,-1 2-9 0,-2 4-1 0,3 2 6 0,-3 2-6 0,-5 0 0 16,8 4-9-16,-6 0 34 0,-2 2-27 0,0 0 18 16,-2 4 2-16,-3 0-30 0,-1 1 22 15,-1 0-45-15,-1 1-1 0,-2 1-19 16,2-4-19-16,-2 2-64 0,0-2-46 0,2-2-23 0,0 0-54 15,3-1-53-15,-2-3-154 0,1 1-90 16,4-2-471-16,-1-2 116 0,3 0 66 0,0 0 95 16,0 0 74-16,3-12 66 15</inkml:trace>
  <inkml:trace contextRef="#ctx0" brushRef="#br1" timeOffset="46664.3">15018 1481 826 0,'0'0'382'0,"0"0"-103"0,0 0 5 15,0 0-15-15,0 0-21 0,0 0-15 16,0 0 5-16,15-8-44 15,-12 6 3-15,2-2 13 0,0-1-36 0,0 1 11 0,2-2-9 0,-3 0-7 16,0 0 3-16,2 1-31 0,-4-1-6 16,3-2-9-16,-2 1-6 0,0 1-5 0,-3 0-28 15,2 0 21-15,0 0-24 16,1 0 11-16,-3 2-18 0,3 0-13 0,-3 1 2 0,0 3-17 16,2-6-21-16,-2 6 0 0,0 0-5 15,0 0 18-15,0 0 3 0,0 0-19 0,0 0 62 0,0 0 11 16,-2 16-27-16,-1-12 11 0,3 1-23 15,0 0-18-15,0-1-5 0,0 1 2 16,-3-1-5-16,6 0 3 0,-3-4 5 0,0 7-23 16,0-4-23-16,0-3 49 0,1 5-29 0,1-3-7 15,-2-2 22-15,2 4-27 0,-2-4-26 16,6 0 46-16,-6 0-3 0,7 2-7 0,-7-2 10 16,5 1-5-16,-5-1-3 0,0 0 14 15,10-1-17-15,-10 1 17 0,8-2 14 16,-3 2-25-16,-5 0 8 0,8 0 2 15,-8 0-23-15,10 0 23 0,-4 2 5 0,-2-1-20 0,2 1 15 16,-6-2-5-16,10 2 18 0,-5 1-28 0,0-3 46 16,-2 3-5-16,-1-1-31 15,4 0 13-15,-2 0 30 0,-4-2 1 0,6 3-24 0,-2-1-10 16,-4-2 31-16,3 1-7 0,-3-1 4 0,6 2-4 16,-6-2-37-16,5 3-10 15,-5-3 111-15,4 1-9 0,-4-1-20 0,0 0 6 0,0 0-6 16,6-6 23-16,-6 6-89 15,5-2-26-15,-3-2 0 0,-2 4 0 0,6-4 0 0,-2 2 0 16,0 0 0-16,-4 2 0 0,7-2 0 16,-7 2 0-16,7-2 0 0,-7 2 0 15,9 2 0-15,-5-1 0 0,1 4 0 0,1-2 0 16,-1 2 0-16,0-2 0 0,0 2 0 0,0 0 0 0,0 0 0 16,-2-2 0-16,0 2 0 0,1-2 0 15,-1 1 0-15,0 0 0 16,-1-2 0-16,-1 3-175 0,-1-5-209 0,4 2-204 0,-1-2-579 0,-3 0 71 15,0 0 159-15,0 0 26 0,11-9 133 16,-7 3 87 0,2-1 40-16,1-3 68 0</inkml:trace>
  <inkml:trace contextRef="#ctx0" brushRef="#br1" timeOffset="47053.21">15541 1172 1553 0,'0'0'423'0,"0"0"1"16,0 0-50-16,0 15 10 15,0-5-28-15,0 3 10 0,0 2-49 0,-3 4-40 0,3 1-26 16,3 1-24-16,-3 2-1 0,0-1-27 16,0 0-25-16,2 0-23 0,-1-1-61 0,1-2-3 15,0-2-13-15,1 0-43 0,-3-4-21 0,3-3 1 16,-1 0-37-16,0-2 0 0,2-3 14 0,-4 0-12 16,2-2 32-16,-2-3-21 0,0 0-15 15,0 0 44-15,0 0-22 0,0 0 4 0,0 0-21 16,-10-11 18-16,4 9 7 15,2-2 3-15,-2 2-5 0,1 0-2 0,0 1-3 0,5 1 20 0,-13 0 6 32,8 1 27-32,-3 2-15 0,1 0-27 0,-1 1 19 0,3 1-12 0,-1 0 13 15,2 0 22-15,-2-1-30 16,2 3 3-16,3-1 43 0,-4-1-26 0,5 0-7 0,-2 0-3 0,2 1 0 16,2-3 18-16,0 1 0 15,1-1 3-15,-3-3-1 0,5 5-9 0,1-4-19 0,1 0-9 16,-7-1 9-16,16-3-25 0,-4 0-16 15,-1-1-35-15,2 0-44 0,0 1-23 0,1-5-15 16,0 4-36-16,1-3-31 0,1 2-58 0,-2-1-24 16,0 0-89-16,-1-1-100 0,-1 3-456 15,1 1 92-15,-3 0 44 0,3 1 138 0,-5-1 67 0,2 1 31 16</inkml:trace>
  <inkml:trace contextRef="#ctx0" brushRef="#br1" timeOffset="47935.94">15762 1464 947 0,'2'-3'455'0,"0"1"-53"15,1-3-67-15,0 3-27 0,-1-2 1 16,1 0-2-16,-3-1 3 0,0 5-23 16,2-8 2-16,-4 6 31 0,2 2-18 0,-3-7-20 15,3 7-44-15,-5-4-5 0,5 4-46 0,-3-2 20 16,3 2-56-16,0 0-10 0,0 0-13 16,-15 6-11-16,10-3 9 0,3 0-29 0,-1 1 0 0,-2 1-17 15,2 0-16 1,-2 1-16-16,2 0 21 0,1-1-2 0,-1 2-105 0,1-1 12 0,1-2-15 15,1 2-8-15,0-1-2 0,0-1 8 16,0 0-1-16,0-4 11 0,3 6 5 0,0-3-6 16,-1-1 24-16,-2-2-13 0,6 4 16 15,-4-2 9 1,-2-2-25-16,8 4 0 0,-5-3 10 0,-3-1 8 0,4 2-13 0,-4-2 18 0,8 0-2 16,-8 0 17-16,6 1-38 0,-6-1 8 15,7 0 17-15,-7 0-12 0,7 0 2 0,-7 0 34 16,0 0-13-16,8 0-8 0,-8 0 2 0,0 0-22 15,5 1 28-15,-5-1-16 0,0 0 14 16,0 0-11-16,0 0 5 0,11-1-3 16,-11 1 1-16,0 0 27 0,7 0-17 0,-7 0-13 15,0 0 16-15,6-3-1 0,-6 3 18 0,2-1 31 16,-2 1-33-16,5-3 5 0,-2 0 10 16,-3 3-3-16,5-4-17 0,0 1 2 0,-2 1-12 15,-1-2 1-15,3 2 14 0,0-1 5 0,-2 0-16 16,2 0 32-16,1 0-19 0,-4 1 13 0,3 0-28 15,0 1 10-15,-5 1 13 0,8-5-59 16,-6 4 49-16,-2 1-11 0,8-1 8 16,-3 0-22-16,-5 1 24 15,6-1-9-15,-6 1 4 0,0 0-25 0,10 0 8 0,-10 0 2 0,7 0 3 16,-7 0 5 0,0 0 2-16,8 1 6 0,-8-1-13 0,0 0 0 0,0 0-16 0,8 1 3 15,-8-1 13-15,0 0 10 0,0 0-23 0,0 0-21 16,7 0 24-16,-7 0 20 0,0 0-8 15,0 0-7-15,0 0 41 0,8-2-11 0,-8 2-23 16,3-3 16-16,1 1-18 0,-4 2 13 16,6-4-32-16,-4 3 32 0,1-3 18 0,2 3-32 15,-5 1 19-15,5-3-13 0,-5 3 20 16,6-3-45-16,-6 3 14 0,0 0 14 0,10 2 25 0,-10-2-56 16,8 4 38-16,-4-3-36 0,-1 3-7 0,0-2-8 15,1 1-8 1,-1 2-10-16,0-2-38 0,-1-2-8 0,-2-1-39 0,3 6-55 15,0-3-22-15,-3-3-32 16,4 3-26-16,-3-1-46 0,-1-2-41 0,0 0-131 0,0 0-79 16,0 0-420-16,0 0 85 0,12-8 76 0,-9 3 126 15,4 0 49 1,-1-2 107-16</inkml:trace>
  <inkml:trace contextRef="#ctx0" brushRef="#br1" timeOffset="48136.34">16156 1162 1236 0,'0'-7'545'0,"2"3"-10"0,-2 1-143 0,0 3-14 16,0-4-27-16,0 4-31 0,0 0-5 16,0 0 7-16,0 0-25 15,-4 15-36-15,4-4-5 0,0 2-56 0,-1 1 30 0,2 3-58 16,-2 3 10-16,2-1-39 0,1 2-12 0,0 0-1 16,2 2-38-16,-2-2-2 0,2-2-75 0,0 0-28 15,-2-1-48-15,3-2-52 0,-2 0-40 0,-1-3-6 16,0-1-58-16,-1-3-68 0,-1 0-101 15,-3-3-121-15,6 0-455 0,-3-3 130 0,2-1 43 16,-2-2 52-16,0 0 131 0,0 0 9 0</inkml:trace>
  <inkml:trace contextRef="#ctx0" brushRef="#br1" timeOffset="48419.94">15962 1280 1361 0,'0'0'466'0,"0"0"-90"0,0 0 1 16,0 0-19-16,0 0-10 0,0 0-10 0,20-1 49 16,-10 1-34-16,1-2 5 0,3 0-33 0,2-1-28 15,2-1-36-15,3 0-12 16,1 1-52-16,4-2 10 0,-2 0-10 0,1 0-61 0,-2 0-8 16,-2 0 0-16,-1-1-18 0,-2 3-33 15,-3-1-29-15,-4 0-15 0,1 1-84 0,-1 0-15 31,-4 0-88-31,-1 1-46 0,1-1-99 0,-4 2-203 0,-3 0-583 0,0 1 115 0,0 0 84 0,0 0 100 16,0 0 67-16,0 0 69 0,0 0 89 16</inkml:trace>
  <inkml:trace contextRef="#ctx0" brushRef="#br1" timeOffset="48968.18">16556 1139 1451 0,'0'0'422'0,"0"-4"-22"0,0 4-32 16,0 0-38-16,0 0-20 0,0 0-34 0,6 13 1 15,-4-6-36-15,3 3-24 0,0 1-10 16,-2 2-17-16,2 2-31 0,0 1-11 16,-3 1 0-16,4-1-30 0,1 2 3 0,-4-1-37 0,2 2-28 15,0-3-40-15,0 0 37 0,-2-3-4 16,2-1-21-16,0-2 8 0,-2 0 5 0,2-1 0 16,-2-3 20-16,1 0 3 0,-1-2 103 0,0-2 20 15,1 1-24-15,-4-3-12 16,10-3 13-16,-6 0-2 0,3-4-116 0,-2 0 15 15,3-3-10-15,-3-4 31 0,3-2-51 0,0 1 48 16,-4-4-76-16,4-2 22 0,-3 2-30 0,3 0-13 16,0 1-35-16,-1 2-6 0,-2 1-51 15,3 3-6 1,-2 1-60-16,-1 0-11 0,0 5-66 0,0-1-26 0,3 2-62 0,0 3-135 0,-4-1-466 16,4 1-8-16,0 2 147 0,-3-1 45 15,3 1 80-15,2 1 51 16</inkml:trace>
  <inkml:trace contextRef="#ctx0" brushRef="#br1" timeOffset="49677.31">17041 1150 1264 0,'-6'4'471'0,"-4"0"-36"0,2 2-48 0,1 1-21 0,-4-1-49 0,1 3-7 0,0 1-31 16,0 1-49-16,2 2-12 0,-2 0-6 15,3 1-17-15,-2 0-19 0,1 0-20 0,1 0-25 16,2-3-23-16,0 2-16 0,2-2-8 16,1 1 6-16,0-3-39 0,1 0 8 0,1 0-5 15,0-2-21-15,1-2 0 0,-1-1 18 0,2 1-20 16,3-3 20-16,-2 0-35 0,1 0-22 16,-4-2 40-16,11-2 7 0,-6 0 5 0,0 0-23 0,3-3 8 15,-3 2 20-15,2-2-36 16,-1 0 36-16,-1-1-17 0,0 0-4 15,3-3 37-15,-3 0-19 0,0 2-14 0,2-2-1 0,-1 0 0 16,0 2-7-16,0 1-16 16,0-1 16-16,-2 1-19 15,2 1 37-15,-1 0-36 0,0 1 9 0,0 0 4 0,0 1 2 0,-2 3 3 0,-3 0 7 16,10 0-13-16,-10 0-9 0,13 3 14 16,-8 1-20-16,0 2 23 15,3 0-30-15,-2 2 22 0,-2 2 6 0,4 1-8 16,-3-1 2-16,-2 2-15 0,2-1 3 0,0-1-18 15,-2 1 15-15,-1-2 31 0,1 0-28 0,-1-1-42 16,0-2 42-16,-1 1 48 0,1-1-56 0,-2-1 64 31,3-1-28-31,-1 0 56 0,-2-4-7 0,1 4 7 0,-1-4 21 0,0 0-47 0,0 0 3 16,0 0 13-16,0 0-87 0,10-12-13 0,-6 7 28 16,2-2-20-16,-1-1 7 0,0-2 6 31,3 1 10-31,-3-2-44 0,3 1 52 0,-1 1-14 0,1-2-22 15,-1 1 7-15,1 1-38 0,-2 1 10 0,1-1-25 0,1 1-3 0,-3 1-23 0,3 1-26 16,-1 1-10-16,-1 0-12 0,-1 2-16 16,3-1 5-16,-1 3 20 0,-2 0 4 0,-5 1-9 15,10 1 31 1,-10-1-2-16,11 3-1 0,-4 0 39 0,-1 0 8 0,-2 2 10 0,2 1 23 16,-3 1 5-16,1 0-2 0,-1 1 25 0,2 0-13 15,-2 0 26-15,0-1 8 16,-1 1-26-16,0 0 35 15,1 0-40-15,-3-1 8 0,0 1-19 16,0-2-27-16,0 1-26 0,0-1-41 0,0-1-52 0,-3 0-78 0,1 0-136 16,0-1-170-16,-1 1-388 0,0-2 105 0,-2 0 76 15,5-3 106-15,-5 0 63 0,5 0 72 0</inkml:trace>
  <inkml:trace contextRef="#ctx0" brushRef="#br1" timeOffset="49812.23">17325 1244 1282 0,'-2'-10'389'0,"2"4"-33"0,-3 1-49 0,3-2-20 16,0 1-49-16,0 2-46 0,0 1-49 0,0-1-46 16,0 4-99-16,5-5-131 0,-2 3-139 15,-3 2-521-15,7-3 114 0,-4 1 127 0,4 1-32 16</inkml:trace>
  <inkml:trace contextRef="#ctx0" brushRef="#br1" timeOffset="50147.81">17474 1203 1121 0,'-2'7'417'0,"-1"0"3"0,2 2-72 0,-3 0-69 0,1 0-23 16,3 1-28-16,-3 0-16 15,3-2-7-15,-2 2-36 0,2-1-11 0,0 0-1 0,0 0-29 0,0-1-8 16,0-2-18-16,0 1-7 16,2-2-5-16,1-1-6 0,0-1 3 0,1 0-10 15,-4-3-18-15,8-1 74 0,-8 1-3 0,11-3 9 16,-3-2-19-16,-1 2 3 0,-2-3-3 0,3 1 16 15,-3-1-16-15,3 0 0 0,-1 1 1 16,-1 1-1-16,-1 1-46 0,0-1-35 0,-2 1 2 0,1 2 12 16,-4 1 9-16,0 0-6 15,0 0-23-15,6 8-12 0,-6-3 12 0,2 1-2 16,-4 0-31-16,2 1-3 0,-3 0-22 16,3 0-44-16,0 2-19 0,-3-1-42 0,3-1-34 15,0-1-46-15,0-2-33 0,0 2-82 16,0-3-90-16,-2 2-76 0,4-3-456 0,-2-2 143 0,0 0 26 15,6 3 77 1,-6-3 63-16,0 0 80 0</inkml:trace>
  <inkml:trace contextRef="#ctx0" brushRef="#br1" timeOffset="50515.95">17679 1084 1279 0,'0'-5'487'0,"0"1"-19"0,0 2-35 0,0 2-29 16,0 0 3-16,0 0-107 0,0 0-27 0,-5 12 1 15,3-4-43-15,2 0-3 0,-3 2-44 16,0 1-13-16,1 0-22 0,2 1 4 0,-3 1 1 16,3 0-36-16,0 0-26 15,-3 0-5-15,3 0-5 0,0-3-5 0,3-1-19 0,-3 1 9 16,0-2 5-16,5 0-31 0,-2-1 25 16,2-1-15-16,0-2 34 0,3 1 7 0,0-2-36 15,2 0 13-15,0-1-17 0,0-2 53 0,0 3-39 31,1-2 19-31,-1 1 4 0,0-2 14 0,0 3-14 0,-2 1 6 0,0-1-6 0,-1 1-7 16,1 3 62-16,-2-1-129 0,-2 2 90 16,-1-2-51-16,-3 1 15 0,0 0 8 0,0 1-41 15,-5 1 4-15,2-2-14 0,-4 2 12 16,1 0-50-16,-1 0-68 0,1-2 6 0,-1-1-23 16,2 0-16-16,-3-2-86 0,0 1-73 0,3-1-27 0,-2-2-49 31,2-1-134-31,-1-1-142 0,1 0-441 0,3-3 110 0,2 3 100 0,-3-7 103 0,3 2 45 15,2-4 80-15,-1-2 46 0</inkml:trace>
  <inkml:trace contextRef="#ctx0" brushRef="#br1" timeOffset="50890.7">17884 1056 1080 0,'3'-1'481'0,"-3"1"-41"0,0 0-30 15,0 10-1-15,0-2-27 0,0 2-34 0,0 1-8 16,0 4 13-1,0 4-56-15,2 3 31 0,-2 4-13 0,-2 2-34 0,2 1-63 0,0-1 15 16,0 2-118-16,0-1-15 0,-3-3 10 0,3 1-15 16,0-7-21-16,0-2 3 0,2 0 20 15,-2-2-38-15,1-3-21 0,1-4 16 0,1 0 20 0,2-2-7 16,1-3-31-16,1-2-11 0,0-2 32 16,1-3-45-16,4-2 19 0,-3-3-8 0,3-1 16 31,2-2-29-31,-4-2 5 15,3-3-15-15,-3 2 31 0,0 1-29 0,-2 1 6 0,-1 2-10 0,1 1 30 16,-3 0-26-16,0 4-12 0,0 2 38 0,-4 1-33 0,-1 2 31 0,0 0-3 16,2 10 2-16,-4-2-20 0,1 0-23 0,-1 2 52 15,2 0-27-15,-3 1 1 16,3-1-10-16,-2 1-1 0,2-1-2 0,0-4 7 0,0 3 16 16,0-1-59-16,2-3-10 0,-2-1-15 0,3 0-50 15,-1-1-35-15,-1 1-2 16,-1-4-39-16,2 3-26 0,-2-3-33 0,0 0-20 15,0 0-36-15,0 0-144 0,-5 2-473 0,-3-2 23 16,-2 0 82-16,-6 0 69 0,-9 2 103 0,-9 0 30 16</inkml:trace>
  <inkml:trace contextRef="#ctx0" brushRef="#br1" timeOffset="52801.56">12807 2057 1041 0,'-2'5'405'0,"2"2"-121"0,-2-2-46 16,2 2-18-16,0-1-5 0,0 1-18 0,2 1-36 16,0-2-15-16,1-1-10 0,2 2 5 15,-2-4-41-15,5 0 20 0,-1-1 5 0,1 0 42 16,-1-2-44-16,1 0-1 0,2-2-6 15,1 0-32-15,-1-2 21 16,3 1 8-16,-3-2-24 0,3 1 24 0,-3-2 2 0,-2 2 8 16,-1 0 13-16,1 0-1 0,0 1 47 0,-3 1-18 0,0-1 5 15,-2 1-90-15,-3 2 31 0,8 1-38 16,-8-1 7-16,5 6 1 16,-5-1 1-16,0 3 6 0,-3 1-12 0,1 3-14 0,-1 1-5 0,-2 4-7 15,2 1-21-15,-2 0 0 0,2 0 3 16,-1 1-21-16,1-1-22 15,-2 0-40-15,2-1-19 0,-2-2-39 0,3-2-29 0,-1-1-19 16,3-2-42 0,-3 1-58-16,3-3-124 0,0-1-91 0,3-2-439 0,-3-1 75 0,5-3 41 15,-3 3 85-15,-2-4 68 0,11 0 57 16</inkml:trace>
  <inkml:trace contextRef="#ctx0" brushRef="#br1" timeOffset="53080.31">13213 2181 1174 0,'0'0'359'0,"13"-2"-32"0,-6 1-30 0,1 0-48 0,3-1-34 16,-1 2-23-16,2-4-62 16,-1 3-30-16,1 0-80 0,-1 0-81 0,-1 0-146 0,0 0-100 0,-2 1-410 15,-3 1 64-15,2 0 64 0,-7-1 62 0</inkml:trace>
  <inkml:trace contextRef="#ctx0" brushRef="#br1" timeOffset="53254.61">13234 2262 1295 0,'0'0'363'0,"0"0"1"0,0 0-44 0,0 0-31 0,0 0-18 0,0 0-28 0,0 0-33 0,20-2-10 15,-10 0-8-15,0 0-36 0,3-1 5 0,0 1-28 16,2-2-25-16,-2 3-34 0,3-2-20 0,-1 1-59 31,-2 0-54-31,0 0-59 0,-1-1-84 0,-2 3-167 0,1-2-432 0,-1 1 28 16,0 1 105-16,0-2 38 0,1 1 88 15</inkml:trace>
  <inkml:trace contextRef="#ctx0" brushRef="#br1" timeOffset="55590.01">14300 1883 1218 0,'0'0'333'0,"0"0"-16"15,0 0 6-15,0 0-42 0,-5 13-25 16,5-4-5-16,-2 1 38 0,2 4 6 15,2 0-22-15,-4 1-34 0,1 4-14 0,1 0-8 0,-3 1-45 16,3 0 20-16,0 1-21 0,-2-2-38 0,2 0-20 31,0 0 20-31,0-3-30 0,0-1-34 0,0-2 18 0,0 1-18 0,2-4-21 0,-2 2-7 16,0-5 3 0,3 1 5-16,-3 0-26 0,0-3-8 0,1 1 51 0,-1-3-25 0,0-3-2 15,2 3 22-15,-2-3-30 0,0 0 12 16,0 0 4-16,0 0-6 0,0 0-3 0,-8-11-18 15,6 7 9-15,-1-2-1 0,-3 0-13 16,-1 0 0-16,2 0-2 0,-3 1 41 0,4 0 2 16,-4-1-38-16,0 3 28 0,0-1 21 15,0 2-36-15,1 1 10 16,-1 2-8-16,0 1-18 0,-2 1 16 0,2 1-6 0,1 2 16 16,-1-1-25-16,0 0 9 15,4 2-7-15,-2 0 16 0,1 3 4 0,0-1-20 0,2-3-3 0,3 3 3 16,-2-1-15-16,2-1 38 0,2 1-49 15,-1-1 31-15,3 0-26 16,-1 0 1-16,2-4 10 0,1 4-29 0,0-3-7 0,2-1-21 0,0 0-15 16,0-1-33-1,2-2-33-15,-2 0 2 0,2-1-21 0,3-1-30 0,-2-1 0 0,1-1-39 0,0 2-63 16,-3-1-80 0,3-2-95-16,1 0-488 0,-5 3 45 0,2-2 116 0,-2 1 58 15,2-2 65-15,-2 1 71 0</inkml:trace>
  <inkml:trace contextRef="#ctx0" brushRef="#br1" timeOffset="56516.21">14520 2229 1384 0,'0'-3'415'0,"3"-1"-69"0,-1-1-80 0,-2 0-33 0,1 1 7 0,-1-1-22 15,2 0 2-15,-4 1 67 0,4-2-6 16,-4 1-50-16,1 0 19 0,-1 2-35 0,-1-3-10 16,1 1-3-16,1 3-12 0,-3-1-29 0,1 0-23 15,3 3 18 1,-7-3 8-16,7 3-20 0,0 0-42 0,-14 5 34 0,10-1-26 0,-2 1-31 16,1 0-7-16,0 2-24 0,2 1 1 0,-1 0 0 15,0 0-19 1,2-1 4-16,2 2 4 0,0 0 0 0,2-3 3 0,-1 2-15 0,4 0 2 15,0-2-28-15,0 0-2 0,0-2-9 16,3 0 6-16,2-1-56 0,0-1-13 0,1-2-52 16,2 0 11-16,0-4-54 0,1 2-36 0,2-3-33 15,2-1-31-15,-3 0-58 16,1-2-70-16,-1 0-23 0,1-2-12 0,-1-1-52 0,-2 1 0 16,-2 0 164-16,1-2 69 15,-2 1-7-15,-2-2 102 0,0 0 46 0,-3 1 35 0,0 0 88 16,-2 0 59-16,1 2 48 0,-1-1 21 15,-3 1 12-15,3 3 6 0,-1-1 2 0,-2 1 29 0,0 1-21 16,2 2 13-16,-4 1-31 0,2 3 23 16,0 0-26-16,0 0-15 0,0 0-2 0,0 0 20 15,-8 11-13-15,8-4-2 0,-2 2-37 16,0 1 14-16,2 3-28 0,0 1 2 0,0 3 5 16,0 2-26-16,0-1 6 15,4 5-13-15,-4-3-21 16,3 1 6-16,-3 0-16 0,3 2-26 0,-1-3 19 0,0 1-29 15,2-1 1-15,-2-6-6 16,0 0 8-16,-2 0 15 0,3-1 8 0,-3-3 38 0,0 0 16 0,3-3 5 0,-3-1 102 16,0 0-8-16,0-4 21 15,0-2-41-15,0 0 23 0,0 0-43 0,0 0 66 0,0 0-61 16,0 0-26-16,-8-19-10 0,6 7-1 16,2-2-4-16,0-1 2 15,2-5-15-15,3-5 3 0,-2 1-106 0,2 2 26 16,3-1-35-16,0 3 32 0,2 1-9 15,-3 5-9-15,1 0 1 0,2 3 22 0,-2 2-27 0,0 2 51 0,-1 4-29 16,0 0-7-16,1 3 10 0,-2-2 6 16,-6 2-1-1,7 7-3-15,-4-1 22 0,-3-1-29 0,-3 3 12 0,1 1-4 0,-1 1 18 0,-5 1-19 16,1 1 16-16,-1-3 8 0,0 4-28 16,-2-2 7-16,2-2-66 0,0 0-6 15,-2-2-10 1,5 0-48-16,-4-1-54 0,3 1-46 0,1-3-28 0,0-1-67 0,2-1-67 15,3-2-158-15,-5 2-473 0,5-2 114 0,0 0 47 0,0 0 102 16,0 0 113-16,0 0 40 0</inkml:trace>
  <inkml:trace contextRef="#ctx0" brushRef="#br1" timeOffset="57215.96">15010 2250 1100 0,'0'0'392'0,"0"0"-134"16,8-11 32-16,-6 8-32 0,3 0-12 15,-4-2-23-15,4 1 76 0,-3 0-38 16,1-2 10-16,2 1-20 0,-5 0-23 0,3 1-3 15,-3-1-33-15,0 1 46 0,2 0 8 16,-2 4-64-16,0-6-77 0,2 3-5 0,-2 3-31 16,0 0 0-16,0 0-13 0,0 0-2 0,0 0 12 15,0 0-17-15,0 0 2 0,0 0-17 32,0 0 14-32,-7 12-15 0,4-7-4 0,1-2-11 0,2 2 17 0,0 0-22 0,0-1-3 0,-1-1 8 15,1-3 0-15,0 7 10 0,1-3-12 0,-1-4-14 16,0 7-2-16,2-6 0 0,-2-1 21 15,3 3 20-15,-3-3-18 0,0 0 5 0,5 2-20 16,-5-2 17-16,0 0 3 16,10-3 8-16,-10 3-13 0,8-3 8 15,-3 1-16-15,-5 2-2 0,8 0 18 0,-8 0-18 16,8-3 25-16,-8 3-10 0,7 0-20 0,-7 0 17 0,10-2 14 16,-10 2-16-16,8 0 18 0,-8 0-3 0,8 0-2 15,-8 0-5-15,7 2-8 0,-1-1-8 16,-6-1 6-16,5 3 9 0,0-2 16 15,-5-1 8-15,5 1-18 0,-5-1-5 0,5 3 7 16,-5-3 26-16,3 2 8 0,-3-2-34 16,4 2 21-16,-4-2 3 0,6 0-24 0,-6 0 5 15,0 0 9-15,0 0 17 0,0 0 10 16,0 0-10-16,0 0 69 0,0 0-22 0,10-2-19 0,-5 0 8 16,0-2-49-16,-2 2-40 0,2-1-16 15,0 1 0-15,1-1 0 0,1 2 0 0,-2-1 0 16,0 1 0-16,0-1 0 15,1 0 0-15,-6 2 0 0,13 2 0 0,-6 0 0 0,0-2 0 16,-1 2 0-16,-1-1 0 0,2 1 0 0,-1 2-26 16,-3-1-74-16,1-1-64 15,2 1-10-15,-4 0-51 0,1-1-44 0,0 1-48 0,-3-3-75 16,4 6-130-16,-1-4-177 0,0-1-312 16,-3-1 77-16,0 0 128 0,7 1 45 0,-7-1 88 15,7 0 77-15</inkml:trace>
  <inkml:trace contextRef="#ctx0" brushRef="#br1" timeOffset="58476.91">15625 1953 1282 0,'0'0'361'0,"0"0"28"0,-2-2 3 0,2 2-42 0,0 0-45 0,0 11-19 0,0-3-12 15,0 1-20-15,0 2-29 16,0 0-25-16,2 2 10 0,-2 1-44 0,0 2-82 0,2-1-2 16,-1 2-20-16,-1-2 9 0,3 0-7 0,-3-1-7 15,2 0-24-15,1-2 0 0,-1-1-2 16,-2-2 2-16,3 1 1 0,-1-1-14 16,-2-3 1-16,1-1 7 0,-1 0 15 0,0-2-25 15,2 0 15-15,-2-3 8 0,0 0-2 0,0 0 4 16,0 0 16-16,0 0-41 0,0 0 18 0,-18-5-8 15,13 3-10-15,-3-2-15 16,0 3 12-16,1 0-20 0,-4-2 0 0,4 3 15 0,-1 0 8 16,-2 3-3-16,0-2 6 0,2 1-3 0,-3 2-13 15,1 0 7-15,0 0-17 0,2 1 23 16,1 0 8-16,-1 2-26 16,1-2-8-16,1 0 13 0,3-2-5 0,1 2-15 0,0-2 7 0,2 2-5 15,0-5 16 1,0 5 10-16,5-4-16 0,-5-1 6 0,12 2-16 0,-4-4 3 15,2 0-3-15,1-1-7 0,4 0-24 16,-2-2 26-16,-1-1-18 16,6 0 0-16,-2-1 8 0,-3 0-10 0,2 0 12 0,-2-2-4 0,-2 1 7 15,-1-2 15-15,-2 3 8 16,-1-2-18-16,1 2 15 0,-3-1 32 0,0 2-22 0,0 2 9 0,-3-2 9 16,-1 2-10-16,1 0 1 15,-2 0-29 1,0 4 0-16,0 0 0 0,0 0 19 0,-3-4-24 0,3 4 10 0,0 0 18 15,0 0-15-15,0 0-3 0,-9 10 3 0,9-10-10 16,-1 5 12-16,-1-2-2 0,2-3-8 0,0 7 1 0,0-3 9 16,0-4-5-16,3 5 11 15,-3-3 2-15,0-2-2 0,4 6-24 0,-4-6 26 16,6 2 23-16,-4-1-38 0,-2-1 13 0,8 1-13 16,-3 0 12-16,-5-1 6 0,8 0-16 0,-8 0 8 15,13 0-2-15,-8-1 12 16,2 2 0-16,-7-1-18 0,11 1 21 0,-4-1-3 0,-2 1 8 15,1 0-23-15,-1 2-5 0,2-3 18 16,-2 2-8-16,1-1-3 0,-6-1 16 0,10 1-18 16,-5 1 5-16,-5-2 13 0,7 1-3 15,-4 0 5-15,-3-1 13 0,8 0-15 0,-8 0 0 0,7 2 20 16,-7-2 29-16,0 0-21 0,11-3 33 16,-6 2-31-16,-5 1 29 0,5-2-18 15,-5 2 10-15,8-1-28 0,-3 0-1 0,-5 1 6 16,5-2 0-16,-5 2-18 15,8-3-15-15,-8 3-8 0,7-2-15 0,-2 0-42 0,-2 0-9 0,3 0-42 16,-2 0-32-16,2-1 1 0,-1 0-7 16,2-2-15-16,1 1 18 0,-3-3 15 15,1 3-13-15,-2-2 3 0,2 1 20 0,2-3 16 16,-4 2 17-16,2-2 21 0,-2-1 18 0,-1 1 36 16,2-2 28-16,-2-1 10 15,-1 4 13-15,1-3 13 0,-1 3 12 0,-1-2 19 0,-1 3 35 16,2 1-30-16,1 0 7 0,-3 1 3 0,0 0-13 15,0 4 10-15,0 0-28 0,0 0 0 16,0 0-5-16,0 0-8 0,0 13-4 0,2-6 12 16,-2 0-13-16,1 0-8 0,1 4-4 15,-2-2-37-15,2 1-53 16,1-2-15-16,-3 1-60 0,5-1-15 16,-3 1-22-16,1-1-55 0,0-1-122 0,-1-1-67 0,0 0-512 0,-1-1 94 0,-1-1 101 15,0 0 76-15,0-4 47 0,0 5 53 16</inkml:trace>
  <inkml:trace contextRef="#ctx0" brushRef="#br1" timeOffset="58695.9">15879 2106 1180 0,'-5'-2'401'16,"5"2"-35"-16,0 0-35 0,0 0-9 15,0 0-15-15,0 0-20 0,0 0 0 0,23-4-62 0,-13 1 0 16,1 1-25-16,4 0-36 0,-2-2-3 15,3 2-15-15,1-1-59 0,1-2-8 0,-2 2-53 16,-1-1-39-16,1 1-54 0,-2-1-38 16,2-1-133-16,-3-3-176 0,0 6-369 0,-3-1-37 15,0 1 119-15,1-1 53 0,-4 1 57 0</inkml:trace>
  <inkml:trace contextRef="#ctx0" brushRef="#br1" timeOffset="59152.99">16756 1795 1259 0,'0'8'409'0,"2"3"-20"16,-2 2-35-16,4 0-22 0,0 6-42 0,-1-2-19 0,2 5-94 0,0-1-44 15,0-4-5-15,0 4 5 0,1-2-23 16,1-1 64-16,1-3-13 0,-3 2 13 0,3-3-53 15,-3-2-19 1,0-1-7-16,0-1-18 0,1-1 38 0,-2-2-56 0,-1-1 7 0,2-2 65 16,-3-1-37-16,4-2 42 0,-6-1 12 0,0 0 93 15,13-6-28-15,-11 1-24 0,5-1 11 16,-4-2-29-16,3-1-35 0,-2-3 22 0,2-4-47 16,-1 1-19-16,0-2-21 0,0-2 11 15,0 0-69-15,0 1-8 0,1-1-23 16,2 4-64-16,-1 1-43 0,0 0-59 0,3 2-29 15,-2 4-33-15,0 1-68 16,0 0-180 0,-1 5-482-16,1 2 6 0,0 0 123 0,-3 2 38 0,3 2 82 0,0 1 138 0,0-1 29 15</inkml:trace>
  <inkml:trace contextRef="#ctx0" brushRef="#br1" timeOffset="59967.88">17256 1915 1259 0,'-5'-3'409'0,"5"3"-60"0,-6 0-17 0,6 0-40 0,-12 7 20 0,7-4-51 16,-3 1-30-16,3 2 22 16,-3 1-40-16,0 1-29 0,1 1 18 0,-1 1-38 15,3-1-23-15,-2 1-26 0,1 1-5 0,1-2 79 0,0 0-37 31,2-1-22-31,-2 1 34 0,5-2-67 0,0 0-10 0,0-2-10 0,0 0-26 16,3-1 13-16,0 0 28 16,-1-2-15-16,3 2-5 0,0-4-6 0,-5 0-12 0,13 0 2 15,-13 0-30-15,8-2 2 0,0-1 31 0,-1-1-15 16,-2 1-4-16,1-2-32 0,1 0 18 16,-4-1 17-16,2 1-4 0,0-2-4 0,-2 2 35 15,2-1-37-15,-1 0 3 0,-1 2 5 0,0-1 2 16,0 3-15-16,-1-2 8 15,0 1-36-15,1-1 23 0,-3 4 28 0,3-3-15 0,-1 0-20 16,-2 3-14-16,3-2-20 0,-3 2 41 16,7-3-7-16,-7 3-11 0,6-1 18 15,-6 1-36-15,7 0 5 0,-7 0 21 0,8 2 2 0,-2-2 1 16,-6 0-32-16,7 4 9 0,-2-2 17 16,0 1-20-16,-2 2 5 0,1-3 10 0,-1 0 13 15,0 3-11-15,2-1 14 0,-2-2-19 16,-1 3 34-16,1-1-41 0,-1 0 3 0,1-1 40 15,0 0-38-15,-3-3 20 0,2 5 3 0,0-3-15 16,-2-2 13-16,3 5 14 0,-3-5-4 16,3 2-3-16,-3-2 11 0,0 0-11 0,2 3 18 15,-2-3-26 1,0 0-12-16,0 0 28 0,0 0-5 0,8-8 5 0,-3 6-6 0,-2-2-17 16,1 0 20-16,-1-1-22 0,2 3 9 15,-2-1-33-15,2 0 26 0,-2 1 13 0,2-1-52 16,-5 3 49-16,7-1 31 15,-7 1-72-15,8 1 38 0,-8-1-22 0,8 5-3 0,-3-3 23 16,-2 2-8-16,2 0-2 16,-3 0-8-16,3 0 23 0,-2 1-13 0,-1-1 18 0,1 0-110 0,-3 1 18 15,3-2-2-15,-1 1 7 0,-2-1 7 16,2 0 50-16,-2-3-11 0,1 6 23 0,-1-6-15 16,3 3-23-16,-3-3 46 0,0 0 38 0,0 0-33 15,4 0 18-15,-4 0-7 0,0 0-9 16,0 0-17-16,8-7 87 0,-5 4-29 0,-1 0-20 15,4-2 44-15,-2 1-11 16,0 0-20-16,0 0-21 0,2 1-32 0,-2-1-6 0,2 0 0 16,-1 0 0-16,2 2-16 0,-4-1-125 0,2 1-10 15,-5 2-84-15,5-4-34 0,1 2-64 16,-6 2-143 0,7-3-688-16,-4 0 127 0,1 1 77 0,0 0 126 0,-4 2 96 0,4-6 70 0,2 4 54 15,-2-4 102 1</inkml:trace>
  <inkml:trace contextRef="#ctx0" brushRef="#br1" timeOffset="60168.82">17651 1924 1136 0,'0'0'558'0,"0"0"-26"0,0 0-104 0,0 0-29 0,0 0-20 16,-3 13-26-16,3-8-28 0,0 0-30 16,0 4-55-16,0 0-17 0,0-1-8 0,0 2-3 15,0-1-58-15,0 0-52 0,0-1 1 0,0 2-34 16,-2-1-49-16,2-1-2 0,0-2-61 15,0 2-44-15,0-3 13 0,0 0-70 0,0-1-4 16,0 1-34-16,0-5-82 0,0 4-73 0,0-4-63 16,0 3-488-16,0-3 82 0,0 0 84 15,0 0 54-15,0 0 56 0</inkml:trace>
  <inkml:trace contextRef="#ctx0" brushRef="#br1" timeOffset="60369.63">17615 1695 877 0,'0'0'326'0,"0"0"-27"16,0 0-71-16,0 0-59 0,0 0-82 0,-5 6-197 15,5-6-69 1,0 8-456-16,3-1 31 0</inkml:trace>
  <inkml:trace contextRef="#ctx0" brushRef="#br1" timeOffset="60744.99">17815 1877 1246 0,'0'0'463'0,"-3"-5"-53"0,3 5-98 16,0 0-43-1,-8 9-3-15,3-5-33 0,3 2-10 0,-3 0-16 0,2 1-17 0,-2-1-22 0,3 1-1 16,-1-1-37-16,-2 1-12 0,3 0 5 16,-1 0-26-16,2-2-12 0,-1 0-14 15,2 1-14 1,-2-2 20-16,2-1-34 0,2 1 21 0,0 0-31 0,-2-4 3 0,6 3-20 0,-6-3 22 15,8-1-20 1,-8 1 10-16,0 0-13 0,12-2 1 0,-9-2 9 0,3 3 34 0,-2 0-33 16,-4 1 10-16,6-3-3 0,-6 3-25 15,7 0 20-15,-7 0-8 16,7 3-4-16,-7-3 1 16,6 3-27-16,-4 0-5 0,-2-3-41 0,3 5-21 0,0-2-46 0,-3-3-33 0,2 5-44 15,1-3-76-15,-3-2-106 0,2 4-76 16,-2-4-384-16,0 0 33 0,13-4 167 0,-8 2 7 15,1-2 110-15</inkml:trace>
  <inkml:trace contextRef="#ctx0" brushRef="#br1" timeOffset="61125.17">17956 1844 1046 0,'2'-14'325'16,"1"4"42"-16,0 0-4 0,-3 3-28 0,2 1-63 0,-2 2-1 16,2 0-38-16,-2 1-3 0,0 3-17 0,0 0-34 15,0 0-15-15,0 0-3 16,0 0 18-16,0 0-30 0,-7 17 32 0,4-8-45 31,1 0-31-31,-1 2 10 0,-2 1-28 0,3-2 16 0,-1 0-29 0,1 1 21 0,-1-1-24 16,3-1-2-16,0-1-2 15,-1-1-8-15,1-1 10 0,1 1 10 0,-1-3-17 0,3 1-4 16,-1-2 12-16,0 0 78 0,-2-3 8 16,8 0-5-16,-8 0 5 0,11 0 6 15,-4 0-24-15,-2-1-20 0,-5 1 4 0,16 0 17 0,-11 0 1 0,3 0-27 16,0 3-98-16,-1-1-7 0,-2 0 38 15,0 0 28-15,2 3-27 0,-3 1 17 16,0-1-34 0,-3 1 60-16,-1 2 56 0,0 0-36 0,0-1-79 0,0 0-31 0,-3 1 0 0,-2-1 0 15,0 1 0-15,-1 0 0 16,-1-1 0-16,2 0 0 0,-3 1 0 0,0 0 0 0,4-3 0 16,-2 1 0-16,1-3-34 0,0 1-237 0,-2-1-72 15,3-1-62 1,0-1-173-16,4-1-528 0,-6-1 77 0,6 1 97 0,0 0 62 15,3-10 107-15,-3 2 67 0,5 0 59 0</inkml:trace>
  <inkml:trace contextRef="#ctx0" brushRef="#br1" timeOffset="61593.82">18143 1772 1185 0,'0'0'558'0,"0"0"-31"16,5 10-46-16,-5-3-41 0,0 0-12 0,0 3-39 0,-2 0 3 15,2 3-47-15,0 2-45 0,-1 0 9 16,-1 0-40-16,0 5-18 0,-1-2-56 0,2 0-16 16,-1 1-28-16,-3-2-31 0,5-3-36 31,-2 2-35-31,1-3-10 0,-1-1-42 0,2-2-30 0,0 0-11 0,0-1-25 0,2-4 18 16,-1 0-34-16,4-1 24 0,-1-3 5 0,2 1-3 15,-1-2 5-15,-5 0-5 0,16-4 13 16,-6 0 10-16,2-2 3 15,-1-3-16-15,2-2 16 0,-3 0 7 0,0-2 6 0,1 1 2 0,-4-1 0 16,1-1 13-16,-3 4 28 0,0 1 31 16,-1 1 5-16,-3 1-13 0,0 2-3 0,-1 0 6 15,0 5-3-15,-2-3 18 0,2 3 20 0,0 0 16 16,-16 10 31 0,10-4-3-16,1 2 10 0,0 3-18 0,0 0-56 0,0 0 8 15,2-1-13-15,1 1 0 0,-1-1 82 0,3 0-8 0,0 0-31 16,3-1-10-16,-1 1 28 15,1-3-35-15,2 0-21 0,-1-1 5 16,2 0-8-16,-1-2 11 0,1-1-49 0,1 0-2 0,0-2-44 16,-1 1-31-16,2-2-13 0,-8 0-45 0,12-2-27 15,-7 2-47-15,1-3-52 0,-1 2-39 16,-5 1-81-16,7-5-203 0,-4 3-547 16,0-1 74-16,-3 0 174 0,0 3 48 0,0-6 62 0,-3 1 75 15,0 1 81-15</inkml:trace>
  <inkml:trace contextRef="#ctx0" brushRef="#br1" timeOffset="-154064.46">11974 12013 934 0,'0'0'376'0,"3"-6"-18"0,-3 6-102 16,0-3 13-16,0 3-41 0,0 0-5 0,2-3-3 15,-2 3-18-15,3-4 59 0,-3 4-2 16,0 0-19-16,0 0-4 0,0 0-19 16,0 0-27-16,0 0-9 0,0 0-14 0,0 0-16 0,1 11-15 15,-1-6-80-15,-1 3 0 0,-2 2-20 16,1 3 0-16,-1 0 2 0,1 4-22 16,-1 1 30-16,-2 1-21 15,0 0 9-15,2-1-17 0,1 1 17 0,-3 0-32 0,2 0-25 0,-2-1-20 0,2 0-16 16,-1 0-36-16,1-3-30 15,0-2-37-15,1 0-42 0,-1-1-11 0,1-2-118 16,-1-1-36-16,3-1-521 0,-2 0 117 0,2-5 53 16,2 4 80-1,-2-3 23-15</inkml:trace>
  <inkml:trace contextRef="#ctx0" brushRef="#br1" timeOffset="-153531.95">12103 12111 821 0,'0'0'356'0,"-8"8"-23"0,6-5-34 0,1 0-25 16,-1 4-13-16,-1 0-25 0,3 0-39 16,-2 1-26-16,2 1-9 0,-2 0 6 0,4 0-40 0,-2 2 0 15,0-1-15-15,0-1-16 0,2 1-10 16,3-1-18-16,-4-1-17 0,3 2-9 15,2-2 3-15,-2-2-15 0,2-1 5 0,2 0-16 16,-1-2 6-16,1-1-8 0,0-1-8 0,2-1 5 16,-2-3 11-16,2 2-8 0,0-3 95 15,0-1 2-15,-2 0-5 0,2-1-13 0,-2-1-51 16,0-2-2-16,-1 1 9 0,-4-1 24 0,2-1 0 16,-2 1-16-16,-1-1 9 0,-2 2 65 15,0-2-2-15,-2 2 6 0,-1-2 9 16,0 0-48-16,-1 1 2 0,-2 2 3 0,1-1-8 15,-2-1-27-15,-1 2 17 16,0 1-21-16,1 0-30 0,-1 4 38 0,0-2-33 0,0 2-18 16,1 0-5-16,-1 2-49 0,0 0-28 0,-2 1-25 15,2 2-39-15,1 0-23 0,-1 0-48 0,0 2-62 16,0 1-113-16,-4 1-197 16,6-2-416-16,2 2 88 0,1-1 98 0,0-1 105 0,3-1 64 15,0 1 77 1</inkml:trace>
  <inkml:trace contextRef="#ctx0" brushRef="#br1" timeOffset="-153278.3">12334 12019 1108 0,'0'0'453'0,"2"-2"-41"0,-2 2-107 0,0 0-6 0,0 0-35 15,0 0-6 1,8 10-22-16,-8-6-14 0,2 1-32 0,-2 1-16 0,2 1 10 16,-2 1 36-16,0 3-17 0,0-3-42 0,-2 4-23 0,0 0-33 15,-1 0-54-15,3 1-38 0,-3-1 0 16,-1 2-77-16,3-2-8 0,-1-1-58 16,-1 0-83-16,1-1-68 0,2 0-142 0,-1-3-447 15,1 0 84-15,1 2 49 0,-1-3 97 0,0-2 64 16</inkml:trace>
  <inkml:trace contextRef="#ctx0" brushRef="#br1" timeOffset="-152924.98">12574 12045 936 0,'-12'0'292'0,"4"0"-10"0,0 2-3 0,-2 0 30 16,0-1-14-16,-3 4-21 0,0 0-8 0,-4 1-31 16,1 1-9-16,1 1-91 0,-1 1-20 0,1 0 3 15,1-2-20-15,-1 3-4 0,2-2-4 16,3 0-3-16,0 1-15 0,3-1-1 0,-1 0-4 16,0-2-3-16,3 2-8 0,2-1-2 0,0 0 15 15,1-2-13-15,0 0-15 0,2 0-15 16,2 0 20-16,0 1-8 0,1-2 8 0,3-1-2 15,1 1-19-15,0-2 6 0,1 2-3 0,0-2-23 16,2 0 6-16,1 0-27 0,1-1-14 16,-2 0-24-16,-1-1-13 0,1 1-22 31,-2-1-37-31,-1-1-50 0,1 1-91 0,2-3-124 0,-5 2-526 0,3 0 137 0,-8 1 89 16,10-1 94-16,-5 0 29 0</inkml:trace>
  <inkml:trace contextRef="#ctx0" brushRef="#br1" timeOffset="-151220.75">14274 12053 714 0,'0'0'253'0,"0"0"-23"0,0 0-17 16,0 0-13-16,0 0-8 0,0 0-34 15,0 0-20-15,0 0 16 0,11-9-18 0,-11 9-29 16,7-2 3-16,-4 0-15 0,-3 2-3 16,5-2 8-16,-5 2 28 0,0 0 38 0,0 0-7 15,0 0-18-15,0 0-6 0,0 0-17 0,0 0-21 16,-23 4 1-16,15-1-19 0,-2 1-17 0,-1-3 9 15,-1 4-2-15,-1 1-18 0,-3 1 16 16,2-1-8-16,-5 2-13 0,4-2-10 0,0 3 12 16,-1-2-17-16,5-1 10 0,-1 0-20 15,4 0 12-15,0-1-31 0,4 0 4 0,-2-1 6 16,4 0 11-16,2 0-5 0,0-4-20 16,5 7 9-16,0-4 6 0,1 0 26 0,1 0-29 15,3 2 0 1,1-2 5-16,1 0-15 0,-1 0-2 0,1 1 17 0,1-1-4 15,0 2-14-15,0-2 11 0,-1 0-11 0,-1 0 11 0,-3 1 22 16,-1 0 24-16,1 0-8 0,-3 0 34 16,1-1-11-16,-2 2-3 0,-2 0-71 15,-2 1 5-15,-2-1 10 0,0 1 3 0,0 0-8 16,-4 1 6-16,-2 1 4 0,-2 0-7 0,0 0-31 16,-1-1 20-16,-1 2-23 0,-1 0-27 15,0-4-19-15,0 3-51 0,1-3-13 0,1 0-30 16,-1-1-75-16,1 1-76 15,1-3-54-15,2 1-461 0,-2-1 8 0,5 1 166 0,-3-3-13 0,3 2 65 16</inkml:trace>
  <inkml:trace contextRef="#ctx0" brushRef="#br1" timeOffset="-148426.53">11931 12867 929 0,'5'-3'309'16,"-5"3"-19"-16,5-3-27 0,-5 3-32 0,7 0 2 0,-7 0-18 16,8 0-18-1,-2 2 69-15,-2 0-8 0,-1 0-35 0,2 3-13 0,-2 0-36 16,-1 1-23-16,1 1 5 0,-6 1-28 0,3 0 18 0,-2 2-26 15,-1 1-30-15,-2-1 12 16,-2 2-17-16,1-2-13 0,-2 1-3 0,1 1 2 16,-1-1-7-16,0 0-15 0,-1-2 58 0,3 0-96 15,-1-1-22-15,-1-1 55 0,3 0-6 16,-2-1 14-16,1 0-22 0,3-1-9 0,-2 0-1 16,2-2 14-16,1 1-14 0,0-1-15 15,2-3 26-15,0 5-16 0,0-5-15 0,4 3 10 16,-1-1-2-1,2-1 0-15,-5-1-39 0,11 1-41 0,-3 0-12 0,-1-2-26 0,1 1-41 0,2-1-54 16,0 0-53-16,3-1-144 0,-2-1-218 16,4-1-245-16,0 0 95 31,0-2 66-31,1-1 92 0,2 1 92 0</inkml:trace>
  <inkml:trace contextRef="#ctx0" brushRef="#br1" timeOffset="-148137.15">12193 12949 803 0,'0'0'305'15,"0"0"-26"-15,0 0-39 0,-16 6-14 16,13-2-24-16,1 2-5 0,-1-2 3 0,1 2-34 0,-1 2-17 16,3 1-11-16,0-3-15 0,0 3 63 15,2-2-27-15,-1 2 0 0,1-2-8 0,3-1-21 16,-2 1-32-16,2-1 2 0,-2-1-3 0,4 0 31 16,-2-1-31-16,3-1-12 15,-3-2-68-15,3-1 9 0,-1 1 12 0,-1-1 19 16,-6 0 17-16,10-1 85 0,-5-2-1 0,1 0-17 15,-4 0 0-15,3-1-13 16,-2 0-8-16,-3 0-7 16,2-1-21-16,-2 0 10 0,0 1 24 0,0-2-39 0,0 2-21 0,-2-1-2 15,-1 1-7-15,-2 0-6 0,-1 2-61 0,2 0-21 16,-2 1-25-16,-1 0-29 0,-1 1-25 0,8 0-20 16,-15 2-50-16,7-1-58 0,1 0-187 15,-1 1-529-15,2 0 27 0,2-2 131 0,4 0 23 16,-6 2 154-16,6-2 43 0</inkml:trace>
  <inkml:trace contextRef="#ctx0" brushRef="#br1" timeOffset="-147928.72">12359 12887 1062 0,'5'-2'402'0,"-5"2"-44"0,0 0-10 0,0 0-30 0,8 5-22 0,-8 0-11 0,0 0-1 0,2 2-46 0,-4 3-41 15,2 2-23-15,-3 0 5 0,1 2 28 0,-6 1-9 16,3 1-47-16,-1 0-39 0,-1 2-68 16,2-2-29-16,0 1-48 31,-1-3-21-31,-1 1-64 0,4-1-102 0,-2-5-192 0,3 2-479 0,2-3 64 0,0-2 118 0,2 0 46 16,-2-2 85-16</inkml:trace>
  <inkml:trace contextRef="#ctx0" brushRef="#br1" timeOffset="-147582.59">12533 12939 906 0,'-20'5'414'0,"4"0"-4"0,4 1-31 0,-1-1-59 16,0 0 20-16,2 2-107 0,-1 0-23 0,2 0-10 15,0 0-47-15,2 0 6 0,0 0 53 0,3 0 6 16,2 0-59-16,-2 2 33 0,3-3-8 16,0 1 3-16,2-1-47 0,2 0 19 0,3 2-18 15,0-2-13-15,3 2-13 0,2-1 0 16,2-2-23-16,-1 1-10 0,5 0-38 16,-2-2 2-16,-1 2-28 0,5-2-13 0,-5 1-10 0,0-1 7 15,2 0-50-15,-1-2-19 0,-4 1-25 0,-3 0-41 16,6-1-5-16,-5 1 5 0,-3-1-46 15,3-1-113-15,-1 3-64 16,-4-4-105-16,2 3-450 0,0-1 79 16,-2 1 159-16,2-2-3 0,-3 3 44 0</inkml:trace>
  <inkml:trace contextRef="#ctx0" brushRef="#br1" timeOffset="-140640.39">14207 12994 1087 0,'0'0'374'0,"0"0"-36"0,0 0 31 0,0 0 12 16,0-3-56-16,0 3-36 0,0 0-12 15,0 0-103-15,0 0-16 0,-7-4-22 16,7 4-8 0,0 0-8-16,-5-1 6 0,5 1-19 0,0 0-2 0,0 0 13 0,-10 1-28 0,10-1-1 15,-8 2-17-15,8-2-6 0,-5 3-9 16,5-3 4-16,-5 4-12 0,4-2 2 15,-3 3 3-15,4-1 12 0,-3 0 19 16,3 2-42-16,-1 1 14 0,2-1-29 0,-1 0 3 0,3 2 15 16,-3 1 0-16,2 0-8 0,1 2-30 0,2 0 12 15,-3 2-7-15,0-2 82 16,-1 2-6-16,1 0-2 0,-2-1-18 16,0 1 1-16,-3-1-14 0,-1 0-7 0,-2-1 4 15,2 0-32-15,-4 0 30 0,2-1-31 16,-1 0 1-16,-1-2 7 0,0-1-10 0,0 0-8 0,1-1 0 0,0-3-10 15,1 1 0-15,-2-1 3 16,4 0-6-16,-2-1-7 0,6-2-13 0,-7-1 10 0,7 1 3 16,0 0-3-16,-5-6 18 0,5 2-15 15,2-2 0-15,3-1-8 0,-2 0 3 0,4-1 25 16,1-3 5-16,0 0-10 0,2-1-10 16,3-2 26-16,-3 2-3 0,5-4 7 0,-1 0-4 0,-2 1-1 15,3 0 1-15,-1 0 17 16,-2 1-5-16,-2 0-4 0,-2 0 24 0,0 2-14 15,-3 0 35-15,-3 2-46 0,2 0 26 0,0 0-3 16,-4 2-23-16,0 1-15 0,-2 0 43 16,0 1-45-16,-2 1-17 0,-3 1 22 0,2 2-80 15,-3-1-23-15,3 3-26 0,-5 0-66 16,2 0-28-16,-2 3-98 0,2-3-194 0,-2 4-469 0,-1 1-4 16,1 0 153-16,0 1 28 0,5-1 99 15,-5 2 37-15,2 0 100 0</inkml:trace>
  <inkml:trace contextRef="#ctx0" brushRef="#br1" timeOffset="-137169.84">11887 13907 1013 0,'0'-7'361'0,"0"7"-33"0,0 0-11 0,0 0-107 15,6-4-21-15,-6 4-4 0,7-4-14 0,-4 2-17 0,-3 2-8 16,4-3 0-16,-4 3-11 0,3-2-4 0,-3 2 17 16,0 0-33-16,3-3 1 15,-3 3-27-15,0 0 3 0,0 0-17 0,0 0 9 16,0 0-7-16,0 0-13 0,-10 9-18 0,4-7-5 16,2 3-5-1,-2-2 0-15,1 0 5 0,-2 2-11 0,1 0-14 0,1-2 4 0,0 3 11 16,0-2-21-16,-1 2 0 0,2-2 3 0,1 0-8 15,-2 1 0-15,3-1 13 0,2 0-20 16,-1 0-6-16,1 1 18 0,0-5 0 0,1 8-25 16,-1-4 23-16,2 0-24 0,0 1 16 15,4-1-10-15,-2 2 23 0,2-1-8 0,-1 2 5 16,2-2-7-16,-1 4 5 0,-1-2 15 16,0-1 10-16,0 2-8 0,0-1 16 15,-2-1-12 1,2 2 78-16,-2-1 13 0,-1-2-22 0,0 1-24 0,-1 0 3 0,-1 0-70 15,-1 1 6-15,1-2-10 0,-2 3 4 0,0-2 22 16,-1 1-35-16,-2 0 27 0,0 0-16 0,-3 0 0 16,3-1-30-16,-5 1-14 0,2-1-22 0,1 1-29 31,-1-4-17-31,0 2-26 0,0 0-31 0,3-1-44 0,-3-1-63 0,3-1-133 0,0-1-177 16,5-1-256-16,0 0 128 0,0 0 15 0,0 0 82 15</inkml:trace>
  <inkml:trace contextRef="#ctx0" brushRef="#br1" timeOffset="-136778.52">11985 13973 1174 0,'0'0'354'0,"0"0"-42"0,0 0-18 15,0 0-25-15,0 0-10 0,0 0-50 0,0 0-14 16,2 15-23-16,-2-7-11 15,3 1-13-15,-1 1-27 0,1 0-9 0,2 0-9 16,-2 1 68-16,1 0-15 0,2-1-25 0,-3 1-6 16,4 0 26-16,-2-2-36 0,3-1-25 15,-3 0-8-15,6-3 7 0,-4-1-19 0,3-1-14 16,0-1-15-16,1-1 28 16,-1-1-31-16,0-2 11 0,1 0 20 0,-1-3-2 0,0 2-6 15,-3-4-30-15,1 2-21 0,-2 0 18 16,-1-2-5-16,0 0 5 0,-3-2 16 0,1 1-16 0,-3-2-15 15,2 2 12-15,-4 0-12 16,2 0 5-16,-3 2 21 16,-2-2-14-16,2 2-17 0,-4-1-18 0,0 2-6 0,-1 1 9 0,-2 2-19 15,1 0-35-15,-1-1-11 16,0 3-25-16,0 0-13 0,0 3-31 0,-1-1-38 0,3 2-49 16,-2-2-87-16,3 0-115 0,2 1-430 15,-1-1 71-15,2 0 14 0,1 1 114 0,3-3 68 0</inkml:trace>
  <inkml:trace contextRef="#ctx0" brushRef="#br1" timeOffset="-136540.72">12279 13862 1538 0,'6'-2'343'0,"-6"2"-21"0,0 0-12 0,0 0-31 0,8 7-13 16,-6-2 3-16,0 3-54 0,1 1 10 0,-3 3-30 15,0 2-16-15,0 1-2 0,0 4-21 16,-5 0-13-16,3 1-7 0,1 1-44 0,-4 1-8 16,1-1-40-16,0-2-57 0,0-1-25 15,1-1-29-15,0 0-38 0,1-4-36 0,2-1-33 16,0 1-48-16,0-2-155 0,0-8-1 0,2 4-436 16,1-4 33-16,-1 2 95 0,1-3 107 15,2 0 34-15</inkml:trace>
  <inkml:trace contextRef="#ctx0" brushRef="#br1" timeOffset="-136121.25">12552 13933 1100 0,'0'0'359'0,"-6"-3"-47"0,6 3-5 0,-8 0-130 16,8 0-16-16,-12 3-8 0,4 0 11 0,-2 1-20 15,-1 0 19-15,1 2 60 0,0-2-16 16,-5 4-12-16,1-1-16 0,-1 0 3 16,3 1-21-16,-1-2-7 0,2 2-6 0,1 1-25 15,0-1 5-15,2 0 0 0,1-1-33 0,1 2-1 16,-2-2-81-16,4 1 15 0,1-1-7 0,0-1 4 16,1 1 16-16,2 0-10 0,0-2-5 15,5 1-1-15,-2 0-9 0,1 0 2 0,4-1-3 16,-2 1 13-16,1-3-28 0,1 2 33 15,0 0-17-15,2 0-9 0,2-2 9 0,-3 3 2 16,3-2 30-16,-2-2-40 0,0 1 7 16,1 2-17-16,-3-2-8 0,2-1-11 0,-2 2 3 15,0-1-13-15,-1 1-4 0,-2-1-9 0,0 0-7 16,0-2-23-16,-2 2-8 0,2-1-26 16,-2-1-7-16,-3-1 26 0,8 6-24 15,-6-4-25-15,-2-2-3 0,2 5-54 0,-2-5-38 0,3 3-58 16,-3-3-65-16,0 3-207 0,0-3-233 15,0 0 120-15,0 0 5 0,3 4 134 0</inkml:trace>
  <inkml:trace contextRef="#ctx0" brushRef="#br1" timeOffset="-126027.85">13944 13917 1308 0,'-1'-5'389'0,"1"5"-54"0,0 0-25 0,0 0-21 15,0 0-18-15,0 0-17 0,0 0-14 0,0 0-22 16,0 0 56-16,5 11-47 0,-1-4 4 16,-4 2-8-16,2 0-37 0,-2 2-9 0,2 1-18 15,-2 1-47-15,0 1 34 0,0-1-36 0,-2 3-15 16,0-2 0-16,2 1-21 0,-4-1 8 15,2-1-5-15,0-1-34 0,1 0-17 16,-1 0-13-16,-3 0-16 0,5-3-28 0,-2-1 18 16,1-1-43-16,1-1 2 0,-2 2-38 0,-1-3 10 15,3 0-48-15,0-1-16 0,0-4-72 16,-2 5-63-16,2-2-34 16,0-3-61-16,0 0-67 0,0 0-404 0,0 0 120 0,0 0-8 15,0 0 169-15,0 0 36 0</inkml:trace>
  <inkml:trace contextRef="#ctx0" brushRef="#br1" timeOffset="-125543.88">14258 13978 895 0,'0'0'341'0,"0"0"-24"0,0-4-17 15,0 4-16-15,0 0-49 0,0 0 1 0,-14 2-42 0,14-2 9 0,-11 3-34 16,4 0-21-16,1-1-25 0,1 0-16 0,0 2 3 16,-2 0-15-16,-1 0-3 0,2-1-2 0,1 1-11 15,0-1-15-15,2 0-2 16,-1 1-27-16,1 2 22 0,0-2 4 0,3 1-25 15,0-1 0-15,1 2-18 0,1 0 20 0,-2-1-2 16,5 1 10-16,-2-1-15 0,2 2 58 16,0-2-2-16,3 2-15 0,-3-2 15 0,2 1-8 15,-1 0 6-15,-1 0-24 0,0-1 39 16,0 1-115-16,-2-2 35 0,2 1-7 0,0 0 8 16,-5 0 2-16,0 1 18 0,0-1-13 15,0 1-10-15,-3-1 7 0,-2 0 16 0,0 1-38 0,0 1 12 16,-3-2-20-16,-2 1 0 15,2 0-26-15,-2 1-7 0,0-3-54 0,-1 1 15 16,1-1-41-16,0 2 0 0,-2 0-51 0,1-2-71 16,1 0-88-16,0-2-61 0,0 1-481 0,2 0 112 15,-1-2 36-15,2 0 64 32,0 2 70-32</inkml:trace>
  <inkml:trace contextRef="#ctx0" brushRef="#br1" timeOffset="-122912.45">17130 12071 1139 0,'0'0'422'0,"0"0"-100"0,3-5-43 0,-3 5-2 15,0 0-21-15,0-4-10 0,0 4-21 0,0 0-20 16,0 0-16-16,0 0-15 0,0 0-10 16,0 0-23-16,0 0-8 0,0 0 74 0,2 12-23 0,-2-7-20 15,-2 4-18-15,2-3-10 0,-3 6-21 16,3-3 16-16,-2 3-27 0,-1 0-9 0,-2 1-10 15,5-2-11-15,-5 2-2 0,2-1-37 0,-2 0-29 16,3 2-22-16,-4-3-17 0,2 2-26 16,-2-2-18-16,1 1-35 15,0-3-27-15,2 1-127 0,-1 0-128 0,0-2-487 0,2-2 1 16,0 1 107-16,-1-3 56 0,3 0 64 16,0-1 72-16</inkml:trace>
  <inkml:trace contextRef="#ctx0" brushRef="#br1" timeOffset="-122568.39">17330 12132 1046 0,'0'0'420'0,"3"-4"-51"0,-3 4-42 15,0 0-101-15,0 0-19 0,0 0-15 0,0 0-10 16,-13 8-13-16,6-1-36 0,-1-1 5 15,-2 1-18-15,-1 2-20 0,1 1-5 0,0 1-3 16,-3 1-5-16,3 0-5 0,-3 0-8 0,5 0-10 16,1-2 3-16,-1 0-8 0,2-1-3 15,1 1-7-15,0-3 12 0,3 0 6 0,1 0-21 16,-1-1-5-16,2 0-1 0,2 0-4 16,1 0 5-16,0 0 3 0,2 0-8 0,1-2 5 15,1 0-6-15,0 0 1 0,1-1 5 0,2-1-15 16,0 0-3-16,1-1-21 0,-1 1-14 0,3-1-19 15,-3 1-25-15,3-2 7 16,-2 0-23-16,-1 0-33 16,0 0-41-16,0 0-61 0,-2 0-103 0,-1-2-68 0,1 2-483 0,0 0 111 15,2 0 29 1,-5 0 122-16,3-1 53 0</inkml:trace>
  <inkml:trace contextRef="#ctx0" brushRef="#br1" timeOffset="-118301.74">18862 12169 1246 0,'4'-1'343'15,"2"-1"-23"-15,0 1-15 0,0-1-34 16,2 2-5-16,-1 0-20 0,1 0-3 16,2 2-54-16,-2 0-30 0,2 0 23 0,-2 2-36 15,0 1-23-15,-1 1 7 0,-1 0-33 0,1 1 8 16,-4-1-15-16,-1 2-11 0,-2 2 1 16,0-1 7-16,-4 2-23 0,-2 0 10 15,1 0-25-15,-3 0-1 0,-2 2-4 0,0-1 4 0,0-1-14 16,2-2-6-16,-2 1 8 0,2-2-11 0,0 0 14 15,3-1-27-15,-1 0 19 32,0-1 0-32,2-2-8 0,0 1 5 0,1 0-2 15,-2-3-26-15,5 1 2 16,-2 0 32-16,2-3-22 0,0 5 11 0,0-5 3 0,0 0 5 0,4 4 71 0,1-3 13 0,-5-1-33 0,9 1 26 16,-3 0-52-16,0-1 34 0,-6 0-29 0,15 0-17 15,-7 0 4-15,2 0 11 16,-2-1-21-16,2 2-15 0,0-2 13 0,-1 1-33 0,1 0-31 15,-2 0-11-15,-1 1-61 0,1-1-17 16,1 0-22-16,0-1-58 0,-2 0-120 0,1-3-144 16,-1 4-509-16,1-1 64 0,0 1 159 15,-3 0-6-15,5-2 149 0,-2 2 56 0</inkml:trace>
  <inkml:trace contextRef="#ctx0" brushRef="#br1" timeOffset="-117568.27">19302 12212 1410 0,'0'0'392'15,"0"-3"-39"-15,0 3-36 0,0 0-28 0,0 0-25 16,0 0-23-16,0 0-26 0,-8 9-23 0,6-3-23 16,-1-1-16-16,1 2-25 15,-1 1 5-15,1 2-20 0,2 0 2 0,0 0-15 16,0 1-16-16,2 1-12 0,1-1-5 0,-1 0-11 0,5-1-2 16,-4 1-6-16,3-2 3 15,-2-1-10-15,4 0-7 0,0-1 19 0,0-1-19 16,2-3-11-16,0 1 10 0,-1-2 3 0,0-2 18 15,2 1 5-15,-1-2 5 0,0-2-13 16,0 0 10-16,1 0 39 0,-1-4 54 0,0 2-11 16,-5-2-64-16,3-2-28 15,0 1-17-15,-4 0 12 0,0-3 20 0,-2 1-9 0,-2 1-22 16,0-1 12-16,0 1 1 0,-2-1-2 16,-2 2-5-16,-1-3 10 0,-2 3-30 0,2 0 22 0,-3 1-4 15,0-1 4 1,0 4-43-16,1-1 16 0,-4 3-6 0,1-1-31 0,0 0-25 0,0 2-13 15,2-1-33-15,-5 2-13 16,3 2-25-16,0-1-34 0,1 1-31 0,0 0-43 0,-2 1 6 16,4 0-30-16,-3 1-86 15,2-1-5-15,-4 2-115 16,6 0-446-16,1-2 108 0,0 2 89 0,0 0 128 0,0 1 13 0</inkml:trace>
  <inkml:trace contextRef="#ctx0" brushRef="#br1" timeOffset="-116440.14">16968 13088 1471 0,'8'-6'412'0,"0"3"-43"0,0 0 28 0,-1 1-62 0,-1 1-58 16,1-1 17-16,-7 2-102 0,11 0-26 15,-11 0-7-15,5 4 20 0,-3 0-36 0,-2 1-17 16,0 1-13-16,-3 3 7 0,-1 0-23 0,-4 3 69 15,-2 2-20-15,0 0-23 0,-3 3-15 16,0-2 7-16,0 2-8 0,0-1-32 16,0-4 25-16,3 0-21 0,0 0-13 0,3-1 9 15,-1-3-27-15,0-1 6 0,3-1 15 0,0 0-2 16,0-1-11-16,1 1 16 0,2-3-8 16,-2 0 36-16,4 0-13 0,0-3-41 15,4 6 25 1,2-3-7-16,-2-2 0 0,2 1-23 0,4 0-74 0,0-3 15 0,1 1 0 15,1 0-7-15,1-1 19 0,0 2-22 0,0-2-5 16,2-1-57-16,-5 2 3 0,4-1-18 0,-4 0-53 0,2 0-42 16,-2 0-38-1,0 0-92-15,-1 0-172 0,-2-1-494 0,4 2 85 0,-4 0 97 16,-2-2 115-16,3 2 75 0,-3-3-11 0</inkml:trace>
  <inkml:trace contextRef="#ctx0" brushRef="#br1" timeOffset="-115978.59">17374 13143 1254 0,'2'-2'468'0,"-2"2"-38"0,0 0-30 0,0 0-68 0,0 0-35 0,-7 9-28 15,2-3-98-15,-1 0-12 16,-1 3-5-16,-3 2-16 0,-1 0-23 0,-2 1-2 15,-1 4-1-15,-2-3 11 0,5 1-43 0,-4 0-22 16,5-1 14-16,-3 1 5 0,3-3-3 0,2 0-7 16,0-1 12-16,1-1-20 0,1 0 8 15,2-2-3-15,1 0-1 0,0-2-1 0,3 1 7 16,0-1-2-16,3-1 7 0,0 0 21 16,1 1-3-16,4-3-3 0,0 0-15 0,4 0 1 15,2-1-16-15,1 1-16 0,1-2 3 0,-1 0-7 16,3-1-1-16,0 0 0 15,0 0-15-15,2-1 31 0,-2 2-26 16,0-2 11-16,2 0-3 0,-2 1-26 0,-5 1-8 16,3-2 24-16,-1 0-16 0,-7 2-12 15,4-1 14-15,-1 0-1 0,-4 0-32 0,3 0-2 0,-4 1 10 16,-1 0-5-16,2-2-46 0,-7 2-20 0,9 0-6 16,-9 0 8-16,7 0-38 0,-7 0-18 0,8 0-26 15,-8 0-30-15,0 0-24 0,7 0-15 16,-7 0-28-16,0 0-51 15,3 3-49-15,-3-3-26 0,3 1-450 0,-3-1 34 0,4 3 142 16,-4-3 19-16,3 1 55 0</inkml:trace>
  <inkml:trace contextRef="#ctx0" brushRef="#br1" timeOffset="-114102.81">18987 13142 962 0,'0'0'305'0,"0"0"-42"15,0-4 6-15,0 4-26 0,0 0-43 16,9-8-3-16,-8 7-10 0,6-1-16 0,-4-1-15 16,5 1-15-16,0-1-10 0,-1 1-6 0,0 1-28 15,1 0 24-15,1 1-19 0,-1 0-15 16,1 1 3-16,-2 0-13 0,1 2-6 0,0-1 1 15,-3 3 12-15,1 0-35 0,-2 1 69 0,0 0-3 16,-4 3 8-16,0-1-23 16,0 2-11-16,-4-1 1 0,0 2-29 0,-2 1 11 0,1-1-11 15,-2 0-17-15,-1 0 4 16,3-2-12-16,-3 1 5 0,0-1-2 0,3 0-19 0,-2-3 34 16,4 0-46-16,-3 1 20 0,2-1 5 0,1-2-18 15,-2 0-12 1,3 1 5-16,-1-3-6 0,3 1 1 0,0-3 27 0,-3 6-1 15,3-6 6-15,0 4 1 0,0-4 0 0,3 2 13 16,-3-2-31-16,10 2-24 16,-5-2 14-1,-5 0-3-15,13 0 16 0,-7 0-8 0,3 0-11 0,0-2 11 0,-2 1-3 0,1 1 8 0,1-1-3 16,-3 1-9-16,-1 0 1 0,3-2-14 0,-8 2-11 16,10 0 20-16,-5-1-61 15,-5 1-28-15,11 0-28 0,-11 0-26 0,5-1-33 16,-5 1-92-16,8-1-113 0,-8 1-425 15,9-1-73-15,-6-2 121 0,-3 3 78 0,8-2 13 0,-4-1 81 16</inkml:trace>
  <inkml:trace contextRef="#ctx0" brushRef="#br1" timeOffset="-112537.77">18984 13353 1011 0,'0'0'317'0,"0"0"-41"0,0 0 1 0,-2-4-34 0,2 4-38 15,0 0 5-15,0 0-23 0,10-5-6 0,-5 3-40 16,-5 2 8-16,10-1-19 0,-4 1-17 0,-6 0 10 15,17 2-16-15,-9-1-10 0,2 2-2 16,-2 0-18-16,2 1-3 0,0 2 18 0,1 0-15 16,-1 1-21-16,2-2-2 0,-4 3-16 15,2-2 9-15,-2 4 11 0,-2-2-6 0,1 0-9 16,-4 1 3-16,0-1-13 0,-1-1 21 16,-2 1-13-16,0 1-2 0,-2-1-29 0,1 1 26 15,-4-2 0-15,0 1-1 16,-1 1-6-16,-1-4-6 0,2 0 2 0,-3 1-25 0,0-1 92 15,1-2-20-15,-1 1-23 0,-2-3-1 16,2 2-35-16,-2-1-13 0,0-2-15 0,5 2-34 16,-3-2-25-16,-2 0-16 15,10 0-43-15,-13-2-56 0,8 0-95 16,-3-4-100-16,6 4-441 0,-1-1 14 0,0-1 110 0,3 4 61 0,0-7 77 16</inkml:trace>
  <inkml:trace contextRef="#ctx0" brushRef="#br1" timeOffset="-112129.53">19356 13225 783 0,'0'0'309'16,"0"0"-42"-16,-10 9-19 0,7-3 13 0,0 2-59 15,0-1-23-15,-1 4-7 0,1 1-11 0,0 0-20 16,1 0 0-16,0 1-8 0,2 2-41 16,0-1-7-16,0-1 9 0,4 1-12 0,-1-3-26 15,4 3 19-15,-1-1-22 0,4-3-1 16,-1-1-4-16,1-3 6 0,0 0-26 16,4-2 8-16,-5-2 13 0,6-2 33 0,-2-2 66 15,2 0-2-15,-1-2-10 0,2-3 9 0,-2 0-14 16,1-2-3-1,0-1 44 1,-4-1-37-16,-4-2-76 0,1-1 8 0,-2 1 17 0,-4-1-10 0,0 0-30 0,-2 1 7 0,-2 0 21 0,0-3-16 16,-4 4-10-16,1 1 0 0,-3-2-20 15,2 4 15-15,-2-1-16 0,-4 2-32 0,2 2-47 16,0-1-18-16,-1 3-30 0,-1 0-24 16,2 3-25-16,-1 1-38 15,-1 0-100-15,-1 4-146 0,2 0-472 0,-1-1 76 0,2 4 91 0,1-1 23 16,-1 0 154-16</inkml:trace>
</inkml:ink>
</file>

<file path=ppt/ink/ink20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1:12.449"/>
    </inkml:context>
    <inkml:brush xml:id="br0">
      <inkml:brushProperty name="width" value="0.05292" units="cm"/>
      <inkml:brushProperty name="height" value="0.05292" units="cm"/>
      <inkml:brushProperty name="color" value="#0070C0"/>
    </inkml:brush>
  </inkml:definitions>
  <inkml:trace contextRef="#ctx0" brushRef="#br0">5637 2807 1223 0,'-11'0'461'0,"1"-4"-54"0,2 4-57 0,8 0-14 0,-5 2-24 0,5-2-25 0,0 0 5 15,0 0-1-15,26 5-104 0,-6-3-15 16,11-2 86-16,23 1-33 0,10-2-15 0,18 1-18 16,11-2-5-16,4 2-36 0,8-1-77 0,0 1 1 15,6 0-9-15,24-1 8 0,1 2-17 16,-1-1 9-16,0 0-20 0,-28 0-7 16,1 0-16-16,-3 0-28 0,-3 0-29 0,-1 0-30 0,-2 0-35 15,-6 1-40-15,-9-2-9 0,-10 4-44 0,-17-3 3 16,-8 3-44-1,-11-1-90-15,-10 0-10 0,-4-1-565 16,-11 1 48-16,-1-2 126 0,-7 3 12 0,-5-3 67 0</inkml:trace>
  <inkml:trace contextRef="#ctx0" brushRef="#br0" timeOffset="308.51">6042 2900 965 0,'-39'6'312'0,"8"-3"77"16,8 2-46-16,8-1-31 0,7-2-7 0,6 0 7 16,2-2-48-16,20 5-1 0,6-4-12 0,22-2-13 15,27-1-18-15,7-2-48 16,8-1 22-16,7 0-22 0,3 0-16 0,25-4-8 16,6 4-107-16,3 0-15 0,-3 0 25 15,-29 1-10-15,3 1 5 0,-7 1-7 0,4 1-19 16,-2 0-10-16,-3 1 8 0,-4 0-25 0,-6-1-22 15,-8 2 4-15,-17-1-42 0,-5 0 16 16,-6 0-49-16,-8 0-7 16,-9 0 7-16,-6-1-54 0,0 0-53 0,-5 1-80 0,-2-3-22 15,-3-3-34-15,-3 4-484 0,-5 0 38 0,1 2 93 0,-2-3 110 16,0 1 33-16</inkml:trace>
  <inkml:trace contextRef="#ctx0" brushRef="#br0" timeOffset="716.23">8685 1934 1323 0,'0'0'430'16,"36"3"-56"-16,-18-3-16 0,10 0-48 0,8 0-3 15,20-1-38-15,19-3-13 0,7 0-23 0,2 2-39 16,1-1 1-16,-1 0-32 0,1-2-32 16,3 4-29-16,1-3-12 0,-2 3-64 15,-2-1 2-15,-3 0-67 0,-8 0-22 16,-15 1-42-16,0-1-78 0,-5 2-78 0,-21 0-143 0,1 0-473 16,-6 0 61-16,-8 0 110 0,-4-2 74 0,-9 1 49 15</inkml:trace>
  <inkml:trace contextRef="#ctx0" brushRef="#br0" timeOffset="979.65">9116 2022 1141 0,'38'-1'351'0,"-15"1"-16"15,13-2-33-15,15-1-15 0,3 1-18 0,8 0 38 16,17 2-28-16,8-3-41 0,5 3-21 0,1 2-17 15,-1-2-11-15,0 1-20 0,4-1-5 16,-7 2-33-16,4 0-19 0,-6-1 1 0,-3 3-21 0,-6-1-46 16,-17-1 41-16,-5 1-33 0,-2 0-36 15,-5 0 10-15,-14-1-53 0,-6 0 25 16,-6 0-36 0,-5-2-28-16,-2 0-11 0,-4 1 6 0,0 1-56 0,-4-1-59 0,0-1-72 0,-5 2-59 15,-3-2-102-15,2 5-459 0,-2-5 159 16,0 5-17-16,0-5 120 0,-4 4 25 0</inkml:trace>
  <inkml:trace contextRef="#ctx0" brushRef="#br0" timeOffset="7909.49">4191 5310 1174 0,'0'0'520'0,"-4"-3"-64"0,4 3-37 0,0 0-32 16,0 0-52-16,14-1-33 0,-9 0-23 0,5-1-12 15,0 0-55-15,3 1 6 16,1 1-106-16,0-1-15 0,4-2 1 0,-2 1-1 16,1-1-25-16,1 2 4 0,0-3-17 0,-2 1-7 15,0 1 11-15,1-2-22 0,-6 2 3 0,1-1 12 16,-4 2 1-16,0-1-22 0,-5-1 4 15,-1 1 12-15,-2 2-13 0,0 0 14 16,0 0-4-16,0 0-7 0,-28 5 0 0,15-3-33 0,-8 3 5 16,-2 2 10-16,-5 1-3 15,-11 1-12-15,1 3 7 0,-1 0 11 0,4-3-6 0,5-1 1 16,6 0 15-16,6-5-21 0,0 3-7 0,3-1 7 16,4 1-18-16,4-4 3 15,0 3 13-15,3 0-13 0,4 1 10 0,4-1-7 16,3-2-11-16,3 4 24 0,5-3-19 15,1 3 13-15,2-1-15 0,2-1 3 0,1 1 71 0,-1-3 18 16,4 5-36-16,-4-4 16 0,-2 1-24 16,0 1 34-16,-5-3-26 0,-1 1-7 15,1 1 30-15,-5-1 13 0,0 1 10 16,-4-1-38-16,2 2-26 0,-6 0 13 0,0-3 0 0,-6 3 6 16,2 0-37-16,-6 2 18 15,-1 1-5-15,-5-1-7 0,-1-1 7 0,-7 3-8 0,2-2-45 0,-1 0-6 16,-1-2-43-16,1 3-11 0,1-4-19 15,3 0-68 1,-1 0-15-16,2-1-18 0,5 2-40 0,0-3-11 0,0 1-49 0,5-3-163 16,-2 3-14-16,6-3-465 0,1-1 54 15,3 0 105-15,0 0 56 0,0 0 74 0</inkml:trace>
  <inkml:trace contextRef="#ctx0" brushRef="#br0" timeOffset="8230.71">4522 5275 918 0,'27'-6'423'0,"-3"1"71"0,-6 3-33 0,-3 1-37 16,0 2-27-16,-4 0-15 0,1 5-21 0,-3-1-26 0,0 3-89 15,-6 3-11-15,-3 2-12 0,-3 3 99 16,-2 1-81-16,-8 14-18 0,-2 0-1 16,-3-1-14-16,0-4-9 0,2-2-9 15,6-8-29-15,0-1-31 0,2 0-2 0,3-3-10 0,0 0-15 16,0 0 9-16,5-4-22 0,-2 2 12 15,4-4-43-15,0 2 5 0,4-2 15 0,-1 0 8 16,5 0-20-16,3-4-39 0,2 1 21 16,1-2-49-16,2-1-26 0,5-1 16 0,0-3-59 15,0 2-28-15,5-3-11 0,0-1-86 16,-2 1-4-16,-3-1-6 16,-2 2-50-16,-1 0-96 0,-2-1-162 0,-5 3-594 0,-1 2 115 0,-4-1 93 15,-5 1 109-15,-3 0 80 0,0 0 133 0,0 0-12 16</inkml:trace>
  <inkml:trace contextRef="#ctx0" brushRef="#br0" timeOffset="8707.33">3832 5965 1177 0,'2'6'407'0,"1"-1"54"0,7 1-52 0,5 0-17 0,10 1-41 0,6-3-19 0,18 1-55 0,6-1 9 15,16 0-60-15,-7-4-9 16,15-4-12-16,-1 0-39 0,3 0-2 0,-1-4 18 0,-2-2-57 16,-2-1 19-16,1-2-24 0,0-1-30 15,-5-3 7 1,2-4-10-16,-5-3 3 0,-2-2-16 0,-3-4 10 0,-2-2-22 0,-8 0-21 16,-3-6 12-16,-5-1-9 0,-5-3-19 15,-6-6-1-15,-4-5-1 0,-5-6-8 0,-8-5 41 16,-7-6-33-16,-10-5 3 0,-11-5-24 0,-15-20 32 15,-16 6-14-15,-13 2-4 0,-10 6 30 16,-11 13 0-16,-4 11 48 16,-8 12 1-16,-13 10 28 0,-8 13-36 0,13 16 18 0,-7 9 10 15,-34 15-12-15,0 11 7 0,0 15 0 0,0 11-80 16,0 11-17-16,-33 36 10 0,13 7 3 0,14 13-3 16,43-21-13-16,4 5 21 0,10 5-18 0,19-3-24 15,12-7 32-15,18-3-13 0,20-24-32 16,14-1 17-16,10-6 22 15,14-5-5-15,12-7-15 0,12-5-20 16,13-7-27-16,13-4-19 0,8-9-16 0,32-2-39 0,6-6-37 0,5-10-37 16,-20-3-61-16,0-2 2 0,1-8 14 15,-4 1-24-15,-4-2-18 0,-5-1-84 0,-9 2-103 16,-5-2-516-16,-9-2 81 0,-15 4 67 0,-7-1 130 0,-4 1 49 16,-9 3 116-1</inkml:trace>
  <inkml:trace contextRef="#ctx0" brushRef="#br0" timeOffset="18574.03">4137 7055 1842 0,'0'0'533'0,"0"0"-29"0,-19 8-30 16,9 0-29-16,0 7-107 0,-3 3-49 0,-5 9-2 16,3 6-16-16,-1 5 16 0,1 5-44 15,0 7-18-15,2 6-22 0,0-2-4 16,6-9-35-16,1 0-26 0,4 4-15 0,2-4-3 0,2-2-22 15,4-1-24-15,1-5-8 16,6-4-22-16,2-1 7 0,3-3-2 0,3-5-6 16,-1-9-25-16,-1-2 16 0,-1-2 9 0,-1-4-12 15,1-2-13-15,-2-4-26 0,-1-2 28 16,0 1-14-16,-4-4 27 0,1-2-13 16,-2-1 29-16,-2 0 0 0,-2 0 2 15,-4-2-10-15,0 1 10 0,-4-1-2 0,-3 0-19 0,0 0 29 0,-8-1-31 16,0 1-25-16,-2 2-18 0,-5 0 20 0,-1 3-36 15,0-1-15-15,1 3-41 16,-1-1-16-16,3 3-37 16,0 3-22-16,0-1-58 0,0 2-13 0,3 1-53 0,2 0-47 15,0 6-138-15,3 0-143 0,-2-3-418 0,6 4 118 0,1-1 80 16,0-2 97-16,3 1 74 0,2 1 48 16</inkml:trace>
  <inkml:trace contextRef="#ctx0" brushRef="#br0" timeOffset="23265.77">735 5406 1453 0,'0'0'466'16,"-6"-5"-28"-16,1 4-108 0,5 1-7 16,-12 1-37-16,2 1 42 0,-4 7-11 15,-1 0-17-15,-5 4-113 0,-6 9-6 0,1 5 6 16,-1 3-7-16,-3 9-22 0,1 3-12 0,2 0-5 15,8-4-13-15,1 1 5 0,4 0-25 16,2 3-9-16,2-4-27 0,6-1-11 0,-2-6-12 16,5-7-21-16,5-2-20 0,-2-1-8 0,6 0-3 15,0-3-17-15,3 0-29 16,1-4-10-16,2-2-46 0,0-5-2 0,3-1-26 0,1-2-23 16,1-6-3-16,3 1-15 0,5-7 31 0,6-4-19 15,1-1-4-15,-1-5 2 0,1 0-25 0,-2-3 7 16,-1-3 110-16,-1 0 11 15,-4-1-13-15,0-1 7 0,-2 1 47 0,-2 1 12 0,-8 3 41 16,-4 4 29-16,-1 3 17 0,-3 0 34 16,-1 4 22-16,-4 0 3 15,-1 2 6-15,-1 1 27 0,-1 1-22 0,-4 3 7 0,1 0 10 16,-2 3-35-16,6 0 17 0,-18 6-17 0,8-1-11 16,-4 4 11-16,2 1-24 0,-1 2-33 0,-3 3 1 15,4 1-6-15,0-3-15 0,1 0 15 16,1 1-26-16,3-1 13 0,1-1-40 0,1-1-14 15,2-4-2 1,3 1 3-16,0-2-24 0,0 1 27 0,3-3-6 0,0-2-11 0,4-2 14 16,-7 0-8-16,13-2 10 15,-3-5 15 1,1 2-27-16,1-6-1 0,1 1 23 0,0-2-27 0,-1 1 9 16,-1-1 13-16,2 1 3 0,-3-2-5 0,3 5 7 0,-3 1-30 0,0 0 5 0,-1 2 22 15,0 0 14-15,-1 5-18 16,-1 0 35-16,1 0-20 0,0 0 0 0,-3 6-18 0,0-1 3 15,0 2 10-15,-2 1 5 0,0 1 0 16,1-1 3-16,-3 3-11 16,1-4 26-16,1 1-3 0,-3-2 16 0,0 1 30 0,2-1 4 0,-2-1 40 15,0 0-6-15,0-2-14 16,1 1 17-16,-1-4-20 0,0 0-33 16,0 5 5-16,0-5-24 0,0 0 24 0,0 0-18 0,0 0-36 0,-1-19 0 15,3 10-18-15,-1 2-10 0,2-6-64 16,1 1-33-16,2-1-26 0,-3-3-23 15,4 0-46-15,0-2-29 0,1-2 1 0,2 2-26 16,1-4-35 0,-1 0 4-16,6-4-5 0,-1-3 6 0,0 8 35 0,-5-1 28 0,3 4 34 15,-3 4 41-15,-2 1 28 0,1 1 71 16,-2 3 52-16,-2 0 17 0,0 3 34 16,0 4 31-16,-3-1 22 0,-2 3 4 0,0 0 12 0,9 5-5 0,-7 1-11 15,3 3-4-15,-4-1 2 0,1 0 2 16,3 4-4-16,-3 0-3 0,1 0-16 15,2 0-9-15,-3 0-6 0,3 1-20 16,-2-4 5-16,2 1 2 0,-2-1-12 0,0 1-26 0,1-4 51 16,-3 2-13-16,1-2-20 0,-2 1 8 15,0-3-3-15,0 2 0 0,-3-3 3 0,3 2-1 0,-4 0-14 16,-1-1-6-16,2-1-21 0,-3 4 4 0,1-1 2 16,0 0 7-16,0-1-17 15,-2 1-11-15,4 1 3 0,-2-2 30 0,2 0-37 16,1-2 4-16,-1 3-7 0,1-5-9 0,2-1-9 15,0 0 5-15,7 3-3 0,-7-3 26 16,11-9 3-16,-2 3-16 0,4-2 18 16,3-1-26-16,-3-1 1 0,2 2 27 0,0 0 6 0,-1 0-3 15,-2 4 0-15,1 0 23 16,-2-2 11-16,1 5 14 0,-2-2 4 16,-2 1-1-16,0 2 13 0,0 0 0 0,-3 1 23 0,0 0 11 15,-2 3-14-15,-1-1-38 16,1 3-48-16,-6 0-23 0,1 4-37 0,-1-4-55 15,-3 6-60-15,1-3-71 0,0 4-177 0,-2-2-737 0,0 2 131 16,0 2 102-16,0-3 97 16,0 2 82-16,1-4 62 0,-1 2 99 0</inkml:trace>
  <inkml:trace contextRef="#ctx0" brushRef="#br0" timeOffset="23844.66">773 7787 1689 0,'0'0'499'0,"0"0"-23"0,-5 9-18 0,7 1-48 0,-1 3-24 16,3 6-63-16,-2 5-34 0,4 1-7 15,2 7-44-15,-1 5-21 0,1-1-30 0,0-2-38 16,2 1-57-16,-2-1-51 0,2-7-51 0,-2-5-44 16,-1 1-44-16,1-2-91 0,2-2-133 15,-2-3-155-15,0-1-495 0,2-2 114 31,-5-2 55-31,3-4 117 0,-5-1 61 0,2 0 82 0</inkml:trace>
  <inkml:trace contextRef="#ctx0" brushRef="#br0" timeOffset="24126.28">843 8123 980 0,'-11'-23'353'0,"1"-1"-5"0,2 2-20 0,0-2-26 0,4 0 64 0,0 0-26 16,7 3-17-16,-1-2-31 0,6 2-16 0,0 2 6 15,5 0-88-15,2 3-22 16,-2 4 17-16,2 4-22 0,3 3 1 0,-3 5 22 0,3 0-54 15,0 6 12-15,-2 2-35 0,1 7 35 16,-1 1 67-16,-1 12-23 0,-4-3-28 16,-3-1-5-16,-3 2-16 0,-3 1-33 0,-2 3 3 15,-5 9-8-15,-2-2-8 0,-1-1-8 0,-3-2-53 16,1 0-36-16,0-9-46 0,0-4-33 0,-3 1-31 16,3-3-31-16,2-3-54 15,0-3-20-15,0-2-51 16,1-4-159-16,-6-1-174 0,10-2-430 0,1-4 126 0,2 0 40 0,0 0 118 0,0-17 64 15,3 6 77-15</inkml:trace>
  <inkml:trace contextRef="#ctx0" brushRef="#br0" timeOffset="24304.11">1104 8074 1323 0,'8'3'458'0,"-4"2"-102"0,-1-1-8 0,0 2-26 0,-1 2-43 15,0-1 3-15,1 5 2 16,-3 0-25-16,3 1-1 0,-1-1-40 0,-1 0-44 0,0 1-46 15,3 0-49-15,-4-1-69 0,0 0-66 16,2-3-85-16,-1 2-171 0,1-3-479 16,0 0-46-16,1-4 38 0,-1 1 137 0,1-4 60 15,-3-1 34-15</inkml:trace>
  <inkml:trace contextRef="#ctx0" brushRef="#br0" timeOffset="24470.01">1201 7931 1128 0,'-6'-4'423'0,"4"3"-57"0,0-3-69 0,2 4-64 15,-7-3-64-15,7 3-57 0,0 0-94 0,0 0-169 16,0 0-251-16,0 0-304 0,0 0 71 0,14-6 23 16</inkml:trace>
  <inkml:trace contextRef="#ctx0" brushRef="#br0" timeOffset="24719.82">1306 7880 1213 0,'0'8'384'0,"-4"4"43"0,0 1-10 0,0 4-22 0,1 1-119 16,-2 1 8-16,2 0-51 15,1 1-26-15,-1 0-9 0,1-2-29 16,2 1 66-16,1-2-23 0,0-2-35 0,4-3-18 0,0 0-31 16,0 0 7-16,3-5-25 0,-1-1-15 0,4-4-15 15,-1 0-16-15,3-6 10 0,-2 2 0 0,3-7-10 16,0 1-23-16,-1-2 8 0,-1 1 15 15,-2 1 12-15,-2 2 11 16,0 0 18-16,-1 0 21 0,-2 2-3 0,1 2-36 16,-1-1-11-16,-5 3 29 0,0 0-33 0,12 5-5 15,-9-4-14-15,2 3-37 0,1 1-42 0,-3-2-30 0,4 3-41 16,-3 0-70-16,2-1-45 0,1 1-70 0,1-1-161 16,0 0-604-16,2-2 36 15,-2 4 192-15,0-3 44 0,2 1 109 16,-3-2 52-1,1 2 25-15</inkml:trace>
  <inkml:trace contextRef="#ctx0" brushRef="#br0" timeOffset="25372.44">816 9751 1343 0,'-7'3'528'0,"-1"-1"-50"0,-2 3-25 0,-3 3-133 0,0-2-23 16,-2 8-18-16,1 2-38 0,2-1-13 0,2 1-44 16,-1 1-15-16,4-1 0 15,2 0-26-15,2-1-7 0,3-1-36 0,3 1-26 0,2 0 0 0,1-1-2 16,3 1-6-16,2-1 21 16,2-1-17-16,2 3-17 0,0-3 1 0,1-4-8 15,-3 2-5-15,2-3-10 0,-2 1 5 0,-3-2 2 16,-2-1 6-16,-1 0 7 0,1 0 38 15,-3-3-7-15,0 3-8 0,-3 0 6 0,-2 0-11 16,-2 0 8-16,-3 2-6 0,0-2-9 0,-5 3-39 16,-1-2 18-16,-1 1-3 0,-4 2-15 15,1-2-20-15,-1 0-8 0,-2-3-26 16,4 3-20-16,-2-1-21 0,5-2-18 16,1 0-38-16,0 0-17 0,2-3-27 0,1 2-51 0,1-2-10 15,1 1-48-15,2-1-39 16,3-2-72-16,0 0-35 0,0 0-70 0,0 0-373 0,0 0 94 15,0 0 65-15,0 0 102 0,18-5 45 0</inkml:trace>
  <inkml:trace contextRef="#ctx0" brushRef="#br0" timeOffset="26821.5">791 9775 1141 0,'-7'0'509'0,"7"0"-55"0,-11 4-30 0,3-1-27 16,0 6-36-16,1 4-97 0,-3 2-24 0,2 5-17 15,0 4-13-15,1 0 20 0,2 12-40 0,2-4 2 16,3-3-31-16,-3 0-13 0,6 1 11 16,-1-1-44-16,3 6 18 0,3-5-22 0,0-6-14 15,2-1-33-15,0-3-8 0,3-1-15 16,3-2-20-16,-1-3-32 0,3-2-50 15,0-4-21-15,0-1-33 0,-1-3-36 0,1-4-11 0,0-3-17 16,3 0-2 0,-3-2-50-1,5-7 9-15,5-6 24 0,-4-1-19 0,1 0 17 0,-2-5 18 0,-5-1 47 0,1-1 22 16,-7 6 52-16,-2 2 30 0,-2 3 26 16,0-1 69-16,-5 5 10 0,-1 3 52 0,3-1 9 0,-5 0 3 15,0 3 3-15,-3 0-3 0,3 4 8 0,0 2-15 16,0 0-11-16,0 0 13 0,0 0 11 15,-15 12-19-15,10-6-23 16,4 2-9-16,-1 2-9 0,2-1 1 0,0 2-34 0,2-3-3 0,-1 2-9 16,4-1-9-16,3 0-9 15,-1 0-3-15,1-3-13 0,2-2 3 0,1-1 2 0,1-2-10 16,-2-1 20-16,0-1-20 0,-1-1 23 16,1-2-17-16,-1-2 37 0,-2 2 13 0,0-2 16 15,-5 1 2-15,1-2 39 16,-3 1-29-16,-5 0 1 0,2-1 50 0,-2 2-4 0,-3 0 0 15,-2 0-26-15,0 2-6 0,-1 1 22 0,1 1-42 16,-5 1-28-16,4 0 11 0,-1 0-1 0,1 1-12 16,2-1-16-16,1 0-48 0,0 2-29 0,8-2 1 15,-10 0-16 1,10 0-5-16,-6-2 0 0,6 2-21 16,0 0 8-16,8-9 24 0,0 3-9 0,2 1 21 0,3-2 3 0,0 1 10 0,-1 2 12 15,2 0-1-15,-1-1 24 0,1 3 9 16,2-2 4-16,-5 4 11 0,4 0 25 15,0 0-30-15,-2 3 25 0,2-1-15 0,-2-1 5 16,0 4-6-16,0-1 22 0,-2 0-52 16,1 2 28-16,-2 1-51 15,-4-2-5-15,1 2-56 0,-1 0-31 0,-2-1-34 0,1 1-71 0,0 0-107 16,-5 0-228-16,3 0-464 16,-3-4 62-16,1 2 97 0,0-4 89 0,-1-1 42 0,0 0 69 15</inkml:trace>
  <inkml:trace contextRef="#ctx0" brushRef="#br0" timeOffset="27210.02">1306 9906 1162 0,'-11'-5'386'0,"4"2"-4"15,0-1-42-15,1 1-46 0,-1-1-43 16,4 3-56-16,-2-3-67 0,0 3-75 0,5 1-50 16,-5-6-75-16,5 5-86 0,0 1-86 0,0-5-27 15,0 5 5-15,10-6 0 0,-5 0 51 16,5 4 71-16,-1-3 16 0,2 5 100 0,0 0 110 15,2 0 61-15,-3 0 52 0,0 0 35 0,3 4 31 16,-2-2 11-16,-1 5-1 0,1-1 16 16,-2 0-8-16,0 1-10 0,-2 2 4 15,1-1-1-15,-1-1-24 0,1 1-15 0,-4-2-8 16,3 2-35-16,0-4-9 0,-2 2 4 16,2 0-34-16,-1-1 2 0,1-1-30 0,-1 0 21 15,-1-3 81-15,3 1-10 0,0 0-41 0,-1-3 15 16,0-2-10-16,1 2-45 0,0 0 29 0,2-1-45 15,-2 1 18-15,2-2-1 0,-3 3-119 16,2-1 30-16,-1 0-36 16,1-3 3-16,-1 4-11 0,-1 0-32 0,1 0-16 0,-8 0-52 0,11 0-7 15,-3 0-51-15,-1 3-59 0,-2-2-59 16,1 0-69-16,1 0-122 0,-2 3-593 0,0-1 37 16,1 0 130-16,-1-1 59 0,2-2 75 15,-7 0 89-15,13 0 51 0</inkml:trace>
  <inkml:trace contextRef="#ctx0" brushRef="#br0" timeOffset="27876.42">4280 9459 1139 0,'5'-3'471'0,"-2"1"-34"0,2-1-40 16,0 3 2-16,-5 0-15 0,10 0-18 0,-7 5 46 15,2 1-38-15,-3 2 2 0,1 6-22 16,-5 1-40-16,1 5-24 0,-3 4-29 0,1 0-21 16,-5 0-19-16,1 2-24 0,2-4-10 0,0-1-24 15,4-5-53-15,1 2 18 0,1-6 13 16,4 1-21-16,2-6 6 0,6-1-116 0,5-3 23 16,5-6-20-16,16-5-3 0,4-5 3 15,11-6-43-15,5-5-60 0,0-5-48 16,0 1-34-16,-3-1-66 15,-2-3-95-15,0 5-301 0,-3-2-470 0,-2 0 86 0,-5 2 114 0,-3-2 88 16,-2-1 86-16,-7 2 62 0,5-6 69 0</inkml:trace>
</inkml:ink>
</file>

<file path=ppt/ink/ink20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1:43.661"/>
    </inkml:context>
    <inkml:brush xml:id="br0">
      <inkml:brushProperty name="width" value="0.05292" units="cm"/>
      <inkml:brushProperty name="height" value="0.05292" units="cm"/>
      <inkml:brushProperty name="color" value="#0070C0"/>
    </inkml:brush>
  </inkml:definitions>
  <inkml:trace contextRef="#ctx0" brushRef="#br0">1004 2371 1113 0,'0'3'456'0,"0"-3"-19"0,13 5-48 0,4-2-43 0,12-1-13 0,17 3-21 0,23-2-20 15,10 1-36-15,6 0 0 0,7-4-52 16,6 1-22-16,7-2-21 0,26-2 3 0,-23 1-15 16,20-2-31-16,-24 1-34 0,-4-1-5 0,-2 1-15 15,-6 0-41-15,-5 1-28 16,-7-1-28-16,-6 2-34 0,-19 0-30 16,-5 1-13-16,-11 0-87 0,-10 0-39 0,-7 1-50 0,-6-4-42 0,-6 4-581 15,-5 1 75-15,-3 0 135 16,-2-2 23-16,-10 8 60 0</inkml:trace>
  <inkml:trace contextRef="#ctx0" brushRef="#br0" timeOffset="280.05">791 2614 1059 0,'-16'2'359'0,"12"-2"-32"0,4 0-38 0,0 0 8 16,0 0-20-16,53-5-11 0,-10 1 72 15,14 1-26-15,17-4-135 0,14 0 17 16,9-1-25-16,3-2-30 0,23-2-19 16,3-1 3-16,2-1-29 0,0 2 4 0,-5 0-16 0,-26 3-3 15,1 0-30-15,-3 1 12 0,-8 3-2 16,-5 2-36-16,-7-2-15 0,-17 2-11 0,-4 3-25 16,-7 0-41-16,-9 0-16 0,-5 2-30 0,-7 1-23 15,-3 2-59-15,-3-1-174 16,-4 4-185-16,-1-1-319 0,-5 0 102 0,-2 2 100 15,-3-2 66-15</inkml:trace>
  <inkml:trace contextRef="#ctx0" brushRef="#br0" timeOffset="1734.03">8667 2563 962 0,'0'0'305'16,"0"0"-1"-16,0 0-53 0,30 3 18 0,-6 0-39 15,9-3 8-15,18 0-36 0,24 1 67 16,17-2-23-16,5-3-16 0,7 2-33 15,28-1 29-15,7-1-155 0,2 1-2 16,0 0-17-16,-3-3 1 0,-4 0-17 0,2 0-33 16,-8 2-11-16,-26-2-15 0,-7 1-8 0,-5 0-30 15,-5 1-8-15,-6-2-54 0,-7 1-69 0,-19 3-31 16,-6-2-53-16,-16 1-39 0,-5 3-499 16,-9 0 133-16,-9 0 5 0,-8 0 59 0</inkml:trace>
  <inkml:trace contextRef="#ctx0" brushRef="#br0" timeOffset="2006.84">8449 2925 1123 0,'3'-6'251'15,"9"1"-21"-15,9-2 19 16,20-4-29-16,20-2-5 0,11-1-26 0,11-5 1 0,39-3 27 15,7 1-12 1,1 0 5-16,4 1-44 0,9 0-107 16,3 3 38-16,-2 1-45 0,-3 0-1 0,-5 7 3 0,-3-1-6 0,-2 2-12 15,-34 3 0-15,1 4-26 0,-11-1-5 0,-10 2-2 16,-15 0-42-16,-9 1 14 0,-4-1-24 16,-13 2-38-16,-10 2-48 0,-4-2-6 0,-6-1-56 0,-3 3-90 15,-3 1-100-15,0 2-378 16,-4-4 38-16,-4 2 115 0</inkml:trace>
  <inkml:trace contextRef="#ctx0" brushRef="#br0" timeOffset="4934.99">1865 5063 1095 0,'-18'-4'420'0,"5"3"-23"0,1 0 4 0,4 0-58 16,0 0-15-16,3-2-34 0,-2 3-20 0,7 0-33 15,0 0-26-15,0 0-8 0,0 0-22 16,0 0-96-16,22 5 11 0,-4-5-8 16,13 1-12-16,18 3-4 0,7-3-1 0,3 1-6 0,18 2-5 15,2-2-18-15,4-2 71 0,2-1-9 16,-1 0-36-16,1 0-8 0,-3-2-16 16,0 0-45-1,-3-1-39-15,0 1-15 0,-9-2-18 16,-14 1-31-16,-4 2 5 0,-4-3-33 0,-2 4-31 0,-10 1-63 0,-10 0-93 15,-6-1-92-15,-2 2-502 0,-2 0 116 0,-9 1 56 16,-1 1 79-16,-1-1 31 0</inkml:trace>
  <inkml:trace contextRef="#ctx0" brushRef="#br0" timeOffset="5169.59">1781 5269 1103 0,'-5'2'371'0,"5"-2"-33"0,0 0-18 0,0 0-11 0,25-2-14 0,-7 2-44 15,5-1-6-15,26-3-1 16,7 3-60-16,19-3 16 0,4 1-34 0,3-1-15 16,2 2-31-16,4-4 8 0,0 0-5 0,-2-1-3 0,-1 1-25 15,-1-1-21-15,-5 0-28 16,-6-2-28-16,-17 6 5 15,-2 0-61-15,-10-1-41 0,-4 1-26 0,-11 3-108 0,-8 2-145 0,1-2-571 16,-4 1 107-16,-5 1 72 16,-3-2 97-16,0 0 39 0</inkml:trace>
  <inkml:trace contextRef="#ctx0" brushRef="#br0" timeOffset="7544.49">18151 1988 1123 0,'0'0'346'0,"0"0"-29"0,0 0-35 0,0 0-31 16,0 0-13-16,0-5-21 0,0 5-25 16,7-1-13-16,-1-1-10 0,1 2 59 0,1-1-8 15,-1 0-43-15,2 0 10 0,1 0-23 16,0 0-16-16,0-1-25 0,-2 1 13 0,0 0-34 16,-1 0-2-16,-1 1 23 0,1-1-24 0,-7 1 4 15,5-3-3-15,-5 3-1 16,0 0-27-16,0 0-10 0,0 0 9 0,-23 4-9 15,13-2-6-15,-6 2-28 0,-2 0 28 0,1 2-25 16,-4-2-5-16,1 2 38 0,-1 1-41 0,4-2 0 16,-2-1-5-16,1 1 7 0,6 0-17 15,-1-1 10 1,0-1-3-16,5 1-12 16,1-1-6-16,-1 1-2 0,5-2 26 0,0 2-19 0,1 0-9 0,2 0 30 0,2 0-21 0,-2-4-22 15,8 6 38-15,0-1-13 0,0-1-5 0,2 1-18 16,0 1 36-16,1-1-36 0,1 1 25 15,1 0-83-15,2 0-6 0,-4 1 15 16,-1-1 13-16,0-1 24 16,2 2 2-16,-6-3 5 0,2 0 20 0,-3 2-20 0,0-1 13 0,-2 0 23 15,-1-2 2-15,0 2 5 0,-4-2-12 0,0 2 18 16,-1 0-3-16,-4 0-13 0,-2-1 18 0,-1 1-46 16,-5 1 39-16,2-1-34 0,-5 1-10 15,0-1-34-15,0 1-17 16,-5 1-28-16,6-1-24 0,-2-1-9 0,1 1-42 0,0 1-17 15,3-3-70-15,2 2-123 0,3-1-155 16,2-1-346-16,0-2 104 0,3 0 50 0,1 0 132 16,4-2 75-16</inkml:trace>
  <inkml:trace contextRef="#ctx0" brushRef="#br0" timeOffset="7836.13">18472 2050 1126 0,'10'0'368'0,"-3"1"-25"0,1 1-5 0,-6 2-18 0,-2-1-72 16,0 1-22-1,-2 1 25-15,-1 2-1 0,-4-1 22 0,-1 3 27 0,0 0-125 16,-5 1-12-16,3 1-4 0,3-2-9 0,-4 0-26 16,6-1 2-16,0 1-17 15,0-1-21-15,3-2-3 0,2 0-5 0,2-1-4 0,3 0 4 16,2 0-15-16,4-1 5 0,4-3-13 0,0 1-38 15,6 0-20-15,2-1-42 16,2 0-4-16,-4 0-34 16,5-2-26-16,-3 2-71 0,0-2-21 0,-2 1-89 0,-4-1-120 15,-1 3-531-15,-1-2 70 0,-4 2 128 0,-1-2 63 0,-5 0 57 16</inkml:trace>
  <inkml:trace contextRef="#ctx0" brushRef="#br0" timeOffset="8464.59">18341 2428 1005 0,'0'0'402'0,"25"-6"-38"0,-12 3-16 0,5-2-8 16,2-2-32-16,6 0-127 0,10-4 16 16,0-2-46-16,0 0 3 15,-1 0-21-15,-1 0 16 0,2-3 53 0,0 2-26 0,-5-3-71 16,2-2 0-16,0 1-36 0,-2-3-5 0,-3-2 11 15,-2 0-24-15,-1-4-5 0,1-3-18 16,-8-4 5-16,0-6 8 0,0-11-31 0,-5-4 14 16,-3-4-9-16,-5-2-15 0,-7 13-8 15,-9-8 6-15,-7 2 9 16,-4 7-9-16,-12 5 7 0,-4 6 8 0,-11 5 5 0,-8 7-8 16,-9 6 8-16,-6 5-13 0,-8 8 8 15,-2 4-1-15,-7 8 1 0,-1 4 5 0,-25 11 8 16,5 7-3-16,4 8-28 0,6 3 15 0,8 9 10 0,7 1 14 15,9 8-4-15,21-12-14 0,7 4 38 16,7-1-31-16,10 0 23 16,10-1-46-16,14-8 28 0,7-7-3 0,7 3-4 0,9 0 38 15,7-3-13-15,10 2-33 0,8-3 28 0,5-3-3 16,5-3-23-16,6-4 8 0,2-3-2 0,3-4 10 16,-1-3 22-16,-7-5-25 0,-2 0 3 15,-1-4 13-15,0-1-6 16,-12 0-2-16,-4-2 25 0,-4 0-15 15,-5 0 29-15,-1 0-16 0,-2-4 12 0,-4 4-12 0,-4-1 18 16,2 0 12-16,-6 0-30 0,2-1 31 0,-3 1-18 0,0-1 12 16,-2 2-2-16,0-2-13 0,-1 1-18 15,-2 0 8-15,1 1-15 0,-6 0-1 0,10-1-25 16,-7 0 3-16,-3 1 7 16,9-1-33-16,-9 1 23 0,6-2-42 0,-6 2 7 0,0 0 11 15,5-2-24-15,-5 2-6 0,0 0 15 0,5-2-9 16,-5 2-11-16,0 0-31 0,0 0-25 15,0 0 30-15,0 0-45 0,0 0-16 0,0 0-23 16,0 0-29-16,0 0-40 0,-10-6 3 0,10 6-42 16,-8-2-43-16,3 2-118 15,5 0-45-15,-8-1-426 0,8 1 138 0,-7-2-15 16,7 2 67-16,-3-2 76 0</inkml:trace>
  <inkml:trace contextRef="#ctx0" brushRef="#br0" timeOffset="17246.28">1839 6474 1297 0,'-13'0'464'0,"3"-1"-22"0,3 1-65 16,1 0-32-16,6 0-32 0,-8-2-45 16,8 2-12-16,0 0-13 0,0 0-30 15,0 0 91-15,21 3-45 0,-5-3-18 0,7-1-19 16,7-1-2-16,4 1-46 0,14 0 13 0,-1 1-38 16,2-1-8-16,0 1-31 0,2-1 0 15,-2-2-3-15,2 3-40 0,0-1-24 0,-3 1 16 16,1-4-28-16,0 3-31 0,-3-1-26 0,-8-2 16 15,-7 3-18-15,0 0-46 0,-5 0-11 16,-1-3 6-16,-7 4-21 16,0 0 21-16,-3-2-47 0,-4 1-4 0,-4-1 15 15,-4 2 7-15,-3 0-10 0,0 0 21 0,0 0 30 0,0 0 6 0,-28 3-23 16,4-1 12-16,-8 3 13 0,-15 1-8 16,-6 2 29-16,-19 3 5 15,-6-3 7-15,-3 4 8 0,1-2 8 16,-1 5 15-16,1 2-13 0,0-2 49 0,6 1 16 0,7-3 30 15,16-5 20-15,7 3-25 0,11-5 13 16,10-3-29-16,5 2-9 0,5-1 4 0,6-3-7 0,6 1 12 16,1-2-19-16,11 4 14 0,7-3 3 0,7-1-23 15,19-3-5-15,15-1 5 0,20-1-8 16,4-1 3-16,3-2-21 16,2-3 3-16,-1 3-5 0,0-3 10 0,-2 3 8 0,-1-2-19 15,-4 2-14-15,-4 1 33 0,-4 0-42 0,-15 2-12 0,-6 0-12 16,-4 2-22-16,-9 0-17 0,-10 2 0 15,-7 0 17-15,-3-1-12 0,-6 2-7 16,-2 2-24-16,-4-2-5 0,-4 2 2 16,-2-2-37-16,0 0-34 0,-13 6-59 0,1-3-69 15,-6 1-36-15,-8 5-74 0,-17 0-18 0,4 4-379 16,-5 3 56-16,-2-2 129 0,-8 4 2 0,-2 0 64 16</inkml:trace>
  <inkml:trace contextRef="#ctx0" brushRef="#br0" timeOffset="19132.66">21640 1897 1146 0,'0'-3'366'0,"-1"-1"-20"0,1 4-39 15,0 0-2-15,-6 10-16 0,3 1 23 0,0 8 41 16,1 8-5-16,-1 17-115 0,-2 16 3 15,2 11-1-15,-2 12-22 0,-2 31 10 16,-1 11 40 0,-2 8-17-16,0 5-18 0,-8 6-47 0,2 8 6 0,-7 0-5 0,0 2-51 0,-5 9-14 15,-1-7-27-15,-2-2-54 0,-1-4-67 0,1-10-25 16,-3-4-49-16,6-9-31 0,1-11-25 0,3-13-46 16,3-28-29-16,8-7-58 0,-1-3-42 0,6-21-135 15,0 1-463-15,3-6 115 16,0-8 43-16,0-12 42 0,5-5 119 15,-3-5 52-15</inkml:trace>
  <inkml:trace contextRef="#ctx0" brushRef="#br0" timeOffset="20305.46">21627 1767 883 0,'-6'3'358'0,"6"-3"-2"0,0 0-8 0,0 0-23 16,9 8-20-16,-2-6-19 0,9 0 19 15,12 0-54-15,16 1-8 0,7-3 10 0,8 2-89 16,21-4 56-16,11 2-38 0,9-1-13 0,3-1 28 16,28-1-38-16,3 0-29 0,4-3-2 15,0 3 16-15,-4-4-11 16,-3 2-31-16,-3 0-10 0,-24-1 0 0,2 2-10 16,-6 0-5-16,-8 1 5 0,-4-1-3 0,-9 1-25 15,-17 3-8-15,-5 0-20 0,-6 3 10 0,-11-2 20 16,-9 2-13-16,0 0-17 0,-3 3 23 0,-7 0-31 0,-1 2 5 15,-1 5 0-15,-1 0 0 0,-4 6 23 16,-2 0 0 0,1 12-26-16,-2 1 34 0,-1 0-10 0,-7-2-29 15,2 8 5-15,0 3 24 0,-4 2 17 0,0 2-27 0,0 3 4 0,-1 4-10 16,0 16 26-16,0 1-3 0,-1 6-112 0,0 2 2 16,1 4 26-16,-1 0 22 0,-1 4 6 15,4-2-10 1,0 0 28-16,1 2-13 0,3-1-18 0,3 2 20 15,0-5 6-15,1-1-16 0,-3-4 16 0,3 0 0 0,2-5-29 0,-3-1 26 16,1-4-35-16,1-1-9 0,-1-7-15 0,-5-10 11 16,2-2-1-16,-2-4-20 0,-1-2 18 15,0-8-2-15,-2-4-19 0,-4-6 44 0,2 0-18 16,-2-2-2 0,0-2 4-16,0 0 21 0,-2 0 0 0,1-5-10 0,-2-3 3 15,0 1 2-15,-2-1-3 0,-1-1 11 16,0-3 20-16,-3 2-18 0,-1 0 23 0,-1-4-10 0,-2 3 13 0,-2 1 15 15,-4-4-2-15,-5 5-3 16,-11-1 13-16,-4 3-1 0,-4-3 17 0,-2 2-27 0,-16-1 3 16,0 3 1-16,-4-1 6 15,-6 1-17-15,1-3 0 0,-5 1-5 0,-5-1-3 16,-2 0 13-16,-8-2 5 0,2 1-2 0,-3 2 15 16,-28 3-5-16,-3-3 10 0,0 1-18 0,1 2 21 15,5 3-42-15,0-2 29 0,0 0 8 0,23-2 4 16,8 0-14-16,0 0 1 0,10-2 83 15,0-1 15-15,10-3-125 16,13 0 20-16,3-1 5 0,6-2 8 16,6 1-12-16,10-3-4 0,4 4-7 0,1-5 26 0,2 2-27 0,4 1 22 0,3-2-14 15,1-1-9-15,2 1-8 16,1 0 20-16,1-1-16 0,0 2 12 0,2 0-19 0,-2-1 10 16,2-1-12-1,3 1-9-15,-2-1-11 0,-1 3-1 16,3-2 15-16,1 0-5 0,-2 1-7 0,0 2 10 0,1-3-3 0,-2 0 6 15,4 3-6-15,-2-3 8 0,0 3 5 0,0-3-2 16,0 1-6-16,5-2-10 0,-6 4 0 0,2-3 31 16,4-1-20-16,-8 2 2 0,8-2-5 15,-8 3 7-15,6-2-12 0,-4 0 15 0,6-1-10 16,0 0 15-16,-7 2-10 0,7-2-15 16,-6 2-21-16,6-2-7 0,0 0-21 0,0 0-41 0,-10-4 0 15,10 4-64-15,-2-5-23 0,2 3-41 16,-3-5-23-16,6 1-41 0,-1-4-79 0,2-3-52 15,0-2-578-15,4-6 62 0,-1 0 107 0,7-16 94 16,-2 0 52-16,0-3 82 16</inkml:trace>
  <inkml:trace contextRef="#ctx0" brushRef="#br0" timeOffset="20954.99">21884 2089 1195 0,'0'0'389'0,"0"0"-26"0,0 0 3 0,0 0-40 0,0 12-42 16,-2-6 66-16,1 3-25 0,-4 3-51 0,2 0-23 15,-4 2-28-15,2 2-18 0,-1-1-16 16,-2 2-12-16,1-2-42 0,0 1-30 0,-1 1-48 15,0-2-37-15,0 0-63 0,3-1 2 16,0-2-87-16,0-1-82 0,0 0-105 0,2-1-169 16,1-3-363-16,2 0 25 0,2-1 95 0,1-2 64 15,2-2 59-15</inkml:trace>
  <inkml:trace contextRef="#ctx0" brushRef="#br0" timeOffset="21250.49">22122 2147 931 0,'-7'-1'348'0,"-2"2"-5"16,-3-1 5-16,-8 4-56 15,-6 3-18-15,-10 4-26 0,-2 2-15 0,4 0-18 0,0 1 0 16,8-2-30-16,4-2-4 0,1 0-7 0,3 0-38 16,5-1-5-16,-1 0-6 15,4-2-7-15,1 1-8 0,2-2-3 0,2 1 1 0,2 0-3 16,1-2-3-16,4 2-22 0,1-1-11 15,2 0 8-15,3-2-8 0,2 1-10 16,0-1 10-16,3 0-26 0,2-1 1 0,0 1-49 16,-2-2-8-16,3-1-8 0,-1 2-22 15,-2-2-14-15,-1 0-7 0,1 1-43 0,-2-1-3 16,-1-1-10-16,0 1-52 0,1 0-25 16,-1-1-67-1,-3 2-68-15,-1-2-81 0,2 2-403 0,-3-1 17 0,0 1 136 0,0-2 41 0,0 4 54 16</inkml:trace>
  <inkml:trace contextRef="#ctx0" brushRef="#br0" timeOffset="22093.23">23635 3841 1067 0,'0'0'404'0,"0"0"-15"0,0 0-33 0,0 0-3 15,0 0-22-15,0 0-4 0,-2 21 39 16,2-8-28-16,-1 2 0 0,0 3-59 16,-5 1-8-16,5 1-22 0,-4 5-29 15,1-1-18-15,1-1-15 0,-3 1-16 0,-1-3-38 0,4-2-20 16,-1-1-31-16,-4 0-49 0,2-2-12 15,2-2-49-15,-2-1-29 0,3-3-30 0,-1 1-20 16,0-1-39-16,0-2-59 0,1-3-125 16,1-1-174-16,1 0-454 0,1-4 106 0,0 0 33 15,6 2 105-15,-6-2 117 0,0 0 67 0</inkml:trace>
  <inkml:trace contextRef="#ctx0" brushRef="#br0" timeOffset="22370.95">23878 3935 1484 0,'-13'0'489'0,"5"2"-41"15,-6 1-118-15,-2 1 5 16,1 2-48-16,-5 0-33 0,2 1-9 0,1 1-9 0,0 2-31 16,0-2 2-16,1 0-30 0,5 2 4 0,-1 1-12 15,2-4-23-15,4 2 0 16,-1 1-26-16,3-2-15 0,2 2 10 0,0-3-22 15,4 1 1-15,0 0 1 0,2 0 13 0,1-1-39 16,3-1 18-16,-1 1-18 0,6-1-36 16,-2 0-7-16,1-3-16 0,3 2-69 0,-2-1 0 15,3-1-7-15,-3 1-37 0,-1-4-7 16,1 3-33-16,-3 0-8 16,3-2-10-16,-4 0-62 0,0 3-15 0,-4-2-105 0,0-1-85 0,-5 3-63 15,7-2-346-15,-6 2 23 0,2-2 176 16,-1 2 11-16,-2-4 59 0</inkml:trace>
  <inkml:trace contextRef="#ctx0" brushRef="#br0" timeOffset="24444.04">22209 2335 757 0,'0'0'254'15,"3"2"9"-15,-3-2 57 0,2 3-36 16,-2-3-2-16,1 4-13 0,-1-4-6 0,0 0-14 0,2 2-22 16,-2-2-30-16,2 4 26 0,-2-4-113 15,0 0-7-15,3 4-1 0,-3-4-7 16,0 0-16-16,3 3 16 0,-3-3-3 0,0 0-15 15,0 0 0-15,0 3-19 0,0-3 1 0,0 0 33 16,2 3-35-16,-2-3 12 0,0 0 8 16,0 0 25-16,0 0-58 0,0 0 20 0,0 0-3 15,0 0 11-15,0 0 63 0,0 0-25 0,-2-15 3 16,0 12-11-16,2-3-4 0,-4-1-6 16,2 0-5-16,0-1-41 0,2 0 31 15,-1-3-90-15,0 0 5 0,2 1-10 0,-2-1-2 0,3-1 2 31,0 1 13-15,-2 2-13-16,5-2-3 0,0 1 32 0,0 2-22 0,-2 3 22 0,2-1-19 0,2 1-10 0,-1 1 15 0,-3 1-7 16,5 2 20-16,-4 1-15 0,-4 0 0 0,13 1-15 15,-8 2 22-15,1-1-2 0,1 2 8 16,-4 0-21-16,2-2 29 0,0 2-29 0,-2 0 49 16,-1-1-42-16,3-1 6 0,-4 1-7 15,1-1 20-15,3 2-3 0,-5-4-23 0,3 3 33 16,-3-3-4-16,0 0-24 0,6 1 21 15,-6-1-13-15,0 0-10 0,0 0 15 16,9-8 13-16,-4 5-31 0,0-2 3 0,2-1 7 0,2-1-22 0,-2-1 25 16,6 0-11-16,0 1-1 0,3-2-1 15,0 3 3-15,0 1 15 16,-3 1 5-16,3 1-20 16,-1 1 12-16,1 0 6 0,0 2 17 0,-4 4-4 0,1-1-19 15,-3 1 4-15,0 1 4 0,-2-2 5 0,-3 5-15 0,-2 0 10 16,-3-1-15-16,-3 2 3 0,-2 1-3 15,-5 1-16-15,-1 1-22 0,-5 1-44 0,1 1 2 16,-2-1-56-16,1 1-53 0,-2-2-75 16,3 1-171-16,2-2-512 15,0 0 156-15,0-3-13 0,3 3 100 0,0-5 84 0,2 3 54 16</inkml:trace>
  <inkml:trace contextRef="#ctx0" brushRef="#br0" timeOffset="25487.26">22994 2269 1451 0,'4'2'407'0,"-3"2"-18"16,-1 1-28-16,0 0-41 0,3 4-23 0,-3-2-29 15,0 1-14-15,0 3-11 0,0-2-54 16,0 1-7-16,0 1-36 0,-3-2-28 0,3 2-72 16,-1 0-33-16,-3-1-16 0,4 0-48 15,-3-1-36-15,0 0-82 0,1-3-97 0,0-3-123 16,-1 3-459-16,0 0 70 0,1-1 74 16,0-2 52-16,1 2 60 0</inkml:trace>
  <inkml:trace contextRef="#ctx0" brushRef="#br0" timeOffset="26308.75">23015 2266 1100 0,'0'0'420'0,"0"0"-41"0,0 0-23 16,-16 5-44-16,11-1-25 0,-3-2-19 0,3 1-42 15,-2 1-11-15,-1 0-34 0,0 0-14 16,0-1-78-16,-2 1 9 0,3 0-37 0,-1-1-5 16,-2 0-20-16,2 0 15 0,0-1-7 15,0 0 7-15,-2-2-5 0,5 0 3 0,-3 0-16 16,1 0 31-16,1-2-13 0,-1 0-7 0,2-1 9 16,-3 0-9-16,5-2 15 0,-2 0-36 15,1-1 0-15,0 0 10 0,2 0 59 16,2 0-17-16,0 0-1 0,0 1-2 0,0 0-6 15,2-1 29-15,1 0-49 0,0 1-18 0,2 0 5 16,-2 2 26-16,1 0-44 16,-1 1 11-16,2 0 0 0,-2 0 4 0,-3 2-9 0,7 0-8 0,-7 0 5 15,0 0-13-15,0 0 20 0,10 2-4 16,-10-2-24-16,1 4 3 0,-1-4 23 16,0 0-10-16,2 3-3 0,-2-3 42 15,0 0-17-15,0 0 4 0,0 0-16 0,0 0-5 16,0 0 15-16,0 0 0 0,0 0-2 0,0 0 20 15,-18-5-20-15,15 1 10 0,1 1-13 0,0-2 26 16,-1 0-85-16,3-1-10 31,0-1 31-31,0 1-29 0,0-3 14 0,3 0-3 0,-1 1 28 0,1-3-16 0,4-2-2 0,-1 3 21 0,-1-1-34 16,3 0 11-16,-1 2 15 0,0 1-21 16,3-1 21-16,-2 3-8 0,0 0-12 15,0 1 12-15,-3 2-3 0,3 1 19 0,0 1-16 31,-3 1 16-31,-5 0-8 0,13 2 17 0,-8 0-14 0,1 0 25 0,-2 0-39 0,1 1 6 16,-2-1 8-16,1 0 17 0,-1 2 0 16,0-2-12-16,-1 1 10 0,-2-3 0 0,3 4-1 0,0-2 11 15,-3-2-15-15,0 0 30 0,5 3-4 16,-5-3-11-16,2 2-3 0,-2-2 19 0,0 0-14 16,0 0 3-16,0 0 3 0,10-5-26 15,-7 2 3-15,0 0 12 0,-1 0-9 0,4 1-1 16,-2 0-13-16,2 0 16 0,-1 0-15 15,4 2 22-15,-3 0 6 0,3 1-47 0,0 0 29 16,2 3-6-16,1 0-4 0,-1 1 7 16,-1 0 0-16,2 3 8 0,-1-2 0 0,-2 2 7 15,0 0-22-15,-1 0 37 0,-1 1-27 16,-4-1-5-16,-1 1 35 16,0-1-28-16,-4-1 18 0,-3 1-30 0,-2 2 20 0,-4-1 5 0,-4 0-26 15,0-1-25-15,-3 1-46 16,-3 1-21-16,3-2-40 0,3 0-40 0,-3-2-1 0,7-2-111 0,-2 2-153 15,6-2-551-15,-3-2 72 0,4 1 57 16,0 0 127-16,0-1 85 0,3 1 84 16</inkml:trace>
  <inkml:trace contextRef="#ctx0" brushRef="#br0" timeOffset="26927.06">23507 2264 1052 0,'0'0'419'0,"2"-3"-45"0,-2 3-31 0,0 0-3 16,0 0 6-16,0 0 38 0,8 9-23 0,-8-3-51 16,0 2-13-16,2 0-36 0,-2 3 7 15,0-2-40-15,3 4-33 0,-2 0-47 0,0 0 6 16,0 1-57-16,-1 0-28 0,0-2-20 16,0 1-65-16,2 2-12 0,-2-6 0 0,0 0-38 15,0 1-34-15,0-1 0 0,0-1-8 0,0-3-22 16,0 2-49-16,0-2-85 0,0-1-46 15,0-4-109-15,-2 5-262 0,2-5-149 0,0 4 108 16,0-4 52-16,0 0 53 0</inkml:trace>
  <inkml:trace contextRef="#ctx0" brushRef="#br0" timeOffset="27522.51">23555 2285 870 0,'2'-3'315'0,"-2"3"-36"16,0 0 59-16,0 0-24 0,1-3 14 15,-1 3-39-15,0 0-20 0,0 0-33 0,0 0-9 16,0 0-9-16,0 0 2 0,-10 11-102 0,7-7-8 16,-2 0-23-16,-2 2-21 0,1-1 16 15,2 0 16-15,-2-1-34 0,1 3 2 0,-2-3-15 16,1 2 36-16,1-2-33 0,-1 1-28 0,-1-1 33 15,2 0 15-15,0-1-43 16,-1 1 2-16,-1-1 5 0,2-2 3 16,0 0 8-16,0 0 2 0,5-1 13 0,-11-2-28 0,4 1-5 0,1-2 15 15,1-1 0-15,-2-1-5 16,2 0 2-16,-1-2 1 0,1-2 7 0,-2 0 0 16,1 0 18-16,2-1-20 0,2-1-11 0,-2 1 67 15,4 1-13-15,-2 0-25 0,2 0 22 16,2 0-30-16,-2-1-8 15,5 2 29-15,-2-1-21 0,2 0-41 0,4 1 15 16,-3-2-2-16,2 1 4 0,3-1-11 0,1 0-22 0,1 0-10 16,-3 3 29-16,5-3-34 0,-4 3-38 0,-1 0 0 15,2-1-21-15,-4 2-25 0,1 0-3 0,1 0-8 16,-2 3-9-16,-1-1-22 0,1 1-17 16,-3 0-20-16,0 1-37 15,1 1-109-15,-6 1-131 0,0 0-47 0,8 2-367 0,-8-2 48 16,4 7 97-16,-4-3 51 0,2 0 95 0</inkml:trace>
  <inkml:trace contextRef="#ctx0" brushRef="#br0" timeOffset="27907.65">23576 2289 982 0,'2'3'313'0,"-2"-3"-14"0,6 4-25 15,-2-3 5-15,0 3-46 0,0-2-23 0,2 1-16 16,-1 0 24-16,2-1-46 0,-2-1-32 16,3 1 6-16,-2 0-15 0,1-2-3 0,1 0 2 15,-1 0 83-15,1 0-16 0,-3-2-5 0,1 0-23 16,1-2 25-16,-2 2 1 15,1-5-16-15,-2 3-102 0,-1-3 7 0,-3 1-12 0,0-3 23 16,0 1-26 0,-3-4 69-16,-1 0 5 0,-2 2-20 0,-2-6-8 0,-2 2-20 0,3-2-28 15,-1-3 12-15,0 0-23 0,0 2-35 0,2 2-6 16,-1-1-12-16,0 1-42 16,2 3-35-16,0 3-33 0,3 1-52 15,-4 1-31-15,6 4-19 0,-3-1-73 0,3 4-112 0,0 0-246 16,0 0-279-16,-4 10 72 0,4-6 133 0,2 4 76 15,-2-1 29-15,4 1 87 0</inkml:trace>
  <inkml:trace contextRef="#ctx0" brushRef="#br0" timeOffset="29816.22">23991 2402 1039 0,'0'0'361'0,"0"0"-31"0,0 0-31 0,0 0-35 0,0 0 7 0,0 0-115 15,0 0-15-15,0 0-5 16,0 0 2-16,0 0 8 0,0 0-28 15,0 0 7-15,0 0-5 0,0 0 1 0,0 0 22 16,0-11-12-16,0 11 50 0,-5-7 14 0,3 1-6 16,-1 0-32-16,-2 1 27 0,2-2-31 0,-2 0-30 15,1 0 23-15,-2 0-15 0,5 0-31 0,-6 0 4 16,4 0-75-16,-1-2 1 0,1 3-12 16,0-3-15-16,-1 2 15 0,2-2 5 15,-2 1 2-15,2 1-9 0,1 1 14 0,-1 1 24 0,-1-1-28 16,1 2 12-1,1 1-40-15,1-2 40 0,-2 2-20 0,2 3-21 0,-2-9 19 16,2 7-26-16,0 2 10 0,-3-5 38 16,3 5-41-16,-2-3 6 0,2 3-11 0,-1-3 11 0,1 3-11 15,0 0 23-15,-1-4-15 0,1 4 0 16,0 0-2-16,0 0 7 0,-3-4-23 0,3 4 41 16,0 0-28-16,0 0 5 0,0 0 3 0,0-4 17 15,0 4-46-15,0 0 16 0,0 0-23 16,0 0-23-16,0 0 7 0,0 0-41 15,0 0-12-15,0 0-31 0,0 0-8 0,0 0-48 16,0 0-31-16,0 0-70 0,0 0-94 0,0 0-38 16,0 0-471-16,0 0 127 0,5 11 1 0,-5-7 89 15,0-4 75-15</inkml:trace>
  <inkml:trace contextRef="#ctx0" brushRef="#br0" timeOffset="30152.8">24061 2263 980 0,'0'0'320'0,"0"0"-21"0,0 0-27 16,0 0-34-16,0 0-3 0,-4 13-20 0,0-9-23 16,1 0-23-16,2 1 0 0,-3 1-31 0,2 0-12 15,-1 0-1-15,-2-1-2 16,3 2-36-16,-1 0-5 0,-2-1-13 0,3 1-8 0,-2-1-2 16,2 0-13-16,-1 0-28 0,1-1-15 0,-3-2-36 15,4 3-39-15,-1-1-66 16,0 0-75-16,-1-2-109 0,2-1-11 0,-3 1-376 15,4-3-33-15,-2 6 148 0,2-6 13 0</inkml:trace>
  <inkml:trace contextRef="#ctx0" brushRef="#br0" timeOffset="30698.65">24055 2311 824 0,'0'0'340'0,"0"-5"1"0,0 5-37 0,0-5-102 0,0 5 6 0,-2-6-6 16,2 6-25-16,2-8-6 0,-2 5-30 0,0-1-16 15,0-1 6-15,0 0-3 0,-2 1 82 0,2-2-46 16,0-1 4-16,0 1 4 0,0 0-31 15,0-1-24-15,-3-1 4 0,6 1-19 0,-6-3 11 16,3 4-26-16,0-2 25 0,0 1-4 16,0 1-31-16,0 1 5 0,0 0 30 0,0 1-55 15,0 0-1-15,0-2 10 0,0 2-7 16,0 4 5-16,0-7-28 0,0 7-8 0,-1-5 6 16,1 1 7-16,0 4 12 0,0-4-17 15,0 4-3-15,0 0-4 0,0-5-17 0,0 5 17 16,0 0-4-16,0-6 19 0,0 6-19 0,0 0-12 15,0 0 20-15,0 0-12 0,-2-3-14 0,2 3 14 16,0 0-16-16,0 0 8 0,0 0 23 16,-2-4-13-16,2 4 2 0,0 0-2 15,0 0-23-15,0 0-2 0,0 0-16 0,0 0 13 0,0 0 5 16,-5-2 25-16,5 2 4 16,0 0-78-16,0 0 13 0,-10 3-13 0,5 0 21 0,-1-1-13 15,-1 1 21-15,-1-1 10 0,0 1-19 16,0-1-4-16,1 0-26 15,-1 0-33 1,1 0-5-16,-1 2-36 0,0 1-21 0,1-1-17 0,-1 2-39 0,0 1-46 0,-2 1-131 0,-1 1-63 16,4 1-467-1,-1 1 147-15,0 0 38 0,-1 2 112 0,0 2 60 0</inkml:trace>
  <inkml:trace contextRef="#ctx0" brushRef="#br0" timeOffset="32437">2885 6619 1331 0,'-4'0'460'0,"-2"2"-68"0,4 4-16 16,-1 3-46-16,1-1-15 0,1 4-28 15,1 5-44-15,0 2-5 0,3 1-43 0,0 6-8 16,-1 0-36-16,0 2-49 0,4 7-18 0,-1 5-91 31,0-6-44-31,3 3-90 0,-5-5-90 0,1-9-158 0,2 3-501 0,-1-2 81 0,2-6 92 16,-1-3 18-16,-3-3 103 0</inkml:trace>
  <inkml:trace contextRef="#ctx0" brushRef="#br0" timeOffset="32615.73">3016 6823 1018 0,'-2'-3'405'0,"2"3"-26"0,0 0-39 16,5 24 44-16,-3-10-8 0,3 7-58 16,-2 2-16-16,5 12-82 0,0 2-56 0,2 1-42 15,-2 0-24-15,2-1-50 0,0 2-60 16,-2 2-47-16,2-6-90 0,-3 2-73 0,4-3-83 16,-4-12-51-16,2 0-450 0,-2-7 84 0,1-2 90 15,-5-3 33-15</inkml:trace>
  <inkml:trace contextRef="#ctx0" brushRef="#br0" timeOffset="33001.14">2652 6703 880 0,'-10'-26'271'0,"4"5"3"16,4 2-8-16,2 2-30 0,2 5-21 15,4-1 13-15,-1 2-13 0,5 1-16 0,3 0-1 16,3 4-17-16,2 1-14 16,0 3-6-16,2 2 5 0,3 5 67 0,5 0-33 0,-2 2-8 0,12 4 0 15,-2-1-39 1,-2 2-86-16,-4-1 20 0,-6-3-10 0,1 4-11 0,-4-5 16 0,2 4-15 16,-5-5 12-16,0 1 6 0,-3 0-24 15,-2-2-10-15,-1 0 16 16,-1-2-21-16,-1 1-13 0,-2-2 26 15,-1 2 0-15,-1-3-10 0,1 1-3 0,-1 2-3 0,-2-4 1 16,2 1 7-16,-6-1-28 16,4 2 13-16,-4-2-18 0,0 0-29 0,0 0-32 0,9-4 2 0,-7 1-64 15,-2 3-3-15,5-7-53 0,-4 6-33 0,3-4-60 16,1 2-94-16,1-7-74 0,3 7-495 16,2-2 103-16,-1-1 49 0,3 1 151 15,3-2 15 1</inkml:trace>
  <inkml:trace contextRef="#ctx0" brushRef="#br0" timeOffset="33796.99">8797 6661 1233 0,'-4'0'377'0,"4"0"-52"0,0 0-8 16,0 0-35-16,35-4 12 0,-11 3-56 0,21-4-5 15,14 0-28-15,19-4-8 16,11 4-21-16,2-6-7 0,31 2-25 0,6-5-6 0,5-2-20 16,1 3-18-16,-1-4-6 0,1 3-14 0,4-1-39 15,-5-1 2-15,-7 3-30 0,-28 2-49 16,-6 2-36-16,-8-2-40 0,-9 2-34 15,-8 3-62-15,-19 0-76 16,-7-2-128-16,-15 6-422 0,-6 1 74 0,-12 1 76 0,-6 1 75 0,-2-1 56 16</inkml:trace>
  <inkml:trace contextRef="#ctx0" brushRef="#br0" timeOffset="34271.49">8531 6951 870 0,'-10'5'281'0,"5"-4"19"0,10 4-26 0,8-5-39 0,9-1 21 15,12-3-54-15,18 1-2 0,22-7-18 0,13-2 38 16,33-7 15-16,6 1-63 0,0-3 22 31,4-1-17-31,7 1-115 0,1 1 4 0,-3-2 24 0,-4 2-8 0,0 2-36 0,-5 5 18 16,-8-4 0-16,-24 8-8 0,-6 2 16 0,-6-4 20 0,-5 6-8 15,-21 2 3-15,-2-2-20 16,-5 1-19-16,-11 3 9 0,-7 0-21 0,-8 1-1 16,-2-1 27-16,-3 1-21 0,-3-1 36 15,-5 1 58 1,3 0 16-16,-6 0-7 0,1 0-9 0,-2 1 1 0,-6-1 0 16,5 1-29-16,-5-1-7 0,0 0 23 0,0 0-21 0,0 0 8 15,0 0-35-15,-13 6 14 0,7-4-2 0,2-1-25 16,-2 2-16-16,2-2 25 0,1 0-4 0,-2 3-39 15,-1-3 21-15,6-1 7 0,-5 2-30 0,0 0-19 32,5-2 9-32,-5 2-19 0,5-2-30 0,-8 0-16 0,8 0-23 0,0 0-45 0,-10-4-22 15,5 2 9-15,-2-3-39 16,1 3-33-16,1-4-3 0,-1 1 0 0,-1-3-69 0,0 2-87 16,1-4-115-16,2 2-322 0,-2-3-93 15,4 1 105-15,-1-1 36 0,0-1 62 0,1 1 112 16</inkml:trace>
  <inkml:trace contextRef="#ctx0" brushRef="#br0" timeOffset="36200.61">2394 8537 153 0,'25'-23'67'0,"6"-3"-37"16,2 1-22-16,5-6-67 0,3 3-7 0</inkml:trace>
  <inkml:trace contextRef="#ctx0" brushRef="#br0" timeOffset="36630.61">1785 8524 1167 0,'0'0'373'0,"0"0"-17"0,0 0-31 16,31 3-33-16,-5 1-8 0,23-3-25 0,7-1-14 0,21 0-6 15,8 3-30-15,12-1-4 0,11-1-31 16,30 3 3-16,3-1-26 0,0 1-15 15,6-3-19-15,-2 0-7 0,-8 4-20 0,-2-3 7 16,-27 1-28 0,0-2 0-16,0 0 3 0,-3-1-39 0,-6 0-12 15,-4 0-19-15,-5 0 16 0,-8 0-13 0,-5-2-17 0,-21-2-45 16,-5 3-4-16,-4-1-47 0,-11-1 3 0,-11 3-63 16,-9-2-104-16,-6-1-43 0,-8 2-171 0,-2 1-348 15,0 0 25-15,-18-2 110 0,-4 2 39 0,-25 2 58 16</inkml:trace>
  <inkml:trace contextRef="#ctx0" brushRef="#br0" timeOffset="36949.85">1547 8701 908 0,'-35'3'348'0,"8"-1"-28"0,7-2-141 0,7 1-2 0,5 3 5 0,6-2-16 16,7 4 18-16,5 0-32 0,14 1-1 15,3 2-23-15,22 1 12 0,16-1 55 0,14-2-24 16,13 0-30-16,10-1 28 0,32-5-15 16,7-6-103-1,8 3-10-15,7-5 7 0,1 2-2 0,6-6-10 0,2 1 10 0,-6 0-5 16,-3-2 0-16,1-2-13 0,-2 1 1 0,-8-3 24 16,-6 6-12-16,-4-2-10 0,-5-3-5 15,-9 2 20-15,-28 4-18 0,-5-2-15 0,-6-1-3 0,-9 4 13 16,-6-1 15-1,-15 5-35-15,-8 0-24 0,-12-1-48 0,-6 4 3 0,-8 0-24 0,-7 2-17 16,-5 0-32-16,-5 3-63 0,-4-2-90 0,1-2 19 16,-12 11-562-1,-4-4 93-15,-5 6 48 0,-17 0 95 16</inkml:trace>
  <inkml:trace contextRef="#ctx0" brushRef="#br0" timeOffset="41305.62">10700 10054 1254 0,'-2'-3'409'0,"2"3"-43"0,0 0-20 0,0 0-31 16,0 0-23-16,0 0-1 0,9 17-27 0,-5-5-11 15,0 2-20-15,-1 4-28 0,2 1-23 16,0 6-11-16,-2-1 57 0,0 0-33 0,-1 3-21 16,-2-1-21-16,0 2-25 0,0-7-74 0,0 3-18 15,0-3-62-15,0 1-20 0,0-2-23 16,0-4-56-16,0-1-37 0,0-2-7 0,0 0-46 15,2-3-128-15,-2-2-294 0,4-2-185 16,-4-1 16-16,2-2 100 0,0 1 63 0,-2-4 175 16</inkml:trace>
  <inkml:trace contextRef="#ctx0" brushRef="#br0" timeOffset="41572.35">10775 10049 1180 0,'10'-12'396'0,"0"6"-45"0,0 0-16 0,-2 4-20 0,0-2-95 16,-3 7 8-16,3-1-23 15,0 3-3-15,2 2-20 0,-5 0-16 0,2 4-5 0,-2-3-10 16,1 5-28-16,-4 2-2 0,1 0-22 0,-6 0 12 16,1 2-22-16,-1 2-20 15,-4-2-23-15,-1 1-15 0,0-3-34 0,0 4-40 0,-2-3-26 16,2-2-28-16,-2-1-29 0,4-2-45 15,-1-3-60-15,4-1-153 0,-1-1-445 16,4-3 25-16,0-3 136 0,0 0 46 0,0 0 64 16</inkml:trace>
  <inkml:trace contextRef="#ctx0" brushRef="#br0" timeOffset="41768.44">10977 10037 931 0,'0'0'359'0,"0"0"17"0,0 0-15 0,-10 17-41 0,7-9-11 0,-2 5-14 0,2 0-29 0,-1 5-15 16,1 0-21 0,-2 1-43-16,2 1 74 0,0-1-18 0,1 3-25 15,0-1-16-15,4-2-41 0,-2 3-115 0,2-6-12 0,2 2-16 16,0 1-39-16,2-2-27 0,-2-2-34 16,2-2-21-16,1-2-9 0,-1 1-62 0,1-5-128 15,1 2-70-15,-1-2-521 0,1-1 74 0,0-4 89 16,0 2 70-16,-3-3 143 15</inkml:trace>
  <inkml:trace contextRef="#ctx0" brushRef="#br0" timeOffset="42048.4">11207 10194 1238 0,'11'-6'397'0,"-1"3"-13"0,-2 0-33 0,-3 2-34 0,2 1-22 0,-7 0 14 15,9 4-27-15,-4-2-21 0,-3 4-97 16,0-1 10-16,-1 1-3 0,-4 2-9 0,1 5-24 16,-3-2 51-16,0 2-22 0,1-1 25 0,-2 0-44 15,2-1-23-15,0-1 24 16,1 1-39-16,0-3 3 0,3 2-37 0,-2-3 24 0,2 0-79 16,2-1-19-16,-2-2 26 0,3 0 3 15,0-1-16-15,4-1-38 0,-2-1-23 16,1 1 11-16,1-2-45 0,-7 0-9 0,13-3-45 15,-5 1-60-15,-1-1-34 0,-1 0-210 0,1-1-537 16,-2-2 95-16,1 0 68 0,-4-1 96 0,0 0 104 16,-1-1 36-16</inkml:trace>
  <inkml:trace contextRef="#ctx0" brushRef="#br0" timeOffset="42291.39">11362 9885 1305 0,'7'2'489'0,"3"6"-34"0,1 3-7 0,2 2-35 16,0 6-12-16,5 6-24 0,-3 6-6 15,0 0-113-15,-5 4-35 0,-2-1-28 0,-5 6-1 16,-1-6-35-16,-7 8-49 0,-3-1-51 0,-10 8-75 16,0 0-53-16,-5-1-77 0,-2-2-53 15,-1-2-121-15,-4 0-632 0,1 1 63 0,-2-5 116 16,-1-2 77-16,5-10 72 0,2 1 73 0</inkml:trace>
</inkml:ink>
</file>

<file path=ppt/ink/ink20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3:10.088"/>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002060"/>
    </inkml:brush>
    <inkml:brush xml:id="br2">
      <inkml:brushProperty name="width" value="0.05292" units="cm"/>
      <inkml:brushProperty name="height" value="0.05292" units="cm"/>
      <inkml:brushProperty name="color" value="#C00000"/>
    </inkml:brush>
  </inkml:definitions>
  <inkml:trace contextRef="#ctx0" brushRef="#br0">2355 5705 657 0,'2'-3'238'0,"-2"3"59"15,6-7 0-15,-4 5-25 0,0-2-11 0,1 0 13 16,0 0-47-16,-3-1-60 0,2 3 22 15,-2 2-20-15,-2-8-3 0,2 8 6 0,-5-5-31 0,2 3 2 16,3 2-5-16,-15 4-17 16,2 2-4-16,0 3 16 0,-10 5 16 0,-5 7-34 15,-2 3-12-15,1-1 76 0,-2 4 2 0,3 1-19 16,2 2-86-16,-2-6-19 0,5 3 9 16,5-1-27-16,1-4 7 0,6-7 2 0,5 1-25 15,-1-6 11-15,4 0-4 0,3-1 9 16,3-2-3-16,0-4-6 0,7-1-12 15,1 0 5-15,6-6 34 0,1-1-32 0,7-3-17 16,-2 0 28-16,3-3-29 0,-3 5 11 0,0-2 18 0,-5 1-23 16,0 3-21-16,-5-1 21 0,0 4 8 0,0 2 2 15,-5 4-13-15,2 0 28 0,-3 4 93 16,-1 2-13-16,-1 7 2 16,0 0-46-16,-5 1 13 0,0 1-13 15,-2 6-25-15,-2-1 5 0,0-2-39 0,1 1-23 0,-3-1-30 16,4-2-59-16,-3-3-47 0,2-1-30 15,3-1-48-15,-2-4-114 0,2-3-165 0,0 2-523 16,2-4 100-16,-1-1 105 0,4-1 66 0,-3-5 65 0,-2 0 104 16</inkml:trace>
  <inkml:trace contextRef="#ctx0" brushRef="#br0" timeOffset="427.6">2539 6111 1274 0,'8'-12'407'15,"-2"1"-33"-15,1 0-110 0,0 4-1 16,-1-6-17-16,-4 7 7 0,0-5-35 0,2 3 7 16,-4-3-35-16,0 3-9 0,0-1-1 15,-4 0-17-15,2 3-7 0,0-1-20 0,-1 2-26 16,0 4 11-16,-2-1-24 0,5 2 0 0,-10 3 64 16,2 2-15-16,0 5-2 0,1-1-19 15,-3 4-20-15,3-1 2 0,3 1-22 0,-3 1 2 16,1 3-23-16,4-6-3 0,0 2-20 15,2-2 0-15,0-2-28 0,2 1-23 16,3-2-23-16,3-1-47 0,0-1-4 0,4-1-42 16,1-4-22-16,0-1-39 15,2-1-87-15,3-4-71 0,0 0-88 0,3-3-338 0,0 1-91 16,1-6 61-16,-1 1 71 0,-1 0 88 0,6-9 48 16</inkml:trace>
  <inkml:trace contextRef="#ctx0" brushRef="#br0" timeOffset="654.52">2936 5780 1338 0,'-1'-4'384'0,"1"4"-8"0,-1-6-33 0,1 6-41 0,-2-2 36 0,2 2-28 0,0 0 5 0,0 0-49 0,0 0-2 0,-8 15-8 16,5-7-21-16,-2 3-2 16,1 6-92-16,-2 2 5 0,1 4-28 0,-5 10-19 15,0 0-14-15,-1 1-19 0,1 0-19 0,0-2 6 16,-1 3-40-16,1-9-39 0,3-3 11 15,1-3-51-15,1-1-37 0,2-1-35 16,-1-5-21-16,1-1-107 0,3-4-56 0,0-2-137 0,0 1-393 16,2-1 64-16,1-6 27 0,-3 0 116 0,13-3 46 15,-6-2 80-15</inkml:trace>
  <inkml:trace contextRef="#ctx0" brushRef="#br0" timeOffset="875.79">3083 5759 1054 0,'0'-7'502'0,"2"4"-31"16,-2-2-57-16,0 5-32 0,0 0-14 0,0 0-19 16,0 0-24-16,-8 12-49 0,6 0-99 0,-3 1-8 15,2 5 5-15,-4 4-21 0,2 2-30 16,0 2-13-16,-1 9-10 0,-2-7-13 16,6 0-26-16,-3-2-14 0,0-1-9 0,5-1-20 15,-3-2-64-15,1-2-13 0,2-1-51 0,0-5-39 0,0 1-14 16,0-2-63-16,-3-2-48 15,3 0-112-15,-2-4-52 0,2-1-396 0,-2-1 86 16,1-2 34-16,-2-2 61 0,3-1 60 16</inkml:trace>
  <inkml:trace contextRef="#ctx0" brushRef="#br0" timeOffset="1159.71">2754 6138 959 0,'-12'0'343'0,"2"-1"8"0,4-1 56 15,-1 1-38-15,4-1-1 0,3 2-58 0,-5-1-26 16,5 1-10-16,-3-5-10 0,3 5-44 0,6-5-18 15,1 2-33-15,4-3-10 16,4 0 4-16,1-2-19 0,6-2-106 0,1 2-17 0,4-2 17 16,8-3 6-16,-1 2-19 0,-4 1 3 0,-4 1 3 15,-3 2-16-15,-2 1-2 16,-1 3 3-16,0-2-9 0,-7 4 6 0,3 0 18 0,-4 1 12 16,-1 2 11-16,1 0-13 0,-1 4 102 15,-1 1-38-15,-3 2 18 0,1-1-13 0,-5 3-36 16,2-1-7-16,-2 1 15 0,-1 0-31 15,-2 2-30-15,0-2-24 0,0 1-33 0,0-3-59 16,0 3-38-16,0-5-61 0,-2 3-118 16,2-3-198-1,2 0-501-15,-2-2 92 0,0-2 113 0,0-3 87 0,3 4 109 0,-3-4 40 16</inkml:trace>
  <inkml:trace contextRef="#ctx0" brushRef="#br0" timeOffset="1287.68">3139 5914 788 0,'-4'-1'299'0,"1"0"-53"0,3 1-80 15,0 0-104-15,-11 1-100 0,11-1-98 0,-7 1-499 16,7-1 41-16</inkml:trace>
  <inkml:trace contextRef="#ctx0" brushRef="#br0" timeOffset="1601.82">3219 5957 1430 0,'3'5'379'0,"-1"0"-23"0,0-1 2 0,-2 5-20 15,1-2-13-15,1 1 29 16,-2-2-1-16,0 2-56 0,0-1-31 0,0 2-10 16,3-1-5-16,-3-2 0 0,0 1-29 15,2-2-22-15,-2 0-11 0,1 2 6 16,-1-5 17-16,0 3 8 0,0-5-81 0,2 5-19 0,0-4 16 15,-2-1 10-15,0 0-13 0,11-1-49 0,-11 1 8 16,10-5-15-16,-3 3 5 16,1-2-13-16,0 2 0 0,0-3-43 0,-1 3 25 15,3-2 16-15,-2 4-9 0,2-2-29 0,-2-1-19 16,2 1 3-16,-2 2-49 16,0 0-28-16,-1 1-8 0,1 0-53 0,0 3-44 0,0-3-46 0,-1 1-57 15,-1 1-32-15,1-2-55 0,1 4-183 16,-1-3-533-16,1-2 112 0,-3 1 73 15,3 1 122-15,0-2 71 0,0-2 57 0,2 0 93 16</inkml:trace>
  <inkml:trace contextRef="#ctx0" brushRef="#br0" timeOffset="1903.02">3565 6002 1254 0,'0'0'455'0,"-12"4"-48"0,9-1 13 0,0 1-128 0,0 2-8 16,3 2-23-16,-2 1-10 0,2 0 25 15,-3 3-43-15,3 5 11 0,-3-3-29 16,1 5-16-16,0 1-12 0,-6 4-10 0,-2 8-39 16,-6-1 10-16,3-1-22 0,-2 1-14 15,0-11-7-15,4-1-7 0,-1-1-1 0,1-6 80 16,2 0-34-16,3-4 28 0,1-2-30 0,-2 0-8 16,4-2-33-16,-2-1-10 0,5-3-1 0,0 0-32 15,0 0-42-15,-1-11 13 0,2 4-38 16,6-2-23-16,1-3-8 0,5-1-31 0,-1-2-5 15,4 0-33-15,-1-1-5 0,3 1-49 0,-2 0-38 32,1 1-31-32,-1 4-38 0,2-1-88 0,0-4-81 0,-3 6-515 0,3 0 24 0,1 0 119 15,-2 0 67-15,1 3 128 0,5-2 16 0</inkml:trace>
  <inkml:trace contextRef="#ctx0" brushRef="#br0" timeOffset="2782.73">4308 5955 982 0,'-2'-6'361'0,"0"3"23"15,2 3-33-15,-6-2 23 0,1 2-67 0,5 0-23 0,-13 0-15 16,3 4-21-16,2 0-33 0,-2 3-3 0,-3 3-27 16,0-1 9-16,0 3-43 0,-2 4 3 0,2-2-18 15,1 3 7-15,1-3-53 0,2-2 4 16,1 1 1-16,2-2-44 0,3-3 36 15,-1-1-23-15,4 2 0 0,0-5 13 0,2 1-31 16,3-4 13-16,0 2 5 0,4-6-33 0,3 2 22 16,0-4-22-16,-1-1-62 0,4-1-4 15,-2-1 9-15,3 1 8 0,-4-1 0 32,1 1 5-32,-3 0 0 0,0 4 24 0,-2-2-6 0,-2 3 0 0,1 0 13 0,-7 2 97 15,10 3-10-15,-7 0-26 0,2 2-7 0,-2 1 18 16,2 0-16-16,-3 2-72 0,-2 2-7 0,3-3-41 15,-3 1-61-15,3 2-24 0,-3-2-102 16,2-1-171-16,1 1-615 0,2 0 69 0,-2-3 113 16,4-1 103-16,-2 0 35 0,3-4 100 0</inkml:trace>
  <inkml:trace contextRef="#ctx0" brushRef="#br0" timeOffset="2984.14">4726 5758 1300 0,'3'-6'496'0,"-3"5"-30"16,0 1-18-16,0 0-51 0,0 0-31 0,3 14 8 0,-3-3-118 16,0 2-31-16,0 7-13 15,-3 2-15 1,3 5 3-16,-5 14 28 0,0-2-23 0,2 3-36 0,0-3-41 0,-2 1-57 0,5-6-50 16,-2-7-52-16,0 0-35 0,1-5-65 0,1-1-28 15,0-1-107-15,1-8-167 0,-1 3-539 0,2-4 58 16,-2-2 131-16,0-2 56 0,0-2 72 0,0-3 114 15</inkml:trace>
  <inkml:trace contextRef="#ctx0" brushRef="#br0" timeOffset="3181.89">4606 6099 1282 0,'-2'-5'463'0,"2"5"-46"0,2-6-4 16,3 5-42-16,0-3-39 0,3 1-24 0,2-2-14 15,3 0-56-15,5 2 15 0,0-4-32 0,2 2 35 16,3-1-31-16,3-3-61 0,-3 3-44 16,3-1-64-16,-5 4-71 0,1-2-72 0,-1 0-51 15,-3 5-152-15,-3-1-140 0,1 1-535 0,-1 0 93 16,0 0 73-16,-5 1 123 0,1 1 34 16</inkml:trace>
  <inkml:trace contextRef="#ctx0" brushRef="#br0" timeOffset="3766.2">4970 6065 1136 0,'0'-3'404'0,"-3"-3"1"0,-1 2-60 16,1 3-37-16,-3 0-11 0,6 1-44 15,-10 1-23-15,2-1-7 0,-2 5-16 0,0-1-22 16,0 3-16-16,0 0-21 0,0 0-7 0,1 1-26 0,-1 2-10 16,3-1-3-16,-1 2 1 15,1-3-34-15,1 2 20 0,1-2-25 0,0-1-10 0,5 2 20 16,0-4-20-16,0 0-10 0,0-1-6 15,3-1 6-15,1 1 2 0,2-4-16 16,1 0 1-16,1-1 15 0,0-3-7 16,4 0-11-16,-1 0-8 0,-1-3 42 0,3 1-52 0,-5 1 21 15,5-1 15-15,-6 1 7 0,0 3 88 16,0-4-10-16,0 5-1 0,-4-2-12 0,1 2-16 16,-4 1-9-16,10 1-19 0,-10-1 15 15,6 4-4-15,-4 1-21 0,0-2 15 0,2 2-63 0,-2 1-11 16,0 1-18-16,-2-1-28 15,1-1-33-15,1 3-52 0,-2-1-17 16,3 1-67-16,-1-1-87 0,1-3-143 0,-1 0-597 0,3 2 59 16,0-4 111-16,1 3 88 15,-1-5 60-15,-5 0 66 0</inkml:trace>
  <inkml:trace contextRef="#ctx0" brushRef="#br0" timeOffset="3933.56">5146 6181 1164 0,'3'-4'440'0,"-3"4"-4"16,0 0-45-16,0 0-109 0,0 0-16 15,0 0-41-15,0 0 3 0,0 0-56 0,0 0-11 16,0 0-66-16,0 0-65 0,-17 5-53 16,17-5-123-16,-6 4-225 0,4-3-458 0,2-1 56 0,0 0 87 15,0 0 115-15</inkml:trace>
  <inkml:trace contextRef="#ctx0" brushRef="#br0" timeOffset="4607.67">5152 6056 1113 0,'0'0'386'16,"0"0"6"-16,0 0-44 0,0 0-7 0,-8 7-34 16,6-2-38-16,-3 1-26 0,4 0 2 15,-1 2-27-15,-3-2-21 0,2 2-25 0,-1 2-21 0,0-1 0 16,2 0-31-16,-3 0-20 0,2-1-26 16,1 1-25-16,-1-2-39 0,-2-1-48 0,3 1-57 15,-1 0-46-15,1-3-100 0,2 1-153 16,-3-2-476-16,2 2 53 0,1-5 90 0,0 0 65 15,0 0 68-15</inkml:trace>
  <inkml:trace contextRef="#ctx0" brushRef="#br0" timeOffset="4749.95">5175 6000 1356 0,'-2'-3'397'0,"2"3"-59"0,0-2-34 0,0 2-81 0,-3-6-44 0,3 6-66 0,0 0-111 0,-3-1-173 0,3 1-592 16,0 0 57-16,0 0 61 0,0 0 69 0</inkml:trace>
  <inkml:trace contextRef="#ctx0" brushRef="#br0" timeOffset="4979.75">5365 5751 1000 0,'0'0'420'0,"0"0"2"16,0 0 57-16,0 0-51 0,-3 19-27 0,1-8 6 16,-4 7-120-16,1 3-16 0,-2 4-20 15,-3 7 44-15,0 5-19 0,-1 0-7 16,-2 1-26-16,2-1-46 0,1 0-43 0,0-1-65 0,3-3-63 16,1-3-77-16,4-8-59 15,-1-1-72-15,3-1-115 0,-2-1-187 0,4-4-501 16,1 1 74-16,-1-6 109 0,4 0 86 0,-3-1 132 15,4-5 8-15</inkml:trace>
  <inkml:trace contextRef="#ctx0" brushRef="#br0" timeOffset="6024.73">5842 6014 1226 0,'0'0'401'0,"2"-1"-45"0,-2 1-18 16,0 0-5-16,0 0-105 0,0 0-26 0,0 0-18 16,0 0-10-16,0 0-10 0,0 0-10 15,0 0-19-15,0 0-4 0,0 0 20 16,0 0-28-16,1 13-29 0,-1-6 24 0,-1-2 0 0,1 2-36 15,0 0 13-15,0 3-6 16,0-2-20-16,0-1 16 0,-2 3-8 0,2-3-6 16,2 0-27-16,-2 0 12 0,0-1-2 0,0 1-11 15,1-2-2-15,0 0 16 0,2-1-16 0,0 0-3 16,-1 0 23-16,1-2-7 16,2-2-23-16,-5 0 23 0,8 2-3 0,-8-2-28 15,10-2 20-15,-5 2-25 0,-5 0 3 0,10-2 12 16,-4 1-7-16,-6 1-16 0,10 0 23 0,-10 0-25 15,10 3 10-15,-5-3 5 0,1 4-26 16,-1-2 31-16,2 1 3 0,1-1-8 0,-3 1 23 0,3 1 26 16,-3-4 28-16,0 1 25 15,-5-1 100-15,12-1-5 0,-6 0 1 16,2-3-91-16,-4 1 29 0,4-2-34 0,-3 0-10 0,1-2-4 16,-2 0-19-16,2-3-16 0,-3 2 24 15,2-3-13-15,-3 3-58 0,1-3-29 0,-1 2 0 16,1-1 0-16,-3 2 0 15,0-2 0-15,0 3 0 0,2 0 0 16,-2-1-100-16,0 2-85 0,0 1-58 0,0 0-54 0,0-1-51 0,1 3-92 0,1-1-139 16,1-1-539-16,0 3 117 15,1-2 92-15,-1 2 113 0,0-2 77 0,1 2 56 16,2-4 74-16</inkml:trace>
  <inkml:trace contextRef="#ctx0" brushRef="#br0" timeOffset="6432.74">6280 5802 1489 0,'0'0'453'0,"0"0"-41"0,0 0-2 15,0 0-6-15,0 0-76 0,0 0 5 16,0 17-123-16,0-9-21 0,0 3 18 0,0 2-9 16,-3 0-37-16,3 3-13 0,-2 3 83 0,-1 0-50 15,1 0 14-15,-1 1-36 16,3-2-11-16,-2 0-17 0,0-3-3 0,1 0-29 0,1-1 11 15,0-1 6-15,0-4-19 0,-3 2-7 16,3-5-6-16,0 1 24 0,3-1-4 0,-3-1 17 16,0-1-16-16,0-4 0 0,5 2 5 15,-5-2-13-15,0 0-13 0,13-5 24 0,-8 4-80 16,1 1 54-16,-1-3-5 0,2 1-87 0,1 2-1 16,-8 0-14-16,15 2 48 0,-5 0 25 15,0-1-22-15,-2 1-8 0,1 2 13 16,1 1 4-1,0-2-17-15,-2 1-18 0,-1 2-18 0,0-3 44 0,1 2 5 0,-3 0-47 0,1-1-35 16,-1 0-20-16,0 2 4 0,-2-4-30 16,2 2-49-16,-1-1-36 0,-1 1-38 0,0 1-33 15,-1-2-24-15,-2 1-20 0,3 1-192 0,-1 0-30 0,-2-2-508 16,3 2 85-16,-2 1 105 16,3-4 113-16,-1 3 43 0,-1-3 49 15</inkml:trace>
  <inkml:trace contextRef="#ctx0" brushRef="#br0" timeOffset="6901.53">6595 6131 1036 0,'8'-12'481'0,"-3"0"-68"0,0-1-45 16,-2 0-15-16,-1 2-22 0,1-3-17 15,-2 2-45-15,1 1 10 0,-2 2-25 0,0-1 4 0,0 2-35 16,0-1-24-16,0 4-19 0,-2 0-9 16,1 2-10-16,1 3-22 0,-8-2 19 0,8 2 50 15,-10 7-47-15,5-1 10 0,0-1-27 16,-3 3-14-16,0 2 6 0,4-1-34 0,-2 1 3 15,1 2-18-15,2-5-18 0,1 1-25 0,2 0 10 16,0-1 7-16,0-2-15 0,2 0-25 16,2 0 50-16,0-4-27 0,2 0 4 0,1-1-4 15,-7 0 15-15,16-2-23 0,-6-3 10 0,0 4 31 16,2-3-26-16,-3 3 26 0,1-2 4 16,0-1-24-16,-2 3 14 0,0 1-1 15,-1-1 1-15,1 2-20 0,0-1-4 0,-1 2 17 16,1 2-64-16,-3-2 0 0,0 2 0 0,0-2 0 0,1 3 0 15,-2-1 0-15,2-2 0 0,-4 0 0 16,1 3 0-16,2-4 0 16,-2 2 0-16,1-2 0 0,-4-1 0 0,8 2 0 0,-5-1 0 15,-3-1 0-15,10 0 0 16,-3 0 0-16,-7 0 0 0,11-1 0 0,-4 1 0 0,1-1 0 16,0 1 0-16,-1-1 0 0,1 2 0 0,2-1 0 15,-1 0 0-15,1 1 0 0,-2-1 0 0,2 1 0 16,-3-1 0-16,0 2 0 0,1-1 0 0,-2 0 0 15,-1-1 0-15,0 1 0 16,-5-1-3-16,8 4-340 0,-3-2-31 16,0 2-89-16,-5-2-187 0,5 4-512 0,-5-4 163 0,5 3 55 15,-2-5 104-15,-3 0 49 0,5 5 93 16,0-4 129-16</inkml:trace>
  <inkml:trace contextRef="#ctx0" brushRef="#br0" timeOffset="7224.84">7601 5712 1428 0,'-3'-4'461'0,"3"4"-19"0,0 0-27 0,0 0-34 0,-1 17 9 0,1-6-50 15,-1 2-41-15,1 1-32 0,0 0-11 0,-1 7 56 16,1-1-46-16,0 1-18 0,-2 4-35 16,-1 1-47-16,0-1-22 0,1 3-86 0,-3-2-50 15,2 0-85-15,-2-1-66 0,3 0-57 16,-3 0-125-16,2-7-184 0,0 1-461 0,3-2 69 0,-2-3 107 15,2-1 60-15,0-2 112 16,-2-4 18-16</inkml:trace>
  <inkml:trace contextRef="#ctx0" brushRef="#br0" timeOffset="7653.62">7546 6032 1338 0,'8'-11'420'0,"0"3"-21"0,2 1-38 15,-2 1-48-15,2 1-27 0,3-2-20 16,-3 1-107-16,5 1 0 0,-4 3 10 16,2-2-23-16,-1 2-31 0,-3 2-5 0,1 0 13 15,0 1-11-15,-2 3-12 0,-1 0 3 0,-1 3-27 16,1 3 11-16,-4-1 6 0,-1 1-22 0,3 2-4 16,-4-1-24-16,1 3 19 0,0-2-14 15,1 0 4-15,0 1 6 0,2-2-22 0,2-1-2 16,1 0 12-16,5-1-28 0,-1 1 5 0,6-3 23 15,1-3 18-15,1-2-23 16,-2-2 56-16,0-1-20 0,0-2 15 16,2-2 8-16,-2 0 10 0,-2-4 102 0,-3 0 1 0,-1-2-21 15,-2 3-18-15,-4-4-5 0,-4 0-8 0,0 3-15 16,-4-2-8-16,0 0-36 16,-4-1-20-16,-4 0 16 0,0 3-27 15,-3-2-17-15,-2 5-18 0,2 0-23 0,0 4-21 0,-2-3-56 0,4 5-49 16,-1 0-10-1,1 2-69-15,-1 2-51 0,4-2-64 0,-2 3-143 0,4 1-239 0,2-1-401 16,1 1 127-16,3-2 60 0,0-4 89 16,10 5 84-16,-2-1 62 0,2-4 59 0</inkml:trace>
  <inkml:trace contextRef="#ctx0" brushRef="#br0" timeOffset="8346.44">8167 5943 1226 0,'-8'-2'501'0,"-2"2"-43"0,3 0-33 0,-1 0-43 0,-2 2-16 0,2-1-128 16,0-1 8-16,1 2-65 0,1 2-17 0,4 1-8 0,-3-2-5 15,4 3-12-15,1 1-17 0,1 2 14 0,4-1-16 16,-1 1-10-16,2 2 8 0,2 0-8 16,-3-3-15-16,5 5 0 0,-4-2 25 15,1 0-28-15,-2-3 8 0,-2 3-5 0,2-3-6 16,-5 1-12-16,0-1 10 0,0-1-2 0,-3 1-1 15,-2-1-20-15,0 2 10 0,-6-1-5 0,4-3 3 16,-3 1-21-16,2-1 3 0,-2-2-28 0,2 1-9 16,0-3-32-16,1 1-34 15,1 1-68-15,1-2-50 0,5-1-9 16,0 0-39-16,0 0-11 0,0-7 14 0,6 2-36 0,1-2-36 16,1 1-34-16,2-4-35 0,3 0-5 15,-2-1 43-15,6-1 36 0,-4-1 56 16,2 0 62-16,-1 2 15 0,0 0 67 0,-3-2 61 0,2 4 61 15,-3 2 57-15,-3-3 20 0,1 3 8 16,-2 2 21-16,-1-2 35 16,2 1 0-16,-4 4-4 0,-1-3-12 0,1 2-9 0,-1 0-23 15,-2 3-1-15,0-4-24 0,0 4-9 0,0 0 11 0,0 0-6 16,0 0-22-16,6 10 14 0,-4-8 6 16,1 3-23-16,-1 4-2 0,4-1 19 15,-4-1-17-15,3 1 13 0,0 3 18 16,-2 1-26-16,4-3 12 0,-4 2 1 0,2 0 0 15,-2-1-10-15,-1 1 7 0,1-1 0 0,-3-1-20 16,-3 2-8-16,1 0 0 0,-1-2-7 0,-2 2 2 16,0-1-16-16,-3-1 9 0,0 1-19 15,1-1 8-15,-1-3-41 0,0 1 5 0,0-1-15 16,1-2-25-16,2-2-75 16,0 2-10-16,0-3-26 0,5-1-33 0,0 0-23 15,0 0-1-15,-3-6-11 0,3 6 14 0,8-10 26 0,-3 4-13 16,5 0 19-16,0-1 17 15,3 0 30-15,-2 1 35 0,2 1 34 0,-1 0 24 0,1 1 26 0,0-1 30 16,-5 4 21-16,4-1 10 0,-4 0 23 16,0 2-5-16,0 2 23 15,-1-1 5-15,0 0-43 0,1 0 7 0,0 3 3 0,-3-3 15 16,-2 4-36-16,2-3-7 0,-3 3-26 0,1-3-41 16,-2 3-18-16,1 0-59 0,-4-2-38 15,1 2-72-15,1 0-212 0,-3-1-548 0,1 0 33 16,2 0 177-16,0-4 59 0,-2 2 74 15,2-2 36-15</inkml:trace>
  <inkml:trace contextRef="#ctx0" brushRef="#br0" timeOffset="8498.94">8465 6068 1000 0,'-3'-8'435'16,"-2"1"-66"-16,2 3-3 0,1-1-46 15,-1 1-46-15,0 1-80 0,1-1-60 0,2 4-45 16,-5-1-71-16,5 1-84 0,0 0-129 0,-8 0-407 15,8 0-142-15,0 0 60 0,0 0 55 0</inkml:trace>
  <inkml:trace contextRef="#ctx0" brushRef="#br0" timeOffset="8926.6">8516 6087 1576 0,'2'4'492'0,"-2"0"-116"0,0 1-5 0,0 1-20 16,0 0-24-16,0 0-30 0,0 1-12 0,0-1-19 15,0 1-18-15,0 0-28 16,0-2 26-16,0 1-62 0,0 1 13 0,3-2-5 0,-3-2-7 16,2 2 1-16,-2-1 78 0,0-4 2 15,3 4-7 1,-1-1-26-16,-2-3-41 0,8 2 41 0,-8-2-23 0,10 1-146 0,-4-1-3 0,1 0-7 16,-7 0 22-16,13 0-19 0,-5-1 4 0,2 0-30 15,-2 1-28-15,2-1 4 0,0 1-22 0,0-1-41 16,-2-2-3-16,2 3-39 0,0 0 16 15,-2-1-7-15,0 2 10 16,-3-1 12-16,1 0-17 0,1 4 27 0,-2 2 21 16,-2 1 39-16,0 0 12 0,-1 4 3 0,-4 1 15 0,-2 3 26 15,-3 2 3-15,0 3 17 16,-4 3 3-16,-5 4 3 0,-2-2-16 0,6-2 10 0,-1-5-20 16,5-5-18-16,-2 0-3 0,5-5-5 0,0-1-4 15,3-1 4-15,2-6-15 0,0 0-10 16,0 0-34-16,15-13 11 0,0 2-34 15,10-10-41-15,1-3-4 0,3-2-16 0,6-10-44 0,-1-1-15 16,-1 1-23-16,-7 8 3 0,-1-2-32 0,1-1-24 16,-5 6 27-16,-3 6-45 15,-3 4-1-15,-5 2-110 0,-2 3-194 0,0 3-464 0,-1 0 124 16,-2 0 73-16,0 2 98 0,-2 0 61 16,-2 3 80-16</inkml:trace>
  <inkml:trace contextRef="#ctx0" brushRef="#br0" timeOffset="14702.68">2326 7063 1348 0,'0'0'410'0,"-10"11"-23"0,6-3-32 16,0 2-30-16,-3 4-20 0,-1 5-3 0,-2 1-72 16,-5 12 6-16,1 4-31 0,-1 0 7 15,0 1-43-15,-1-2-28 0,1 0 12 16,-1 1-50-16,2-2-29 0,1-3-23 0,0 0-23 16,3-5-43-16,2-4-52 0,1-1-50 0,1-2-101 15,1-1-112-15,2-1-371 0,-2-4-182 16,3-1 112-16,2-3 47 0,-3-3 79 0</inkml:trace>
  <inkml:trace contextRef="#ctx0" brushRef="#br0" timeOffset="15089.83">2303 7151 954 0,'21'-15'410'0,"-1"-1"-52"0,1 9-15 0,-1-1-33 0,-1 4-34 16,-1-2-15-16,-3 5-25 0,0 3-26 15,-5 3-16-15,-2 1-14 0,-3 2-86 0,-7 7 1 16,-4-1-21-16,-4 10-2 0,-8 8-6 16,-2 0-14-16,-3 0 22 0,-5 9-26 15,-4-5 4-15,8-8-14 0,-2-3 0 0,0-2 3 0,3-2 13 16,5-5-21-16,2-2 37 15,4-3-22-15,2-2 24 0,-3 1 0 0,5-3-16 0,0 0-8 16,1 0 39-16,1-1-25 0,2 0-11 0,3 1 13 16,-1-1-8-16,-1-1 1 0,3 1 4 15,3 0-12-15,0 0 7 0,1 0-28 16,2-3-15-16,2 2-8 0,-1 0-28 16,3-3-31-16,1 3-40 0,1-4-32 0,-1-1-73 15,1 0-68-15,4 0-83 0,-1-5-83 0,1 4-437 16,4-6 41-16,-2 2 122 15,0-1 52-15,5-2 53 0</inkml:trace>
  <inkml:trace contextRef="#ctx0" brushRef="#br0" timeOffset="15403.28">2506 7450 778 0,'0'-2'322'0,"0"2"1"0,0-4-39 0,0 4 43 0,0 0-19 16,0 0 1-16,0 0-22 0,-11 12-36 0,7-7 30 16,-1 3-53-16,0-1-13 0,1 1-30 15,0 1-17-15,1-1-14 0,3 2-72 0,-2-2-28 16,2 2 17-16,2-1-7 0,1-3-10 15,1 2-18-15,4-3 0 16,-2 1 10-16,4-2-15 0,-2-1 10 0,2-3 10 0,0 0 13 16,0 0 13-16,-2 0 25 0,-1-4 13 0,-1 1 16 15,-1-1 15-15,-3 0 10 0,1 0 46 0,-3-3 28 16,-3 1-45-16,-1 0 7 0,1-1-18 0,-7 1-54 16,4 1 8-16,-4 1-41 0,-2-1-28 15,2 1-18-15,-1 3-51 0,-2 0-52 0,2 1-51 16,-1 1-32-16,1 0-27 0,0-1-61 0,2 4-105 15,-1-2-227-15,0 1-475 0,4-1 68 16,1-1 122-16,5-1 85 0,0 0 73 16,0 0 68-16,0-8 53 0</inkml:trace>
  <inkml:trace contextRef="#ctx0" brushRef="#br0" timeOffset="15553.81">2724 7180 1361 0,'0'-4'494'0,"0"4"-61"15,0 0-34-15,0 0-89 0,8 6-6 16,-6 1-22-16,-2 2-26 0,0-1-31 0,-2 5-5 16,2 4-12-16,-3 3-24 0,-2 4-33 0,0 3-36 15,-3 8-81-15,-2 0-50 0,0 1-66 0,2-4-92 16,-2 2-171-16,2-7-546 16,3-6 26-16,-1-2 104 0,4-4 75 0,2-2 80 15,0-5 63-15</inkml:trace>
  <inkml:trace contextRef="#ctx0" brushRef="#br0" timeOffset="15761.68">2927 7211 1535 0,'0'0'492'0,"0"0"-111"0,0 0-15 15,-5 18-30-15,2-8-19 0,0 6-46 0,-1 2-17 16,0 3-19-16,-1 4-25 0,0 1-3 15,0-1-27-15,-2 11-45 0,-1-4-71 0,0-1-38 16,3-5-70-16,0-2-91 0,-1-1-109 16,4-4-201-16,2-4-466 0,0-3 92 0,2-2 112 15,1-1 8-15,0-5 121 0</inkml:trace>
  <inkml:trace contextRef="#ctx0" brushRef="#br0" timeOffset="15922.21">3068 7465 1433 0,'2'-2'461'15,"-2"2"-57"1,3-5-23-16,-3 5-25 0,0 0-18 0,0 0-38 0,0 0-37 0,-5 13-22 0,4-8-8 16,-3 1-46-16,1 4-29 0,0-1-60 15,-2 0-88-15,0 0-56 0,0 3-95 16,0-5-222-16,2 2-559 0,-2 3 70 0,2-3 99 16,1-1 70-16,0-4 86 0</inkml:trace>
  <inkml:trace contextRef="#ctx0" brushRef="#br0" timeOffset="16051.37">3091 7377 1174 0,'-3'-4'413'0,"0"0"-12"0,-1-1-78 0,0 4-77 0,2-2-98 0,2 3-107 16,-5-4-171-16,5 4-613 0,0 0 96 0,0 0 25 0,0 0 56 15</inkml:trace>
  <inkml:trace contextRef="#ctx0" brushRef="#br0" timeOffset="16597.04">3183 7430 1389 0,'-2'14'410'16,"-2"-3"-54"-16,2-2 12 0,2 3-37 16,-2-6-27-16,2 4 60 0,-3-1-26 15,3-2-52-15,-2 3-14 0,2-3-47 16,0 0-5-16,2-1-15 0,-2 0 15 0,0-1-15 0,3-3 2 15,-3 2-51-15,0-4-10 0,4 2-3 0,-4-2-2 16,8 0 2-16,-8 0-7 0,10 0-16 16,-4-2-2-16,-6 2 23 0,13-3-39 0,-8 2-10 15,-5 1 8-15,13 0-25 0,-9 0-52 16,4 0-21-16,-2-2-43 0,-6 2-43 16,15 0-52-16,-7 0-64 0,0 0-25 0,2-2-15 0,-3-1-60 15,3 2-86 1,1-2-62-16,2-1-144 0,-1 0-263 0,1-3-23 0,0 5 108 0,0-2 365 15,-1-1 285-15,-1 2 136 16,-1-2 124-16,-4 4 68 16,1-2 30-16,-2 2 0 0,0 1-64 0,-5 0 28 0,0 0 31 0,11 5 110 15,-11 1-33-15,0 1-83 0,-3 3 60 0,1 1-26 16,-4 6 85-16,1-1 2 0,-3 5-54 0,1-2-12 16,-4 5-36-16,-4 4-13 15,-1 1-11 1,-1-3-53-16,4-6 13 0,0-3-5 0,3-5-52 0,2 1 21 0,3-4-10 0,-2 0-93 0,1-4 21 15,3-2-15-15,1 0-6 0,2-3-15 16,0 0-5-16,0 0-28 0,-2-12 5 0,4 2-41 16,3 0-41-16,1-5-43 0,1 1-8 15,3 0-49-15,3-4-41 16,3 1-38-16,-1-1-10 0,1 3-75 0,1-2-58 0,1 4-90 0,8-8-527 16,-3 4 94-16,-2 6 116 0,1-2 71 0,2 5 82 15,-1-1 62-15</inkml:trace>
  <inkml:trace contextRef="#ctx0" brushRef="#br0" timeOffset="17002.06">4277 7376 1013 0,'-12'6'425'16,"0"0"-49"-16,-4 2-15 0,-2 3 56 15,0 2-33-15,-3-2-66 0,3 2-14 0,0-1-25 16,3-3-25-16,2 2-14 0,1-1-32 0,2-1-42 15,1-3 6-15,4-1-42 0,0 2 3 16,3-3-2-16,-1-2-6 16,3-2-20-16,0 0-18 0,10 0 0 0,-10 0 13 0,18-5 8 15,-8 3-24-15,0-2 11 0,-1 2 2 16,0 2 0-16,0-1-76 0,-1 2 12 0,-1 0-2 16,3 3 7-16,-5-1 1 0,0 3-19 0,0-1-15 15,-2 3-59 1,2 2-61-16,-4-2-5 0,0 0-87 0,2 1-101 0,0-1-301 0,0-1-412 15,4-1 74-15,-2-1 153 0,3-4 75 0,2 3 84 16,0-5 59-16</inkml:trace>
  <inkml:trace contextRef="#ctx0" brushRef="#br0" timeOffset="17460.8">4824 7106 1443 0,'0'0'471'0,"0"0"-15"0,0 0-131 0,5 19-26 16,-5-10-40-16,0 5-13 0,-3 1-16 0,1 4-20 15,-1 4-16-15,0 2-14 0,-2 1-29 16,0-1-11-16,0 0 11 0,-2-1-23 0,4-6-30 16,-2 1-4-16,2-4-25 0,1-3 29 15,-3 0-6-15,2-1-13 0,1-3-12 16,-4-2 15-16,1 0-34 0,-3-4 16 0,0 3-23 0,1-4 3 15,-3 3 17-15,-1-3-22 0,-1 4 14 16,-1-2-30-16,-5 3 16 0,3 1-3 16,-3 2-3-16,0-1-15 15,2 3 25-15,-1 0 85 0,1-2-23 0,3 3 5 0,0-4-46 0,1 4 26 16,7-6-18-16,2 3-6 16,0-2-4-16,3-3-4 0,3 0-1 0,2 1-27 0,3-3 17 15,4-2-1-15,4 0-44 16,7-3 29-16,0-2 5 0,5-2-6 0,-2-2 1 0,0 2-8 0,0-1 18 15,-3-1 3-15,2 2-16 0,-8 1 18 16,2 2 15-16,-6 0 11 0,0 3-8 16,-1 0-33-16,-3 2 33 0,1 0-18 15,-3 3 31-15,-2 0-36 0,-3 2-44 0,-2 1-10 0,0 4-71 16,-4-3-72-16,1 3-88 16,-2 0-93-16,-11 7-293 0,13-6-532 15,1-4 117-15,0 0 139 0,-1-1 79 0,3-3 88 0,3 0 68 0,-3-4 82 16</inkml:trace>
  <inkml:trace contextRef="#ctx0" brushRef="#br0" timeOffset="17579.74">4953 7405 279 0</inkml:trace>
  <inkml:trace contextRef="#ctx0" brushRef="#br0" timeOffset="17986.86">5091 7461 1569 0,'-13'8'440'0,"2"2"-46"0,1-2 3 15,2 0-34-15,-2 2-40 0,5-1-21 0,-3 2-46 16,0 2-5-16,1-2-31 16,4 1-33-16,-1-3 51 0,3 1 2 0,1-1-32 0,0 1-9 15,3-2-40-15,2-2-11 0,2 0-12 0,4-1-8 16,-1-3-100-16,0 1 3 0,6-3 10 16,-1-2-3-16,0 1-4 0,1-3-4 0,2-1 4 15,-3-1-11-15,1-1 18 16,-3-2-13-16,1 2-5 0,-5 0 13 15,1 2 15-15,-3-1-8 0,1 2 19 0,-3 1-29 0,-2-1 11 16,2 2-1-16,-5 2-2 0,0 0 36 0,0 0-13 0,0 0-8 16,2 10 13-16,-2-10-18 15,-2 9 13-15,2-3-18 16,0 1-12-16,0-1-9 0,-2 4 19 0,4-2-26 16,-2-2 2-16,0 4-27 0,2-2-50 0,-1-2-66 0,4 1-56 0,-3-2-33 15,3 0-67-15,1-2-67 16,2 1-204-16,2-2-520 0,0-1 105 0,2-1 74 0,1 0 103 15,3 1 84-15,2-2 72 0,0 0 81 0</inkml:trace>
  <inkml:trace contextRef="#ctx0" brushRef="#br0" timeOffset="18577.63">4904 7401 1484 0,'-6'0'443'0,"6"0"-64"0,0 0-16 0,-7 1-86 0,7-1-55 0,-6 2-32 16,6-2-108-16,0 3-100 0,0-3-256 15,6 6-568-15,-2-2 125 0,4-1 34 0,0 1 96 0</inkml:trace>
  <inkml:trace contextRef="#ctx0" brushRef="#br0" timeOffset="19197.16">6060 7688 1512 0,'-5'-6'443'0,"2"1"0"16,-2 1-31-16,2-4-100 0,-2 0-22 0,0 0-1 15,-1-3-28-15,0-3-26 0,0-3-7 16,1-1-20-16,0-3 9 0,2-5-30 16,-2-3-28-16,5-2-11 0,0 1-7 0,5-9-21 15,-2 1-5-15,5 2 1 16,0 8-17-16,-1 5-19 0,0 5 7 0,1 0-41 0,0 4 5 15,-3 5-7-15,1-1-11 0,-2 5 18 0,1 3-36 16,-2 2-2-16,-3 0 13 0,0 0-16 16,0 11 18-16,-5-2-5 0,-3 6-25 0,-7 5-11 15,-4 7-33-15,-1 1-18 0,-3 1-23 16,1-1-5-16,-2-3 25 0,3-2-7 0,6-4 10 16,-1-2 13-16,1-3 2 0,3-2 23 0,-1 0-15 15,3-1 13-15,2-4 26 0,0 1 7 0,1 1 10 16,1-6 1-16,2 2 14 0,3 0 11 15,-1-3 0-15,2-2 5 0,0 0-33 16,10 6 31-16,-5-6-16 0,8 0-3 16,2 0 9-16,6-2-27 0,2-2-9 0,7 2-19 15,-1-3-48-15,4 1-43 0,11 0-55 0,-8 0-50 0,7-1-75 16,-2-3-174-16,-5 6-481 0,-5 2 125 16,-6-3 3-16,1 3 113 0,-3-1 68 15,0 1 52-15</inkml:trace>
  <inkml:trace contextRef="#ctx0" brushRef="#br0" timeOffset="19695.84">6585 7506 1261 0,'0'-5'443'0,"0"5"-41"0,0 0-8 0,0 0-23 0,-12 1-28 15,12-1-35-15,-19 8-86 0,7-5-30 16,-2 3 0-16,-1-1-10 0,-2 1-3 0,1 0-7 15,1-2-16-15,2 2-44 0,0-1 14 16,2 1-29-16,1-1 13 0,5-3-20 0,-2 2-13 0,4-2 5 16,1 2 5-16,2-4-26 15,0 0 21-15,10 3 48 0,-3-3 1 0,3 3 15 16,1-2-44-16,2-1 1 0,-2 2-34 0,3 3 46 0,-3-1-33 16,2 2 13-16,0 2-19 15,-1 1-7-15,-2 3 49 16,0 4-21-16,-4 1-12 0,-3 0 20 0,-1 3 5 0,-4 1-3 15,-4 5-22-15,-4 6 17 0,-3-2-30 0,-5 2 12 16,-2-4-7-16,-1-1-31 0,0-3-5 0,1-5 3 16,5-4-34-16,2-3-66 0,0 0-21 15,3-5-66-15,2 0-47 16,0-2-73-16,3 0-52 0,0-3-128 0,0-4-215 0,5 2-432 16,0 0 84-16,10-11 123 0,-2 0 115 0,2 1 56 0,1-6 77 15,4 1 49-15</inkml:trace>
  <inkml:trace contextRef="#ctx0" brushRef="#br0" timeOffset="20533.25">6667 7720 1374 0,'3'-6'443'0,"2"3"-16"0,0-3-43 16,0-2-30-16,-2 3-27 0,2-1-12 15,-2-1-18-15,2-1-15 0,-3 2-24 16,0 2-10-16,-1-2-30 0,1 0-29 0,-2 2-35 0,0-3-3 15,0 3-15-15,0 4-24 16,-3-7 3-16,3 7-5 0,-4-1-20 0,4 1 0 0,-11 6-19 16,6-1 4-16,0 1 78 0,-2 2-40 0,1 1 4 15,-2 0-40-15,3 3 13 0,0-3-24 16,2 2-22-16,1-1-44 0,2-1 8 16,0-3-19-16,3 3-14 0,4-4-3 0,2 0-18 15,3-1-11-15,3-3-27 0,0-1 22 16,2 0-9-16,3-6 30 0,2 0-28 0,1-5 20 15,1 4 3-15,-3-6 25 0,6-5 24 0,1 0 12 16,-7 2 24-16,-5-1 9 0,4-8-4 0,-2-2 35 16,-3-4-10-16,1-5 13 15,-3 1 0-15,2-4-26 0,-4 1 8 0,1-1 8 16,-1 0-46-16,1 2 25 0,-6 8 23 0,1 9 3 16,-2 2-11-16,-3 5-7 0,1 1 3 0,0 1-11 0,-3 9 8 15,-3-1-95-15,3 3 0 16,0 0 3-16,-7 11 7 0,1-1-2 0,1 5 10 15,-3 8 13-15,-2 8-8 16,-2 2-10-16,1 5 13 16,1-1-21-16,-3 1-33 0,3-1-25 0,2-1-37 0,3 0-2 0,0-8 26 15,2-4-3-15,3-5 18 0,3 0 23 0,-3-4-3 0,5 2-17 16,3-5 10-16,-3-2 23 0,5-2-6 16,0-3 1-16,1-3 5 0,-1-2 20 0,5 0-5 0,-2-5 26 15,5 1 12 1,-2-5 11-16,-1 2 36 15,3-5 20-15,0-3-2 0,-3-2 2 0,3-8-10 0,0-2 5 0,-3-2-8 16,-1-7-5-16,-2 3-7 0,-2-3 12 0,-1 4 3 16,-2 5-8-16,0 4-8 0,-4 6 4 0,0 4 4 15,1 0 8-15,-4 5-34 0,0 2 19 0,0 6 7 16,0 0-18-16,0 0 3 0,-10 11-21 16,5-1 8-16,-3 7 18 0,3 2-28 0,-2 1 5 15,-3 5 0-15,-4 6 13 0,7-1 5 16,-1-6-11-16,1 1-40 0,4-1-1 0,-3-3-40 0,4-2 5 15,0 0-21-15,2-2-20 0,2-4-23 16,-1-2-8-16,4-3-15 0,0 0 5 16,2-3-23-16,4-5-26 0,-1 1 10 15,3-2-2-15,2-4-2 0,3-2 14 0,0 0 19 16,0-1 38-16,-2-1 21 0,1 1 25 0,-3 1 51 31,-2 1 26-31,-2 1 5 0,-2 2 23 0,0-1 26 0,-1 3-3 0,-2 2 26 0,0 2-3 0,1-1-15 16,-4 0-1-16,0 3-9 0,2 1-6 0,-2 1-9 15,0-1-6-15,1 0 7 16,-3 1-47-16,0-1 1 0,0 1-61 0,3 0-27 0,-3-2-47 16,0 1-64-16,2 0-121 0,-2-1-247 15,2-4-423-15,-2-1 118 0,3 2 56 0,-3-2 92 16,0 0 67-16</inkml:trace>
  <inkml:trace contextRef="#ctx0" brushRef="#br0" timeOffset="20658.14">7587 7433 939 0,'0'0'202'15,"-2"-3"-138"-15,2 3-166 0,-10-4-513 0</inkml:trace>
  <inkml:trace contextRef="#ctx0" brushRef="#br0" timeOffset="20869.24">6913 7487 1264 0,'0'0'522'0,"0"0"-46"16,0 0-35-16,0 0-40 0,0 0-60 16,0 0-72-16,21-5-72 0,-8 4-62 0,5-1-45 15,4 0-54-15,2 1-100 0,-1 1-169 0,5 0-440 16,-3 0-164-16,6-2 117 0,0 4 37 0,-3-2 79 15</inkml:trace>
  <inkml:trace contextRef="#ctx0" brushRef="#br0" timeOffset="21149.11">7603 7469 1149 0,'2'7'527'15,"1"-2"-107"-15,0 2-11 16,-3 0-27-16,2-1-8 0,-2 5-37 0,1-4-17 0,-1 4-5 15,0-3 38-15,0 1-61 0,0 1-18 0,-1 1-38 16,1-3-11-16,-2 1-25 0,2 0-21 16,0-3-10-16,0 1 20 0,0-3-125 0,0 0 23 15,0 0 33-15,0 1-22 0,0-5-9 0,5 2-2 16,-5-2-10-16,0 0 0 0,12-7-8 16,-6 6-10-16,2-3-11 0,-1 1 14 0,-1-1-6 15,3 4-17-15,-1-3-1 0,0 1 16 16,-1 0-39-16,1 2-15 0,-8 0-15 0,13 0-67 15,-5 2-41-15,0 0-64 0,-1-1-23 0,1 1-43 16,-1-2-34 0,-1 1-71-16,-1 2-139 0,0-1-355 0,3-2-123 0,-3 0 76 0,3 0 111 15,-8 0 140-15,12-2 13 0,-4-2 67 16</inkml:trace>
  <inkml:trace contextRef="#ctx0" brushRef="#br0" timeOffset="21426.78">7859 7587 1174 0,'0'0'438'0,"0"0"5"0,0 0-21 0,5 6-66 16,-7-1 23-16,-1 4 82 15,1 3-116-15,-1 1 39 0,-2 6-33 16,0 5-6-16,3 0-14 0,-4 3-47 0,1-1-23 0,-5 10-18 16,0-4 3-16,-4 0-21 0,2-1-13 0,-3-1-50 15,2-7-16-15,2-4-11 0,1-5 3 16,0-1-12-16,5-1-26 0,-3-5-8 0,3-1-3 16,2-1-25-16,-1-4-20 0,4-1 7 0,0 0 8 15,-4-9-56-15,8 1 15 0,0-2-11 0,4-6-25 16,0 1-18-16,2-3 8 15,1-2-46-15,4-7 7 0,5 0-60 0,-2 3-35 16,0 5-35-16,0 4-18 0,-3-2-43 16,3 3-24-16,-2 1-74 0,5 0-186 0,-4 1-554 0,1 1 126 15,1-1 54-15,1 1 140 0,-2 2 75 0,2-2 56 16,1 0 56-16</inkml:trace>
  <inkml:trace contextRef="#ctx0" brushRef="#br0" timeOffset="21758.75">8839 7420 1533 0,'-23'5'499'0,"0"1"-26"0,0 0-48 0,-3 1-36 16,0-1-12-16,3 1-22 0,0 0-35 0,5 0-58 15,3-1 1-15,4 3-35 0,1-4-31 0,3 3-5 16,1-2-20-16,6 2-11 0,0-2-18 16,3 0-30-16,3 5 10 0,3-3 5 0,-1 0-16 15,-1 3 42-15,-1-4-18 0,-1 4 4 16,-2 2-17-16,-3-5-5 0,-3 4-23 0,-4 1-26 15,-7 1-41-15,-3 0-61 0,-11 6-113 16,-3 1-90-16,-20 3-452 0,17-6-433 0,-2-1 79 16,-5-3 174-16,-2-1 51 15,-1-2 103-15,-5-3 97 0,-2-3 6 0</inkml:trace>
  <inkml:trace contextRef="#ctx0" brushRef="#br1" timeOffset="26802.94">10765 4499 852 0,'4'-11'353'0,"-1"6"-30"15,0 6 12-15,-3-1 8 0,0 26-8 0,-3 14-2 16,-7 21-21-16,-3 18 34 0,-10 33-18 15,-3 23-14-15,-5 15-32 0,-12 59-85 0,-3 10-15 16,0 15 40-16,2 10-1 0,-4 8-45 16,4 9-66-16,3 10-94 0,7-3-60 0,1-5-97 15,5-1-145-15,-6-1-155 0,11-16-503 0,-2-14 25 16,2-12 177-16,8-59 22 0,-3-8 68 16,2 1 68-16</inkml:trace>
  <inkml:trace contextRef="#ctx0" brushRef="#br2" timeOffset="33724.16">11252 5221 1220 0,'0'0'397'15,"0"0"-36"-15,0 0-8 16,0 0-25-16,15 5-26 0,-7-4 13 0,2-1 30 0,2 1-14 16,4 1-40-16,-3-2-6 0,2 1-47 0,0-1-5 15,1 0-47-15,-1 0 6 0,1 1-30 16,-3-1-42-16,2 1-41 0,-2-1-22 0,0 2-60 16,2-2-48-16,-2 2-21 0,2-1-35 15,-2 0-49-15,2-1-108 0,1 3-138 0,-3-1-578 16,5-1 117-16,0-1 34 0,-1 2 122 15,1 0 72-15,-2-2 39 16</inkml:trace>
  <inkml:trace contextRef="#ctx0" brushRef="#br2" timeOffset="33997.83">12323 5125 1274 0,'0'0'528'0,"-8"0"-32"0,8 0-120 0,-8 7-12 0,4-2-39 0,-2 4-38 0,2 3-1 0,-4 2-40 15,0 3-13-15,-2 2-23 0,2 4-21 16,-3-2-33-16,-4 10-5 0,3-1-35 16,-4 0-29-16,6-7-44 0,0-1-30 0,2-1-23 0,-2 1-41 15,2-3-34-15,3-4-51 16,-3 1-38-16,3-1-97 0,2-2-123 0,-2-1-75 15,0 0-434-15,3-3 127 0,-1-1 36 0,3-3 85 0,-2-1 51 16</inkml:trace>
  <inkml:trace contextRef="#ctx0" brushRef="#br2" timeOffset="34726.72">12372 5127 1407 0,'21'-5'425'0,"-1"2"-28"0,-5 0-39 16,1 1-12-16,-1 4-29 0,-5 1-35 0,0-1-1 16,1 3-53-1,-4 2-10-15,-4 1-13 0,-3 1-31 0,-3 1 2 0,-1 2-22 0,-7 3-11 16,-2 3-7-16,0-2-36 0,-10 7-72 16,0-1 13-16,5-5-39 0,0 0 19 0,0-4-8 15,0 0-1-15,1-1-6 0,3-1 11 0,0-2 14 16,0 1 0-16,2-2 30 0,4 0-30 15,-2 0 2-15,2 0 21 0,3-2-18 16,-3 1 20-16,5-2-10 0,-1-1 18 0,1 1-33 16,1 1 20-16,2-1-33 15,2 1 23-15,1-4-28 0,1 2-21 0,2 1-28 0,-1-4 13 0,3 2-51 16,2 1-8-16,0-4 0 0,1 0-43 16,4-3-18-16,0 2 4 0,3-3-1 0,0-1-6 15,0 0 38 1,2-2-10-16,-2 2 21 0,0-2 23 0,-2 2-16 0,-3 0 34 0,-1 2 30 15,-2 1 14-15,-2-1-19 0,0 1 39 16,-3 2-14-16,-5 0 22 0,8 2 7 0,-3 1-5 0,-5 0 12 16,3 2-7-1,-1 0 8-15,0 1-15 0,1 0 9 16,0-1-10-16,0 4-2 0,2-3 28 0,2 1-31 0,-1-1 6 0,4 0-8 0,0 0 4 16,2-1-4-16,1-3 18 0,1 1-6 15,-2-1 8-15,1-4 13 0,0 2 31 16,-3-2 23-16,1 1 12 0,-1-4 6 0,-3-1 7 15,-1 3 23-15,-2-4 1 16,-1 2-16-16,-2-2-36 0,-2 1 15 0,-4-2-12 0,0 1-5 16,-3 0-1-16,-2 2-38 0,-3 1 34 0,0-1-31 15,-2 1-31-15,-1 1 0 0,1 3-57 16,0-4-24-16,0 4-45 0,-1 0-25 16,1 0-7-16,1 1-78 0,2 2-40 0,0-1-154 0,3 1-146 15,2-1-407-15,2-1 97 16,2-1 83-16,3 0 99 0,0 0 56 0,0 0 52 15</inkml:trace>
  <inkml:trace contextRef="#ctx0" brushRef="#br2" timeOffset="34928.62">12910 5075 1274 0,'3'-6'504'0,"1"2"-30"0,-3 1-57 0,-1 0-17 16,0 3-24-16,0 0-25 0,3 10-52 0,-3-3 3 0,-3 5-61 15,2 0 20-15,-3 7-36 0,-1-1-30 16,0 8-3-16,-5 7-31 0,-1 2-23 0,-2-2 26 31,-2 5-59-31,-3-1-69 0,3-1-65 0,1-2-35 0,-1 0-66 0,-3-3-39 0,3-3-97 0,7-9-169 16,1 0-551-16,1-3 75 16,4-3 97-16,-1-6 72 0,3 0 74 0,3-3 63 15</inkml:trace>
  <inkml:trace contextRef="#ctx0" brushRef="#br2" timeOffset="35281.67">13064 5168 1128 0,'3'-11'520'0,"2"4"-11"0,-3 1-61 0,-2 3-7 0,0 3-124 0,0 0-25 16,0 0-31-16,-10 15 0 0,5-3-18 15,0 1-23-15,-3 2-53 0,-2 7 17 16,-3 5-31-16,-2 3 50 0,0 1 4 0,1 0-71 15,-3-2-52-15,3 2-45 0,2-2-42 0,-3 1-20 16,7-9-15-16,0-2-29 0,6-4 16 16,-1-2-6-16,3-6-19 0,0 1 19 0,3-2 14 15,1 0 12-15,-1-4-5 0,5 0-5 16,-1-4 34-16,1 1 7 0,3-1 18 0,-1-3 46 16,2 0-16-16,-3 3 19 0,1-2 22 15,-2 1-17-15,-1-1 25 0,0 3-2 16,-1 0-16-16,-1 1 3 0,-5 0 3 0,0 0-14 0,10 2-9 15,-7 2-37-15,-3-4-9 0,0 7-57 16,-3-2-13-16,3-1-59 0,-5 2-73 0,0 0-134 16,2-1-707-16,1 2 78 0,-1-2 60 0,0 0 157 15,3-3 34-15,0-2 65 0,3 4 91 16</inkml:trace>
  <inkml:trace contextRef="#ctx0" brushRef="#br2" timeOffset="35403.28">13082 5469 1023 0,'0'-5'387'0,"-5"1"-44"0,3 0-79 0,2 4-60 16,-3-3-160-16,-3 2-259 0,6 1-507 15,0 0 77-15,0 0 66 0</inkml:trace>
  <inkml:trace contextRef="#ctx0" brushRef="#br2" timeOffset="35709.4">13144 5467 1379 0,'0'3'425'16,"0"3"-10"-16,0-1-36 0,2 1-29 0,-2 1-17 15,0-1-28-15,0 1-24 0,-2-2-27 16,-1 3-27-16,3-1-19 0,-3 1-19 0,3-3-30 0,0 0-6 16,-2 2-22-16,2-1 15 15,0-2 2-15,-2 0 6 16,2-4-11-16,2 5 83 0,-2-5-27 0,2 3-15 0,-2-3 8 0,0 0-20 15,0 0-6-15,0 0-15 0,16-5-38 0,-16 5-11 16,8-5-2-16,-6 5-18 0,-2 0 15 0,8-1-25 16,-8 1-26-16,7 0-38 0,-7 0-6 15,6-1-25-15,-6 1-61 0,0 0-42 16,10 1-48-16,-10-1-53 0,5 0-14 0,-5 0-79 16,8 1-107-16,-8-1-224 0,5 0-408 0,0 0 122 15,-5 0 82-15,13-1 90 0,-8 1 86 0,0-1 52 16</inkml:trace>
  <inkml:trace contextRef="#ctx0" brushRef="#br2" timeOffset="36059.89">13434 5483 1484 0,'0'0'394'0,"-6"0"-38"0,6 0-31 0,-10-2-10 0,10 2-56 16,-8 2 2-16,8-2-23 16,-10 3-10-16,5-1-34 0,3-1-28 0,-4 1 11 0,4 1-21 15,-4 2 3-15,4-2-16 0,-3 3 1 16,0 1 7-16,2 3-18 0,-2-3 20 0,0 4 14 16,3 1 9-16,-2 2 3 0,0 3 8 15,1-1 74-15,-2 1-10 0,0 2 8 0,0 0-34 16,-3 0 11-16,0 0-32 0,-2 2-25 0,2-3 13 15,-5-1-51-15,0 2-82 0,1-5-20 16,-4 1-39-16,3-2 0 0,-2 0 0 0,2-4 0 16,1 2-34-16,1-4-122 0,-4 0-90 15,7 0-53-15,-5 0-98 16,6-5-204-16,-1 4-582 0,-2-3 123 0,4 0 131 0,-1 2 95 0,0-2 96 16,1-2 63-16,3 2 53 15</inkml:trace>
  <inkml:trace contextRef="#ctx0" brushRef="#br2" timeOffset="36889.21">14144 5381 1356 0,'-13'6'486'0,"0"-1"-35"0,0 3-44 0,-3 0-108 0,1 0-14 0,-3 2-27 15,-2 1 6-15,5-2-34 0,-1 0-43 0,6-2-26 16,0 0-5-16,2-1-35 0,0 0-14 16,5-3 1-16,3 1-14 0,0-4 29 0,0 0-41 15,13 0-13-15,-3-4-12 0,1 1 30 16,2-1 23-16,0 2 102 0,-3-1-10 16,0 1-5-16,-2 1 21 0,2 1-105 0,-2-1 17 0,-1 2 16 15,-1 0-33-15,1 3-13 0,-4-2-8 0,2 3-10 16,-2 0-29-16,-1 0-58 0,-2 0-64 0,2 1-49 15,1 0-102-15,-3 4-48 0,3-3-244 16,1-1-607-16,0 2 169 0,-2-2 39 16,3 1 133-16,-2-3 59 15,2 2 53-15,2-5 72 0</inkml:trace>
  <inkml:trace contextRef="#ctx0" brushRef="#br2" timeOffset="37448.01">14907 5036 1433 0,'0'0'433'0,"0"0"-19"0,0 0-4 0,0 0-54 0,-2 14-21 0,0-6-23 0,-4 8-12 0,1-1-39 0,-2 9-8 16,-1-1-25-16,0 9-41 0,-5 2-3 0,1 2-12 16,-1-3 53-16,2 2-38 0,-2-3-21 0,6-5-38 15,-1-4-15-15,3-5-24 0,2 1-15 0,1-4-22 16,-1 0-9-16,1-3-25 16,1-3 3-16,-1-1-11 0,0 1 13 0,2-5 8 0,0-1-6 15,0-3-20-15,0 0 21 0,0 0 2 16,0 0 10-16,-14-6-9 0,12 0-4 0,-3-1 21 15,-2 2 3-15,1-1-29 0,1 1 3 0,-3 3 11 16,1-2-21-16,-1 1 2 0,-2 3-10 16,-1 0 26-16,1 0-13 0,-3 2 33 15,1 2-64-15,2-2 23 0,-1 1-17 16,3 0 19-16,-2 1-24 0,5-1-9 16,-2 1-2-16,4-2 5 0,0 2-5 0,3-4-8 0,0 0 19 15,10 6-6-15,0-5 0 0,1-1-16 16,2 0 40-16,0 2-17 0,2-2 16 0,3 3-25 15,0-2 5-15,-3 1 2 16,0 3 3-16,1-3 10 0,-1 2-18 0,-2 1 13 16,0-2-3-16,-2 1-28 0,-1 1-36 0,-3-2-15 0,1 2-30 15,-1-3-55-15,-1 2-109 0,-1-4-190 0,0 1-548 16,-2 3 79-16,1-2 85 0,-4-2 105 16,11 1 82-16,-6-1 64 0,-5 0 105 0</inkml:trace>
  <inkml:trace contextRef="#ctx0" brushRef="#br2" timeOffset="37986.86">15136 5331 1267 0,'0'0'478'0,"-10"2"-43"0,7 2-12 16,-3 0-73-16,-1 1-99 0,2 1-20 0,0 4-16 0,-3-1-26 15,1 1-33-15,-4 1 67 0,3-1-21 0,0 2-10 16,-2 0-36-16,0-1 5 0,3 2-35 15,-1-1-1 1,0-4-27-16,3 5-1 0,0-2-8 0,0 0-4 0,0-1 7 0,5 0-25 16,-3-2-9-16,0 1-19 0,3-1 2 15,3 0 0-15,0 0-11 0,2-2-1 0,-2 2-1 16,4-5 5-16,0 2 3 0,1-3-10 0,2 1-19 16,1-2 9-16,1-2 9 0,-1-1-15 0,2 1 24 15,2-5-34-15,-2 3 23 0,2-3 18 16,-2-1 0-16,0 0 30 0,-2-3-4 0,1 3 15 15,-4 1 5 1,-1-1 31-16,-1 1-11 0,-1 2-2 0,-2-1-31 0,-1 2 23 16,-2 3-4-16,2-2-11 0,-2 2-8 0,0 0-20 15,0 0 22-15,-7 10-32 0,4-5 15 0,1 2 20 16,-1-1-38-16,0 0 0 0,1 2 5 0,0 0-25 16,1-1-21-16,-1-1-21 0,-1 0-48 0,3-2-10 31,0 0-106-31,0 2-37 0,3-4-11 0,-1 2-54 0,-2-4-148 0,1 3-203 0,3-3-403 15,-4 0 73-15,0 0 108 16,0 0 110-16,8-4 56 0,-5-1 54 0,-3-1 70 16</inkml:trace>
  <inkml:trace contextRef="#ctx0" brushRef="#br2" timeOffset="38154.08">14928 5314 1062 0,'0'0'443'0,"0"0"-72"0,-8-1-79 16,8 1-77-16,0 0-116 0,0 0-339 0,0 6-500 15,0-6 85 1,5 6 89-16</inkml:trace>
  <inkml:trace contextRef="#ctx0" brushRef="#br2" timeOffset="38787.11">16092 5633 1218 0,'-5'3'379'15,"5"-3"51"-15,0 0-33 0,0 0-26 16,0 0-3-16,-15-8-17 0,9 5-13 16,1-2-87-16,-2 0 10 0,-3-3-8 0,1 1-10 0,-1-5 70 15,-2 0-27-15,-1-1-12 0,0-1 8 16,2-5-62-16,-1-2-8 0,4 0-12 0,0-3-5 16,3 0-21-16,0-3-13 0,5-2-25 15,5-9-19-15,0 2-30 0,3 8-36 0,0 4 21 0,0 4-28 31,-1 3-1-31,1 4 3 16,0 2-5-16,-1 3-33 0,-4 2-13 0,2 4 0 0,-5 2 25 0,0 0-7 0,3 11-23 16,-9-3-3-16,-1 7-5 0,-9 1-10 0,-6 11 7 15,-4 1-12-15,-3 0-21 0,-4 8 1 0,3-10 14 16,3 0 26-16,-1-1-10 16,3-1 26-16,5-6 7 0,3-4 5 0,3-3 1 0,4 2 9 15,-1-5 6-15,4-2-13 0,4 1 23 16,0-2-10-16,6-1-11 0,2-2 14 0,3-2 9 15,7 0-20-15,3-1-5 0,5-3-31 16,8-2-38-16,12-1-39 0,1-1-53 0,-3 0-34 16,0-3-61-16,2 4-46 0,-4-3-41 0,0 3-174 15,-8 1-573-15,-6-1 135 0,-2 2 8 16,-2 3 79-16,-1-3 107 0,1 3 57 0,2-1 67 0</inkml:trace>
  <inkml:trace contextRef="#ctx0" brushRef="#br2" timeOffset="51556.3">17048 5444 952 0,'-2'2'417'16,"2"-2"-31"-16,0 0-48 0,0 5-25 0,0-5-24 0,0 5-49 15,0-5-17-15,0 0-3 0,0 4-20 0,0-4-41 16,2 4 10-16,-2-4-24 15,0 5-17-15,0-5 3 0,0 6-21 0,0-6-38 0,0 0 7 16,3 2 3-16,-3-2-5 0,2 4-23 16,-2-4-8-16,0 0 25 0,1 3-27 0,-1-3 15 15,0 0 2-15,0 0 3 0,2 4-28 0,-2-4 33 16,0 0-92-16,0 0-5 0,0 0 30 16,0 5-4-16,0-5 2 0,0 0 8 15,0 0-26-15,0 0 10 0,2 3 13 0,-2-3-10 16,0 0 13-16,0 0-16 0,0 0 18 0,0 0-17 15,0 0-4-15,0 0 6 0,0 0-18 16,0 0 8-16,0 0-31 0,0 0-8 0,0 0-18 16,0 0 3-16,-4 4-26 0,4-4-15 15,0 0-23-15,0 0-82 0,0 0-92 0,0 0-69 0,0 0-136 16,0 0-300-16,0 0 62 16,0 0 95-16,0 0 92 0</inkml:trace>
  <inkml:trace contextRef="#ctx0" brushRef="#br2" timeOffset="52133.94">17074 5277 1195 0,'-2'-6'484'0,"-1"4"-49"0,0-4 20 0,1 2-81 16,-1 1-23-16,-2 0-26 0,5 3-49 0,-13 3-94 15,0-1 0-15,0 3-34 0,-5 1-17 16,3 2-8-16,-5 3 0 0,0 2-6 15,-1 0-17-15,1 0-28 0,1-1 12 0,1 1 1 16,5-3-11-16,-2 2-10 0,5-3-15 0,2 0 4 16,-2-1-27-16,5-2 10 0,3 1 7 0,1-2-15 15,2-2-15 1,1 1 26-16,-2-4-19 0,10 2 83 0,-2-2-1 0,4-2 5 0,-1-2-22 16,4 1-6-16,-2-2 6 0,2 0-39 0,1-2 25 15,-1 3 4-15,-2 0 1 0,0 0-1 16,-1 2-6-16,-1 0 5 0,-1 2-20 0,0 3 5 15,-2-2 28 1,-2 5-11-16,1 5 6 16,-4-1-66-16,1 4-19 0,-4 1 34 0,0 4-26 0,-2 3-2 0,-3 1 12 0,-6 12 0 0,1-2 3 15,-1-2 5 1,-5-1-7-16,0-2 7 0,-2 0-13 0,3-6 15 0,-1-5-14 0,1 1 17 16,-1-5-15-16,1 0-1 0,0-2-9 0,2-1-13 15,0-3 5-15,2-4-44 16,1 1-20-16,0-3-21 0,0 1-25 0,3-5-28 15,1 0-31-15,3 0-49 0,-2-3-23 0,3 0-28 0,2-1-97 16,2-1-51-16,1-1-548 0,2-3 56 16,1 0 133-16,4 0 26 0,-3-1 123 0,6 1 23 15</inkml:trace>
  <inkml:trace contextRef="#ctx0" brushRef="#br2" timeOffset="52482.23">17158 5543 1333 0,'8'-8'481'0,"2"0"-107"0,-2 1-3 0,0-1-43 0,-1 1-44 0,-1-4-10 0,2 4-23 16,-4-3-29-16,2 1 19 0,-1-2-41 15,0 4 4-15,-3-3-12 0,-1 2-20 0,1 0-34 16,1 0 21-16,-3 3-11 0,0 0-15 0,-3 0-10 15,1 3-5-15,2 2-26 0,0 0 23 16,-11 1-30-16,3 5-37 0,1 1 34 16,0 1 54-16,-2 2-8 0,-1 2-20 0,0 0-37 0,4 1-15 15,-1-3-15-15,2 1-20 0,3 2-52 16,1-3-48-16,-1-1-11 0,5 2-25 0,-1-4-21 16,6 1-33-16,2-2-40 0,2 0-70 15,-1-2-105-15,5-3-141 0,-1 1-409 0,2-4 107 16,-1 2 33-16,5-5 57 15,-1-1 66-15,-2 2 62 0</inkml:trace>
  <inkml:trace contextRef="#ctx0" brushRef="#br2" timeOffset="53012.01">17566 5269 934 0,'6'-22'461'0,"1"1"-29"16,-2 3-15-16,-2 4-76 0,2 1 4 0,-3-1-9 16,-1 4-32-16,1 2 101 0,0-1-50 15,1 1-1-15,-2 1-47 0,1 1-8 16,-4 3-7-16,2 3-26 0,0 0-35 0,0 0-14 15,0 0-7-15,-16 16-13 16,8-7-20-16,1 6-34 0,-1 5-12 0,-2 0 2 0,-3 11-15 0,0 1-16 16,2 3-112-16,-3-2 0 0,0 5 15 15,4-3-10-15,-1-3-29 0,1-5 1 16,3-5-5-16,1 2-26 0,2-4-13 16,-1-1-13-16,2-1-30 0,0-5-31 0,3 0 0 0,0-1 10 15,0-4-5-15,3-1 8 16,0 0-18-16,2-3 25 0,0-3-20 0,3-1 28 0,-1 0-15 0,1-3 10 15,5-2 16-15,0-1 14 0,2-4 27 0,0-3-4 16,3 0 1-16,-3-1 41 16,3-4 28-1,3-7 25-15,-1-1 1 0,1-4 22 0,-1 2 34 0,-2-2 23 0,-2-5 18 0,2 1 2 16,-3-3 18-16,1 1-5 0,-1 3-7 0,-2 3 17 16,-3 7-38-16,-2 7 43 0,0 0-7 15,-4 4 3-15,1 3 12 0,-2-2-23 0,2 3-13 16,-4 3 0-16,1 1-33 0,-2 4-5 0,0 0 23 15,0 0-23-15,-10 11-8 0,4 2-17 16,-1 2 22-16,-3 5-38 0,-6 11 23 0,3 1-13 16,-2 2-25-16,2 3 22 0,-2-2 57 15,2-2-38-15,3 2 23 0,-1-3-72 0,7-7-18 0,-2-3 0 16,4-1 0-16,-1-3 0 0,3-1 0 16,0-1-67-16,0-2-43 0,0-1-26 15,5 0-56-15,-3-2-5 16,2-4-13-16,0-1-18 0,4-1-25 0,0-3-46 0,-3 1-93 0,3-6-192 15,0 2-481-15,-1 0 113 0,1 0 77 16,0-5 174-16,-1 0 9 0,-2 2 91 0,1-5 71 16</inkml:trace>
  <inkml:trace contextRef="#ctx0" brushRef="#br2" timeOffset="53310.79">17466 5416 1251 0,'-5'2'469'0,"5"-2"-57"0,-5 1-123 0,5-1 3 16,0 0-39-16,0 0-30 0,0 0-13 0,0 0-26 16,23-1-30-16,-8-3-34 15,1 3-28-15,7-3-36 0,0 1-22 0,5-2-27 0,1 1-2 16,1 1 8-16,1-2-2 0,-2-1 14 16,-4 4 8-16,1-2 21 0,-6 2 2 0,-2 2 19 0,0 0 19 15,-8 0 11-15,3 0 5 0,-1 1 13 16,-3 1 3-16,-2 1 9 0,3 1 11 0,-5 1 3 15,-2 0 71-15,2 2-28 0,-2 3-13 16,-3-3-5-16,2 1-13 0,-2 1-25 16,-2-1-26-16,1 0-36 0,-1 3-43 0,-3-2-57 15,2 2-50-15,-1-1-60 0,-2-2-82 0,4 0-166 16,-1 1-337-16,0-3-278 0,1-3 65 16,0 1 153-16,2-1 42 0,0-3 81 0,0 0 69 15</inkml:trace>
  <inkml:trace contextRef="#ctx0" brushRef="#br2" timeOffset="53426.6">17920 5397 819 0,'-3'-7'353'0,"3"2"-20"0,-2 0-34 0,0 0-46 0,1 0-48 15,-1 0-54-15,-1 2-120 16,1-1-169-16,2 4-251 0,-2-3-290 0,2 3 29 16</inkml:trace>
  <inkml:trace contextRef="#ctx0" brushRef="#br2" timeOffset="54033">18054 5320 1313 0,'0'7'458'0,"0"-1"-28"0,-1 4-100 0,-1-2-43 0,2 2 12 16,-3-2-43-16,3 1-18 0,-2 2 3 0,-1 1-29 15,1 0-17-15,-1-1-19 0,-2-2-7 16,2 1-15-16,0-3 5 0,-1 1 20 0,1-2 0 15,3 0 82 1,-3-1-10-16,1-2-36 0,0 2-26 0,2-2 6 0,0-3-39 0,-1 3-10 16,1-3-8-16,0 0-7 0,1 7-16 15,-1-7-13-15,7 0-22 0,-7 0-14 0,7 0-22 16,-7 0-11-16,11 0-20 0,-6-2-3 0,-5 2-28 16,13-3-13-16,-5 0 16 0,0 1-39 15,-1-3-17-15,3 2-6 16,0 0-5-16,-2-2-15 0,0 2-31 0,2-1 20 0,0-1 21 15,-4 2 15-15,1-2 24 0,1 4-26 0,-3-4 28 16,0 4-3-16,1-2-7 0,-4 0 25 0,3 0-10 16,-2 2 13-16,-3 1 10 0,5-3-23 15,-3 0 10 1,-2 3 21-16,6-2-16 0,-6 2 26 0,2-4-5 0,-2 4-8 0,0 0 3 0,7-2 10 16,-7 2-18-16,0 0 5 0,0 0 24 15,0 0 1-15,3 0-14 0,-3 0 15 0,0 0 0 16,0 0-1-16,0 0-1 0,0 0 9 15,0 0-17-15,0 0 20 0,0 0-11 0,0 0 14 16,0 0-21-16,0 0 13 0,0 0 10 0,0-5-18 16,0 5 6-16,0 0 2 15,0 0-8-15,0 0 31 0,0-5-28 0,0 5 17 0,0 0 4 16,0 0-19-16,0 0-7 0,0 0-8 0,-8-3 10 16,8 3-20-16,0 0 12 0,0 0 37 15,0 0-24-15,0 0-25 0,-4-3 12 16,4 3 21-16,0 0-12 15,0 0 17-15,0 0-8 0,0 0-9 0,0 0-24 0,0 0 13 16,0 0-44-16,0 0-30 0,0 0 25 0,0 0-74 0,-6 9-53 16,4-7-31-16,2-2-154 0,0 0-110 0,0 5-540 15,0-5 87-15,0 6 89 0,0-6 80 16,0 5 84-16,0-5 54 0</inkml:trace>
  <inkml:trace contextRef="#ctx0" brushRef="#br2" timeOffset="54374.39">18307 5366 1277 0,'-5'-1'389'0,"5"1"-38"0,0 0-29 0,-13 4-12 0,13-4-16 16,-7 5 16-16,1-2 2 15,2 3-41-15,0 0-17 0,0 0-8 0,-2 5-31 16,2-1-36-16,1 1 28 0,-2 2-7 0,0 3 10 0,1-2-31 15,-3 5 5-15,2 4 8 16,-3 2-13-16,-4 7-2 0,2-1-47 0,-3 2 45 16,-1-1-17-16,-1-3-40 0,-1 2 0 0,-1-5-16 15,0 0-2-15,1-5-21 0,1-4 3 0,1-1 10 16,2-4-17-16,1-1-29 0,1-3 7 16,0-1-27-16,2-1-26 0,0-1 15 15,4-3-53-15,1-2-41 0,3 0-11 16,0 0-35-16,0 0-29 0,-3-11-38 0,8 4-38 0,0 1-116 15,3-7-237-15,0 3-500 0,4 0 97 0,2-2 101 16,1-2 83-16,13-5 86 0,3 1 63 16,2 0 44-16</inkml:trace>
  <inkml:trace contextRef="#ctx0" brushRef="#br2" timeOffset="55151.62">18807 5519 952 0,'0'0'448'0,"0"0"-41"0,8-12-90 16,-3 7-33-16,5-3 54 0,-2 1-15 0,5-4-27 16,0 0-1-16,-1 1-8 0,1-2-11 15,2-5-10-15,-4 0-38 0,3 0-13 0,-5-4 28 16,1 5-28-16,-2-1-33 0,-1 1 15 15,-2 1-13-15,-1 3-7 0,0 1 0 0,-1 2-6 0,-3 2-22 16,3 1-9-16,-6 2-22 0,3 4-10 16,-3-2-6-16,3 2-30 0,0 0 7 15,-13 13-20-15,6-5-18 0,2 2-23 0,-1 3 5 16,-1 2-31-16,2 1-46 0,-1-1 21 0,2-3-36 16,4 1-36-16,0 1-18 0,2-2-30 15,2 0-27-15,-3 0-19 0,6-1-29 0,-1-2-43 16,-1 0-49-16,1 0-54 0,3-3-59 15,-6-1-138-15,7-1-319 0,0-2 68 16,0-1 87-16,-1-1 44 0,3-1 274 0,-4-1 379 0,2-3 135 16,0 1 34-16,-1 1 37 0,1-4 53 15,0 2 12-15,0-2 12 0,-2 1 21 0,-1 1-15 16,1-1-51-16,0 1 15 0,-3 3-13 0,0-4-20 16,0 4 2-16,0-1-28 0,-2 1 67 15,-3 2 5-15,8 0-57 0,-8 0 16 16,8 6-20-16,-4-4-21 0,1 3-26 0,-2 0-10 15,3 1 15-15,-2-3-33 0,-1 4-5 0,2-2 8 16,0 0-10-16,2 1-14 0,-4 1 6 0,2-3 51 16,-2-2-18-16,3 3-46 0,-2-4 41 15,-1 1 13-15,-3-2 84 0,10 0-38 0,-10 0 38 16,10-2-25-16,-4-3-21 16,-1 2 26-16,2-2-47 15,-1-2-2-15,-2 1-7 0,4-5-39 0,-2 4 38 0,1-3-30 0,1 1 0 16,-1-1-34-16,1 2-43 15,0 1-26-15,-3 0-66 0,0 2-62 0,3-1-2 0,-1 2-38 0,-1 1-39 16,-1 2-23-16,1-2-72 0,-2 3-169 0,2 0-583 16,0 1 71-16,-6-1 106 15,9 4 83-15,-4-2 68 16,0 2 73-16,0 1 73 0</inkml:trace>
  <inkml:trace contextRef="#ctx0" brushRef="#br2" timeOffset="55689.77">19512 5416 1026 0,'1'-3'440'0,"-1"-2"-104"0,2-1-22 0,-2 4-14 0,0-4-21 0,0 2 2 0,0 4-35 0,0-7-23 0,0 5 7 0,0 2-35 15,-2-6-24-15,2 6-20 0,0 0-10 16,0 0-5-16,0 0-24 0,0 0-20 0,-14 8 1 15,11-3 6-15,-1 1-22 0,1-1 3 16,0-1-9-16,1 4-20 0,-3-1 13 0,4-1-23 0,-1 1 8 16,0-1-8-16,0 0 10 0,2 1-23 15,-1-5 26-15,1 3-21 0,0 1-4 16,-3-2 14-16,6-1 6 0,-3-3 12 0,1 5 75 16,-1-5 5-16,4 2 2 0,-4-2 5 15,8 0-27-15,-8 0-88 0,12-2 28 0,-6-1-30 16,1 1 10-16,1 1 10 0,0-3 16 15,0 3-8-15,-1 0 5 0,4 1-18 0,-4-3-3 0,1 5 24 16,-8-2-39-16,12 1 10 16,-4 0 11-1,-2 0-13-15,-1 3 5 0,0-1 13 0,0 0-21 16,-3 0 13-16,2 2 8 0,-2 0-26 0,0-2 8 0,3 2-18 0,-4-2 25 0,1 0-10 16,0 2 3-16,-2-5-10 0,3 4 20 0,-3-2-15 15,0-2 7-15,5 3 23 0,-5-3 3 16,5 3 29-16,-5-3-6 0,11-1-3 0,-11 1-25 15,12-2 10-15,-4 1-48 0,-1 1-21 0,1 0 0 16,-8 0 0-16,13 0 0 0,-5 0 0 16,0 0 0-16,0 0 0 0,-1 0 0 0,-2 0-24 15,-5 0-178-15,11 0-79 0,-3 1-44 16,-4 1-146-16,2-1-236 0,1 0-427 0,4 0 110 0,-1 2 169 16,2-3 47-1,-1 1 63-15,4 0 115 0,1-1 67 0</inkml:trace>
  <inkml:trace contextRef="#ctx0" brushRef="#br2" timeOffset="60577.86">20380 5334 1067 0,'1'-3'325'0,"-1"3"-23"0,0 0-36 0,0 0 13 16,0 0-46-16,-3 15 56 0,1-6-35 0,2-2-19 15,-2 2-30-15,-1 1-16 0,3-1-32 16,-3 3-1-16,3 0-8 0,-2-1-22 15,0-2-34-15,2 2 15 0,0-3-9 0,-1 1-6 0,-1-2-8 16,2-1-20-16,0 0 3 0,-3 0 35 16,3-2-17-16,0-4 30 0,3 5 5 15,-3-5-79-15,3 1 26 0,-3-1-9 16,0 0 12-16,12-6 24 0,-6 2 57 0,1-2 3 0,0 0-3 16,2 0-13-16,0 0-20 0,0-1 0 15,1 1-6-15,2 0-25 0,-3 2-5 16,1 1 5-16,-3 2-23 15,3 2 3-15,-2-1-1 0,-1 3 11 0,-1 2-8 0,1 0-10 0,-1 1-5 16,1 1-13-16,-4-1-5 16,2 1-21-16,0 0-23 0,-2 1-48 0,-1-2-3 15,1 2-53-15,1-1-11 0,-3 0-21 0,2-1-53 0,-1 0-82 16,0 0-64-16,-1-4-161 16,1 3-540-16,1-2 79 0,0 1 133 0,-1-2 31 0,0 1 97 15,1-1 74-15</inkml:trace>
  <inkml:trace contextRef="#ctx0" brushRef="#br2" timeOffset="61253.37">20689 5436 1180 0,'0'0'412'0,"0"0"-11"0,0 0-55 0,-5 13-21 0,3-10-31 0,2 5-38 16,-1-1 0-16,0 1-46 0,1-2-18 15,-2 2-15-15,4-1-29 0,-2 2-12 0,2-2-18 16,0 0-18-16,3-1-3 0,-2 0 10 0,1 0-22 16,-1-3-13-16,5 1 25 0,-2-1-23 15,-2-1 13-15,2-1 21 0,1-1-19 0,-7 0 16 16,10 0-36-16,-3-3-2 0,-3 1 2 0,1-1 100 15,0 0-16-15,-2-2 9 0,1-1-29 16,-1 2-5-16,2-4 5 0,-1 3-38 0,-2-1 4 16,0-2-14-16,2 2 22 0,-3-1-20 15,2 4-2-15,-1-2-11 0,0 1-38 16,-2 1 2-16,1-1-58 0,-1 4-6 0,0 0-7 0,2-2-67 16,-2 2-18-16,0 0-4 0,0 0-50 15,0 0-12-15,0 0-16 0,-3 12-87 16,3-12-130-16,-4 6-141 0,4-4-384 0,2 2 8 0,-2-4 133 15,0 4 71-15,0-4 65 0,5 3 71 16</inkml:trace>
  <inkml:trace contextRef="#ctx0" brushRef="#br2" timeOffset="61783.38">20905 5419 1525 0,'0'0'369'0,"0"0"-19"0,0 0-25 0,0 0-25 16,0 0-36-16,-3 14-3 0,0-7-54 0,1-1 3 15,2 0-31-15,-3 2-10 16,3 1-21-16,-2-1-17 0,2-1-21 0,-3 3-13 0,3-3-12 16,0 1-19-16,-1 1 14 0,-3-2-4 15,4-2-22-15,0-1 13 0,0 1-11 0,0 0 11 16,0-2 27-16,0-3-1 0,0 5-4 0,0-5 16 15,5 1 61-15,-5-1-4 0,0 0-29 16,0 0 13-16,13-4-29 0,-8 0 24 0,1 3-18 0,-2-1 5 16,1-1-26-16,0 2-30 0,-2-2 2 15,4 0-2 1,-7 3-3-16,10-1-28 0,-10 1 26 0,8 0-11 0,-8 0 21 16,8 3-26-16,-5-2-18 0,-3-1 21 0,5 4 0 15,-5 0-16-15,3-2-2 0,-1 2 28 0,-2-4-46 16,4 4 7-16,-2-1 19 0,-2-3-34 0,0 5 36 15,2-3-20-15,-2-2 30 0,0 0 8 0,5 3-5 16,-5-3 20-16,0 0-2 0,0 0-43 16,0 0-34-16,8-2 0 0,-8 2 0 15,8-5 0-15,-4 4 0 0,0-1 0 0,0-2 0 16,-4 4 0-16,8-1 0 0,-8 1 0 0,8-1 0 16,-8 1 0-16,7 1 0 0,-7-1 0 0,8 5 0 15,-2-3 0-15,-4 3 0 0,3-4 0 16,-2 4 0-16,-1-3 0 0,0 2 0 0,1-2-159 15,-3-2-54-15,5 5-50 0,-3-4-39 16,-2-1-52-16,4 4-142 0,-4-4-101 0,6 0-470 16,-6 0 61-16,9-5 141 0,-4 0 59 15,0 3 99-15,2-4 42 0,-1-1 58 16</inkml:trace>
  <inkml:trace contextRef="#ctx0" brushRef="#br2" timeOffset="62167.74">21222 5344 1005 0,'5'-17'395'0,"1"5"-78"0,-4 3 16 0,3 3-36 0,-2 0-18 0,-1 0-16 15,0 4-27-15,-1-1 2 0,-1 3-5 0,0 0 41 16,0 0-16-16,6 13-32 0,-5-4-17 0,-1 0-11 16,1 4-32-16,-2 1-84 0,0 2-16 15,0-2-14-15,-1 4-6 0,-2 1-34 0,0 0-27 16,1-1-11-16,-2 0 9 0,3-3-30 16,-1 0 30-16,-2-3 1 0,3-2 16 15,1 0 33-15,0-3-7 0,-3 0 28 0,2-2-3 16,2 0 16-16,0-5 32 0,-1 3-6 0,1-3 4 15,0 0 23-15,0 0-20 0,0 0-18 16,0 0 23-16,13-10-23 0,-7 6-26 16,1-2 26-16,0 1 77 15,1 3-8-15,0-3-5 0,1 4 7 0,-1 0-15 0,0-1-5 0,-2 2-5 0,2 3-28 16,-1-2 10-16,-1 3 8 0,1-2-26 16,-4 3 0-16,-1-1-7 0,1 0-6 15,-3 1-7-15,-3 1-8 0,1 0-10 0,-2 0 20 0,-3 0-25 16,0-3-49-16,-1 2 0 15,1 1 0-15,-1-2 0 0,-2-2 0 16,2 3-103-16,-2-4-71 0,2 1-20 0,3-2-55 0,5 0-55 16,-10 0-65-16,10 0-227 0,-6-2-485 15,6 1 52-15,0 1 121 0,0 0 104 0,0 0 44 16,6-9 81-16,-4 7 78 0</inkml:trace>
  <inkml:trace contextRef="#ctx0" brushRef="#br2" timeOffset="62643.17">21455 5564 1387 0,'9'-3'376'0,"1"-2"-18"16,-3 0-32-16,0-1-19 0,-1 1-33 0,-3 2 7 15,2-3-33-15,0 0 52 0,0 0 10 16,-2 0-57-16,-1 1 18 0,3-1-30 0,-2 3-16 0,-1-2-61 15,-2 0 36-15,0 3-39 16,0 2 0-16,0 0-17 0,0 0-24 0,0 0-15 0,-10 0 15 16,10 0-30-16,-8 6-16 0,6-5-33 0,-1 4 20 15,-2-2-25-15,5 2-33 0,-2-3 25 16,1 2-5-16,-1 1-10 0,2-5 15 16,2 7-18-16,-2-7 16 0,3 3-3 15,2-1-23-15,-2-1 23 0,2 1 2 0,0 0 21 0,0 1 3 16,0-2-8-16,1 0 0 0,0 3 8 15,-5-3 61-15,6 4-28 0,-6-2-16 0,2 2-2 16,0 0 3-16,-1 1 27 0,-2-3-30 16,0 2 0-16,0 1-2 0,-2 1 12 0,1-3-33 0,-1 1 8 15,2-3 2-15,-3 3 10 16,3-5 14-16,-1 4-27 0,1-4-2 16,0 0-35-16,0 0-11 0,0 0 0 0,16-5 0 0,-11 0 0 15,5-1 0-15,1-5 0 0,2 0 0 0,2 1 0 16,1-3-113-16,-1-1-41 0,-2 4 6 15,0 0-31-15,-1 2-72 0,1-3-33 16,-3 3-111 0,-5 1-198-16,4 1-449 0,-2 0 49 15,-2 1 115-15,0 1 59 0,-5 0 81 0,3-1 75 0,-3 3 82 0</inkml:trace>
  <inkml:trace contextRef="#ctx0" brushRef="#br2" timeOffset="64002.57">14244 6180 1374 0,'-1'-6'397'15,"-1"1"-34"-15,-1 2-20 0,1 0-2 16,2 3-60-16,-10-1-17 0,10 1-11 0,-13 4-27 16,3 1 7-16,0 5-24 0,-1 2 19 0,-2 1-26 15,0 3-27-15,0 3 24 0,-4 9-20 16,4-4-40-16,3-3-17 0,0 1 6 0,2 1 6 16,2-5-35-16,4 1 37 0,-1 0 12 0,3-3 16 15,2 3-54-15,1-5-23 0,2 2-41 16,0-4-23-16,3 0-48 0,2-2-34 0,1 0-36 15,2-5-53-15,0-1-52 0,-1 2-163 0,1-6-147 16,5 4-524 0,-2-3 113-16,-1-1 63 0,0-1 103 0,0 0 156 0,1-2 3 15</inkml:trace>
  <inkml:trace contextRef="#ctx0" brushRef="#br2" timeOffset="64350.85">14436 6271 1105 0,'12'-12'494'0,"-1"4"-46"0,2 3-28 15,-1 3-31-15,-1-3-25 0,-1 5-29 0,0 2-13 16,0 1-25-16,-2-1-23 16,-3 4-18-16,-2 0-84 0,-3 3-52 0,-5 0 16 15,0 2-26-15,-8 2 10 0,-2 1-30 0,-1 2 9 16,-2-1-4-16,0 0 54 0,2 0-14 0,-1-2-12 15,2-1-26-15,4-4-7 0,1 1-16 0,0-1-10 16,2-2-10-16,0 1 13 0,3-2-21 16,0 0 10-16,3-2 3 0,1 1-18 0,1-4 5 15,3 7 0-15,3-6-15 0,0 3-21 0,5-2-15 16,2 0-52-16,0 1-17 0,2-1-36 16,0 0-23-16,1 1-44 0,-1-2-61 0,3 0-117 15,-3 2-111-15,1-3-218 0,-3 1-286 0,2-1 82 16,-4 0 128-16,1 0 33 0,-2 0 84 15</inkml:trace>
  <inkml:trace contextRef="#ctx0" brushRef="#br2" timeOffset="64555.26">14677 6458 1067 0,'0'0'356'0,"5"-2"56"0,-5 2-18 0,0 0 5 16,0 0-33-16,0 0 21 0,7 6-90 16,-4-1-18-16,-3-2 0 0,0 5 82 0,0 0-23 0,0 2-41 15,-3 0 5-15,1 2-46 16,-3-1 20-16,-1 4-33 0,-1-2-66 0,-3 1 12 0,-1 0 3 15,1 1-38-15,0-3-39 0,0 0-43 0,-3 0-37 16,3-3-58-16,0-2-53 0,2 2-52 16,0-6-67-16,1 1-53 0,3-2-180 0,-6-2-163 15,8 0-471-15,2 0 81 0,0 0 134 0,5-9 153 16,0 0 6-16,1 1 74 0,4-5 86 16</inkml:trace>
  <inkml:trace contextRef="#ctx0" brushRef="#br2" timeOffset="64853.47">15058 6359 1336 0,'0'0'496'0,"0"0"-22"15,0 0-124-15,0 0-19 16,-7 11-22-16,0-7 1 0,-2 1 59 0,-3 3-65 0,-1-1 21 16,-2 2-30-16,-1 0-34 0,-1 3-59 15,-2-1 21-15,1 3-21 0,0-4-10 16,3 0-41-16,2 2-8 0,3-5 6 0,-1 1-19 0,4 0 3 15,0 0-7-15,1-2 7 0,3 1-84 16,1-2 25-16,2 1-28 0,2-3 15 0,1 3 19 16,3-1-16-16,1-2-26 0,4 0 0 15,3-2 85-15,-1 0-20 0,5 2-21 0,3-3-11 16,2 1 6-16,2-2-74 0,2 1-37 0,-2 0-35 16,1-3-31-16,-1 3-43 0,-1-1-34 15,-1-1-30-15,-1-2-31 0,-6 3-49 16,-1-1-91-1,-1-2-193-15,-2 3-69 0,-4-4-356 0,-1 1 90 0,-1 0 105 0,-1 0 58 0,-3-2 88 0,0 3 84 16</inkml:trace>
  <inkml:trace contextRef="#ctx0" brushRef="#br2" timeOffset="65057.38">15169 6419 949 0,'-7'-7'364'0,"3"3"-19"0,0 2 101 16,1-1-42-16,0 0-5 0,3 3-7 0,0 0-100 15,-10 1 7-15,10-1-17 0,-7 6-6 0,1-2 93 16,4 3-31-16,-4 1-21 0,2 4-10 15,-2-1-97-15,1 3-13 0,0 4-18 16,0 0-20-16,0-2-39 0,-3 7 31 0,3-3-15 0,-3 4-44 16,1-2-30-16,-1-1-80 0,1 3-72 0,-1-3-56 15,0-2-64-15,3-1-33 32,0 0-156-32,0-4-215 0,2-2-441 0,3-2 159 0,0-2 41 0,0-2 123 0,3 0 67 15,-1-5 50-15,1 0 124 0</inkml:trace>
  <inkml:trace contextRef="#ctx0" brushRef="#br2" timeOffset="65278.06">15354 6529 1402 0,'7'-3'507'0,"-4"2"-23"0,2 1 43 0,-5 0-28 16,0 0 8-16,13 5-39 0,-10-1-119 15,1 4-52-15,-1-2-26 0,0 2 8 0,-3 1-49 16,0 2-33-16,0 1-5 0,-3 1-38 15,-2 4-16-15,-3-2-51 0,-2 4-48 0,-1-1-45 16,-1 0-50-16,1 0-51 0,-1-3-50 0,4 1-42 16,0-8-93-1,4 2-243-15,-2-1-468 0,3-3 91 0,1-1 55 0,2 0 89 0,0-5 100 16,0 0 56-16</inkml:trace>
  <inkml:trace contextRef="#ctx0" brushRef="#br2" timeOffset="65619.75">15717 6407 1341 0,'0'0'499'0,"0"0"-15"16,0 0-54-16,0 0 66 0,-12 10-53 0,7-3-51 16,-3 0-70-16,-2 1-2 0,2 4-38 0,0 1-59 15,0 4 4-15,1-2-12 0,0 2-20 16,1 0-19-16,1-2-17 0,5 1-23 15,-2-1-8-15,4-3-8 0,1 0-5 0,2-3-10 0,0 1-20 16,0-4 12-16,2-1-23 0,1-3-12 16,0-2 20-16,0-1-16 15,2-2 13-15,-2 0 39 0,2-3-33 0,-5 1 104 0,0 0 11 16,0 0-34-16,-2-1-86 0,0 0-80 0,-3 1 0 16,-3-1 0-16,-2 1 0 0,-1-2 0 0,-1 2 0 15,0 3 0-15,-4-3 0 0,1 3 0 16,0-1-29-16,-1 1-326 0,-2 2-168 0,3-1-703 15,-3-2 172-15,3 1 50 0,-3-3 114 16,0 0 93-16,3-3 53 16,0 2 76-16,2-1 79 0</inkml:trace>
  <inkml:trace contextRef="#ctx0" brushRef="#br2" timeOffset="65833.38">15917 6137 1699 0,'21'8'663'0,"2"6"-61"0,-5 1-44 0,8 7-29 0,0 4-24 0,-3 2-27 16,-3 3-14-16,-2 1 17 0,-8 1-69 15,-5 4-43-15,-7-3-24 0,-3 5-76 0,-13 9-118 16,-8-1-177-16,-10 1-186 0,-12 2-349 0,4-4-616 16,-2 1 145-16,-3-3 108 15,-5-4 67-15,3-3 84 0,2 0 43 0,1-5 95 0,-4-7 72 16</inkml:trace>
  <inkml:trace contextRef="#ctx0" brushRef="#br2" timeOffset="67561.44">10897 7784 1476 0,'0'0'505'15,"-4"4"-134"-15,4-4-10 0,0 0-31 0,10 5-25 16,0-3-26-16,3 2 71 0,5-2-45 15,5-2-47-15,3 1-12 0,5 2-28 0,2-2-21 16,3-1-51-16,-1 1-31 0,3-2-33 0,-4 1-54 16,12 2-41-16,-9-2-41 0,-5 3-56 15,-6-3-71-15,2 2-168 0,-2 0-255 0,-3 2-297 16,-3-3 54-16,-2 2 100 0,-2-1 63 0,-1-2 96 16</inkml:trace>
  <inkml:trace contextRef="#ctx0" brushRef="#br2" timeOffset="70778.99">12179 7726 1379 0,'-2'-3'320'0,"2"3"-18"0,-5-2-28 16,5 2-5-16,-13 5-18 0,8 0-31 0,-5 2-21 15,-3 3 9-15,-3 5 2 16,-2-1-41-16,-5 9 5 0,-2 0-18 0,2 3 5 0,2-4-25 16,6-1-24-16,-1-6-9 0,6 4 2 0,-2-7-16 15,4 1-12-15,2 0 8 0,2-2 9 16,1 2-35-16,0-5-5 0,6 2 15 15,-1-3-8-15,1 0-22 0,2 2-31 0,2-5-3 16,4 1-28-16,-1 1-36 0,4-5-41 0,3 3-33 16,-2-3-92-16,1-1-62 15,1 0-115-15,4 0-212 0,0-3-254 0,-1-1 110 16,6-4 39-16,-6 2 71 0</inkml:trace>
  <inkml:trace contextRef="#ctx0" brushRef="#br2" timeOffset="71001.58">12395 7681 1244 0,'0'-6'381'0,"0"6"-38"0,-2-4-18 0,2 4-97 0,0 0-18 0,0 0-23 0,0 0 7 16,-3 17-35-16,3-6 10 0,-3-1-26 0,1 6-7 16,-1 2-21-16,-5 3 3 0,1 3 2 15,-1 0-33-15,3 2 3 0,-8 4-26 16,3-4-44-16,0-4-56 0,-1 0-23 0,1-2-20 15,2 2-54-15,-1-3-62 0,1-5-96 0,2 3-60 16,3-5-466-16,-1-2 70 0,1 1 76 16,0-5 80-16</inkml:trace>
  <inkml:trace contextRef="#ctx0" brushRef="#br2" timeOffset="71322.22">12285 7996 1246 0,'7'-10'468'0,"-2"-1"-130"0,1 5-28 0,1 0-31 0,1 1-5 16,0 2-39-16,0-1-9 0,-1 3-14 15,-2 0 3-15,3 1-48 0,-8 0-4 0,12 2-19 16,-6 1-6-16,-3-1-28 0,1 5 21 0,-1-1-34 15,-2 0 5-15,-1 5-17 0,-1-3-29 16,-2 2-43-16,1-1-8 0,-1 4-20 16,-2-3-26-16,2-1-26 0,-1 2-23 0,1-4-45 15,0 1-75-15,3-2-128 0,-2-1-33 0,2 1-131 16,2-1-327-16,4-2 89 0,-4 0 87 16,3-1 113-16</inkml:trace>
  <inkml:trace contextRef="#ctx0" brushRef="#br2" timeOffset="71616.64">12587 7956 1146 0,'-2'-2'364'0,"2"2"-39"15,-6-3-28-15,6 3-31 0,0 0-8 0,-12 4 70 16,7-2-69-16,-1 4-26 0,2-1-24 16,-2 1-9-16,1 1-28 0,2 0-1 0,1 1-53 15,0 0-13-15,1 1-8 0,2-2-28 0,-1-1 13 16,4 1-23-1,2 0-5-15,2-3 25 0,2 1-7 0,-3-4-21 0,3 3 36 16,3-4-15-16,-5 0 2 0,0-2 33 0,0 0-4 0,-1 0-29 16,-2-2 28-16,1 2 19 15,-4-3-47-15,-2-1 28 0,0 1-15 0,-2-1-38 0,-1-1 25 16,-3 1-87-16,2 1-5 0,-4 0-12 16,2 1 9-16,-1-1-61 0,2 3 26 0,0-2-54 15,-2 2-3-15,3-3-43 0,0 5-23 16,4 0-26-16,0 0-46 0,0 0-97 0,0 0-100 15,-1-1-417-15,1 1 95 16,0 0 17-16,16-2 83 0,-9 0 81 16</inkml:trace>
  <inkml:trace contextRef="#ctx0" brushRef="#br2" timeOffset="71889.2">12721 7988 1021 0,'-3'6'335'0,"0"1"-35"0,-2-1-32 0,3 3-35 0,1 0-41 0,1-3 3 16,0 2-8-16,3 0-31 0,0 0-74 15,2-2-16-15,5-1 49 0,0-2-2 16,0 1 10-16,6-3 72 0,-3-1 2 0,3 0 12 16,-2-3-96-16,2 1 18 0,-5-3-1 0,1 2 14 15,1-2 12-15,-6-1-21 0,1 0 6 16,-3-1-8-16,0 0-10 0,-4-2-8 0,-1 1-17 16,-3 1-6-16,-2-2-5 0,2 1-13 0,-5 1 8 15,1 0-31-15,0 1-5 0,-1 1-43 16,0 2-34-16,-2-1-18 0,2 3-48 0,-2 1-23 15,2-1-31-15,1 2-98 0,-1 1-134 0,-3 3-96 16,6-4-461-16,2 3 103 0,3-4 116 16,0 2 17-16,0-2 64 0</inkml:trace>
  <inkml:trace contextRef="#ctx0" brushRef="#br2" timeOffset="72318.53">12969 7922 793 0,'0'0'356'0,"-10"2"-49"0,5 0-8 0,-1-2-48 0,2 3 3 0,1 0-26 0,0 1 51 0,1-2-11 15,2 5-45 1,0-3-16-16,0 1-33 0,2 2-17 0,4 0 1 0,1 0 14 0,-2 1-103 0,3 1-8 16,0 0 11-16,2-3 10 0,-5 3 5 15,3-1-23-15,-3-2-5 0,0 1 35 16,-2 0-17-16,-1-1-15 0,1 1 2 15,-6-1 10-15,0 0-5 0,1 1 59 0,-3-1-13 0,0 0-18 16,-3 1-25-16,0-3-10 0,1 2-34 16,-3-3-46-16,4 2-8 0,-2-1-38 0,4-2-43 15,-2-2-47-15,4 3-53 0,2-3-29 0,0 0-27 16,0 0-29-16,0 0 3 0,0 0-88 16,10-10 68-16,-2 4 37 0,0 1 27 15,4-3 81-15,-2 1 61 0,1-3 85 0,2 3 59 0,-3 1 46 16,0 0 41-16,-2-1 26 0,0 2 7 0,0 3-5 15,-4-3-2-15,4 4-3 16,-3 0-5-16,0 0 2 0,-5 1-9 0,0 0-1 16,11 3-20-16,-6-1-21 0,-2 2-3 0,-1-1-9 15,0 0-34-15,-2 3-51 16,0-1-56-16,0 0-59 0,-2 3-169 0,-1-2-144 0,1 0-437 16,-1 0 125-16,3-2 46 0,-2 1 55 15,2-1 68-15</inkml:trace>
  <inkml:trace contextRef="#ctx0" brushRef="#br2" timeOffset="72447.63">13146 7967 1000 0,'0'-6'295'0,"0"1"-101"0,-2 0-112 16,2 2-202-16,0 3-515 0,0-3 41 0</inkml:trace>
  <inkml:trace contextRef="#ctx0" brushRef="#br2" timeOffset="72745.34">13218 7994 903 0,'0'7'333'0,"0"-1"-21"0,0 0-18 15,0 1-27-15,0-1-34 0,-1-1-29 0,-1 1-4 0,2 0-13 0,0-1 43 0,0 2-17 16,0-4 12-16,-2 2-23 0,2 1 0 16,0-1 1-16,0-3 4 0,0-2-76 0,0 6 2 0,0-6 0 15,0 0-33-15,2 4 20 0,-2-4-2 16,0 0-13-16,0 0-8 0,0 0-13 0,0 0-7 16,13-7 5-16,-13 7-23 0,5-3-18 15,-5 3 7-15,8 0-25 0,-8 0-10 16,0 0-66-16,7 0-29 0,-7 0-49 0,8 1-46 0,-5 1-109 15,2 0-183-15,0-1-473 0,1-1 90 16,1 0 71-16,-2 3 54 0,3-3 72 16,-8 0 105-16</inkml:trace>
  <inkml:trace contextRef="#ctx0" brushRef="#br2" timeOffset="73189.19">13410 8057 1034 0,'0'0'337'0,"0"0"-9"0,0 0-46 0,0 0-101 0,0 0 11 15,-15 4-10-15,15-4-39 0,-5 3 3 0,2 1-18 16,1-3 8-16,-1 4-8 0,0-2-13 15,-1 2 26-15,3 1-23 0,-1 1 61 0,-1-1 21 16,0 5-29-16,1-3-28 0,-3 4 11 0,2 0-77 16,1 1 5-16,-1 1-8 0,-4 3 10 15,1 1-2-15,-1 2-10 0,-3 0-13 0,-1 1 13 16,-2-2-29-16,0-1 6 16,-2-2-13-16,0 1-1 0,2-4 14 0,-2 0 10 0,2-3-8 0,3-4-10 15,0 1 15-15,1-4 19 0,0 3-17 16,6-6-1-16,3 0-4 15,0 0-12-15,-6-7 8 0,9 1-8 0,0 1-8 0,4-3 1 16,4-1-27-16,2-1 11 16,2-3 5-16,5 1-13 0,1-1-2 0,7-5 7 0,3 1-43 15,3 2-46-15,-2-1-21 0,1 2-61 0,1 0-51 16,0 1-123-16,-1 0-172 0,-5 2-455 0,-2 4 68 16,2-1 129-1,-2-1 64-15,2 3 87 0,10-3 38 0</inkml:trace>
  <inkml:trace contextRef="#ctx0" brushRef="#br2" timeOffset="73641.87">14354 7968 1451 0,'0'0'386'0,"-13"2"-43"0,3 2-38 0,-1 1-3 0,-4-2-18 16,-1 6-33-16,-1-1-16 0,-3 0-20 0,-1 3-17 15,0-3-17 1,4 2-27-16,-2-2 5 0,3 2-44 0,2-1-8 0,3-3-27 0,1 1 17 16,2-1-46-16,3 0 8 0,2-2-10 0,3-1-8 15,0-3 10-15,8 4-8 0,2-2-9 0,-1-2 24 16,5 0-12-16,0 0-33 16,1 3 33-16,0-2-23 0,-2 1-2 0,2 1 15 15,-2 0-21-15,0 1-7 0,0-2-3 0,0 3-51 16,-1 0-57-16,-4-2-25 0,3 3-97 15,-1-5-241-15,0 4-473 0,-2 0 43 0,-3-2 126 16,3 1 96-16,0 0 68 0,-2-2 37 16</inkml:trace>
  <inkml:trace contextRef="#ctx0" brushRef="#br2" timeOffset="73946.95">14956 7870 1510 0,'0'9'373'16,"-2"-1"-40"-16,-1 4-41 0,-2 0-8 15,2 3-25-15,-7 4-49 0,0 0-1 16,-3 0-40-16,3 3-36 0,-5-2-56 0,-1 5-64 16,-2 1-97-16,3-4-131 0,4-6-100 0,3 1-489 15,1-6 74-15,2-2 65 0,3 1 51 16</inkml:trace>
  <inkml:trace contextRef="#ctx0" brushRef="#br2" timeOffset="74319.42">15246 7880 1103 0,'-5'0'450'0,"-5"0"-33"0,-1 1-30 0,-2 3-6 16,-2-1-73-16,-3 3-24 15,-5 0-16-15,-3 5-45 0,-7 2-103 0,-1 1-2 16,7-2-15-16,-4 1-29 0,5-1 23 0,8-1-18 16,0-3-15-16,5 2 3 15,-2-1-18-15,7-2-8 0,-2 2 5 0,3-3-13 0,1-1 5 16,3 2-10-16,3-4 8 0,1 4-5 0,1-3-23 16,4-2 28-16,2 3-26 15,2-4-15-15,2 1 17 0,4 1-4 0,-1-3 5 16,3 0-8-16,0 0 10 0,0 0-2 0,-1 0 10 0,-1 0-10 15,-1 2 7-15,1-2 6 16,-3 0-3-16,-3 3 13 0,0 0-5 0,-2 1-8 16,0-1 13-16,-1 3-21 0,-2 0 3 0,-2-2-5 15,0 2 17-15,-3 2-35 0,0-3-20 0,0 3-21 16,-3-2-54-16,0 0-33 16,1 2-98-16,-3 0-137 0,2-1-155 0,1-3-370 0,2 1 69 15,0 0 156-15,0 0 30 0,0-5 52 16</inkml:trace>
  <inkml:trace contextRef="#ctx0" brushRef="#br2" timeOffset="74445.33">15225 8064 918 0,'0'0'228'16,"-5"-3"-115"-16,3-3-159 0,2 3-589 15,0 3 80-15</inkml:trace>
  <inkml:trace contextRef="#ctx0" brushRef="#br2" timeOffset="74778.64">15336 8032 1164 0,'-3'4'371'15,"1"0"-23"-15,-1 0 49 0,2 1-51 0,-3 2-16 16,1-2-38-16,1 1-11 0,-1 1-12 15,-2-1-33-15,2 2-1 0,-1-1-20 0,1-1-107 16,-2 0-6-16,2 1 8 0,-2-2-15 0,3 1 20 16,-1 0 13-16,0-4-3 0,0 3 67 0,1-2 46 15,2-3-25-15,-2 3 12 0,2-3-46 0,0 0-10 16,0 0 10-16,0 0-38 0,0 0-33 16,0 0 32-16,0 0-24 0,0 0-14 15,0 0-28-15,0 0-25 0,0 0-49 0,0 0-18 16,13-1-41-16,-13 1-51 0,9-1-8 0,-9 1-43 0,9 0-39 15,-2 0-61-15,0 0-120 16,1-1-167-16,3-1-489 0,-1 1 90 0,2 1 110 16,-1-2 77-16,-1-1 64 0,3 2 56 15,0-1 67-15</inkml:trace>
  <inkml:trace contextRef="#ctx0" brushRef="#br2" timeOffset="75266.44">15523 8088 944 0,'0'0'266'0,"0"0"-7"16,0 0-8-16,0 0-29 0,0 0 78 16,0 0-44-16,0 0 25 0,0 0-43 0,0 0-30 15,0 0-11-15,-13 4 25 0,13-4-45 0,0 0 5 16,0 0 7-16,-7 0 3 0,7 0-51 15,0 0 15-15,0 0-7 0,0 0-37 0,-8-1 16 16,8 1-79-16,0 0-24 0,0 0 14 16,0 0 2-16,0 0-10 0,-10 1-8 0,10-1-6 15,-6 3-1-15,3 0 4 0,-1 0 21 0,1 0-23 16,-2-1-10-16,-1 4 15 0,2-1-8 0,-2-2-12 16,2 2 17-16,1 2-4 0,-2-3-14 15,2-2 6-15,1 3-13 0,-1-2 41 16,2 2-39-16,1-5 13 0,-2 3-10 0,2-3 23 15,0 0-10-15,3 6-13 0,-3-6 13 0,8 0-11 16,-8 0 4-16,10 0 22 0,-5 1-21 0,-5-1 19 16,10 2 18-16,-7-1 58 0,2 5 16 15,0 0 35-15,-2 0-81 32,2 4 5-32,-3 2 5 0,-1 0 17 0,-1 3-1 0,0 0-16 15,-1 4-3-15,-4 4-12 0,-2 2-1 0,-7 5-15 0,-1-2-15 0,-5 1-36 16,0-2-25-16,-6 0-37 0,0-2-12 0,3-5-36 0,-2 0-36 0,6-2-33 15,1-6-54-15,3 1-126 0,-8-3-237 0,12-3-436 16,4-2 129-16,0-3 81 16,4 0 123-16,3-2 62 0,0 0 43 15</inkml:trace>
  <inkml:trace contextRef="#ctx0" brushRef="#br2" timeOffset="75786.02">15982 8226 941 0,'0'0'430'0,"0"0"-33"0,0 0-23 15,13-8-31-15,-5 3-36 0,2-2-30 0,4-4 4 16,0 3-45-16,1-6-1 0,3-2-17 15,0 1 2-15,3-8-95 0,-1-3-7 16,-2 0 7-16,0-3 3 0,0-2-10 0,0-1-3 16,-3 2 11-16,-2-2 84 0,-2 7-29 0,-2 5-27 15,-4 3 28-15,-1 2-98 0,0 2 11 16,-1 2 12-16,0 1-48 16,-6 8 3-16,0-2-9 0,3 4 6 0,0 0-7 0,-15 12-6 15,8-1-5-15,-4 2 2 0,-2 10-20 0,-4 7 18 16,1 4-8-16,1 2-5 0,-6 10-2 0,1-2-26 15,2 6-49-15,-1-1-22 16,2 1-21-16,4-7-54 0,-3-3-18 0,4 1-36 16,1-3-22-16,1-6-29 15,2-3-72-15,3-8-53 0,-3-2-200 0,3-3-361 0,3-6 139 16,-1 0 35-16,1-4 66 0,-1-1 93 0</inkml:trace>
  <inkml:trace contextRef="#ctx0" brushRef="#br2" timeOffset="76127.13">15925 8480 788 0,'-2'-5'368'0,"-1"-2"-37"0,3 1-22 0,3-1-22 16,-3-2-69-16,4 1-29 0,0-3 13 0,1 2-25 15,2-3 7-15,1 1 54 0,3-2 13 0,-1 2-41 16,3 0 15-16,-1 1-20 0,1 0-97 16,0 1-11-16,-1 4-5 0,-1 2 13 0,-1-2-13 15,0 3-18-15,1 2 11 0,-1 0-14 16,0 2 1-16,-2 0 0 0,0 2-8 0,-1 1-41 15,-2-2 10-15,3 3-7 0,-5 0-24 0,2 0 16 16,0-1-10-16,0-2 0 0,-3 2 12 0,1-1-2 16,-1-2 33-1,2 2 3-15,-4-4 2 0,4 1 6 0,-4-1 17 0,0 0-2 0,0 0 0 16,11-5-13-16,-9 0 58 0,3 1 1 0,-2 0 10 16,2-4-23-16,0 2 3 15,3-5-21-15,-3 3 3 0,2-2-41 0,3 2-39 16,-1-3-38-16,1 5-31 0,2-3-51 0,-2 0-15 15,1 3-67-15,-1 0-38 0,1 3-113 0,-1-2-141 16,0 0-519 0,5 2 56-16,-2-1 123 0,1 1 79 0,1-2 72 0,-3 1 77 15</inkml:trace>
  <inkml:trace contextRef="#ctx0" brushRef="#br2" timeOffset="76429.11">16474 8213 1049 0,'-5'4'394'0,"0"-2"-20"0,-3 5-26 16,3-3-20-16,-2 3-34 15,1-1-20-15,-1 2-49 0,1-3 36 0,1 6-74 16,2-3-5-16,1-1-18 0,2 0-26 0,0 2-2 16,2-3-21-16,1 1 8 0,0-2 7 0,2 0-27 15,2 0-11-15,1-2 41 0,0-2-13 16,-3-1 13-16,5 0 5 0,-4-4-76 16,1 3 9-16,0-4 22 0,-1 1 1 0,-3 0-17 0,1-3 2 15,-4 0-30-15,0 0 82 0,0-2 4 16,-4 2-12-16,1 1-23 0,-2-1-5 0,2 0-34 15,-4 2-43-15,2-2-20 0,-1 2-34 0,-2 3-49 16,3-2-30-16,-2 1-23 16,2 1-29-1,5 2-76-15,-10-1-113 0,4 1-143 0,1 0-494 0,5 0 77 0,0 0 115 0,0 0 76 16,0 0 119-16,0 0 19 16</inkml:trace>
  <inkml:trace contextRef="#ctx0" brushRef="#br2" timeOffset="76836.85">16551 8227 857 0,'5'2'420'0,"-5"-2"-62"0,8 3-15 0,-6 0-18 0,4 0-33 0,-2 2-13 16,-1-3-13-16,2 4-43 0,-2-1-26 15,2 2 8-15,-2-1-41 0,-1 0-18 16,0 1-11-16,1-1 9 0,-2-1-24 0,1 0-28 0,-2-2-8 16,2 3 21-16,-2-1-30 0,0-5 37 0,3 8-17 15,-3-8 30-15,0 0-20 16,3 6 11-16,-3-6 17 0,2 0-75 0,-2 0-1 15,0 0-11-15,0 0 20 0,0 0-7 0,13-3 0 16,-8 0-8-16,0 3 29 0,1-4-32 16,-2 2 6-16,1 1 8 0,-5 1-9 0,9-2-14 15,-5 2-1-15,-4 0 18 0,8-1 6 0,-8 1-24 16,8 2 6-16,-8-2-21 0,5 1 18 0,-5-1 5 16,7 0-13-16,-7 0 34 15,5 1 56-15,-5-1 4 0,6 2-11 0,-6-2 4 0,0 0 34 16,5 2-62-16,-5-2 25 0,3 2-30 15,-3-2 6-15,7 1-9 0,-7-1-7 16,5 5 0-16,-2-5-13 0,-1 3-16 0,-2-3 32 16,8 2-44-16,-5 0-36 0,0 1 0 0,-3-3 0 15,7 4 0-15,-5-2 0 16,-2-2 0-16,5 3-44 0,-5 1-168 0,4-3-9 0,-2 3-99 16,-2-4-112-16,0 6-236 15,2-3-484-15,0 2 125 0,-1-4 91 0,-1-1 119 0,3 7 52 0,-3-7 102 16,0 1 59-16</inkml:trace>
  <inkml:trace contextRef="#ctx0" brushRef="#br2" timeOffset="77549.82">17728 7988 1113 0,'0'0'425'16,"0"0"-44"-16,0 0-12 0,-5 11-18 0,2-4-55 0,-2 3-9 16,2 0-49-16,-2 3-23 0,1 4-2 15,-4 1-24-15,5 1 47 0,-5 5-37 16,0-2-9-16,4 2-24 0,-2-4-48 0,1 1 10 16,2-4 2-16,3-1-61 0,-2-2 8 15,2-1 5-15,-2-3-10 0,2-1-11 0,0 1 24 16,-1-2-32-16,-1-3-19 0,-1-1 53 15,0-2-46-15,3-2-13 0,-9-1 15 0,9 1-20 0,-13-5 18 16,5 1-7-16,-2 1-4 0,0 0-17 16,-1 0 26-16,1-1-6 0,-3 3-2 15,-2 1 20-15,2 0-23 0,-3 0-3 0,-4 4 4 16,2 0-6-16,-3 1 10 16,1 1-23-16,2 0 3 0,1 2-8 0,1 1 8 0,3-1 15 15,3-1-25-15,0 2-8 0,4-2 2 0,4 0 29 16,2-1-9-16,2-1-9 0,4-2 2 15,1 3-30-15,6-3-3 0,2 1-8 0,3-1-64 0,0-2 3 16,5 0-59-16,3-1-7 16,-3 0-127-16,3-1-19 0,-3-2-72 0,5-4-126 0,-3 6-430 15,-4 0 116-15,2-1-3 0,-5-1 168 0,0 1 45 16,-3-1 48-16</inkml:trace>
  <inkml:trace contextRef="#ctx0" brushRef="#br2" timeOffset="77827.34">17805 8364 1315 0,'0'-6'489'0,"2"2"-69"0,1-2-8 16,-3-2-100-16,0 1-35 0,0 0-9 15,0 2-9-15,-3 0-21 0,3-4-2 0,-2 6 35 16,0 0-10-16,-2 0-5 0,0-1-64 15,4 4-15-15,-11-1-21 0,11 1-10 16,-12 1-3-16,6 4-5 0,-2-2-53 0,-2 5 7 16,3-4-3-16,-1 5-50 0,0-1 4 0,3 0-40 15,2 0-21-15,1 0-28 0,2-3-41 0,5 2-21 16,-2 0-12-16,4-4-39 0,1 5-122 16,5-5-44-16,0 2-108 0,-1-7-15 0,6 3-468 15,-2 0 79-15,2-2 51 16,2-2 97-16,0 2 55 0</inkml:trace>
  <inkml:trace contextRef="#ctx0" brushRef="#br2" timeOffset="78328.78">18086 8293 982 0,'0'-4'392'15,"0"4"-26"-15,-4-3-8 16,4 3-9-16,-8-3-45 0,8 3-20 0,0 0-30 0,-16 5-44 0,9-2 35 16,-1 0-50-16,-2 4-8 0,0-2-29 15,0 2-22-15,1 1-5 0,0 1-14 0,1-1-14 16,0 3-32-16,1-2 11 0,1 2-15 0,1-1-36 15,5-1-31-15,0-1 5 0,0 1-16 0,3-1 9 16,-1-2-39-16,4 2-8 0,1-3-17 16,1 1-14-16,0-3 14 0,2 0 25 0,0-3-13 15,2 0-5-15,-2 0 18 0,4-3 18 0,-4 0 23 16,3-3 8-16,-1-1 48 0,-3 1-2 16,1-3 5-1,0-2 10-15,0-1 44 0,-2-1-77 16,0-3-3-16,-3 2 8 0,2-1 66 0,-2-2 1 0,-2-1-8 0,2-1 5 15,-1 0-24-15,0-1 22 0,1 1-19 0,0 0-9 16,-2 1 14-16,4 1-15 0,-2 5-5 16,3-1-5-16,-3 4-20 0,0 0 12 0,-2 4-12 0,5 1-11 15,-3 0-7-15,-1 3 17 0,0 1-40 16,-4 0 33-16,7 4-13 0,-4-1-26 0,-3 2 26 16,0 0-59-16,-3 4 11 0,-4 1-6 15,-1 3-30-15,-5 3 17 0,0 1-15 0,0-3 10 16,-2 3-2-16,2-1 10 0,1-3 18 15,1 0 13-15,1-1-10 0,0-3 27 0,2 3-22 16,0-5 15-16,3 3 18 0,-2-3-18 16,4 0 5-16,0-1-13 0,1 0 11 0,2-1 2 15,2 0-3-15,1-2-2 0,0 2-15 0,1-3-5 16,2-1-57-16,4 2-56 0,0-1-59 0,2-1-128 16,-1 1-220-16,2-1-425 0,5-2 102 15,-2 2 108 1,2-1 46-16,2 0 72 0,1 1 99 0</inkml:trace>
  <inkml:trace contextRef="#ctx0" brushRef="#br2" timeOffset="79004.85">18713 8258 1507 0,'-11'3'456'0,"-2"-1"-44"0,3 4-28 16,-5-1-36-16,2 3-46 0,-1 1 3 0,0 1-34 16,1 1-28-16,0 0-25 0,3 1-39 15,-1 0 0-15,5-1-18 0,0 0-15 0,3 0-13 16,0-3-18-16,3-1-15 0,3-1-8 0,0 0 16 16,4-1-36-16,1-3-11 0,0-1 26 15,2-1-51-15,0-1 13 0,3-1-6 0,-3-4 11 16,3 1-3-16,-2-1-20 0,1-2-6 15,-2-3-68-15,-2-2 7 0,0 0-10 0,-3 3 0 16,2-1 33-16,-4-2-10 0,0 1-10 16,0 1 40-16,-1 1-27 0,-2 2 20 0,0 1-23 15,0 0 0-15,0 2 10 0,0 0-2 0,0 5 7 16,0 0-2-16,0 0 12 0,0 0-20 16,-5 13 21-16,2-4 0 15,3 4 2-15,-2 2-23 0,2 4 8 0,-3 5 7 0,-2 1 6 0,0 12-1 16,-1 0-4-16,-4 0-14 0,0 1-25 15,0-2-15-15,-5-1 10 0,-1-1 5 0,-2-2-3 16,0-2 19-16,0-3 7 0,1-7 23 0,4-1 8 16,-3-7 7-16,4 1-4 15,-2-4 7-15,4-2 2 16,3-5 37-16,-1 2-27 0,2-4 14 0,6 0 5 0,-7-8 58 0,7 0-35 16,0 1 51-16,5-6-25 0,1-3-32 0,4-5 6 15,10-5-23-15,-2-4-21 0,5 0-7 16,0 3-31-16,0-1-54 0,3 1-51 15,0 2-44-15,-3 6-69 0,0-7-227 0,-5 12-600 0,-3 2 70 16,-5 2 128 0,-2-2 143-16,0 4 18 15,-3-1 66-15,0 0 159 0</inkml:trace>
  <inkml:trace contextRef="#ctx0" brushRef="#br2" timeOffset="80152.74">19776 7988 1244 0,'-8'4'465'0,"-4"0"-42"0,-4 4-39 16,1 1-31-16,-3 4-18 0,-1 1-122 0,-6 7-16 16,0 4-5-16,2 0-26 0,0 2-2 15,2-1-41-15,-2 4-3 0,5-3 3 0,1 1-21 16,6-5-17-16,3-4 2 0,3-3-10 0,0 1-29 16,5-4 16-16,0-2-23 0,5-2 10 0,0 2-56 15,0-3 26-15,5-2-42 0,6-1 21 16,-1-4-23-16,3-1-7 0,3 0-1 15,5-6-10 1,2 1-15-16,-3-3 4 0,9-4 9 0,-1-2 17 0,-10 0-2 0,-3-1 13 0,-2 2-11 16,-5 1 18-16,0-2-4 0,-4 3 22 0,-5 2-10 15,1-1 2-15,-5 2 1 0,0 0 25 16,-3 2-7-16,-1 0 2 0,-2 0-10 0,1 2-3 16,-3 1 0-16,1-1-18 0,-1 3 34 15,1-1-26-15,1 0 8 16,1 1 4-16,5 1-9 0,-7 0-21 0,7 0 44 0,0 0-42 0,-2 5 24 15,2-5-5-15,6 6-3 0,0-3-11 16,2 5 22-16,2-3-1 0,0 3-8 0,1 0 11 16,3 0-21-16,-3 2 1 0,2-2 32 15,-1 3-37-15,-4-2 12 16,-1 2 10-16,-1-4-26 0,-1 5 9 0,-5-4 4 0,3 1-7 16,-6-1 13-16,2 1 4 0,-3-2 11 0,-1-3 15 0,2 1 21 15,-2 0 0-15,0-2 25 0,2-1 1 16,-2-1 9-16,5-1 19 0,0 0-14 15,-12-5 14-15,9 2-21 0,0 0 18 0,1-3-21 16,2-1 11-16,0 1-13 0,2 0-15 16,-2-1-6-16,5 0-7 0,-2 0-6 0,4 0-27 15,-1-2-3-15,1 1-34 0,1-2-63 0,5 2-36 16,0-3-3-16,0 2-64 0,2-1 6 0,1 0-44 16,4-2-29-16,-2 0-40 0,3-1-23 15,7-4 38-15,-5 3 49 0,-1 1 20 16,5-5 56-16,-7 4 91 0,0 2 32 15,-2 1 39-15,-5 0 40 0,0 3 37 0,-5-1 28 0,0 2 17 0,0 4 4 16,-1-3-1-16,-2 1-18 16,0 5-15-16,-2-2-2 0,-3 2-4 0,0 0 19 15,0 0-15-15,4 9-24 0,-4-3-2 0,-2 0-8 16,0 1 0-16,-1 4-8 0,3 0 1 16,-3 2 48-16,1 0 13 0,0 1-44 15,2-1-5-15,0-1 3 0,0 1-10 0,-1-3-3 0,1-1-23 16,-1 1-11-16,1-2 32 0,0-2-19 15,0 1 21-15,-1-3-25 0,-2-2-19 0,-1 4-5 16,0-5 11-16,0 3 5 0,-2-1-6 16,-1 2 14-16,-1-1-3 0,-5 2 2 0,3-2-23 15,-5 1 39-15,4 0-23 0,-1 2-26 0,-2-1 23 16,4-1 5-16,0 1-20 0,0 0 26 16,2-1-22-16,1-1 17 0,4 2-32 0,-2-2 14 15,4-2-24-15,1 2-7 0,0-4-19 16,7 3-58-16,-1-1-31 0,2-2 26 0,2 0-26 15,3-2 34-15,3 0-27 0,-1 1-9 16,8-3 15-16,0-2 8 0,0-1 25 0,1-1 20 0,-1 1 22 16,-1-3 40-16,2 3 23 0,-3-2 13 15,-4 2 41-15,1 2-3 0,-3 0 6 0,-2 1 4 16,0-1-2-16,-3 2 3 16,3 2-13-16,-3 1 22 0,-2 1-4 15,0 1-16-15,1-1 9 0,-5 4-7 0,1 0-22 0,0 2 16 16,-3-1-19-16,-1 0-5 0,-2 5 16 15,-4-1-19-15,2 1-27 0,-5-1-49 0,-2 2-49 0,-2-2-54 16,1 1-71-16,-4 2-105 0,5-2-487 0,-1-3-258 16,4-2 138-16,4 1 95 0,1-4 51 15,4 0 106-15,-2-3 37 16,16 0 64-16</inkml:trace>
  <inkml:trace contextRef="#ctx0" brushRef="#br2" timeOffset="80288.32">20664 8354 1003 0,'0'0'156'0,"2"-4"-215"15,-2 4-522-15</inkml:trace>
  <inkml:trace contextRef="#ctx0" brushRef="#br2" timeOffset="84489.02">21023 8020 1021 0,'0'0'404'0,"-9"9"-15"16,0-2-25-16,-2 2-47 0,1 7-20 0,-3 2-33 15,-5 9-21-15,-2 3 41 0,2 4-23 16,2 0-28-16,-1 0 0 0,1 3-54 0,1 1 18 16,-1-3-48-16,4-1-6 0,3-1-58 0,0-6-24 15,1-6-17-15,3-3-52 0,2 1-15 0,0-5-41 16,1-1-54-1,2 2-112-15,2-6-147 0,1-2-567 0,2 3 94 0,0-3 87 16,5-3 77-16,2-2 110 0</inkml:trace>
  <inkml:trace contextRef="#ctx0" brushRef="#br2" timeOffset="85169.02">21315 8242 1036 0,'-2'-4'333'0,"-2"2"-5"16,1-2-57-16,3 4-15 0,-12 0-28 0,6 0 46 15,-1 3-18-15,-2 0-11 16,-2 1-35-16,1 2-15 0,-1 0-21 0,-4 3-18 15,4-2 3-15,-1 4-19 0,-1-3-22 16,2 4 18-16,1-6-34 0,0 5-7 0,3-3-8 16,1-1-21-16,-1 2 6 0,4-3-5 0,1 2 4 15,-1-1-4-15,3-2 7 0,0 0-23 0,3-2 13 16,-1 0 0-16,3-1 0 0,2-2-10 16,-7 0 7-16,16-1 3 0,-6-3 21 0,1 2-1 15,-1-4-7-15,2-1-3 0,-1 1 16 16,-1-4-5-16,3 1-62 0,-2-2 2 0,-4 0 1 0,3 3 10 15,-2-2-6-15,-2 2 4 0,0 2 9 16,0-2-20-16,-1 3 10 0,0-2-33 0,-2 2 31 16,-1 4 0-1,2 0-13-15,-4 1-18 0,0 0 23 0,0 0-10 0,0 0 15 16,0 0-21-16,0 9 9 0,0-9-11 0,-4 9-20 16,2-3 7-16,1 1-5 0,1-2-10 0,-4 0 10 15,1 1-10-15,1-1-2 0,1 1 7 0,-1 1 5 16,2-4-2-16,-2 0-9 0,2 1 12 15,0-4-1-15,0 7-10 0,0-7 25 0,2 3 14 16,-2-3-19-16,5 3 8 16,2-3 6-16,-7 0 9 0,9-1-23 0,-2-1 24 0,-7 2-16 15,11 0-5-15,-4-1 15 0,0 2-4 0,0 1 1 16,0 0-9-16,0-2 12 0,1 5-7 16,0-4 20-16,-3 6-25 0,2-4 15 0,-1 1 7 15,-1 1-27-15,1 2 22 0,-2-3-22 16,1 1 14-16,-2-2-6 0,-1 2-1 0,4-3-23 15,-4 2 5-15,3-2-28 0,-2 1-20 0,-3-3-9 16,4 2-24-16,-4-2-52 0,8 0-21 16,-8 0-30-16,0 0-53 0,11-1-70 0,-11 1-151 15,10-4-489-15,-5 4 69 0,0-1 97 16,-2-1 78-16,2-1 89 0,0 3 20 0</inkml:trace>
  <inkml:trace contextRef="#ctx0" brushRef="#br2" timeOffset="85780.76">21609 8313 1164 0,'-3'3'320'0,"-1"2"46"0,-1 0-15 15,0 0-47-15,1 2-37 0,0-1-40 0,2 0-42 0,1 1-34 16,0-1-23-16,-1-2-23 0,4 0-8 0,0 1 26 16,0-4-36-16,2 2 5 0,2-2 31 15,-1 0-26-15,-5-1 6 0,16-2 1 16,-8 1 17-16,-1-2 14 0,3 3-9 0,-2-2 17 15,0 2-10-15,-1-1-15 0,-7 1-5 16,11 3 25-16,-4 1 8 0,-2 4 5 0,1 2 25 16,-2 2-42-16,-1 2 1 0,0 4-12 0,-3 2-74 15,0 0-16-15,-3 5 11 0,1 0 2 16,-3-1-23-16,-1 2 23 0,0-1 74 0,-6 8-18 16,2-9-15-16,0-1 8 15,1-4-8-15,-3 0-28 0,2-6-23 0,0 0-26 16,2-1-64-16,1-3-2 0,-3-2-49 0,4-3-59 15,-2 0-23-15,4-3-94 0,4-1-198 0,-3 0-614 16,3 0 105-16,0 0 115 0,3-14 75 0,4 4 137 16,-2 0 26-16,7-3 90 0</inkml:trace>
  <inkml:trace contextRef="#ctx0" brushRef="#br2" timeOffset="86073.49">22273 8219 1663 0,'0'0'464'0,"0"0"-52"0,-12 13-41 0,4-7-10 0,-2 4-49 0,-1-1 5 16,-2 3-27-16,-2 1-47 0,-3 1-15 16,3 3-18-16,-3-1-18 0,2-2-18 0,1 0-34 15,2-2-6-15,0 1-4 0,1-2-12 0,2 0-18 16,2-3-31-16,0 0 10 0,5 2-5 15,-2-4-5-15,3 2 21 0,2-1-8 16,0-1-13-16,2 0 0 0,3 1-7 0,-2-1-34 16,5-1-8-16,0 0-20 0,-1-1-23 0,6 0-48 0,0-1 1 15,3-1-45-15,-2-1-33 0,-1-1-44 16,5 0-72-16,-2 0-97 0,-2-2-140 16,2-2-493-16,0 2 127 0,-1-4 58 0,1 0 115 15,-1-3 62 1,-2 1 117-16</inkml:trace>
  <inkml:trace contextRef="#ctx0" brushRef="#br2" timeOffset="86271.2">22361 8232 1540 0,'-16'6'423'0,"8"1"-11"0,-4 2-10 16,2 4-41-16,-3 3 15 16,-8 13-51-16,6-1-33 0,-3 5-23 0,2-1-19 0,-1 1-19 15,1 3-26-15,1-3-31 0,-1 2-72 16,4-2-56-16,-1-1-79 0,3 1-75 0,2-5-94 0,0-7-297 15,5-3-453-15,-2 0 76 16,5-2 155-16,3-4 27 0,0-2 72 0,1 1 82 16</inkml:trace>
  <inkml:trace contextRef="#ctx0" brushRef="#br2" timeOffset="86972.86">22868 8245 1592 0,'0'-6'458'0,"0"6"-120"16,-4-1-18-16,4 1-23 0,0 0-36 0,-16 7-16 15,8-1-17-15,1 1-36 0,-1 3-20 0,-2 1-24 16,2 1-2-16,0-2-33 0,3 2 4 15,-1 1-27-15,2-2-18 0,1 1-1 0,3-3-17 16,3 2-8-16,1-3-5 0,2 3-8 0,2-6 11 16,3 1-3-16,1-4-28 0,3 2 25 15,-2-4 11-15,2-1-26 0,1-3 5 0,-1-1 10 16,1-2-12-16,0-1 5 0,-4-3 10 16,-2 2-3-16,0-3 29 0,-2-1-34 0,-5 1 10 0,1 0 11 15,-2 0-28-15,-1 1 27 0,-1 0-12 16,-3 3-5-16,1-1-3 0,0 0-7 0,1 3 0 15,-1-1 2-15,-3 5-23 0,3-2 36 0,2 4-28 16,0 0-6-16,0 0 9 16,-9 11-24-16,7-3 23 0,2 4-7 15,0 2-13-15,2 8 13 0,0 3-3 0,-1 1 0 0,5 15-18 16,-2 0 36-16,-1 0-8 0,-3 0-27 0,-3 1 9 16,0 1 1-16,-4 0-4 15,-4-3 12-15,-3 1-29 0,-2-1-6 0,-2-3 22 0,-1-2-1 16,-5-2-10-16,3-3 21 15,-2-4 9-15,-1-3 6 16,4-7 44-16,2-3-24 0,5-1 39 0,1-6-21 0,1 0 39 0,3-5-3 0,0-1-30 16,2 0 27-16,0-4-30 15,4-5-8-15,4 2-12 0,1-5 17 0,7-7-33 16,0 0-43-16,13-12 12 0,1 1-41 0,4 1-12 16,7-5-29-16,-4 8-35 15,0 1-6-15,3 0-43 0,-2 1-43 0,-3 5-93 0,4-17-202 0,-5 19-517 16,-7 4 154-16,2 1 40 15,-5 1 131-15,14-6 95 0,-2 3 20 0</inkml:trace>
  <inkml:trace contextRef="#ctx0" brushRef="#br2" timeOffset="87449.22">23982 8241 1146 0,'1'-4'520'0,"-1"4"-34"0,0 0-56 0,0 0-13 0,-11 0-48 0,11 0-49 15,-17 5-46-15,7-1-8 0,-4 4-43 0,-3-1 7 0,1 1-53 16,-6 2-6-16,4-1-12 0,0 4-23 0,0-2-1 16,3-2-22-16,2 1-11 15,2-1 1-15,2 0-47 0,3-1 21 16,2-2-6-16,3 2-7 0,1-2-12 0,3 2 19 0,2 0-4 16,0 0-8-16,5-1 0 0,2 4 25 15,-1-5 8-15,2 5-5 0,-3-3-10 0,1-1 25 16,-1-1 11-16,-2 3-23 0,-1-2-11 31,1 0 16-31,-1-2-13 0,-6 2 2 0,1-2-15 16,0 0-7-16,-6 0-11 0,2 2-23 0,-4-2-33 0,-2 2-39 0,1-1-25 15,-4 0-33-15,1 1-49 0,-3-2-54 0,5-1-76 0,-4-1-201 16,4 2-342-16,1-2-225 16,-1 0 137-16,2-2 60 0,2-1 82 0,4 0 66 0,0 0 100 15</inkml:trace>
  <inkml:trace contextRef="#ctx0" brushRef="#br2" timeOffset="87698.12">23992 8363 977 0,'20'-11'446'0,"1"3"-98"0,-1 1-33 0,0 2-21 15,-1 2-7-15,1 0-34 0,-1 2-17 16,-3 1 2-16,-2 1-21 0,-4-1-9 0,-3 5-9 0,-1 1 9 16,-4 1-19-16,-4-1-12 15,-4 4-34-15,-1 3-15 0,-6-1 0 0,0 2-5 0,-3 0-29 16,4-2 6-16,0 1-18 0,1-2-10 15,1 0 15-15,2-1-36 0,0-4 8 16,5 4-16-16,1-3 11 0,2-1-3 0,1 1-4 16,1-2 1-16,3 0-12 0,0-2-5 0,5 2-49 15,2-3-18-15,-1-2-25 0,5 0-19 16,-1 0-53-16,3 0-44 0,2-2-112 16,1-9-159-16,-1 6-494 0,0-1 57 0,-4-2 150 15,1-5 8-15,-1-2 62 0,0-2 94 0</inkml:trace>
  <inkml:trace contextRef="#ctx0" brushRef="#br2" timeOffset="87908.5">24563 7926 1597 0,'10'22'545'0,"-1"-1"-64"0,-1 4 0 31,0 12 47-31,0 8-91 0,-5-1-22 0,0 6-31 0,-6 11-59 0,-7-3-18 0,-5 2-5 15,-9-3-102 1,-9 0-118-16,-6 1-105 0,-16 10-154 0,-15 2-396 0,13-4-461 0,8-15 138 0,-18 5 61 16,-4 0 85-16,9-14 82 0,-19 3 87 0,3 3 46 15</inkml:trace>
</inkml:ink>
</file>

<file path=ppt/ink/ink20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4:58.247"/>
    </inkml:context>
    <inkml:brush xml:id="br0">
      <inkml:brushProperty name="width" value="0.05292" units="cm"/>
      <inkml:brushProperty name="height" value="0.05292" units="cm"/>
      <inkml:brushProperty name="color" value="#C00000"/>
    </inkml:brush>
  </inkml:definitions>
  <inkml:trace contextRef="#ctx0" brushRef="#br0">21227 3008 1523 0,'-5'-1'424'16,"0"0"-52"-16,5 1-37 0,0 0-13 0,0 0-4 16,0 0-39-16,0 0-10 0,0 0-24 15,26 1 42-15,-11 0-8 0,5-1-38 0,4 0-80 16,7-1-15-16,4 0-3 16,14-1-10-16,0 1-23 0,7-1-10 0,3-2 8 0,11 1-32 15,-2-2 11-15,-7 0-30 16,-2 3 7-16,-1-1-28 0,0 0-11 0,0 1-40 0,0-1-41 15,-4-1-39-15,-3 2-25 0,-5-1-39 16,-10 1-15-16,-10 1-41 0,-4 1-54 16,-9 0-95-16,0 0 1 0,-6 0-264 0,-6 0-192 0,-1 0 53 15,0 0 45-15,0 0 70 0,-23 6 91 0</inkml:trace>
  <inkml:trace contextRef="#ctx0" brushRef="#br0" timeOffset="249.6">21047 3115 1226 0,'-12'2'450'0,"12"0"3"0,0-2-59 0,23 0-15 0,1-2-5 0,24 0-59 15,6-3 12-15,18-1-35 0,7 0-105 0,8-1 0 16,6 1 0-16,-1-1-26 16,-2 0-15-16,-1 2 8 0,1-2-21 0,-3 1-8 0,0-1 8 15,-4 1-25-15,-4-2-16 0,-7-1-18 16,-16 2-15-16,-7 1-26 0,-5-1-17 0,-11 1-24 0,-10 0-51 15,1-2-38 1,-6 1-18-16,-6 0-24 0,1-3-71 0,-4 2-66 0,-1-2-152 16,0-3-513-16,-3 1 78 15,-3-1 44-15,-1-3 135 0,-4-2 62 0,-3-6 131 0</inkml:trace>
  <inkml:trace contextRef="#ctx0" brushRef="#br0" timeOffset="503.25">21261 2157 1095 0,'0'0'504'0,"27"-3"-43"0,-8 2 10 0,14-1-51 15,19-1-62-15,7 2-20 0,23-1-23 0,6 2-16 16,0-1-35-16,7 1-34 0,3 0-12 15,2-4-21-15,2 4-13 0,0-2-89 0,-6 1-51 16,-2-2-57-16,-9 1-44 0,-2-2 17 0,-12 1-119 16,-18-1-38-16,-8 0 25 0,-14 3-120 0,-11-5-158 15,-6 3-459-15,-10 2 82 16,-7-2 95-16,3 3 115 16,-18-2 24-16</inkml:trace>
  <inkml:trace contextRef="#ctx0" brushRef="#br0" timeOffset="770.26">21040 2297 941 0,'-15'9'379'0,"11"-1"0"0,8-3-5 0,9 1-16 0,15-3-30 0,21 4-24 0,25-3-22 0,17 1 33 16,13-2-8-16,33 1-41 0,-3-2 16 16,3 0-85-16,1 0-3 0,-2-2-2 0,-28-2-43 15,-6 1-19-15,-6-3-20 0,-7 0-56 0,-7-1-10 16,-8 1-1-16,-18-2-38 15,-6 3-15-15,-9-3-8 0,-7 0-28 0,-13 2 15 0,0 0-10 16,-8 0-33-16,-2 1-8 0,-3 0-38 0,-4 2-34 16,0-1-61-16,-4 2-130 15,0 0-124-15,0 0-452 0,0 0 130 0,-22 2 36 16,12 2 123-16,1-2 45 0</inkml:trace>
  <inkml:trace contextRef="#ctx0" brushRef="#br0" timeOffset="48026.5">15764 10319 1008 0,'0'-4'451'0,"0"4"-42"0,2-3-40 16,-2 3-26-16,0 0-16 0,0 0-25 0,0-5-51 15,0 5 5-15,0 0-43 0,0 0 2 16,0 0-8-16,0 0-12 0,0 0-27 0,0 0 12 16,6 12-9-16,-6-7-86 0,2 1 7 15,-2 2-26-15,0 3 6 0,2 2-11 0,-2 0 1 16,1-1-24-16,-1 1 13 0,0 3-2 15,0-3-16-15,0 0-22 0,0 0-4 0,0 0-17 16,0-1 2-16,0 2-33 0,-1-4-10 0,-1 0-36 16,2 1-10-16,-2-5-39 0,2 1-25 15,0 2-21-15,0-5-2 0,2 2-67 16,-2-1-82-16,2 1-86 0,-1-4-449 16,1 2 72-16,1-1 61 0,-1-1 146 0,-2-2 31 0</inkml:trace>
  <inkml:trace contextRef="#ctx0" brushRef="#br0" timeOffset="48291.7">15972 10480 1492 0,'2'4'478'0,"0"-1"-24"0,1 1-40 16,0 0-78-16,-1 3 1 0,1 1-9 16,-3 0-28-16,0-1-47 0,0 3-7 15,-2-1-65-15,1 1-35 0,-4-1-15 0,3 2-67 16,-1 1-28-16,-2-2-44 0,0 0-64 0,2 1-28 16,-2-3-81-16,0 2-165 15,0-1-578-15,3-4 82 0,-4 2 41 0,4-3 125 16,-1-2 80-16,1-2 33 0</inkml:trace>
  <inkml:trace contextRef="#ctx0" brushRef="#br0" timeOffset="48513.58">16197 10289 1333 0,'0'0'497'0,"0"0"-37"16,6 7-104-16,-6-3-18 0,0 2-28 0,0 4-34 15,0-1-20-15,0 3-23 0,-1 2 56 0,-1-1-30 16,2 2-34-16,-3-1-35 0,1 0-47 16,-1 3-38-16,0-4-46 0,1 3-46 0,-1-2-62 15,1 1-36-15,-3-2-58 0,2 4-87 0,1-4-170 16,-4 5-534-16,4 1 64 0,-1-2 97 0,-2 1 77 16,0 2 63-16</inkml:trace>
  <inkml:trace contextRef="#ctx0" brushRef="#br0" timeOffset="49024.29">15713 10991 1384 0,'-3'-3'502'0,"3"3"-133"15,0 0-34-15,-5 12-18 0,3-3-15 16,1 0-33-16,-1 2-13 0,-1 3-56 0,1-1-21 15,-1 5-2-15,0-1-44 0,1 2-16 0,0 0-40 16,-4 0-72-16,4-1-38 0,-1 0-44 16,1 1-79-16,-1-3-177 0,0 2-92 0,1-4-468 15,4-3 125-15,-4 2 54 0,2-3 74 0</inkml:trace>
  <inkml:trace contextRef="#ctx0" brushRef="#br0" timeOffset="49206.92">15869 11093 1034 0,'7'0'399'0,"-7"0"-30"0,8 1-3 0,-3 2-23 16,1 1-34-16,-1 1-37 0,-2 1-11 0,1 1-21 16,-1 5-7-16,0 0-25 15,-1 0-32-15,-2 1-45 0,0 0-34 0,-2 3-41 0,-1 0-53 16,-4 1-72-16,4 0-95 0,-3-7-200 0,1 8-493 15,1-2 12-15,1-2 146 0,-2-3 80 16,2-1 48-16</inkml:trace>
  <inkml:trace contextRef="#ctx0" brushRef="#br0" timeOffset="49503.49">16028 11063 1121 0,'13'-7'343'0,"-3"5"-44"0,0 1 54 0,-2 1-10 0,-1 1-33 16,-1 1-16-16,-1 3-12 0,0 0-11 15,-3 3-25-15,-1 0-16 0,-1 3 1 0,-1 0-19 16,-1 2-17-16,-3 0-3 0,2 1-16 0,-2-1-17 16,3-1 2-16,1 0-22 0,-1-1-4 15,2-2-22-15,2 0 2 0,1-1-18 0,2-2 11 16,-2 0-26-16,5-1-5 0,0-3-29 15,2-2-50-15,0 0 12 0,3 0-43 0,2-1-16 16,2-1-25-16,-1-2 2 16,-3 2-38-16,0-1-13 0,2 2-23 0,-4 1-25 0,-1-1-49 0,0 2-72 15,-2 0-79-15,-3-1-62 16,-2 5-442-16,-1 2 38 0,-2 0 53 16,-2 3 96-16,-6 4 61 0</inkml:trace>
  <inkml:trace contextRef="#ctx0" brushRef="#br0" timeOffset="49847.1">15592 11745 1553 0,'0'0'492'0,"-3"17"-65"0,1-8-22 0,2-1-16 0,0 0-49 15,-2 5-35-15,-1 0-13 0,3 1-65 0,-3-1-35 16,1 2-36-16,-1-1-53 15,1 1-83-15,-1-2-50 0,0 0-106 0,3-5-220 16,-2 3-601-16,2 0 130 0,0-1 54 0,0-1 61 0,0-3 88 16</inkml:trace>
  <inkml:trace contextRef="#ctx0" brushRef="#br0" timeOffset="50027.14">15761 11858 1315 0,'0'0'548'0,"5"9"-44"0,-5-5-23 0,3 2-45 16,-6 3-32-16,3-1-120 16,-2 3-20-16,2 0-16 0,-3 2-12 0,-2 0-39 0,3 1-34 15,-1 0-29-15,-2 1-83 0,2-1-51 16,-2 3-77-16,2-3-61 0,-1 1-118 0,-4 0-210 16,5-2-468-16,1-2 109 0,1-1 60 0,-1-1 82 15,2-2 48-15</inkml:trace>
  <inkml:trace contextRef="#ctx0" brushRef="#br0" timeOffset="50373.07">16041 11744 1092 0,'0'0'379'0,"0"0"-25"15,0 0-1-15,0 0-46 0,-8 11-61 0,3-5-3 16,0 4-10-16,0-2-44 0,2 3-17 16,1-2-24-16,-1 1-10 0,0 0-7 0,3-1-18 15,0 0 7-15,0 2-23 0,3 0-15 0,2-1 0 16,-2 2 18-16,4-1-31 0,-4 2 18 16,2-3 90-16,-2 3-26 0,-1-3-23 0,3 1 23 15,-4 0 5-15,1-2-39 0,-2 0 9 16,0-1-80-16,-2 2-31 0,2-2-2 0,-3 1-44 15,0-3-40-15,1 3-34 0,-1-1-44 0,-5 0-81 16,3 0-126-16,-2 1-212 0,-3-2-372 0,2 1 150 16,-3-2 17-16,-1 2 51 0,2-2 97 15</inkml:trace>
  <inkml:trace contextRef="#ctx0" brushRef="#br0" timeOffset="50918.7">15558 12365 1197 0,'0'0'530'0,"0"0"-46"16,0 0-26-16,0 0-48 15,-7 16-31-15,4-5-62 0,1 0-23 0,0 2-22 0,-1 3-39 16,-2 1-59-16,2 0-18 0,-2 2-67 16,2-1-91-16,-2 2-54 0,2-1-154 15,-1-6-169-15,1 6-568 0,0 0 115 0,3-2 56 16,-2-3 136-16,2 0 52 0,-2-2 37 0</inkml:trace>
  <inkml:trace contextRef="#ctx0" brushRef="#br0" timeOffset="51198.78">15769 12610 1103 0,'-5'9'501'0,"-1"1"-35"0,-1 0-46 16,2 0-49-16,-3-1-28 0,-2 2-46 0,2 2-51 15,1 1-54-15,-4-4-62 0,1 4-78 16,0-1-55-16,0-2-133 0,2-1-199 15,5-1-551-15,-2-1 106 0,0-3 119 0,2-1-17 0,3-3 84 16</inkml:trace>
  <inkml:trace contextRef="#ctx0" brushRef="#br0" timeOffset="51497.29">16003 12486 1558 0,'0'0'435'16,"-16"12"-22"-16,8-8-111 16,-2 4-44-16,2 0-25 0,-7 1-8 0,2 1-15 0,0 1-41 15,0 0 3-15,1-1-21 0,-1 1 64 16,5-2-16-16,0 0-32 0,0-1-19 0,1 2 26 0,2-3-41 16,2 1-25-16,1-2 2 0,2-1-8 0,0 2-33 15,0-1 8-15,3-1-3 16,4 0 1-16,-2-2 12 0,3 0-64 0,0-1-39 15,4-2-7-15,-1 0-61 0,1-2-21 0,1-1-23 16,2 0-49-16,-2-1-81 0,0 0-65 16,0-3-79-16,-2-2-81 0,4-1-385 0,-5 4 77 15,-2-2 33-15,1-1 118 0,-3-1 62 0</inkml:trace>
  <inkml:trace contextRef="#ctx0" brushRef="#br0" timeOffset="51669.7">16056 12446 870 0,'-5'8'348'0,"0"-3"90"0,0 3-39 0,0 1-36 16,0 2 32-16,-1 5-134 0,1 0-28 0,0 3-3 16,0 4-35-16,-2 2-6 0,1-1-15 15,1 0-26-15,0 0 1 0,2-1-39 0,-2 1-33 16,3-5-26-16,-1 0-31 0,1-1-66 0,-1-1-51 16,0-3-44-16,3 2-127 0,-2-3-216 0,0-2-348 15,1-1 43-15,-2 0 114 0,1-1 58 16,-3 0 92-16</inkml:trace>
  <inkml:trace contextRef="#ctx0" brushRef="#br0" timeOffset="52085.67">15405 13298 1269 0,'-2'6'484'0,"2"-1"-8"0,0 2-54 0,0 1-38 16,-1 2-30-16,-1 0-47 15,-1 2-51-15,1 1-23 0,2 0-44 0,-3 1-41 16,0 0-55-16,1-1-52 0,0 1-59 0,-1-1-85 0,0-2-189 15,1 1-606-15,2-4 84 16,0 0 28-16,2-4 103 0,1-1 48 0</inkml:trace>
  <inkml:trace contextRef="#ctx0" brushRef="#br0" timeOffset="52289.85">15625 13344 1228 0,'0'6'443'15,"0"-1"-36"-15,-2 2-23 0,-1 2-46 0,0 2 51 16,-1 1-51-16,-4 3-13 0,0-1-3 0,0 1-84 16,1 1-25-16,-1 0-42 0,0-1-71 15,0-1-72-15,1-3-69 0,4 2-94 0,-1-5-201 16,1 1-583-16,0-2 88 0,3-2 68 0,0 0 69 16,3-2 95-16,-3-3 41 0</inkml:trace>
  <inkml:trace contextRef="#ctx0" brushRef="#br0" timeOffset="52613.01">15989 13217 1505 0,'-15'9'440'15,"7"-4"-25"-15,-2 0-83 0,0 3-22 16,0 0-13-16,1 0-36 0,-1 0-25 0,3-1-45 15,2 2-4-15,2-1-2 0,1-1-16 0,2 1-29 16,0 1 1-16,0 1 28 0,3-1-23 16,4 2 13-16,-4-1-62 0,1 1 5 0,2 0 21 15,-1 1-8-15,0-1-15 0,-2 2 21 0,-1-2 17 16,-2 3 43-16,0-1-24 0,-2-1-11 16,-1 0-36-16,-5 2-23 0,1-4-36 15,-1 3-64-15,0-2-38 0,-2-3-49 0,2 0-56 16,-2 0-54-1,0-1-100-15,0-3-197 0,0 2-527 0,1 1 80 0,-1-1 163 0,2 0 71 16,1 2 50-16,0-2 76 0,-1 2 38 0</inkml:trace>
  <inkml:trace contextRef="#ctx0" brushRef="#br0" timeOffset="53230.17">15436 13952 1563 0,'0'0'466'16,"0"0"-64"-16,0 0 5 0,-3 15-59 0,3-7-23 0,-2 1-38 0,-1 5-39 0,3-1-25 0,-3 3-16 0,1 1-102 15,-1 2-18-15,1-1-41 0,-1 1-15 0,1 2-77 16,-1-1-49-16,-2 0-84 16,3 4-110-16,-6-7-82 0,8-2-487 0,0 1 26 15,-1-3 111-15,2-4 58 0,-1 0 89 0</inkml:trace>
  <inkml:trace contextRef="#ctx0" brushRef="#br0" timeOffset="53434.31">15628 14069 1300 0,'0'5'404'0,"0"4"-7"0,-3-1 38 0,1 3-48 16,-3 0-19-16,2 2-22 0,-2 0-134 15,2 4 8-15,-1-2-66 0,-2-1 15 0,1 5-33 0,0-3-19 16,0 0 14-16,0 2-57 0,0-4-18 15,-1 1-40-15</inkml:trace>
  <inkml:trace contextRef="#ctx0" brushRef="#br0" timeOffset="53769.92">15856 13940 1341 0,'-5'14'481'0,"2"-8"-51"0,-1 5-31 0,1 2-20 0,-2 2-125 0,-3 1-29 31,3 3-31-31,-1 3-4 0,4-4-3 0,-3 1 46 0,5 1-41 0,0-1 0 16,3-5-24-16,-1 1-19 0,3-1-31 0,0-4-3 15,1-2-10-15,-1-1-3 0,3-3-22 0,-1-1 12 16,-2-2-23-16,1-1-23 15,-6 0-5-15,12-4 15 0,-9 1-17 0,2 0-1 0,-3-1 16 16,-2 1-34-16,0 3-40 0,-2-7-11 16,-1 4-28-16,3 3-43 0,-10-1-34 15,10 1-166-15,-13 3-207 0,5 1-469 0,-2 0 105 0,0 3 46 16,-1-1 90-16,-1 6 59 0,-1-2 99 16</inkml:trace>
  <inkml:trace contextRef="#ctx0" brushRef="#br0" timeOffset="54914.6">17246 10292 1011 0,'15'-5'440'0,"-2"5"-46"0,0 0-23 0,-3 0-25 0,0 5-34 16,0-3 21-16,-2 2-49 15,-3 3-23-15,1-1-2 0,-1 2-27 16,-3 3-22-16,-2 0-15 0,-2 2-21 0,-4 4-18 0,-4 3 8 16,0-1-21-16,-2 0-28 0,1-2 24 15,1-3-29-15,-3 0-26 0,5-2 26 0,3-3-18 16,0 2-7-16,0-5 2 0,2 3-21 0,3-4-7 15,0 0 8-15,2 1-11 0,1-3-20 0,3-1-10 16,1 0-52-16,4-2-23 16,-1 0-40-16,2-1-34 0,1-1-41 0,0-2-28 15,2-1-79-15,1 1-100 0,-3-1-134 0,-1 0-122 0,6-2-212 16,-2 0 9-16,-1-2 144 16,-4 8 49-16,4-8 517 0,-5 0 76 0,3 3 103 15,-3-2 120-15,-2 2 29 0,-1 0 42 0,1 0 101 16,-2 4-3-16,1-3-18 0,-2 4-51 15,-2 0 11-15,-3 1 65 0,0 0-1 16,10 2-14-16,-7 4-7 0,-1-2-16 0,0 2-7 0,-1 1-49 16,-1 2-23-16,0-2-28 0,0 4-10 15,-3 0-52-15,1-3-4 0,-1 4-60 0,1 0-40 16,-1-2-50-16,0-1-73 0,1-1-67 0,-1 1-135 16,-5-1-244-16,8-3-535 0,0 0 105 15,0-5 123-15,3 3 85 16,-3-3 46-16,0 0 74 0</inkml:trace>
  <inkml:trace contextRef="#ctx0" brushRef="#br0" timeOffset="55140.58">17812 10268 1374 0,'-7'16'507'0,"6"-8"-52"15,-4 0-19-15,0 5-24 0,0-1-59 0,0 4 28 16,0-1-17-16,-2 4-44 0,-1-2-41 0,5 0-44 15,-4 0-71-15,1 1-97 0,1 1-67 0,0-2-75 16,2 2-124-16,-7 3-272 0,5-5-448 16,2 2 23-16,3-4 161 0,-2-1 19 0,0 0 89 15,2 1 69-15</inkml:trace>
  <inkml:trace contextRef="#ctx0" brushRef="#br0" timeOffset="55546.48">17253 11091 1254 0,'8'-3'476'0,"0"3"-33"0,2 0-24 16,0 3-19-16,-2 0-37 0,2 2-15 0,-2 2-28 0,-3-1 5 16,0 5-40-16,-2 1-19 0,-3 1-8 15,0 1-30-15,-3 3-10 0,-2-2-26 0,0 3-46 0,-5 2 12 16,4-5-22-16,-1 0-13 15,2-2-8-15,0-2 5 0,2 0-22 0,-2-1-27 0,3-2 34 16,-1 1-51-16,3-2 12 0,0-2-12 16,3 1 3-16,-1-2-34 0,3 0 0 0,2-4-29 15,1 1-42-15,0-1-8 0,3-1-72 16,-1 1-3-16,0-2-51 0,3-2-46 0,-1 2-43 16,-1-3-138-16,2-1-114 31,0 1-498-31,-3 0 100 0,0-3 58 0,0 2 110 0,0-1 70 0,-4 0 51 0</inkml:trace>
  <inkml:trace contextRef="#ctx0" brushRef="#br0" timeOffset="55813.46">17517 11119 877 0,'6'-7'333'0,"1"2"59"0,-1 2-16 0,1 2-48 0,1-1-3 16,-3 2-21-16,3 0-22 0,-8 0 2 0,12 3-30 16,-6-1-22-16,1 2 47 0,-1 1-102 15,-2 2-11-15,0 2 9 0,-2 1-14 0,0 3 8 16,-4 1-26-16,0-1 13 0,2 2-30 0,-6 1-1 15,4 1-17-15,-1-2-1 0,0 1-17 16,1-3-14-16,-1 1 14 0,3-3-21 0,0 0-20 16,0-2 12-16,0 1-22 0,2-3-29 15,-1-1-8-15,1-3-35 0,4 1-49 16,-2-2-46-16,2 1 3 0,2-3 2 0,-1 0-38 16,0 0-13-16,1-3-44 0,0 3-48 15,2 0-57-15,-5-2-96 0,-5 2-14 16,14-1-483-16,-10 0 130 0,-4 1 64 0,11 0 39 0,-11 0 76 15</inkml:trace>
  <inkml:trace contextRef="#ctx0" brushRef="#br0" timeOffset="56089.48">17512 11336 1210 0,'0'12'566'0,"-2"-7"-126"0,2 1-51 16,-3 1-18-16,1 2-63 0,0 3-9 0,-4 2-35 15,1 2-47-15,-3 1-50 0,0 2-70 0,-2 1-74 16,0 0-61-16,0 0-126 15,2 1-202-15,-2-1-484 0,2 1 44 0,0-3 81 16,1-4 83-16,-1 2 27 0</inkml:trace>
  <inkml:trace contextRef="#ctx0" brushRef="#br0" timeOffset="56570.73">17156 11944 988 0,'12'4'458'0,"-1"1"-38"0,-3 1-6 16,0 0-43-16,0 3-33 0,-4 1-28 0,2 0-16 15,-4 4-22-15,0 0-16 16,-4 2-8-16,0 1-59 0,-1 2-17 0,-2 0-11 0,-1-1-7 15,1 1-26-15,-2-2 18 0,-1-1-8 16,5-1-23-16,-1-2 0 0,0-1-18 0,2-1-4 16,0-2-4-16,-1-1-4 0,3-1-14 0,0 1 9 15,0-3 9-15,3 0-20 0,1 0 16 16,0-3-19-16,3 0-20 0,0-2-58 0,2 0-19 16,3-2-33-16,1 0-46 0,0 0-18 15,0-2-39-15,2 0-50 0,-2 1-144 16,-5-1-146-16,5 0-476 0,-3-2 92 0,2 2 93 0,-4 1 84 15,0 0 97-15,0 0 46 0</inkml:trace>
  <inkml:trace contextRef="#ctx0" brushRef="#br0" timeOffset="56905.45">17420 12195 1589 0,'0'5'548'0,"0"0"-44"15,0 4-33 1,0 0-46-16,0 0-18 0,0 2-56 0,0 2-39 0,-3 1-20 0,1-1-44 0,0 0-53 15,-1 1-73-15,-2 0-40 0,2-1-110 16,-2 0-54-16,0-2-53 0,0 1-137 0,0-2-191 16,2-1-499-16,0-3 107 0,1-1 48 15,0-2 147-15,2 0 40 0,0-3 57 0</inkml:trace>
  <inkml:trace contextRef="#ctx0" brushRef="#br0" timeOffset="57171.86">17554 12025 1126 0,'2'-2'496'0,"-2"2"-35"0,0 0-13 16,0 0-123-16,0 13-15 15,-2-7-29-15,-4 4-40 0,1 2-16 0,-2 0-20 0,1 5-31 16,-1-4 5-16,1 4-25 0,1-1-11 0,0-1-22 16,5 0 14-16,0 1-30 0,0-2-2 15,5 3-14-15,-2 0-10 0,2-1 8 0,-2 0-23 16,2-3-2-16,-3 0 4 0,1 0 4 0,0-2-19 15,-1-1 5-15,1 0-18 16,-3-1 14-16,0-1-4 0,0 1-14 0,-3-2-29 16,1 0-5-16,-1 0-26 0,-2-1-25 0,0 0-57 15,-1-1-38-15,1 0-10 0,-4 0-66 0,1-1-157 16,0-2-102-16,3 3-456 0,-3-1 102 16,0 2 113-16,0 1 49 0,1 0 49 0,-1 1 63 15</inkml:trace>
  <inkml:trace contextRef="#ctx0" brushRef="#br0" timeOffset="57647.84">16968 12932 1418 0,'8'-4'407'0,"0"1"-52"0,0 2-1 15,-1 2-45-15,1 1-4 0,-2 0-26 16,1 1-23-16,-4 1-3 0,2 2-20 0,-3 3-18 16,-2-2-25-16,0 1-32 0,-2 3 4 0,-6 0 35 15,3 2-13-15,-5 0-12 0,2-1-21 16,-2 2-16-16,5-5 6 0,-3 2 5 0,0-3-31 16,4 2-20-16,-2-1 7 0,-2 0-12 0,5-4 17 15,-1-1-40-15,1 2-11 0,0-2 29 16,1 0-14-16,-1 0-22 0,3-4 35 15,0 5-127-15,0-5-6 0,6 4 8 16,-1-3-2-16,-5-1-42 0,10 0-38 0,-3 0-28 0,-7 0-12 0,14-1-32 16,-4-1-38-16,0 1-82 15,1 0-156-15,1-3-535 0,0 3 103 0,2-2 61 16,-1 0 127-16,-1-2 55 0,1 3 74 16</inkml:trace>
  <inkml:trace contextRef="#ctx0" brushRef="#br0" timeOffset="57835.19">17246 13067 1341 0,'0'0'532'0,"0"0"-112"0,-16 8-31 0,11-3-41 0,0 1-20 15,-2 4-8-15,1-1-39 16,-2 1 47-16,1 2-26 0,-1 0-36 0,-2 0-28 16,2 0-36-16,0-2-53 0,-2 3-47 0,5-2-56 15,-3-2-69-15,1 1-84 0,2-2-147 16,-1-1-255-16,4-4-423 0,0 0 49 0,2-3 90 15,0 0 76-15,0 0 113 0,17-11 64 0</inkml:trace>
  <inkml:trace contextRef="#ctx0" brushRef="#br0" timeOffset="58262.06">17476 12910 1331 0,'0'0'476'0,"-10"9"-54"0,5-3-23 15,-2 0-38-15,-2 2-18 0,-1 2 3 0,-2 1-57 16,2 0-30-16,-4 0-16 0,2 1-8 0,1 0-15 16,1-2-33-16,2 0-3 0,3-1-27 0,-2-1-19 15,4-1 64-15,-2 2-7 16,5-1-6-16,0-2-33 0,0-1-36 0,0-1-4 16,5 1-34-16,-2-1-8 0,4-1-38 0,-2-1-65 15,3-1-35-15,0 0-12 0,0-2-16 0,2-1-39 16,3-1-48-16,-3-2 7 0,0 0-27 0,1 0-32 15,-1-3 14-15,0 1-83 32,0-1 21-32,0 0 28 0,-4-1-23 0,-1-1-7 0,0 0-1 0,0 0 34 0,0 1 59 0,-2 0 76 15,-1 1 72-15,1 1 59 0,-3 3 26 0,0 2 43 16,0 2 20-16,0 0 21 0,0 0 8 16,0 0 40-16,0 0 9 0,-11 13 22 0,7-4 13 15,-2 2 21 1,4 1-11-16,-3 1-5 0,2 4-5 0,-2-1-35 0,0 1-21 0,0-1 12 0,-1 3-22 15,2-1-13-15,1-1-54 0,-2-2-23 16,2 1-59-16,-2-2-72 0,3-1 1 0,-1-1-47 16,0-1-64-16,3-2-130 0,-3-1-223 0,1-1-488 15,2-3 73-15,-2 1 139 16,2-1 74-16,-3-1 115 16,0 0 23-16</inkml:trace>
  <inkml:trace contextRef="#ctx0" brushRef="#br0" timeOffset="58802.09">16823 13548 1361 0,'4'-2'458'16,"2"1"-115"-16,2 1-23 15,-8 0-20-15,13 3-6 0,-5 0-12 0,-2 2-36 16,-2 1 63-16,0 3-9 0,-3 0-29 0,-2 3-33 0,1-1 28 16,-4 2-61-16,1 1 0 0,0-2-16 0,-1 2-12 15,0-2-18-15,0 1-42 16,3-2 32-16,-4 2-14 0,3-6-12 0,0 2-15 15,-1-1-26-15,3-2-11 0,0 1 11 0,-3-1-5 16,6-1-13-16,-3-2 10 0,0-3-92 0,5 3-51 16,-5-3-28-16,12-2-18 0,-4-1-16 15,0-1-12-15,2-2-41 0,1 0-13 0,4-3 2 16,0 0-17-16,-2-1 30 0,0 1 23 16,0-3 18-16,2 2 13 0,-5 2 23 0,4-1 11 15,-2 1 35-15,-2 4 38 0,-2 0 19 0,0 1 35 16,-3 1 3-16,2 2 15 0,-7 0 0 15,8 4 44-15,-3 0 7 0,-2 0-9 16,0 2 50-16,-1 1-13 0,-2 0-19 0,0 1-4 16,0 0 3-16,-2 1-2 0,-1 1-24 0,0-2 1 15,1 4-14-15,-4-2 16 0,4-2-38 0,0 0-26 16,-1 0-38-16,0 0-62 0,0-2-33 16,1-1-64-16,0 0-39 15,2-1-99-15,0-4-208 0,0 0-491 0,0 0 182 0,15-4 0 0,-10-1 84 16,6-2 112-16,1-2 42 15</inkml:trace>
  <inkml:trace contextRef="#ctx0" brushRef="#br0" timeOffset="59069.78">17369 13437 1226 0,'-11'5'473'0,"4"-3"-10"31,1 3-50-31,-1 0-55 0,-1 3-5 0,1 2-28 0,1-2-53 0,2 3 1 0,-2 1-68 15,4-1-36-15,0 1-13 0,1 1 13 0,1 0 3 16,0-1-8-16,1 1 7 0,-1-2 47 16,0-1-14-16,2 1-12 0,-2-3-20 0,0 1 12 15,0 0-38-15,-2-1-13 0,1-1-15 0,-4-2-23 16,0 0-21-16,0 1-5 16,-3-3-41-16,3 1-46 0,-5-3-30 0,2 2-57 0,0-2-39 15,-2 0-2-15,0-1-46 0,2 3-79 0,3-1-113 16,-5 0-148-16,4 0-454 0,1 2 39 15,-2-1 133-15,2 0 90 16,2 4 79-16,-4-1 38 0</inkml:trace>
  <inkml:trace contextRef="#ctx0" brushRef="#br0" timeOffset="59335.76">17003 14175 1402 0,'7'0'425'0,"-2"0"-41"16,0 3-20-16,-2 0-16 0,-1 1-36 15,0 1-28-15,-2 0-25 0,-2 4-19 0,2 0-17 0,-5 2-18 16,2 6-36-16,-3-2 84 16,-2 2-28-16,0-2-20 0</inkml:trace>
  <inkml:trace contextRef="#ctx0" brushRef="#br0" timeOffset="59624.62">17325 14212 1164 0,'0'0'453'0,"0"5"28"0,2-1 1 0,-2-4-106 0,-2 9-41 16,0 0-30-16,2-2 12 0,-3 2-25 0,0 3 31 16,-1 0-11-16</inkml:trace>
  <inkml:trace contextRef="#ctx0" brushRef="#br0" timeOffset="59899.34">17495 14067 1192 0,'0'0'448'0,"0"0"-20"0,-8 15 20 0,5-7-26 16,-2 5-33-16,2-1-15 0,1 2-123 15,0 1-34-15,-1 2-12 0,2 1-21 16,2 1-7-16,2-4 58 0,-1 2-4 0,3-4-29 0,0-3-23 15,3-3-18-15,-3 0-27 16,1-3 4-16,-2-2 5 0,2 0-92 0,-4-1 6 0,-2-1 17 16,0 0-8-16,0 0-12 0,0 0-8 15,0 0-5-15,0 0-28 0,0 0-26 0,0 0-48 0,0 0-72 16,-20-2-70-16,12 6-83 16,0-3-242-16,1 2-516 0,-1 1 87 0</inkml:trace>
  <inkml:trace contextRef="#ctx0" brushRef="#br0" timeOffset="61205.46">18841 10273 1044 0,'10'1'453'0,"-10"-1"-15"0,5 2-42 0,0-1-37 0,-4 3-14 0,1-1-25 0,-2 0-41 16,0-3-33-16,-3 11-18 15,0-6-29-15,1-1-22 0,-1 4-11 0,-2-4-9 0,3 3-50 16,-1 1 8-16,1-4 8 0,-1 2-33 16,0 1-11-16,5-2 18 0,-1 1-30 0,-1-1-16 0,3-1-7 15,-3 0-14-15,4 2 39 16,-1-1-30-16,3 2 20 0,-2-1-8 0,2-1 18 15,-2 1 21-15,2 0 9 0,-1-2 17 0,-2 2-9 16,1-1-7-16,-1 0 18 0,-3 1 15 0,3-2-10 16,-3 1-29-16,0 0 9 0,-3 2-24 15,0-1-7 1,-1 1 5-16,-4 2-21 0,0-1-18 0,0-2-17 0,-2 1-47 0,0 3-56 0,2-4-35 16,-5 3-45-16,3-2-63 15,2-1-51-15,1 1-239 0,-1-1-542 0,2-1 64 0,2 1 84 16,1-5 113-16,-2 3 82 0,5-4 51 0,0 0 66 15</inkml:trace>
  <inkml:trace contextRef="#ctx0" brushRef="#br0" timeOffset="61384.28">19035 10460 1320 0,'6'3'489'0,"-4"1"-31"0,-2-4-40 0,2 7-40 0,-1-2-35 16,1-2-38-16,-2 2-31 0,0 1-13 15,0-4-36-15,0 4-28 0,0-3-53 0,0 2-21 16,0-2-47-16,0 2-45 0,0-5-44 16,3 5-33-16,-3-2-66 0,0-3-42 0,2 6-140 15,-2-6-205-15,1 5-395 0,-1-5 78 0,2 4 53 16,0-2 100-16,-2-2 51 0</inkml:trace>
  <inkml:trace contextRef="#ctx0" brushRef="#br0" timeOffset="61657.48">19420 10254 1400 0,'0'8'512'0,"0"-1"-72"0,-3 3-31 15,3 0-55-15,0 1-32 0,-2-1-30 16,2 3-77-16,0-1-64 0,0 2-56 16,-2-1-52-16,2 0-99 0,2 2-226 0,0-1-596 0,-2 0 103 15,3 0 38-15,0 1 66 0,-1 0 72 16</inkml:trace>
  <inkml:trace contextRef="#ctx0" brushRef="#br0" timeOffset="62456.7">18520 13955 1203 0,'0'0'335'0,"10"5"-33"0,-10 0-8 0,3-2-48 15,-3 3-8-15,0 1-25 0,0 0-16 0,-3 2-21 16,3-1-20-16,-2-2-7 0,2 2-26 0,0-2-13 15,2 2 5-15,-2 0-20 0,5-1-19 0,-2-1-6 16,2-1 4 0,0 2-5-16,1-1 5 0,1-1 0 0,-2 1 6 0,1-2-3 0,-2 0-3 15,-1 0 13-15,0-1-8 0,-1 2 11 16,1-1 4 0,-3 1-7-16,-1 0-12 0,-1 1 9 0,-3 0-25 0,0 1-13 0,1-1 3 15,-5 3 51-15,-1-2-29 0,-3 1-2 0,2 0-43 16,-3 2-44-1,4-4-20-15,-1 0-108 16,1 0-118-16,0-1-256 0,2-3-465 0,2 0 120 0,6-2 48 0,-5-2 93 0,5 2 69 16,-2-8 61-16</inkml:trace>
  <inkml:trace contextRef="#ctx0" brushRef="#br0" timeOffset="62650.93">18687 14018 1277 0,'0'6'420'15,"2"-1"-36"1,-2 4-29-16,0 1-22 0,0 0-33 0,0 2-29 0,-2 1-28 16,-1 1 54-16,1-1-28 0,-1 0-54 0,0 2-62 15,-1 2-61-15,-2-6-58 0,4 2-91 16,-1 0-175-16,0-6-278 0,1 2-409 0,0-3 133 16,2-3 75-16,0-3 109 0,2 3 14 15</inkml:trace>
  <inkml:trace contextRef="#ctx0" brushRef="#br0" timeOffset="62936.02">18938 13874 1141 0,'-3'6'597'0,"3"2"-24"0,-2 0-133 16,-1 5-56-16,3 0-10 0,-3 1-49 15,1 4-23-15,0-1-38 0,2 1-34 0,0-2 0 16,2 1-30-16,2-1-28 0,0-3-6 15,1-1-15-15,2-2-13 0,-1-3-25 0,1-1-11 0,1-3 1 16,0-1-29-16,-3 0 26 16,0-1-13-16,-5-1 20 0,5 0-17 0,-5 0-6 0,0 0 6 15,0 0-1-15,0 0-37 0,0 0-9 0,-13 5-20 16,5-2-43-16,-2-1-52 0,0 3-41 16,3 0-38-16,-4 0-84 15,1-1-70-15,3-4-258 0,-2 6-463 0,1-1 76 0,-1-1 123 0,4-1 75 16,-3-2 104-16,6-1 31 15,2 0 57-15</inkml:trace>
  <inkml:trace contextRef="#ctx0" brushRef="#br0" timeOffset="63650.3">20378 10354 1638 0,'-14'14'478'0,"-2"-1"-124"0,3 0-22 0,-2 2-24 0,-3-1-29 0,2 0-36 0,1 0 0 16,0-2-41-16,4 0-30 15,1 0-6-15,0-1-20 0,2-3-13 0,4 2-10 16,-2-1-11-16,1-3-14 0,2 1 19 0,3-1-17 0,0 0-31 15,3-1 18-15,0 0-69 16,1-2-2-16,2 2-27 0,2-3-17 0,2 0-59 16,0-1-30-16,1-1-19 0,-1-3-20 0,2 2-46 15,1-2-111-15,0-1-48 0,2-4-28 16,1 2-458-16,-2-4 71 0,-3 3 55 0,2-3 124 16,-3 0 37-16</inkml:trace>
  <inkml:trace contextRef="#ctx0" brushRef="#br0" timeOffset="63815.98">20413 10375 1133 0,'-4'-7'397'0,"2"1"-67"0,-1 5-2 0,1-3-28 0,-3 3-11 16,5 1 0-16,0 0 74 16,-9 4-14-16,5-2-35 0,1 5-101 0,-2 2-1 15,0-1-22-15,2 4-16 0,-1 0-10 0,1 2-18 16,-2 3 7-16,2-2-30 0,-2 4-28 0,0 0-24 16,0-1-73-16,2 1-19 0,-2 0-45 15,2 0-52-15,1-1-48 0,0 1-57 0,1-8-220 16,0 4-514-16,1-3 76 0,1 1 134 15,0-2 38-15,1-3 66 0,0 1 47 0</inkml:trace>
  <inkml:trace contextRef="#ctx0" brushRef="#br0" timeOffset="64018.16">20637 10486 1517 0,'0'0'553'0,"6"7"-56"16,-4-3-36-16,0 3-8 0,-2-1-138 0,-2 3-26 16,0 2-20-16,-1 2-31 0,0-1-46 15,-1 1-47-15,-4 1-68 0,0 4-59 16,0-5-64-16,1 2-115 0,1-8-244 0,-1 6-562 0,2-2 143 16,1-2 40-1,-2-2 101-15,3-2 38 0</inkml:trace>
  <inkml:trace contextRef="#ctx0" brushRef="#br0" timeOffset="64210.82">20830 10451 1528 0,'-3'10'458'0,"1"1"-64"15,0 1-54-15,1 2-53 0,-1 0-59 0,-1 4-77 16,1 1-110-16,2 2-182 0,-1 2-675 15,0 3 53-15,1 3 54 0,0 2 87 0</inkml:trace>
  <inkml:trace contextRef="#ctx0" brushRef="#br0" timeOffset="64909.55">20122 13873 1384 0,'-9'0'458'16,"9"0"-10"-16,-11 8-43 0,6-1-37 15,-3 1-45-15,-3 4-18 0,-1-1-32 16,2 2-6-16,-1 0-37 0,-4 2-7 0,5 3-44 16,-1-5 8-16,1 1-23 0,0-3-34 0,3 2 6 15,1-2-18-15,1-1 15 0,0-1-28 16,3-1-11-16,0 1 1 0,2-3-36 0,1 2 5 15,0-2-5-15,3 0 12 0,-1-1-53 0,5 1 0 16,-1-2-18-16,1 2-43 0,2-4-16 16,-1 1-26-16,3-2-43 0,-2 1-10 15,3-1-23-15,1-4-39 0,-5 3-71 0,4-2-103 0,-1-4-107 16,-1 2-387-16,-3-3-5 0,4 1 118 16,-4-1 87-16,0-1 28 15</inkml:trace>
  <inkml:trace contextRef="#ctx0" brushRef="#br0" timeOffset="65074.92">20171 13890 1180 0,'0'0'447'0,"-5"11"-42"0,3-5-6 0,2 1-23 16,-2 2-12-16,1 2-111 0,-2 3-15 16,3 1-28-16,-3 1-15 0,2 3-26 0,0 2-5 15,-1 1 2-15,-1 3 52 0,3 2-26 16,-2 0-34-16,-1 1-63 0,3-2-59 0,-3-5-57 15,1-1-55-15,2-1-99 0,-1-5-180 0,2 0-575 16,-2-1 50-16,2-4 127 0</inkml:trace>
  <inkml:trace contextRef="#ctx0" brushRef="#br0" timeOffset="65310.96">20358 13942 1238 0,'3'-2'515'0,"-3"2"-21"0,0 0-28 0,0 0-108 16,0 0-38-16,0 12-10 0,0-6-41 16,0 3-13-16,-3 1-29 0,1 3-24 0,0 4-4 15,-4 0-27-15,1 1 43 0,-1 1-34 16,-1 3-65-16,0 1-55 0,-1 0-43 0,0 3-100 16,3-4-64-16,2-3-120 0,-2-2-241 0,5-6-432 15,2-2 125-15,-1-3 23 0,4-5 92 16,-5-1 98-16,11-4 22 0</inkml:trace>
  <inkml:trace contextRef="#ctx0" brushRef="#br0" timeOffset="65587.12">20556 13937 1297 0,'-5'17'446'0,"1"2"-19"15,0 0-45-15,-1 0-45 0,2-1-14 0,1 1-42 16,2-2-122-16,0 1-5 0,2-1-3 0,3 0 2 15,0-5-32-15,1 0-9 0,-1-2 27 16,3-4-17-16,-1-2-17 0,3-1 34 0,-2-5 6 16,-1 1 27-16,-1-2 69 0,1 0-19 15,-1-1 47-15,0-2-46 0,-4 2 2 16,0-1-20-16,-2 1-31 0,0 4-3 0,-4-7-17 16,-2 5-31-16,0 0-46 0,-4 1-83 0,0 1-70 15,1 0-40-15,-3 1-50 0,0 1-64 16,3 1-157-16,-1-1-667 0,-2 3 25 0,4-2 89 15,-2-1 121-15,0 2 84 0,2-1 93 0,0 0 25 16</inkml:trace>
  <inkml:trace contextRef="#ctx0" brushRef="#br0" timeOffset="66385.87">21835 10311 1328 0,'10'-6'402'16,"-5"1"-44"-16,1 2-46 0,-4 0-12 0,3 2-16 16,-5 1-20-16,3-2-11 0,-3 2-7 15,0 0-44-15,0 0-7 0,0 0-32 0,-18 9 14 16,10-4-39-16,-2 2-20 0,-3 0-10 15,-2 3-4-15,1-2-14 0,0 2-13 0,1-1-18 0,2 2-11 16,1-3 1-16,3-1 2 0,-1 2 0 0,5-2-17 16,-2 0 19-16,3 0-27 0,2-1 10 15,2-2 0-15,4 3-8 0,-2-4-3 16,2 2 1-16,1 1 7 0,3 1 11 0,1-2 22 16,-1 0 1-16,-3-2 28 0,1 3-6 15,-2 0 39-15,-1 1 21 16,0-2-21-16,-3 3 7 0,-4 1 9 0,-1-1-21 0,-2 2 7 15,-1-1-12-15,-4 4-31 0,-2 0 15 0,1-2-25 16,-4 2-8-16,0-1-48 16,2-1-60-1,-5 1-30-15,5-3-31 0,0 1-56 0,0-2-36 0,3 0-92 0,0-3-125 0,-6 1-162 0,11 0-492 16,0-2 63-16,3-1 150 0,2-3 161 0,0 0-12 16,0 0 74-16,0 0 61 0</inkml:trace>
  <inkml:trace contextRef="#ctx0" brushRef="#br0" timeOffset="66571.87">21996 10528 1343 0,'3'3'456'0,"-3"3"-36"0,0 1-31 0,-2-1-36 0,-1 5-33 16,-2 0-31-16,-2 2-48 0,-1 2-47 0,-2-2-63 15,1 0-85-15,-1 2-89 0,-2-2-119 16,2 1-240-16,2-1-458 0,0-3 62 0,0-1 140 15,5-2 79-15,-1-2 11 0</inkml:trace>
  <inkml:trace contextRef="#ctx0" brushRef="#br0" timeOffset="66747.41">22213 10349 1218 0,'0'12'543'0,"-1"-5"-52"0,-2 4-158 0,1 0-11 0,-1 2-68 0,-2 3-39 16,0 0-51-16,-3 0-85 16,3 3-48-1,0 2-100-15,0 2-208 0,0 1-516 0,2 0 53 0,-2 1 54 0,2 0 38 0</inkml:trace>
  <inkml:trace contextRef="#ctx0" brushRef="#br0" timeOffset="67583.49">21694 13794 1167 0,'3'-4'430'0,"2"1"46"0,-5 1-38 15,0 2-44 1,0 0-41-16,0 0-25 0,0 0-26 0,-10-2-28 0,10 2-26 0,-16 6-25 16,8-2-24-16,-4 1-9 0,3 1-106 15,-1-1 1-15,0 1-34 0,2 0-23 16,2-2 8 0,-1 0-13-16,3 1-23 0,-1 0 18 0,4 0-8 0,1-2-8 0,0-3 9 0,3 8-4 0,2-5-7 15,-2 0 26 1,5 2-21-16,0 0 13 0,-1-1-26 0,2 0 24 0,-1 2 2 15,-2-1 20-15,2-1-7 0,-3 2 25 16,0 1 31-16,-2-1 0 0,-1 2 31 0,0 1-16 16,-2 0-7-16,-2-1-16 0,0 3 19 0,-4 2-6 15,2-1-13-15,-5 1-12 0,-1 0-8 16,-2 0-3-16,1-1-23 16,-4 0 77-16,5 0-36 0,-3-3-51 0,2 2-40 0,2-4-37 15,1-2-46-15,0-2-77 0,3-2-45 0,5-1-137 16,0 0-168-16,-8-7-497 0,10 2 62 0,1-3 114 0,4-2 88 15,2-3 43-15,6-4 111 16</inkml:trace>
  <inkml:trace contextRef="#ctx0" brushRef="#br0" timeOffset="68097.24">21966 13688 1415 0,'0'0'315'0,"0"0"-8"16,0 0-18-16,0 0-17 0,0 0-4 0,0 0-32 15,0 0-16-15,0 0-8 0,0 0-4 16,0 0-24-16,0 0-7 0,0 0-16 0,6 7 64 16,-6-7-17-16,2 3-19 0,-2-3 3 0,2 4-10 15,-2-4-31-15,2 3-21 0,-2-3-7 16,3 5-8-16,-3-5-2 0,0 0 2 15,0 5-10-15,0-5-28 0,0 0 43 0,0 0-15 16,1 2-36-16,-1-2 13 0,0 0 18 0,0 0-118 16,0 0 21-16,0 0 12 0,0 0-15 0,0 0 0 15,2 4 18-15,-2-4 2 0,0 0-15 16,0 4 18-16,0-4 1 0,0 0-14 0,0 5-5 16,0-5 15-16,0 0-15 0,0 3 1 15,0-3-4-15,0 0 14 0,0 0-6 0,0 0 10 16,0 0-15-16,0 6 11 0,0-6 2 0,0 0-18 15,-2 5 10-15,2-1 18 0,-2 0 0 16,0 1-5-16,0 2-20 0,0 2 4 0,-1 1 6 16,-2 1-8-16,2 2 21 15,-2 1-3-15,0 1 5 0,0 0-7 0,0 1-9 0,2 0-19 16,0-1-24-16,-4-1 28 0,4 0-37 16,-1-4 1-16,0 2-25 0,0-1 5 0,3-3-18 15,-4 0-17-15,3 0-24 0,1-3-43 0,-3 2 10 16,4-1-21-16,-3-2-7 0,1 1-56 15,2-1-16-15,0 0-74 16,-1 1-164-16,1 0-438 0,0-5 77 0,0 7 54 0,0-2 131 16,1-2 48-16,-1-3 61 0</inkml:trace>
  <inkml:trace contextRef="#ctx0" brushRef="#br0" timeOffset="68628.48">22237 13639 1443 0,'-4'6'527'0,"-2"5"-104"15,1 0-29-15,-3 4-38 0,0 2-46 16,0 4-6-16,-2 1-20 0,2-2-25 0,1 3-39 16,0-1-18-16,2-3-18 0,2-1-27 0,1-1-22 15,1-3-2-15,2-1-35 0,1-2-11 16,3-2-8-16,-2-3 16 0,3-3-21 0,0 1-18 16,2-5 11-16,-8 1-11 0,13-4-5 15,-5 0 36-15,-1 0 3 0,-2-2-21 16,-1 2 15-16,-2-2 4 0,-2-1-30 0,0 3 1 15,-3 1 13-15,-2-1 64 0,1 2-37 0,-3 1-14 16,-3 0-77-16,0 2-21 0,-2 0-59 0,3 2-51 16,-3 0-66-16,-1 0-98 0,5 1-258 15,-2 1-528-15,0 1 101 0,2-2 112 16,-2-1 53-16,4 1 80 16,-1-2 100-16,6 0 41 0</inkml:trace>
  <inkml:trace contextRef="#ctx0" brushRef="#br0" timeOffset="69446.92">23199 10169 1546 0,'0'0'486'0,"0"0"-36"15,-13 13-25-15,8-4-48 0,-2 2-22 0,1 3-40 16,1 1-28-16,-1 3-11 0,-1 1 32 16,4-1-37-16,-1 2-20 0,4-1-49 0,0-1-13 15,0 0-12-15,4 0-54 0,-1-3 7 0,2 2-22 16,1-5-29-16,-1-1 1 0,3-2-6 0,-1-2-15 15,3-1-8-15,-3-1-18 0,0-3 13 16,0 0 11-16,0-2-19 0,-7 0 18 16,12-3-10-16,-10 1 23 0,4-2-20 0,-5 2-13 0,-1-2 7 15,0-2-2-15,0 1-2 16,-1 2-11-16,-3-2-31 0,1 1-38 0,-2 1-28 0,0-2-31 16,-2 4-48-16,-1-1-49 0,0 2-31 15,1-3-87-15,-1 3-112 0,2 0-610 16,2 3 57-16,4-3 120 0,0 0 122 0,-9 0 35 15,9 0 47-15,0 0 91 0</inkml:trace>
  <inkml:trace contextRef="#ctx0" brushRef="#br0" timeOffset="69616.98">23333 10375 1489 0,'7'0'469'0,"-4"5"-19"0,-1 0 49 0,1 0-58 0,-3-1 4 0,2 5-76 0,1 0-39 16,-6-2 5-16,3 3-43 0,-2-2-69 0,-1 5-16 15,-2-3-59-15,-2 2-79 0,1-2-38 16,2 1-85-16,-4 0-63 0,2-3-121 0,-4 2-256 16,3-2-479-16,3-1 77 0,0-2 90 0,1-2 127 15,0 1 40-15,3-4 55 0</inkml:trace>
  <inkml:trace contextRef="#ctx0" brushRef="#br0" timeOffset="69808.73">23519 10269 1361 0,'3'7'484'0,"-3"-2"25"0,0 1-50 0,-3 3-29 0,1 1-54 0,0 0-74 0,2-1-38 16,-3 3-103-16,0 2-82 0,1-1-76 16,-3 4-31-16,2-4-103 0,3 5-202 15,0-3-560-15,0 2 69 0,0-1 135 0,-3 4 57 16,1-1 56-16</inkml:trace>
  <inkml:trace contextRef="#ctx0" brushRef="#br0" timeOffset="70618.97">23023 13636 1471 0,'0'0'423'0,"-10"10"-19"0,3-2-48 0,0 4-36 0,0 3 28 0,-1 2-28 15,0 2-18-15,-2 3-46 0,2 0-23 16,3 1-28-16,-1-1-31 0,2-2-34 0,1-1-17 16,0 1-7-16,3-5-40 0,0-1 4 0,0 0-42 15,3-3 8-15,0-3-10 16,1-1-3-16,-3-2 11 0,4-3 15 0,-1 0-44 16,-4-2 46-16,0 0 11 0,9-6-13 0,-9 2 10 0,2-1 3 15,-2 0-21-15,0-2 18 0,-2 2-15 16,2-3 12-16,-2 1-35 0,-4 2 7 0,3-1 9 15,-4 0-30-15,-1 2-11 0,3 1-24 0,-3-1-57 16,0 3-22-16,2-1-23 16,-1 1-62-16,0 1-82 0,7 0-142 0,-9 1-575 15,9-1 70-15,0 0 59 0,0 0 142 0,0 0 73 16,0 0 36-16</inkml:trace>
  <inkml:trace contextRef="#ctx0" brushRef="#br0" timeOffset="70798.42">23092 13802 1075 0,'2'2'478'0,"2"3"-109"0,-3 1-1 0,-1 0-14 0,3 1-45 0,-3 1-35 15,0 1-13-15,0 1-12 0,-3 0-52 0,3 0 8 0,-5 3-42 16,3-2-40-16,-4 1-43 0,1 0-14 16,0-1-35-16,2 0-93 0,-2-2-32 15,2-3-178-15,-5 1-199 0,6-1-381 16,2-2 56-16,2-2 110 0,-2-2 82 0,6 2 38 0</inkml:trace>
  <inkml:trace contextRef="#ctx0" brushRef="#br0" timeOffset="71099.67">23366 13659 1190 0,'0'0'430'0,"0"12"-46"0,-1-7-18 0,-3 6-33 0,1 0-47 0,0 2 6 16,-4 4-41-16,4-1-21 0,-2 3-12 15,0 0-31-15,3 1-3 0,1-1-33 16,1-3-26-16,3 2-12 0,2-3-5 16,0-2-11-16,0-3-13 0,3 0 3 0,0-4 3 0,0-2-3 15,-4-2-8-15,4-2 1 16,0-3 101-16,0 0 16 0,-3-2-71 0,0-1 2 0,-2-2-3 16,-1-1-22-16,-4 2 4 0,-1 0-17 15,-2 1-26-15,-4 0-23 0,-5 2-49 0,-4 2-43 16,0 2-49-16,-5 3-69 0,-3 2-41 15,-2 3-135-15,-18 5-303 16,20 0-399-16,-1 4 164 0,-2 1 36 0,5 1 97 0,-1 4 74 16,4 1 82-16</inkml:trace>
  <inkml:trace contextRef="#ctx0" brushRef="#br0" timeOffset="101665.03">2003 3981 1290 0,'0'0'445'0,"13"-8"-48"0,3 5-36 0,7-1-31 16,17 0-20-16,9-2-26 16,5 0-13-16,18-4 11 0,5 2-47 0,5 0-12 0,5-1 10 15,3 0-23-15,5 3-11 0,-2-3-17 0,4 2-11 16,0-1-32-16,1 1-14 16,1 0 13-16,-7 1-22 0,-1 0-6 0,-2 1-23 0,-4 0-13 15,-6 3 3-15,-5-1-29 0,-14 2 19 16,-2 0-29-16,-6 1-2 0,-4-1-31 0,-9 2-2 0,-8 0-39 15,-8 0-15-15,-3-1 17 16,-2 0-1-16,-5 2-19 0,0-4 0 16,-3 2-20-16,-3 0-3 0,-3-1-5 0,-4 1-18 0,0 0 1 15,0 0-12-15,0 0-17 0,0 0-25 0,-31 1-70 16,15 1-87-16,-4-2-168 16,-9 2-451-16,-4 0 87 0,-13 3 81 0,-5-1 60 0,-6 3 76 15</inkml:trace>
  <inkml:trace contextRef="#ctx0" brushRef="#br0" timeOffset="101971.75">1873 4084 1402 0,'-18'0'420'0,"5"0"-33"0,3-1-39 0,7 0 7 0,3 1-37 0,0 0-29 0,21-5-18 0,-3 3-7 0,25-7 2 16,6 3-40-16,18-4-14 0,7-1-23 0,6 1-91 15,4-1 76-15,4 0 20 0,1-2-15 16,1 0-25-16,0 1-13 0,2 1-11 16,-5 0-12-16,-3 1-10 0,-2-1-29 0,-7 4 0 15,-3-2-2-15,-5 1 0 16,-16 4-34-16,-5 0 24 0,-8 0-6 0,-10 2-25 0,-5 1-10 16,-3-2 5-16,-3 2-24 0,-2-1-4 0,-2 2 4 15,-3-2-27-15,-5 1-52 0,0 1-12 0,-5 0-16 0,0 0-15 16,0 0-11-16,0 0-45 15,0 0-24-15,-26 4-68 0,14-2-167 16,-1 3-507 0,-5 0 5-16,0 1 98 0,-8 1 55 0,6 1 114 0,-6-1 56 0</inkml:trace>
  <inkml:trace contextRef="#ctx0" brushRef="#br0" timeOffset="102249.46">2896 4012 1551 0,'0'0'570'16,"0"0"-40"-16,0 0-48 0,-8 6-11 0,6 1-144 16,1-1-7-16,-1 2-59 0,2 4-30 0,-2 1-16 15,-1 0 0-15,2 4-31 0,-1-2-18 0,2 3-22 16,-2 1-34-16,-1 0 2 0,1-2-30 15,1-2-41-15,-1 3-43 0,2-2-32 0,-3-2-35 16,1-1-28-16,2 1-21 0,-3-1-33 0,1-2-5 16,1-1-67-16,-1-1-63 0,2-4-167 15,-2 3-477-15,2-2 42 0,-3 3 149 16,1-6 58-16,1 2 59 0,-1 0 66 0</inkml:trace>
  <inkml:trace contextRef="#ctx0" brushRef="#br0" timeOffset="102574.87">2929 4056 1714 0,'0'-6'492'16,"0"6"-36"-16,0 0-37 0,0 0-1 0,0 13-50 0,-2-5-32 0,1 3-34 16,1-3-29-16,0 5-17 0,0 0-48 0,0 2 2 15,-2-2-16-15,2 2 60 0,0 1-57 0,-2-1-13 16,2 1-43-16,-1-3-26 0,1 1-64 0,0 0 0 16,-2 2-33-16,2-4-74 0,0 1-39 15,0-4-12-15,0 1-70 0,0-2-30 16,0 2-95-16,0-3-174 0,-3 0-538 0,3-1 75 15,-2-1 125-15,-1 1 76 0,0-6 122 16,3 0 4-16</inkml:trace>
  <inkml:trace contextRef="#ctx0" brushRef="#br0" timeOffset="102939.02">2753 4240 1392 0,'0'0'494'16,"-8"7"-36"-16,7-1-30 0,-1 3-26 0,-1-2-134 15,1 1 22-15,2 7-42 0,0-1-36 0,2-1-10 0,-2 2-25 16,3 4-18-16,-1-3-11 16,-1 2-15-16,4-4-12 0,-2 0-14 15,1-2 6-15,2 0-24 0,1-2 4 0,0-2 4 0,-1-3 3 16,2 2 5-16,-1-5-8 0,3-1 0 15,-2-2 3-15,2 1-5 0,3-3-1 16,0-3-1-16,0-2-27 0,3-2 85 0,-1-1-33 0,1-3-18 16,1 0 5-16,-1-1-16 15,-1-1-25-15,0 0-59 0,1 2-20 0,-4 2-29 16,-1 1-43-16,-3 2-23 0,2 1-64 0,-3 1-23 0,1 4-41 16,-2-2-64-16,-2 4-115 15,1 1-172-15,-5 0-414 0,0 0 97 0,3 11 151 16,-3-3 25-16,-5 4 59 0,-2 3 116 0</inkml:trace>
  <inkml:trace contextRef="#ctx0" brushRef="#br0" timeOffset="103580.3">2662 4844 1259 0,'5'0'535'0,"3"0"-21"0,-8 0-50 15,11 2-22-15,-4-1-9 0,-2 2-46 16,-2 3-21-16,2-2-39 0,0 1-7 0,-4 0-48 0,-1 2-24 16,2 0-28-16,-2 0-2 0,-2 2-39 15,2-3-5-15,0 0-18 0,0 0-33 16,2-2 5-16,0 1-21 0,1 0-15 0,2 1-12 0,0-3 4 16,1 1-15-16,3 1 11 0,-1-2 7 0,0 0-3 15,-1 1 29-15,1-1 7 16,-2 0 23-16,1 0-15 0,-2-1 21 0,0 1-59 15,-2-1-90-15,0-1 0 0,-1 4 0 0,-2-5 0 16,2 6 0-16,-4 0 0 0,-1 0 0 16,-2-3 0-16,-2 3 0 0,-3-1 0 0,-1 3 0 15,1-2 0-15,-6 2 0 0,4-3 0 16,-1 0 0-16,0 0 0 0,0 1 0 0,1-5 0 16,1 3 0-16,1-1 0 0,0-2-216 15,2 1-180-15,0-2-91 0,8 0-201 0,-8-3-474 16,6-1 140-16,2 0 78 0,0-3 112 0,2-1 108 0,1-3 38 15,3-1 69-15</inkml:trace>
  <inkml:trace contextRef="#ctx0" brushRef="#br0" timeOffset="103868.55">2854 4770 1622 0,'1'5'492'0,"1"1"-83"0,-2 1-35 15,0 4-13-15,0-1-5 0,-2 5 46 16,4-1-49-16,-2 3-23 0,0 0-33 0,3 0-21 15,0 1-45-15,1 0-34 0,4-4-23 0,0 0-10 16,2-1-36-16,1-3-16 0,4 0 1 0,-2-5-23 16,-1-1 2-16,1-2-23 15,0 1-8-15,-2-3 16 0,1-3 18 0,-4 2-21 16,2-2 28-16,-2-2-73 0,-5 0-6 0,1-1 18 16,-3 0-6-16,-1 1-4 0,-1-1 2 0,-1 2-4 15,-3-1-14-15,0 1 16 0,-3 1-8 16,0 0-23-16,-2 1-13 0,0 2-13 0,2 1-17 15,-2 2-19-15,0-1-40 0,-1 2-77 0,1-1-23 16,0 3-36-16,2 0-18 0,-2 1-41 16,0 1-85-16,4 0-79 0,-2 1-560 31,1 0 82-31,0 0 130 0,1-3 61 0,1 2 121 0,3 2-18 0</inkml:trace>
  <inkml:trace contextRef="#ctx0" brushRef="#br0" timeOffset="105577.6">13423 7036 1505 0,'-6'-4'488'0,"2"4"-47"0,4 0-21 0,-5-2-47 15,5 2-22-15,0 0-57 0,18-4-4 0,-3 2-19 16,6-2-43-16,7 1 66 15,13-3-17-15,10-2-24 0,21 0-30 0,5 1 20 0,7-4-26 16,6 4-25-16,8-2-12 16,32-1-32-16,3-3 18 0,4 2-35 0,1 2-24 0,3-1-71 15,2 2-26-15,-6 3 19 0,-4-1-9 0,0-1-10 16,-26 5-7-16,-1-1-39 0,-4 2 41 16,-9-1-43-16,-1-1-3 0,-7 3-18 0,-9 0-41 15,-19 0-59-15,-6 0 29 16,-13 0-44-1,-11 0 10-15,-7 0 18 0,-2 0 5 0,-5 3-2 0,-3-6 23 0,-5 3-29 0,0 0 3 0,-5 0-5 16,0 0-2-16,0 0-1 0,-18-3 34 16,6 2-8-16,-7-1-23 0,-7 0 28 0,-7 1-33 0,-15 0 10 15,-4 1-3-15,-4 1-17 0,-8-1 12 16,-10 2 88-16,-11 3-24 0,-3 0-91 16,-1 0 27-1,-4 0 36-15,-6 3 6 16,1 0 20-16,-25 0 45 0,21 1 35 0,-19 0 27 0,24 2 0 0,-3-2 31 0,-21 2 16 15,23 2 10-15,-24-3 17 0,27-1 31 0,5 1 14 0,3-2-6 16,8 0 17-16,4 1-17 0,9-2 8 0,15 0 15 16,6-5 26-16,12 1-13 0,10-1 2 15,6-2-20-15,9 0-28 0,5 0-3 16,3 0 2 0,0 0 4-16,36-7-16 0,15-1 23 0,16-2-18 0,12 1-21 0,6-2 11 0,8-1 10 15,32-1-20-15,1 1 35 16,-1-5-7-16,-2 7-28 0,2-2 84 0,1 1-31 0,-23 4-7 15,-5 1-26-15,-1 1 5 0,-2-1-23 0,-6 3-5 16,-4-1-20-16,-8 3 22 0,-16 1-17 0,-4 0 10 16,-8 0-49-16,-11 0-7 15,-7 0 4-15,-6 1 22 0,-4-1-27 0,-4 0-15 0,-1 0 11 16,-3 0 10-16,-3 0-36 0,-2-1-21 0,-3 1-15 16,-5 0-31-16,0 0-22 0,3-4-70 15,-3 4-10-15,0 0-13 0,-24-3-54 0,9 3-17 16,-3 0-106-16,-7 0-163 0,-6 0-499 15,-15 3 94-15,-5 1 87 16,-4 1 44-16,-16 1 66 0,-3 0 98 0</inkml:trace>
  <inkml:trace contextRef="#ctx0" brushRef="#br0" timeOffset="106323.46">14054 7058 1254 0,'0'0'455'16,"0"0"-53"-16,0 0-36 0,0 0-2 16,-13 5-34-16,10-4-15 0,-2 4-39 0,0-1-89 15,0 0-3-15,-3 1-20 0,0 3-23 0,1-2 15 16,-4 2-36-16,4 1 14 0,-3-2-1 16,0 3-26-16,-4-2-17 15,0 2 15-15,1-1-29 0,-3 3-1 0,1-2 12 0,-3 2-16 16,0-2-17-16,-2 2 8 0,1 0-14 0,-3-1-2 0,1 0 0 15,-3-1-15-15,-1 3 7 16,-8-2 3-16,-3 0-15 0,0 1-3 0,3-5 10 16,4-1-2-16,-1-2-21 0,-1 1-5 0,2-5 6 15,4 1-6-15,-1-1-8 16,1-1 21-16,1-1 0 0,-1-1 10 16,5 0-10-16,-1-2 8 0,0-1 2 0,4 1-13 0,-1-3-12 0,0 2 12 15,2-2 11-15,1-2 12 0,2 2-38 0,0-3 21 16,3 4 107-16,-3-1-29 15,5 1-17-15,-2-1 21 0,3 1-37 0,-1 3 34 0,2-1-108 16,-1 0 14-16,2 0-27 16,2 1 8-16,-2 1 3 0,2-1 10 0,-2 2-31 0,3-1 6 15,2 3 7-15,-5-3-33 0,5 3-8 16,0 0-44-16,-8 0-7 0,8 0-33 0,0 0-13 16,-5 4-21-16,5-4-35 0,0 0-26 0,-3 6-36 15,3-6-154-15,-4 3-25 0,4 3-481 16,0-6 77-16,2 5 112 0,-2-5 71 15,0 6 40-15,0-6 78 0</inkml:trace>
  <inkml:trace contextRef="#ctx0" brushRef="#br0" timeOffset="106638.32">12938 7319 1228 0,'-2'-2'507'15,"-1"-2"-36"-15,1-1-102 16,-1 2-1-16,1-4-43 0,2 2 23 0,0-5-30 0,0 3 63 0,-1-3-17 16,2 1-62-16,-1-3-18 0,0-1-33 0,0 0-105 15,2-1-8-15,-2-2 3 0,3-2-24 16,-1 3-2 0,3-3-17-16,1 3 2 0,1-1-13 0,-2 2-13 0,3 2-5 0,2 0-13 0,-2 2-5 15,2 2 13-15,-2 2-33 16,2 0 0-16,-2 1 10 0,2 2-18 0,-2 1 8 0,2 0-21 15,0 1 10-15,0 1-15 0,-1 1-10 16,1 2-48-16,0-1-40 0,0 3-12 0,3-3-35 16,-3 4-19-16,3-1-36 15,-2 1-43-15,3 1-36 0,-3 0-109 0,2 1-163 0,-3 1-444 16,5 0 109-16,-4 1 98 0,1-1 64 0,-2 1 109 16,-2-1 35-16</inkml:trace>
  <inkml:trace contextRef="#ctx0" brushRef="#br0" timeOffset="107817.73">7624 7856 550 0,'-6'1'-113'0</inkml:trace>
</inkml:ink>
</file>

<file path=ppt/ink/ink20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17:24.800"/>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3510 3452 1333 0,'3'-4'497'0,"-3"4"-60"0,0 0-12 16,0-7-38-16,0 7-54 0,0 0-29 0,0 0-20 15,0 0-15-15,0 0-10 16,-3 21-44-16,1-10 7 0,1 3-27 0,-1 0-19 0,0 4-19 15,-1 1 9-15,-2 0-125 0,0 2-13 16,0-3 16-16,-3 5-16 0,3-2 15 0,-1-3-17 16,-1-1-34-16,2-1-5 0,-1 2-2 0,2-2-64 15,-2-2-39-15,2-1-25 0,1-2-31 16,-2-2-21-16,2 1-25 0,1-4-36 0,-1 1-172 16,-2-1-4-16,5-1-446 15,0-2 110-15,0-3 64 0,0 5 36 0,0-5 51 0</inkml:trace>
  <inkml:trace contextRef="#ctx0" brushRef="#br0" timeOffset="532.7">13482 3471 1215 0,'11'-1'351'0,"-1"0"-23"16,0 1-19-16,0 2-14 0,0-1 17 0,1 4-23 0,-1 0-7 0,0 0-57 0,-2 4 21 0,-1-2-29 16,-1 3-9-16,-4-2-21 0,1 2 7 0,-3 0-40 15,0 0-16-15,-5 1-10 16,2-2 2-16,0 2-14 0,-2 0-29 0,3-3 7 0,-3-1-25 16,4 0 6-16,-1 0-19 0,0-2-2 15,2 0-23-15,0 0 9 0,2 1 4 0,0-2 7 16,1 2-18-16,2-1-86 0,0 1 14 0,1-1 3 15,1 1 16-15,-4-3 10 0,2 2 2 16,0 0 59-16,0 1 90 0,-2-4 8 16,-1 3 22-16,-2 1-99 0,0-1 7 15,-2-2 11-15,-1 3-21 0,-4 2-13 0,-1 1 5 0,-3-3 21 16,-4 2-59-16,0-2 47 0,-1 2-47 16,-1 0-26-16,1-3 11 0,-4 0-62 15,4 1-25-15,-1 0-44 0,3-2-39 0,1-1-50 0,1 0-23 16,2 0-47-1,0 1-105-15,2-5-117 0,5 2-425 0,-2-1 20 0,5 0 83 16,0 0 86-16,-2-7 74 0,2 7 47 0</inkml:trace>
  <inkml:trace contextRef="#ctx0" brushRef="#br0" timeOffset="778.61">13700 3497 1318 0,'5'-7'563'0,"0"2"-110"0,0 2-74 0,-2-2-11 0,-3 4-32 15,0 1-27-15,0 0 1 0,0 0-28 0,0 0 7 16,5 11-28-16,-5-4-43 0,0 2-24 0,0 2 6 16,0 2-26-16,-2 1-23 0,-1 2 8 15,2 1 61-15,-1 0-56 0,2 2 10 16,-5 0-21-16,2 2-143 0,-1-2-45 0,1 0-29 16,-2 0-39-16,2-2-32 0,-2-2-37 15,3 2-23-15,-1-3-32 0,0-2-40 16,1 0-35-16,2-3-82 0,-1 1-17 0,-1-3-288 0,2 1-179 15,0-2 65-15,2-1 101 0,-2 0 62 16,1-3 116-16</inkml:trace>
  <inkml:trace contextRef="#ctx0" brushRef="#br0" timeOffset="1335.21">13821 3715 1259 0,'0'0'517'0,"0"-6"-59"0,0 6-46 16,0-5-15-16,0 5-21 0,0 0-46 16,0-4-43-16,0 4-13 0,0 0-100 0,0 0-13 15,0 0-20-15,0 0-21 0,0 0-12 0,-6 12-13 16,6-9-8-16,-2 2 2 16,2 0-30-16,-3-1-26 0,3 1-17 0,0 1-1 0,0-2 8 15,3 2-2-15,-3-3-16 0,2 0 23 16,0 1-15-16,-1-1 2 0,2 0 11 0,-3-3-1 15,5 3 1-15,-5-3 22 0,8 0 1 0,-8 0 13 16,10-3-11-16,-8 1 46 0,-2 2-7 16,8-4-1-16,-6 1 21 0,-2 3-33 0,6-4 15 15,-4 3-12-15,-2 1-22 0,3-2 29 0,-3 2-33 16,5-3-10-16,-5 3-3 16,0 0-8-16,0 0-10 0,7 6 108 0,-7-3-27 0,5-1-16 15,-2 3-24-15,0-3-6 0,2 2 4 0,0-2-14 16,0 2-1-16,3-2-7 0,0 0 14 15,2-1-20-15,0 1-1 16,1-4 0-16,1-1 3 16,-2 2-8-16,3-3-15 0,0 1-11 0,-3-3 16 0,1 0 23 0,-1-1-30 0,-3 1 22 15,1-1 23-15,0-2-17 16,-4 2-22-16,2 1 27 0,-3 0-3 0,-1 2-8 0,1 0-2 16,-1 2 15-16,-2 2 18 0,0 0-15 0,0 0-31 15,0 0-18-15,-8 13 0 0,4-6 0 16,1 0 0-16,2 5 0 0,-1-3 0 0,0 1 0 15,2-1 0-15,0 2 0 0,2-1-34 0,1-2-78 16,2 0-16-16,3 2-75 0,-1-5-27 0,3 2-18 16,1-5-31-16,-1-1-98 0,3 2-198 15,-2-3-513-15,1 0 89 0,4-3 129 16,-2 2 59-16,-3 0 91 0,2 0 78 0,-3 1 56 16</inkml:trace>
  <inkml:trace contextRef="#ctx0" brushRef="#br0" timeOffset="2239.52">13551 4191 1139 0,'-3'-3'407'0,"3"3"-11"16,0-5 34-16,0 5-25 0,0-5-24 0,0 5-25 15,0 0-51-15,0 0-32 0,0 0-17 16,0 0-25-16,-10 12-29 0,6-5 5 0,1 2-27 15,0 1-9-15,-2 1-99 0,-1 6 2 16,-1-2-25-16,2 1-11 0,-3 0-18 16,4 0-38-16,-4-1-28 0,2 2 3 0,1 0-29 15,0-4-33-15,0 0-25 0,3-1-3 0,-4-1-23 16,4-2-19-16,0-1-55 0,-2 1-46 0,4-2-83 16,-10-1-50-16,10 0-441 15,-2 0 95-15,2-3 69 0,0-3 77 0</inkml:trace>
  <inkml:trace contextRef="#ctx0" brushRef="#br0" timeOffset="2724.76">13531 4240 1192 0,'2'-5'333'15,"1"3"-39"1,-1 0-22-16,4-2-21 0,1 3-18 0,-7 1-18 0,11 0 43 15,-4 0-43-15,0 1 3 0,1 4-29 0,-2-3-15 16,-1 2-13-16,0 2-20 0,-2 0-10 16,-3 0 2-16,0 1-3 0,0 0-109 15,-3 1 7-15,3 2-18 0,-3-2 6 0,1 0-14 0,2 0 11 16,-2-1-16-16,2 0 11 0,0 0-16 16,0 0 14-16,0-1-6 0,0 0-24 0,2 0 24 15,0 1 11-15,1-1 2 0,-3-1-26 0,0 1 41 16,3-1 0-16,-3 1-2 15,0-2 9-15,0 4 19 0,-3-4-31 0,0 5-7 0,-1-3 17 16,-4 1 10-16,0 0-22 0,0-1-8 16,-2 0-11-16,-1 0-9 0,-1 0-22 15,1 0-6-15,-1-3-40 0,-1 2-30 0,0 0-74 16,3-2-107-16,0 0-173 0,2-2-444 0,3-1 158 16,5 0-8-16,-8-4 139 0,6 1 59 15</inkml:trace>
  <inkml:trace contextRef="#ctx0" brushRef="#br0" timeOffset="2925.79">13700 4207 1067 0,'5'-5'399'0,"0"1"67"15,-2 0-56-15,-1 3-9 0,1-3-34 16,-3 4-40-16,0 0-4 0,10 5-39 16,-5-1-3-16,-4 4-91 0,1 0-32 0,0 4-9 15,1 2-21-15,-6 2 15 0,1 3 57 0,0 0-46 16,-1 5-24-16,-2-2-45 0,0 1-73 15,1 1-19-15,0-2-62 0,-2 0-39 0,2-3-79 16,1 0-128-16,-4-4-135 0,7 1-502 0,0-2 71 16,0-3 113-16,2-3 113 15,0-1 10-15,1 0 69 0</inkml:trace>
  <inkml:trace contextRef="#ctx0" brushRef="#br0" timeOffset="3299.15">14010 4309 1569 0,'-3'-1'476'0,"3"1"-54"0,-14 1-35 0,6 2-39 16,-3 0-110-16,-1 4 0 0,1 1-44 0,-4 0 1 16,4 3-49-16,-4-1 2 0,5 2-17 0,0 0-6 15,-1-1-33-15,4 0-35 0,1-2 30 16,4 1-44-16,0-3-2 0,2 0 0 0,0-3-10 15,4 1 0-15,2-1-11 0,1-1 18 16,1-1 3-16,2-2-10 0,3-4 7 0,-2 2-12 0,1-2 25 16,1-2-15-16,-3 0-8 15,0-1 18-15,-2 4 18 0,3-5 0 16,-4 5 11-16,-2-4 9 16,1 4-25-16,1 0-3 0,-4-1-5 0,-3 4 6 0,5 0-6 0,-5 0 3 15,0 0-26-15,0 7-5 16,0-7-44-16,-1 10-35 0,-3-4-46 0,1 1-42 0,3 0-71 15,-3 0-43-15,3 0-152 0,-2 2-534 0,4-3 68 16,1 0 85-16,-3-3 39 0,5 1 68 16,1-1 78-16</inkml:trace>
  <inkml:trace contextRef="#ctx0" brushRef="#br0" timeOffset="3511.95">14210 4334 1277 0,'3'-6'484'0,"-6"0"-21"0,3 3-95 0,0-1-35 15,0 4-26-15,-5-2-28 0,5 2-30 0,0 0-16 16,-12 8-31-16,8-1-26 0,-1-1-12 16,0 0-10-16,-2 4-11 0,2 2-15 0,0-3-5 15,-1 3-23-15,4-1-23 0,-4 1 7 16,4 0-58-16,0-3-26 0,2 2 5 0,-1-3-33 0,2 2-18 16,-1-3-11-16,2 0-63 15,0 1-11-15,2-2-9 0,0-1-14 0,2 0-38 16,-1-2-36-16,2 0-58 0,-2-1-116 0,3-2-146 0,-2 0-263 15,1 0 68-15,0-1 139 0,-1 0 13 16</inkml:trace>
  <inkml:trace contextRef="#ctx0" brushRef="#br0" timeOffset="3955.49">14413 4264 1210 0,'0'0'543'0,"0"0"-108"0,5 11-46 0,-6-5-46 15,-1 1 59-15,0 1-67 0,-1 4-30 16,0 1-39-16,-1 3-36 0,-4-1-17 0,2 4-72 16,-1 0-59-16,-3 0-31 0,2 3-84 15,0-3-80-15,0-1-48 0,3-3-62 0,0 1-82 0,-8-2-132 16,11-2-380-16,-1 0-5 0,1-4 134 16,-1-1 45-16,3-1 80 0</inkml:trace>
  <inkml:trace contextRef="#ctx0" brushRef="#br0" timeOffset="4258.81">14564 4351 1005 0,'-18'7'454'0,"3"0"-50"0,-3 3 8 0,-3-1-54 16,1 3-38-16,-1 0-2 0,1-1-24 0,-1 1-25 15,4-1-28-15,3-1 17 0,1-1-40 16,3-1-11-16,5-1-20 0,-2 0-13 0,6-1-82 16,-1 1-18-16,5-2 0 0,-1 0-33 15,6-2-7-15,0 1-6 0,-1-1-31 16,6 0-43-16,0 0-25 0,2 0-42 0,0-2-64 16,-2 0-71-16,3 3-136 0,2-3-522 0,-5 0 66 15,4 3 72-15,-4-4 93 0,0 3 27 16,0 1 70-16</inkml:trace>
  <inkml:trace contextRef="#ctx0" brushRef="#br0" timeOffset="5420.15">13407 4919 1082 0,'1'-3'364'0,"-1"3"45"16,2-4-27-16,-2 4-16 0,0 0-34 15,0 0-12-15,3-3-89 0,-3 3 4 0,0 0-35 16,0 0-31-16,0 0-5 0,0 0 5 16,0 0 0-16,0 0-21 0,0 0-23 15,-3 13-7-15,1-8-10 0,1 0 7 0,-1 2-20 0,0-1-16 16,-1 1 3-16,3 1-16 0,-3 1-2 15,1-3 6-15,2 2-24 0,-2-1-8 0,2-1 0 16,0-1-7-16,0 1-5 0,0 0-3 16,0-2 18-16,0-1 2 0,2 2-10 0,0-3 6 15,4-1 2-15,-6-1 2 0,10 0-9 16,-2-1 22-16,-1-1-25 0,1 1-3 0,0-4 13 16,0 3 7-16,2-2-2 0,-3 0 59 0,1 1 11 15,-1 2-22-15,-1-2 14 0,-1 3-26 16,3 0 0-16,-8 0 2 15,12 4-22-15,-4-2 2 0,-3 2-8 0,1-2-13 0,1 2 3 16,-2-2-10-16,0 2 18 0,-2-2 7 0,2 0 3 16,0 1 26-1,-2-1 0-15,2-1-80 0,-5-1 56 0,10 0-35 0,-10 0 36 0,8-3-16 16,-3-2-23-16,0-1 8 16,0 1-5-16,0 0 2 0,2-5 10 0,-3 4-32 0,1-4 22 0,-3 2-33 15,3 1-28-15,-2 0-8 0,-1-2-15 16,3 5-29-16,-4-2-48 0,1 1-30 0,0 0-62 15,1 2-65-15,-2-1-37 0,-1 4-100 0,0-8-183 16,2 6-447-16,-2 2 154 16,0 0-13-16,0 0 74 0,0 0 110 0,0 0 51 0,5-1 110 15</inkml:trace>
  <inkml:trace contextRef="#ctx0" brushRef="#br0" timeOffset="5941.6">13774 4783 954 0,'0'0'479'0,"0"0"-21"0,0 0-33 0,0 0-3 0,0 0-48 0,0 0-108 0,5 8-28 0,-2-4-12 15,-3 3-24-15,2 1-23 0,-1 1 5 16,-1-1-15-16,0 3-38 0,0-2 7 0,0 1-31 16,-1 2-2-16,-1 0-5 0,2-4 3 0,-3 3-16 15,3-3 20-15,-2 3-12 0,-1-4 28 16,3 2-23-16,-2-1 2 0,-1-1 3 0,1-1 33 15,1 0 108-15,-1-1-11 0,2-1-50 16,-2 1 27-16,2-5-28 0,0 7-4 0,0-4-1 16,0-3-23-16,-3 4 8 0,3-4-18 0,0 0-21 15,0 0-63-15,0 0-62 0,0 0 0 16,0 0 0-16,0 0 0 0,0 0 0 0,18-7 0 16,-13 6 0-16,-5 1 0 0,5-1 0 15,-5 1 0-15,8 0 0 0,-8 0 0 0,10 0 0 16,-10 0 0-16,8 0 0 0,-8 0 0 0,10 0 0 15,-10 0 0-15,8-2 0 0,-8 2 0 0,10-2 0 16,-5 2 0-16,-5 0 0 0,10-2 0 16,-4 1 0-16,-2-2 0 0,2 3 0 0,-1-2 0 15,0 0 0-15,-5 2 0 0,8-3 0 0,-8 3 0 16,7 0 0-16,-7 0 0 16,0 0 0-16,10 5 0 0,-7-3 0 0,-3 1 0 0,3 0 0 15,-1 2 0-15,-2-1 0 0,2 0 0 16,-2 0 0-16,1-1 0 0,-1 2 0 0,3-1 0 15,-3-4 0-15,0 7 0 0,0-5-77 16,2 2-213-16,-2-4-29 0,2 3-65 0,-2-3-169 16,3 3-543-16,2-3 65 0,-5 0 68 15,0 0 154-15,11-5 16 0,-4 4 76 0,-2-3 77 16</inkml:trace>
  <inkml:trace contextRef="#ctx0" brushRef="#br0" timeOffset="6109.93">14021 4921 1218 0,'0'0'440'0,"-3"-6"-17"0,2 3-22 0,-1-1-45 0,2 4-31 16,-5-2-35-16,2-2-50 0,3 4-66 16,-4-2-74-16,4 2-74 0,0 0-139 0,0 0-227 15,-11 2-497-15,11-2 92 0,0 0 33 0,0 0 67 0,0 0 92 16</inkml:trace>
  <inkml:trace contextRef="#ctx0" brushRef="#br0" timeOffset="6295.92">14185 4747 1615 0,'2'-3'478'0,"-2"3"-19"15,0 0-14-15,0 0-36 0,0 0 62 16,10 6-12-16,-7 0-81 0,0 0-9 0,-1 2-59 16,0 4-21-16,-2 1-92 0,0 1-5 0,3 2-31 15,-6 3-5-15,1 0-56 16,2-1-20-16,-5 1-42 0,2 1-84 0,1-1-28 0,-4 0-64 15,4-1-24-15,-1-4-22 0,1 2-87 0,-3-3-52 16,4-1-104 0,-1-4-559-16,0 3 57 0,2-4 133 0,-3-2 54 15,3-1 68-15,0-1 91 0</inkml:trace>
  <inkml:trace contextRef="#ctx0" brushRef="#br0" timeOffset="6625.74">14133 4997 1592 0,'0'0'450'0,"0"0"-17"0,0 0-42 16,0 0-109-16,0 0-31 0,8-3-21 0,-1 2-17 15,1-2-32-15,0-1-7 0,4 1-20 16,-1-1-26-16,-1 0 82 0,3-2-49 0,0 0-10 16,-2 1-23-16,1-1-20 0,-4 4-1 15,0-3 6-15,-3 3-21 0,2-2-18 0,-2 3 11 16,-5 1-9-16,5 0-24 0,-5 0 37 15,0 0-30-15,0 0 20 0,0 9 16 0,0-4-21 16,-2 2 18-16,2 0-4 0,-3 1-32 0,6 0 28 16,-3 0-30-16,2-1-5 0,-1 2-11 15,1-1-5-15,0-2-22 0,2 1-24 0,3-1-49 16,-4-1-9-16,4-2-65 0,-2 0-59 0,3-1-89 16,0 2-248-16,2-4-484 0,-3 0 58 15,3-1 114-15,1-1 112 0,-1 1 56 0,3-1 64 16,-2-1 44-16</inkml:trace>
  <inkml:trace contextRef="#ctx0" brushRef="#br0" timeOffset="8644.95">16494 3535 1151 0,'0'0'412'0,"-5"-2"-63"0,5 2-14 0,0 0-15 16,0 0-56-16,16-2-14 0,-6-1-27 16,6 2-36-16,-1-1-21 0,7-3-10 15,-1 4-22-15,0-4 14 0,2 4-28 16,0-4-22-16,-3 1-32 0,-1 1-22 15,1-1 2-15,-5 2-16 0,-1 1 17 0,-2-3 24 0,-2-1 9 16,-2 3 1-16,-3-1 9 0,0-1-16 0,-3 1-5 16,-2 3-15-16,0-4-3 0,0 4-2 15,0 0-3-15,-9-4 3 0,9 4-1 16,-11 0-7-16,11 0-13 0,-10 4 16 0,5-1-26 16,0 2 0-16,0 3 20 0,0 1-33 0,2 0 26 15,0 2-13-15,1 1 0 0,1 0 20 16,1 0-48-16,-2 0 15 0,2 1 5 0,0 0 6 15,2 0-11-15,-2-1 31 0,-2 0-8 16,2 0 36-16,-2-2 20 0,-1 2-2 0,-2-2-13 16,0-1-5-16,-6 1-82 15,1-2 21-15,-3-2 10 0,-2 4 2 0,-3-3-15 16,-2-1 8-16,2 0 5 0,-3 0-6 0,1-3-32 0,0 1 4 16,3-2-10-16,0 0-35 0,1 1-13 0,1-1-21 15,4 1-56-15,-1-3-26 0,2 0-25 16,0 1-129-1,5 1-86-15,-6-2-82 0,8 0-395 16,3 0 77-16,0 0 93 0,0 0 69 0,0 0 94 0</inkml:trace>
  <inkml:trace contextRef="#ctx0" brushRef="#br0" timeOffset="9020.89">16792 3757 1126 0,'-5'-11'430'0,"5"11"-41"0,5-6-28 0,-2 4-23 16,1-2-3-16,0-1-33 0,0 1-28 0,-1 0 15 15,2-2-5-15,0 0-33 16,-2 1-77-16,-1-2-25 0,1 1-3 0,-1 2 2 0,-2-2 8 15,3 3-25-15,-3-2-1 0,0 1-2 0,0 4-48 16,0-6-6-16,0 6 13 0,0 0-8 16,0 0 6-16,-5 0-3 0,5 0-26 15,0 0-2-15,-8 9-6 0,5-3-25 0,1-1-51 0,0 2-23 16,-1-1-31-16,3 0-5 0,0 0 20 16,3-1-58-16,-1 2-16 0,3-2-35 0,0 1-24 15,3-3-43-15,3 2-31 0,1 0-125 16,-2-4-26-1,6 1-440-15,1-1 28 0,1 1 102 0,0-5 128 0,-2 1 8 0</inkml:trace>
  <inkml:trace contextRef="#ctx0" brushRef="#br0" timeOffset="10183.02">17087 3656 1333 0,'-5'-3'430'0,"1"3"-38"0,4 0-24 15,-14 0-2-15,6 3-61 0,0-2-26 0,1 1-36 0,-1 2 11 16,-2-2-142-16,2 2-7 0,-2 0-13 16,2 1-2-16,0 1-16 0,-2 1-2 15,5-2-16-15,-5 1 18 0,4 1-25 0,2-1-18 16,1 0 33-16,-2-1-41 0,3 0 7 0,-1-2 1 15,3 2 0-15,2-1-11 0,-2-4 6 16,3 4 10-16,2-1-6 0,-5-3 17 0,10 0-24 16,-5 0 18-16,-5 0-11 0,13-4 24 0,-8 2 28 15,3-1 0-15,-3 0 15 16,3-2-18-16,-2 1 3 0,-2 0 11 0,1-1-12 16,0 0 9-16,-2 2 18 0,2-1-32 0,-2 1-12 0,-1-1-2 15,3 2 2-15,-3-1-21 0,-2 3 8 16,3-2-20-16,-3 2 5 0,0 0-5 0,0 0 12 15,0 0-9-15,0 0 17 0,0 0-18 0,0 0-7 16,0 0-3-16,0 10-13 16,0-10-2-16,-2 5-1 0,2-5-4 0,0 6 17 15,0-6-27-15,0 5-4 0,0-5-4 0,0 5 15 16,0-5-10-16,2 3-6 16,-2-3-2-16,0 5-7 0,0-5 25 0,3 4-8 0,-3-4-10 15,0 0 5-15,3 2 6 0,-3-2 2 0,0 0 12 16,7 0-22-16,-7 0 18 15,0 0 12-15,0 0-13 0,11-1 6 0,-11 1-16 0,7-1 1 16,-7 1 9-16,5-3 14 0,-5 3-6 16,8-1-18-16,-8 1 1 0,7-1 12 15,-7 1 15-15,8-1-15 0,-4-1-10 0,-4 2 23 0,6 0-20 0,-6 0 4 16,8-1 1-16,-8 1-14 16,8 1 19-16,-8-1 10 0,0 0-8 15,10 2-15-15,-10-2 15 0,3 1 47 0,2 1-52 16,-5-2-15-16,5 0-3 0,-5 0 8 0,5 4 5 15,-5-4 18-15,5 1-26 0,-5-1 3 0,3 4 18 16,-3-4-11-16,5 3-2 0,-5-3 5 16,5 4 3-16,-5-4 2 0,0 3-2 0,0-3-6 15,3 3-9-15,-3-3 2 0,0 0 40 0,4 3-37 16,-4-3 20-16,1 4-11 0,-1-4 6 16,0 0 5-16,0 0 13 0,2 2-13 0,-2-2 143 0,0 0-41 15,0 0-4-15,0 0-4 16,0 0-25-16,0 0 28 0,0 0-7 0,14-6-11 15,-10 4-15-15,1 1 10 0,-2-2-20 0,2 1-18 16,-5 2 17-16,8-5-42 0,-1 4-29 16,-1 0 0-16,-2 0 0 0,-4 1 0 0,9 1 0 15,-9-1 0-15,10 0 0 16,-5 2 0-16,0 0 0 0,-3 1 0 0,1-1 0 0,2 1 0 0,-5-3 0 16,5 6 0-16,-2-4 0 0,0 0 0 15,-1 1 0-15,-2-3 0 0,6 2 0 16,-6-2 0-16,4 3 0 0,-4-3 0 0,0 0 0 15,0 0 0-15,5 1 0 0,-5-1 0 0,0 0 0 0,0 0 0 16,0 0 0-16,11-3 0 16,-11 3 0-16,4-2 0 0,-1 1 0 0,2-2 0 15,-5 3 0-15,0 0 0 0,8-2 0 16,-8 2 0-16,5 0 0 0,-5 0 0 0,0 0 0 0,10 5 0 16,-7-3 0-16,0-1 0 0,-3-1 0 15,5 5 0-15,-2-3 0 0,-1 1 0 0,-2-3 0 16,2 2 0-16,-2-2 0 0,3 3 0 0,-3-3-162 15,5 3-163-15,-5-3-26 0,3 3-76 0,-3-3-180 16,7 0-514-16,-4 0 69 0,-3 0 177 16,10 1 43-16,-10-1 74 15,13 0 72-15,-6 0 69 0</inkml:trace>
  <inkml:trace contextRef="#ctx0" brushRef="#br0" timeOffset="11215.64">17999 3463 957 0,'0'0'391'0,"0"0"-42"0,0 0-22 0,0 0-20 16,0 0-33-16,-5 19-28 15,0-7 15-15,0 3-43 0,0 1-34 0,0 3-2 0,-3 2-18 16,-2-2 38-16,2 3 2 0,-3 9-40 16,-1-6-36-16,4-6-13 0,-2 2-33 0,2-4 26 15,1-2-29-15,2-3 1 0,0-2-4 0,-1 0 19 16,2 0 28-16,3-3 10 0,-4-2-15 0,5 1-13 15,-2-5-77-15,2-1 10 0,0 0-4 16,0 0 53-16,0 0-29 0,0 0-24 0,10-11 20 16,-2 9-3-16,-1-4-15 15,3 2-3-15,-2 1 10 0,2 0 3 0,3 0 6 0,-2 3-24 16,-1 0-5-16,0 0 33 0,0 0-15 16,-2 2 21-16,0 2 71 0,-1-2-21 0,-2 2 11 15,1 1-8-15,-4-1-33 0,-2 0 0 16,0 2 33-16,-2 0-12 0,0 0-16 0,-4 1-26 15,1-2 13-15,-3 0-20 0,-2 0-23 16,2-1-34-16,-2 2-40 0,0-5-49 0,2 1-31 0,0 1-62 16,1-3-32-16,-1 1-31 0,8-1-83 15,-10-4-170-15,7 2-364 0,0-3-116 16,6-1 70-16,-1-2 74 0,4-3 89 16,-1-2 47-16,5-6 87 0</inkml:trace>
  <inkml:trace contextRef="#ctx0" brushRef="#br0" timeOffset="11403.27">18115 3511 1087 0,'5'-8'395'0,"2"1"-122"0,-4 5 1 0,2 0 0 16,-5 2 8-16,0 0 102 0,6 8-28 16,-2-2-52-16,-3 1 8 0,1 2-43 15,1 2-92-15,-3 1-11 0,0 1-28 0,-3 1-17 16,1 4 2-16,-1 1-31 0,-3 4-56 0,-3-4-44 16,4 5-61-16,-3-3-67 0,3-2-58 0,0-2-83 15,-1 1-107-15,4-8 36 0,2 1-543 16,0 1 123-16,2-2 64 0,3-3 57 0,1-3 73 15</inkml:trace>
  <inkml:trace contextRef="#ctx0" brushRef="#br0" timeOffset="12134.11">18320 3702 1236 0,'0'-3'496'0,"0"3"-55"16,-3-5-6-16,-1 2-51 15,4 3-13-15,-9 0-141 0,2 0-2 0,7 0-13 16,-18 4-38-16,11-2-1 0,-1 1-7 0,-3 2-18 15,3-1-23-15,-2 0 5 0,2 2-28 0,1-3-25 0,0 3-29 16,1 0-15-16,4-1 2 16,-1 0-17-16,0-2-3 0,3 1 28 0,0 1-28 15,0-5 17-15,5 4-4 0,-2-2 69 0,-3-2-11 16,10-2-1-16,-10 2-7 0,11-2-11 0,-4 2 47 16,-7 0-22-16,10-2-13 0,-7 2 15 15,-3 0-43-15,10-3-8 0,-10 3 15 0,6 3-7 16,-6-3-5-16,7 0-47 0,-7 0-35 15,5 3-26-15,-2 0-25 0,-3-3-34 0,5 2-13 16,-2 0-7-16,-3-2-31 0,10 3-51 16,-3-3-49-16,2 0-76 15,1 0 7-15,0-3-72 0,2 2 55 0,-1-2 86 0,4-2 21 16,-4 1 76-16,2-1 82 0,-3 1 80 0,0-2 44 16,-2 0 58-16,-1-1 2 15,1 1 24-15,-3-1 33 0,0 2 16 0,0-1 27 0,-2 2-12 0,-1 1 0 16,1-2-6-16,0 1-45 15,-3 4 2-15,0-3-3 0,0 3-12 0,0 0-23 0,0 0-8 16,0 0 8-16,0 0-21 0,-8 14-10 0,6-9-23 16,-1 2-13-16,0 0-8 15,3 3-30-15,-2-1 5 0,4 0-31 16,1-1-36-16,-1-1-22 0,1 4-14 0,5-4 1 0,-1 1 2 0,1-2 8 16,2-1 12-16,0 0 13 15,1-4 6-15,-1 1 10 0,0-2 2 0,3-2 13 16,-2 1 23-16,1-4 28 0,1 0 6 0,-3-1 40 15,0-2-8-15,3-2 4 0,-2-3-4 16,-4 1 9 0,4-1 12-16,-4-3-10 0,3-2-6 0,0-1 27 0,-2-5 4 0,0 2-12 0,0 1 0 15,-1 1 4-15,-1 3-12 0,2 3 3 16,-4 1-21-16,2 1 15 0,-2 2-20 0,-1 2 13 16,2 3-23-16,-2 2 12 0,2 0 6 0,-5 3-34 15,0 0 3-15,0 0 5 0,5 10-7 16,-5-4-4-16,-3 2-1 15,-4 3-19-15,-1 3-7 0,-2-1 17 0,0 3-43 0,-1 1 3 16,1-2 30-16,3-1-7 0,-1-1 5 0,2-3-16 16,2 3 8-16,2-4-15 0,1 0 35 0,1-1-7 15,2-1 15-15,1-2-20 0,2 1 13 16,0-3-34-16,3 0 5 0,2-1-17 0,0-2-11 16,1 3-20-16,1-2-21 15,-1-1-28-15,4 0-23 0,-4-1-76 0,1 2-203 0,-1-1-474 0,-2 2 47 16,-3-2 99-16,-3 4 50 15,-1-1 63-15</inkml:trace>
  <inkml:trace contextRef="#ctx0" brushRef="#br0" timeOffset="12808.9">16425 4100 1228 0,'0'0'333'0,"-10"0"0"16,10 0-26 0,0 0-23-16,0 0-28 0,0 0-23 0,0 0-23 0,0 0-34 15,28-5 14-15,-15 0-26 0,5 2-36 0,0-1 10 16,0-2-15-16,3 1-11 0,-4 2-9 16,-1-1-24-16,-3 2-7 0,-1-1 7 0,1 1-23 15,-5 1-12-15,-1 1 10 0,1 3-21 16,-2 2 0-16,-1 1 24 0,0 0-24 15,-2 1 5-15,-1 3-7 0,0 2-8 0,-2 0 18 0,0 1-5 16,-2 2 5-16,2-2-39 16,-2 3 16-16,1-2 72 0,-4-1-3 15,3 1 0-15,-3 2 0 0,-1-5 2 0,1 0 11 0,-2 1 31 16,-1-2-124-16,0-1 24 0,0 0 8 0,-2-3-32 16,0 1 16-16,-1-2 5 15,1-2-7-15,0 1-6 0,0-4 3 0,-1 1-43 16,4-1-21-16,-4-1-6 0,6 1-45 0,-3 0-41 0,1-1-39 15,2-2-76-15,5 3-75 0,-6-3-125 16,4 3-461-16,2 0 57 0,0 0 89 0,8-5 56 16,-3 2 60-16</inkml:trace>
  <inkml:trace contextRef="#ctx0" brushRef="#br0" timeOffset="13316.13">16833 4190 867 0,'-13'3'382'0,"6"-2"-29"16,-1 2-36 0,0 1-10-16,-2 1-25 0,0 1-39 0,1 1-23 0,-1-1-10 0,3 1-23 15,-3 1-21-15,2-2-9 0,0 2 50 16,3 1-41-16,0-3-17 0,0 2-14 0,2-2 6 16,1 0-8-16,2-1-43 0,0 0 30 0,0-2-33 15,2 2-15-15,1-3 20 0,-3 1-10 16,0-3 0-16,5 3-5 0,-5-3-16 0,8 3-2 15,-8-3 2-15,7-3-12 0,-7 3-3 0,11 0 13 16,-11 0 0-16,10-2 20 0,-5 0-22 16,0 0 17-16,-2 0-5 0,2-3-5 0,0 3 2 15,0-2 4-15,0 0-17 0,-2 0 1 16,2-1 5-16,-2 3 0 0,1-4-29 0,0 2 9 16,-2 1-1-16,0-2-66 0,1 1 0 0,-3-1 0 15,3 1 23-15,-1-1-21 16,-4 0-2-16,2 2 18 0,0 3-1 0,-3-8 4 0,3 5 9 15,0 3 11-15,-7-5-13 0,3 3-25 16,4 2 27-16,-10-3-10 0,3 6 1 16,7-3 25-16,-14 2-8 0,7-1-18 0,-3 3 13 0,3 1-17 15,-1-2 6-15,0 3 19 16,0 0 15-16,3 1-12 0,-3-1-14 16,4 3 21-16,-2-2-7 0,4 1 9 0,2-1-12 0,-1 0 0 15,2 2 10-15,-1-3 5 0,4 2-13 0,0-3-12 16,3 2 7-16,-2 0-15 0,3-2-5 0,-1 1-31 15,1-4-26-15,2 2 3 0,-2-2-15 16,4 0-16-16,-3 1-20 0,3-3-59 16,-2 0-26-1,4-3-20-15,-2 3-69 0,1-1-133 0,-5 0-60 0,7-1-460 16,-4-2 85-16,3 2 138 0,-1-2 48 0,-2 1 36 0</inkml:trace>
  <inkml:trace contextRef="#ctx0" brushRef="#br0" timeOffset="13896.79">17041 4231 860 0,'-5'-4'376'0,"5"4"28"0,-13 0-25 15,5 2-18-15,0 0-54 0,-2 0-5 0,0 0-20 0,-1 3 2 16,1-1-31-16,-2 2-35 0,3-2-6 16,0 1-25-16,-2 1-10 0,6-1-6 0,-5 2-38 15,5-1-5-15,-1-1-79 0,2 1-46 16,1-1 15-16,0-2 2 0,6 2 3 0,-1-3-13 15,1 1-7-15,2 0-6 0,0-3 6 0,5 0-1 16,-2 3 9-16,3-6 4 0,-1 3-15 16,0-2 18-16,0 0-10 0,2 0-8 0,-4-1 7 15,1-1 11-15,-1-1 5 32,-1 2 3-32,0-2 17 0,-1 0-9 0,-1 2 12 15,0-1-5-15,-2 2 15 0,-1-1-25 0,3 0 12 0,-2 0-22 0,-3 3 4 0,5-2-27 0,-5 2 27 16,0 0 6-16,0 0-21 0,0 0 21 0,0 0-13 15,0 0-26-15,0 0 18 0,0 0-12 0,2 8 10 16,-2-8 12-16,1 3-28 0,-1-3-4 16,0 0 14-16,4 6-12 15,-4-6 30-15,3 2-12 0,0 0 10 16,1 1-21-16,-4-3 16 0,6 3-10 0,-2-2-13 0,-4-1 22 0,6 2-7 16,-3 0-12-16,-3-2 12 15,7 3 0-15,-7-3-15 0,5 1 15 0,-2 1 10 0,-3-2-5 16,0 0 8-16,8 2 5 0,-8-2-2 0,5 0-8 15,-5 0 17-15,0 0-1 0,8 0 12 16,-8 0 25-16,0 0-15 0,10-2-5 16,-10 2 23-16,8-1 16 0,-8 1-13 0,5 0 12 0,-5 0-22 15,8-1 7-15,-8 1-26 0,7 1 11 0,-7-1 10 16,8-1-23-16,-8 1-5 0,0 0-49 16,10 0 3-16,-5-1-57 0,-5 1-30 0,10-2-62 15,-10 2-61-15,11-1-23 0,-4 1-11 16,4 1-50-16,2-2-172 15,4 1-515-15,-2 0 126 0,3 0 89 0,1 0 26 0,1 0 128 16,1-2 67-16</inkml:trace>
  <inkml:trace contextRef="#ctx0" brushRef="#br0" timeOffset="14380.84">17848 4183 870 0,'-2'5'384'0,"-1"-3"-31"0,-2 4-20 16,4 0-34-16,-3 4-22 0,-1-3-42 0,2 1 60 0,1 2-32 15,-1-1-32-15,0 2-16 0,1-2-39 16,0 0-25-16,1-1-10 0,-1-1-16 16,-1-1 1-16,3 2 15 0,-2-3 30 0,2 1-30 15,0-2-75-15,0-1 24 0,0-3 0 16,0 6-21-16,0-6-8 0,5 3 6 0,-5-3 2 16,0 0-21-16,10 0-9 0,-10 0 2 0,8 0 13 15,-8 0-3-15,10-1 8 0,-3 2-13 0,-1-1-8 16,-1 1-5-16,3 1-10 0,-1 2 36 15,-2-2-20-15,-2 2-21 0,4-2 20 16,-4 2 3-16,0-1-23 0,0 2 46 0,-3-1-21 0,0-1-2 16,0 1-10-16,-3 1 5 0,-2-2 7 15,0 2-12-15,-3-1 5 0,2 0-21 0,-1 0-7 16,-3-2-28-16,2-1-29 0,2 2-23 16,-3-3-28-16,1 0-71 0,8 0-39 15,-10 0-38-15,5-3-36 0,5 3-113 0,-1-7-38 16,2 0-459-16,1 0 39 0,6-2 113 0,-3-2 5 15,5-1 105-15,1-1 61 0</inkml:trace>
  <inkml:trace contextRef="#ctx0" brushRef="#br0" timeOffset="14568.85">18020 4163 1118 0,'5'-4'428'0,"-2"2"-101"16,-1-1-27-16,3 1-11 0,-5 2-10 16,0 0-13-16,10 2-12 0,-7 1-6 0,0 0 59 15,0 2 5-15,-1 2-48 0,0 2-34 0,1-1 1 16,-3 0-29-16,0 1-107 0,0 4-31 15,0-1-29-15,-3 1-37 0,1-1-24 0,0 1-40 16,-1-1-37-16,0 1-4 0,1-3-47 0,1 1-40 16,1-1-144-16,-2-2-33 15,2 0-523-15,0-2 111 0,0 0 33 0,3-1 74 0,-1-1 75 16</inkml:trace>
  <inkml:trace contextRef="#ctx0" brushRef="#br0" timeOffset="15176.77">18179 4278 1592 0,'0'-3'471'0,"0"3"-29"0,0 0-29 0,0-6-65 16,0 6-92-16,0 0-23 0,0 0-29 0,0 0-9 0,0 0-16 0,0 0-30 16,-8 8 22-16,3-4-53 0,5-4 0 15,-2 7-29-15,-1-1-4 0,0-1-11 16,1 0 3-16,0 0-3 0,2 1-33 0,-1 0 5 15,1-2-26-15,0 2-4 0,0 0 4 0,1-3 3 16,1 2 0-16,0-1-10 0,1-2 8 16,2 0-16-16,1 1-3 0,1-1 3 15,1-2 6-15,0 1-19 0,0-2 23 0,-1 1-15 16,0-2 18-16,3 2 0 0,0-4-5 0,-4 1 10 16,4-2 13-16,-2 0 2 15,-1 4-5-15,-1-4 8 0,-1 2 18 0,2-2 3 0,-1 1-14 16,-1 2 11-16,-3-2-10 0,4 2-6 0,-6 2 14 15,5-4-16-15,-2 3 5 0,-3 1-16 16,0 0-4-16,4-1 10 0,-4 1 2 16,0 0-22-16,0 0 17 0,0 0-18 0,0 0 16 0,0 0 71 15,0 8-20-15,0-4-18 0,0-4 8 16,3 3-6-16,0 1-37 0,1 0 32 0,-1-3-2 16,4 1-26-16,-1-1 26 0,2 3-36 0,2-4-5 15,0 1 2 1,1-2 6-16,-1 0-34 0,2-2 19 0,1 0 22 0,0 0-28 0,0 0 0 15,0-2 18-15,-1 0 0 0,-1 2-18 16,-3-2 6-16,2-1 17 0,-2 1-31 0,-1 0 52 0,-4 1-31 16,2-2 10-16,0 3-20 15,-3 0 17-15,-2 3 3 0,1-4 11 0,-1 4-1 16,0 0-7-16,0 0-6 16,0 0-27-16,-5 10 7 0,2-4 15 0,0 1-4 0,3-1-6 0,-2 2-25 15,4-3 10 1,-2 3-39-16,3-1 16 0,2-1-16 0,-2 0-30 0,6 0-28 15,-1-1-34-15,1 0 0 0,3-1-63 0,1 1-6 0,0-3-10 16,0 0-59-16,-1 1-110 0,-6 0-161 16,8-2-492-16,-3 0 85 15,-3 3 141-15,2-3 48 0,-4 0 90 0,-2 0 89 0</inkml:trace>
  <inkml:trace contextRef="#ctx0" brushRef="#br0" timeOffset="15924.86">16238 4832 924 0,'10'0'401'16,"-4"-3"-14"-16,2 1-6 0,-1-1-48 15,3-2-28-15,3 0-24 0,-2-1-25 0,1-1-2 16,1-1-6-16,0-3-23 0,-3 1-7 0,1-1 2 15,-1-1-28-15,-3 0-8 0,1-1-2 16,-1-2-3-16,-1 3-15 16,-1 1-46-16,0 0 30 0,-2 0 31 0,-1 3-92 0,3 1-28 15,-5-2 0-15,0 6-8 0,0-2 11 0,0 5-11 16,0 0-18-16,0 0-5 0,0 0 21 16,-7 13-11-16,4-2 6 0,-2 2-3 0,2 4-28 0,-2 3 22 15,0-1-22 1,0 5 31-16,2 2-11 0,-2-1-20 0,2-1-36 0,-1 2-51 15,0-4-26-15,2 0-51 16,0-1-26-16,0 1-20 0,2-3-41 0,-1 0-156 0,1-4-589 0,-3 0 46 16,1-2 115-16,2 0 39 15,0-5 82-15,0 0 115 0</inkml:trace>
  <inkml:trace contextRef="#ctx0" brushRef="#br0" timeOffset="16433.68">16303 4982 1374 0,'4'-6'443'0,"2"2"-46"0,-2 1-26 0,2-2-5 0,4 3-41 15,-2-4-44-15,4 1-4 0,1-1-39 16,-2 0-23-16,6 1-26 0,-1-3 1 0,1 2-44 15,-3-1-8-15,1 1-13 0,-2-1 21 16,0 1-18-16,-3 1 0 0,0 1-10 16,-2 0 30-16,-3 0-9 0,0 1-96 0,2-2 11 0,-3 4-26 15,-2-2-15-15,-2 3 30 0,0 0-7 16,0 0-13-16,0 0-2 0,0 0 7 0,0 0-20 16,-2 11 22-16,2-11-14 0,0 8 4 15,-3-3-17-15,3 0-11 0,3 1-5 0,-1 1-20 16,-2-2 10-16,5 2-10 0,0-1-6 0,0-1-7 15,1 0-28-15,4-1 25 0,-2-2-15 16,2 1 34-16,0 0-6 0,1 0 8 16,-1-3-1-16,2 0-1 0,-2-1 30 0,1-3-3 0,-3 3 16 15,2-3 20-15,-2 2-2 0,-1-4 18 16,-2-1 22 0,-3 2 1-16,1-3 0 0,-3 3-16 0,0-3 13 0,-2 0 8 0,-1 0-34 15,-2 2-7-15,2-1 0 0,-4 1-3 16,2 2-25-16,-3 0-23 0,0 1-24 0,1 1-4 15,-3 1-42-15,2 1-35 0,-2 1-34 0,2 4-38 16,0-3-10-16,0 3-54 0,1 1-107 16,2-6-62-16,0 6-533 0,-1 0 104 0,2 0 34 15,4-1 106-15,-1-1 72 0</inkml:trace>
  <inkml:trace contextRef="#ctx0" brushRef="#br0" timeOffset="16840.41">16713 4855 1098 0,'0'0'368'0,"7"-3"78"0,-7 3-50 0,0 0-40 0,13 4-15 0,-10 0-50 15,-1 0-17-15,3 1-15 0,-2 1-29 0,-1 0-10 16,1 1-20-16,-3-1-41 16,2 2 10-16,-2-1-26 0,0 0-20 0,-2-1-5 15,2 0 4-15,0 0 35 16,0-1-37-16,0-1 0 0,-3-2 18 0,3-2-17 0,-2 5 19 16,2-5 68-16,0 0-39 0,0 0 7 15,0 0 11-15,0 0-31 0,0 0-15 0,2-16-26 0,1 9 6 16,0 2-27-16,-1-2 16 0,4 0-12 0,-2 1-24 15,-1 0 0-15,4-1-48 0,-1 1-26 16,-1 0-39-16,0-1-25 0,2 5-43 16,-1-3 7-16,2 1-61 0,-4 1-36 0,4 0-39 15,0 2-20-15,-3 0-59 0,3 0-117 0,-1 2-208 16,-2 0-392-16,-5-1 72 0,11 4 167 16,-6-4 35-16,0 2 67 0,-5-2 77 0</inkml:trace>
  <inkml:trace contextRef="#ctx0" brushRef="#br0" timeOffset="17280.29">16946 4858 1310 0,'0'0'412'0,"0"0"-48"15,7-1-6-15,-7 1-133 0,0 0-15 0,0 0-10 16,5 3-8-16,-5-3-23 0,6 4-13 0,-6 0 0 16,2-2-20-16,-2 3 4 0,2-3-1 0,-1 4-16 15,-1-6-24-15,3 6-6 0,-3-1 29 0,2-3-17 16,-2-2 5-16,2 4-23 0,0-2 18 0,-2-2 11 15,1 5 65-15,-1-5 22 16,3 2-1-16,-3-2-15 16,4 2-8-16,-4-2-8 0,6 1-4 0,-6-1-80 0,0 0 0 0,13-3-21 15,-13 3-7-15,8-1 23 0,-4 0-23 0,2 1 10 16,-6 0-38-16,10 0 15 0,-10 0-15 16,12 0 2-16,-6 0-2 0,-6 0 17 0,10 0-27 15,-10 0-6-15,11 0 0 0,-7-1-4 0,2-1 14 16,-6 2-20-16,7-2 21 0,-1 1-11 15,-6 1 3-15,10-1 3 0,-5 0 2 0,-5 1-3 16,7-3-4-16,-4 1 9 0,-3 2-20 0,8 0-10 16,-8 0 38-16,7 0-22 15,-7 0-24-15,0 0 44 0,10-2-24 0,-10 2-12 16,6-1-28-16,-6 1-13 0,0 0-11 0,7 1-27 16,-7-1-62-1,0 0-25-15,8-1-44 0,-8 1-39 0,0 0-35 0,10 3 2 0,-7-3-110 0,2 0-130 16,3 2-481-16,2-2 94 0,0 3 82 15,1-2 100-15,-1-1 102 0,2 1 41 16</inkml:trace>
  <inkml:trace contextRef="#ctx0" brushRef="#br0" timeOffset="17806.45">17464 4827 1049 0,'-10'0'312'0,"10"0"-28"16,-9 5-17-16,2-3-29 0,2 1-16 15,0 0-25-15,0 0-10 0,-1 0-28 16,4 1-23-16,-3-2-21 0,2 1-10 0,1 0-16 16,-1 2-9-16,3-5 66 0,-3 2-24 15,3-2-27-15,3 5 8 0,-3-5-1 0,5 5-25 16,-2-4-16-16,-3-1 6 0,10 2-8 0,-5 1-21 16,0-3-2-16,1 2 18 0,-1-2 17 15,0 2-43-15,3 1 21 0,-4-3-23 16,4 0-6-16,-2 1-7 0,-6-1 18 0,14-1-8 0,-8 0-3 15,4-3 6-15,-2-1-8 0,2 1 7 16,3-6 14-16,0 2-19 0,2-2-4 16,-2 0 7-16,0-1 25 0,-1-1-22 0,1-1 28 0,-2 2 22 15,-1 0-22-15,0 2 41 0,-2 1 20 16,-3-1 21-16,3 3-3 16,-3 1-26-16,-2 2 3 0,1 0-2 0,-4 3-29 0,0 0 31 15,6 7-97-15,-6-3-18 0,-3 4 10 0,0 0-8 16,-1 2-20-1,1 2-20-15,-2 1-72 0,2 0-54 0,0 2-46 0,3-2-154 16,-2 2-650-16,2 1 65 0,0-2 137 0,0 0 100 0,0 1 42 16,2-2 55-16</inkml:trace>
  <inkml:trace contextRef="#ctx0" brushRef="#br0" timeOffset="18546.59">18182 4727 1218 0,'-6'6'384'0,"2"-1"-51"0,2 1 53 0,-4 2-35 16,3 2-39-16,-2 0-35 0,0 3-6 0,0 1-41 15,2 0-109-15,-2-1 7 0,0 1-26 0,0-1-10 16,2-1-59-16,1 0-10 16,-1-1 8-16,3-2 7 0,0 1-9 0,0-2 19 0,0-3-25 15,3 0 18-15,1 0-5 0,2-4-10 16,2 0 7-16,2 0 21 0,0-3-3 16,3 1-25-16,2-3 25 0,1 3-21 0,-1-3 14 0,2 2-8 15,0-1 25-15,-3 2-12 0,0 1 12 16,-1 0 3-16,-1 0 13 15,1 0-13-15,-3 1 21 0,-2 2-19 0,0-2 29 0,-3 0-16 16,0 3-20-16,-3-2 36 0,-2-2-34 16,-4 7 16-16,1-3 2 0,-2 1-22 0,-3-3 60 0,0 3-14 15,-2-3-14-15,0 2-20 0,-1-4-5 16,-1 2-33-16,4 2-33 0,-3-3-47 16,4 0-5-16,-1-1-41 15,1 0-30-15,7 0-39 0,-9-1-41 0,9 1-40 0,-4-5-50 16,8-1-58-16,0 1-8 0,3-3-51 0,3 0-36 15,6-5 100-15,-1-3-54 0,3 2 141 0,8-9 146 16,-3 3 94-16,-3 2 70 0,-2 3 48 0,-2-2 29 16,-1 5 27-16,-3 0 39 0,-3 3 3 15,1-1 61-15,-2 4-62 16,0 1-12-16,-1 1 41 0,-2 1-39 16,-2 2 29-16,-3 1-14 0,0 0-35 0,8 8 10 0,-6-3 0 15,-2 3-31-15,0 0-27 0,0 5 17 0,-2 0-69 0,-1 0-41 16,0 0-8-16,0 5-25 15,-4-3-52-15,4 2-40 0,-1 0-44 0,2-4-59 0,-2 1-30 16,2-1-80 0,4-3-82-16,-2-1-514 0,6 1 84 0,1-4 52 0,1 1 91 0,2-4 78 15</inkml:trace>
  <inkml:trace contextRef="#ctx0" brushRef="#br0" timeOffset="19302.65">18729 4870 901 0,'1'-6'494'0,"-2"2"-31"0,-1 0-13 0,2 4-20 0,-7-4-35 0,4 2-24 0,3 2-62 0,-12 0-17 0,12 0-20 16,-16 3-32-16,9 0-104 0,-3 0-6 16,-1 1-17-16,1 1 0 0,0 1-24 0,-1-2-17 15,1 2-3-15,3 1-41 0,1-2-23 0,2 1 0 16,-2-1-43-16,4-1-11 0,2 0 14 16,0-4 9-16,2 5 18 0,-2-5-10 15,8 1 6-15,0 0-4 0,-8-1 3 0,12-1 3 16,-4 0 18-16,0 0 40 0,-1-2-40 0,-1 2 25 15,1 1-20-15,-4-3 8 0,4 3 7 0,-7 0-13 16,8-1 11-16,-8 1-3 16,0 0 0-16,8 1-23 0,-3 2-3 0,-5-3-2 0,5 4-28 15,0-3-29 1,-2 0-19-16,2 3-19 0,-2-3-18 0,-3-1 3 0,12 2 2 16,-4-2-28-16,0-1 13 0,2 1 6 0,1-1-27 15,3-3 21-15,-1 3 13 0,2-4 30 16,1 1 14-16,-3-1 45 0,-1-1 21 0,-1-1 33 15,1 1 16-15,-1-1 33 0,-3 1 12 0,-1 0 26 16,-2 0 16-16,1 1 2 0,-1 0-8 0,-2 2 6 16,-3-2-11-16,2 3-15 15,-2 2-8-15,0 0 1 0,0 0-24 0,0 0 3 0,0 0-34 16,0 0 8-16,-13 7 8 16,10-5-28-16,1 3-16 0,1 1-22 0,-1 0-32 0,0 0 6 0,2 0 0 15,0-2-6-15,0 3-63 0,0 0-3 16,4-2 23-16,-3-1-2 0,1 1-16 15,3-2 8-15,-2 0 25 16,3-1-2-16,-2-1-3 0,2 2 16 0,-6-3 36 0,15-4-14 16,-8 2 19-16,1-2 28 0,0 1 7 0,-3-2 37 15,3 0 7-15,0-3 10 0,-1 1 0 0,1-3 16 16,2-3-6-16,-2 1 11 0,2 0 5 16,0-3-13-16,-2 2-8 15,2 0 18-15,-2 1-12 0,-1 0-14 0,-1 3-12 16,2 0 0-16,-3 1-18 0,2 3 0 0,-2-1 5 0,0 1-2 0,-2 3-26 15,2-1 10-15,-5 3-8 16,0 0 29-16,0 0-42 0,0 0 9 0,1 10 12 16,-7-6-5-16,1 3-23 0,-3 0 18 0,0 2-33 0,-2-3 27 15,2 4-27-15,1-2 0 16,-3 0 22-16,2 1-14 16,0-2 4-16,3-1-5 0,2 1-2 0,-1 0 20 0,1-2 1 0,3 1 7 15,0 0-11-15,0-4-17 0,3 2-10 16,1 0-19-16,2 0-9 0,-1-3 1 15,5 2-6-15,0-1-29 0,0-2-31 0,1 5-17 0,-3-5-47 16,2 2-35-16,-2-1-167 0,-1 2-103 16,-4-1-419-16,-1 0 59 0,-2-2 92 15,0 0 85-15,-10 7 56 0</inkml:trace>
  <inkml:trace contextRef="#ctx0" brushRef="#br0" timeOffset="19891.18">16048 5502 1003 0,'0'0'343'0,"3"6"-23"0,-3-6-8 0,0 0-33 0,15-6 90 16,-4 1-21-16,1-3-84 0,4 0-11 0,2-4-15 0,0-1-23 16,-1 0-5-16,-1-3 2 0,-1 0-12 15,1-1-11-15,-1-2 6 0,-2 2-21 16,-2 3 10-16,-1 3-5 0,-2 0 3 0,-1 2-18 15,0 1-13-15,-4 3-10 0,2-1-44 0,-2 5 11 16,-3 1 73-16,0 0 11 0,-1 13-41 16,-3-4-94-16,-2 7-1 0,-1-1-7 0,-4 8-19 15,-1 9-58-15,-3 1-23 0,1 2-51 0,0-2-26 16,-2 5-49-16,6-1-18 16,-3-1-48-16,3-3-43 0,0-2-29 15,2-3-28-15,0-8-136 0,5-1-473 0,-2-6 110 0,5-2 23 16,-3-2 74-1,1-3 128-15,4-1 61 0</inkml:trace>
  <inkml:trace contextRef="#ctx0" brushRef="#br0" timeOffset="20529.88">16110 5619 860 0,'3'-5'366'0,"-1"0"-31"0,0 2-38 0,4-3-8 16,-1 2 36-16,3-1-23 0,2 0-13 0,0-1-56 16,2 1-15-16,2-1-62 0,4-1-59 15,-3 0 11-15,1 1-11 0,-3 0-2 0,-1 0-13 16,0 1 30-16,-1 0 4 0,-3 3-11 16,0-2 7-16,0 2-9 0,-4 2-14 0,2-1 29 15,-6 1-21-15,0 0 0 0,12 3 1 0,-9 1-32 16,0-1-15-16,-3 2 8 0,2 1 10 15,0-1-15-15,-2 1-5 0,1-3-19 16,1 3 9-16,1-1-3 0,-3 0-11 0,3 0-12 0,-1-2 15 16,0 2-15-16,4-4 15 15,-4 0-15-15,-2-1 2 0,12-1 21 0,-12 1-5 16,11-1 15-16,-6-4 10 0,0 2-4 0,1-2 19 16,-4 2 3-16,3-4 1 0,-4 0 4 0,1 0 54 15,0 0-2-15,1 0-3 0,-3-3-18 16,0 2-31-16,0 2 23 0,3-1-20 0,-3 1 3 15,0 0-29-15,2 1-41 0,0 0 3 0,-2 2 3 16,3 0-39 0,-3 3 51-16,7-2-46 0,-7 2 13 0,0 0-7 15,11 6-47-15,-8-1 11 0,2 2-19 0,-3-1-12 0,3 1 10 16,-4 3-10-16,1-2-16 0,3 1-7 0,-4 1 48 16,-1 1-10-16,0-2 18 15,2-1-18-15,-2 1 18 0,2-2 1 0,-2 1 4 0,0-3 48 0,0 0 12 16,2 1 16-16,-1-2 48 15,-1-1 6-15,0-3 3 0,0 6 14 0,0-6-9 16,0 0 0-16,0 0-22 0,0 0 7 0,0 0 5 16,0 0-15-16,0 0-18 0,15-11-8 0,-12 6 5 15,2 1-12-15,0-1-1 0,0-1-10 0,0 1 8 16,-2-1-25-16,4 1-45 0,1 1-17 16,-2-1-28-16,-1 0-28 0,3 3-29 15,-1-2-30 1,0 2-39-16,1-3-22 0,-2 4-39 0,-1 0-88 0,5-3-157 0,-3 4-569 0,-2-1 107 15,3 1 100-15,0 0 59 0,0 0 80 0,4-1 97 16</inkml:trace>
  <inkml:trace contextRef="#ctx0" brushRef="#br0" timeOffset="21318.44">16751 5499 965 0,'0'0'376'0,"-10"6"-38"0,5-4-24 15,2 0-24-15,-2 4-24 0,0-1-25 16,2 0-11-16,-2 1-10 0,0 0-20 0,2-1-34 16,1 0-25-16,-1 0-16 0,-2 1 8 0,3-1-5 15,1 0-12-15,-1-2 9 0,2 1-33 16,0-4 18-16,-3 5 64 0,3-5-5 0,0 0-5 15,6 2 8-15,-6-2-19 0,0 0-4 16,0 0-14-16,15-6-61 0,-10 5 24 16,0-2-27-16,0 2-12 0,0-1 16 0,1 2 1 15,-6 0-12-15,12 0 16 0,-6 0-24 0,-6 0 3 16,12 0 2-16,-9 2-7 0,2 2-16 0,3-2 8 16,-4 1-2-16,-1-1-16 0,3 0 8 0,-2 1 8 15,2 0-21-15,-1 0 0 16,0-2 10-16,0 1-5 0,0 1-31 0,0-2 19 15,1-1-14-15,-6 0-4 0,10 0-14 0,-2 0-45 16,-1 0-41-16,-7 0-14 0,13 0-35 0,-8 0-46 16,3-4-7-16,2 4-70 0,-2-2-3 0,4-1-61 15,-2 2-99-15,-4-5-19 0,7 4-432 16,3 1 58-16,-4-4 526 0,1 1 79 16,2 1 22-1,-2-2 17-15,-1 3 42 0,-1-4 57 0,-3 2 54 0,2 2 76 0,-2-1 37 0,-6 1 73 16,4 0 24-16,-4-1 0 0,-2 3 4 0,4-2-9 15,-4 2 20-15,0 0-18 0,0 0 2 0,0 0 78 16,0 0-31-16,-20 1-1 0,20-1-4 16,-12 5-26-16,4-4-3 15,3 4-22-15,0-3-16 0,0 2-21 0,2-1 11 0,-2 1-41 16,3-1-3-16,1 0 0 0,1-3-28 0,0 6-25 16,0-6 10-16,3 6-8 0,2-5-21 15,0 0-7-15,0-1-7 0,3 0-17 0,2 0 12 16,0 0-4-16,0-1 11 0,1-4 0 15,2 3-16-15,-2-2 13 16,3-3-2-16,-1 1 18 0,1-2 9 0,-2-3-27 0,1 3 2 0,0-4 62 16,0 0-23-16,-3-1 2 0,0 0 18 15,-2-1 3-15,-1-1 4 0,6-1-4 16,-8 1 2-16,1 6 3 0,1-2 23 0,-4 3 25 16,2 0-79-16,-2 1-38 0,1 4 20 0,-1 2 11 15,-3 1-1-15,0 0 3 0,0 0-15 16,-3 15 17-16,-1-4-12 0,0 1-3 15,0 1-31-15,-2 2-66 0,1 2-48 0,0 1-45 0,-2 3-42 16,4-2-40-16,3 1-65 0,5-2-157 16,3 6-525-16,2-1 124 0,8 2 63 15,2-1 41-15,6-3 90 0,2-2 64 0</inkml:trace>
  <inkml:trace contextRef="#ctx0" brushRef="#br0" timeOffset="21849.28">18120 5331 975 0,'0'0'389'0,"-8"10"-36"0,3-4 57 15,1 4-49-15,-2-1-29 0,3 1-60 0,-4 4-9 16,4-1-27-16,-2 0-11 0,0-2-25 0,3 3-39 15,-2 1-5-15,2-3 0 16,2-3-48-16,0 2-16 0,0-2 13 0,2 0-26 16,2-3 6-16,0 1 14 0,2-1-22 0,-1-5-28 15,3 3 2-15,2-3-20 0,2-1-1 0,-1 0 24 16,2 0-97-16,0 1 2 0,-1 0 41 16,1 0-5-16,-3 2 40 0,4-2-4 0,-4 0 2 15,0 3 19-15,-3-2 12 0,4 3 0 16,-6-3-16-16,2 2 29 0,-4 2-5 15,-3-2-13-15,0 1 10 0,-2-1-18 0,-1 2-5 0,-2-3 3 16,-3 3-8-16,0-2-41 0,1 2-18 16,-1-4-54-16,0 2-25 0,0-2-36 0,1 0-70 15,-1 1-65-15,3-3-155 0,5 0-68 16,-9 0-454-16,9 0 142 0,-4-8 22 0,4 2 95 0,0-2 43 16</inkml:trace>
  <inkml:trace contextRef="#ctx0" brushRef="#br0" timeOffset="22033.13">18292 5325 842 0,'7'-8'358'16,"-2"4"-20"-16,-2 1 7 0,2 2 57 0,-5 1-13 16,0 0 3-16,8 9-54 0,-5-3 0 0,1 1-18 15,-3 1-103-15,1 2-17 0,1 2-21 16,-3 2 0-16,0 0-15 16,0 3-44-16,0-1 3 0,-3-1-51 0,1 4-52 0,1 0-40 0,-3 0-54 15,1-2-41-15,3-3-57 0,-3 1-63 16,3 0-131-16,0-1-67 0,0-6-478 0,3 2 112 15,2-3 70-15,0-1 71 0,2-1 61 16</inkml:trace>
  <inkml:trace contextRef="#ctx0" brushRef="#br0" timeOffset="22613.29">18530 5488 1131 0,'0'-5'507'0,"-2"3"-34"0,2 2-20 0,0-7-38 16,0 7-31-16,0-6-46 0,0 6-26 0,-1-4-105 15,1 4-20-15,0 0-20 0,0 0 4 0,0 0-15 16,-10 12-28-16,8-7-10 0,0 2-5 16,1-1-14-16,-1 2-32 0,-1 2 2 0,3-2 10 0,-2 0-17 15,2 2-21-15,2-3-23 16,-2 1 30-16,3 1-35 0,0-2 18 0,1-1-16 16,2 0 31-16,-1-3-33 0,5 0 20 0,-2 0-30 15,0-3 5-15,2 0 10 0,2 0 0 0,-1-2 5 16,1 0 7-16,2-2-4 0,-2-1 2 15,0-1-13-15,-1-1 24 0,-1 1 38 16,3 0-34-16,-5-2 26 0,2 2 75 0,-2-2 1 0,-1 3-4 16,-1-2-41-16,-1 0 15 0,0 3 6 15,0-2-1-15,-1 1-38 0,-3 3 28 16,4-3-41-16,-3 3 3 16,-1-2-6-16,-1 4-22 0,5-5-1 0,-5 5 26 0,0 0-12 0,0 0-37 15,0 0 6-15,0 0 7 0,0 0-18 16,0 0 19-16,-5 15-19 0,4-11 23 0,-1 1-20 15,2 1 3-15,-2 1-6 0,2-1 21 0,0 0-8 16,0 0-23-16,0 0 3 0,0 0 15 16,2-1-13-16,0-2 16 15,-1 2 2-15,4-2-25 0,0-1-3 0,-5-2 0 0,14-2 0 0,-8-1 0 16,5-2 0-16,-1 1 0 0,3-2 0 0,0-4-52 16,2 2-9-16,-2-5 15 15,2 3-3-15,-1 1 16 0,-2-1-13 0,0 2 25 16,-3 0-14-16,-1 3 19 0,-1-1 6 0,0 3-8 0,-4 2 18 15,5 2-18-15,-3 2 0 16,0 1-28-16,1 1 26 0,-2 2 7 0,4 2 5 16,2-2-33-16,1 2-13 0,4 1-22 0,0-1-34 15,6 0-44-15,4 1-38 0,-1-3-64 0,2-2-10 16,2 0-126-16,3-2-156 0,1-2-511 16,-1-1 117-16,0 0 77 0,2-1 38 0,8-4 131 15,-5 0 40-15</inkml:trace>
  <inkml:trace contextRef="#ctx0" brushRef="#br1" timeOffset="28504.75">14520 3833 1062 0,'-7'0'425'0,"7"0"-34"0,0 0-43 15,0 0 13-15,0 0-74 16,28-2-39-16,-5 2-7 0,10-4-36 0,18 2-13 0,19-4-87 15,4 1-13-15,8 3-5 0,2-3-28 0,4 2 10 16,2-1 10-16,5 0 18 0,2 2 21 16,0-2-5-16,3 2-13 0,0-1 7 0,-5 2-22 0,-2-3-9 15,-6 1-22-15,-5 1-15 0,-6 1-24 16,-19-1-25-16,-4 1-24 0,-4 1-30 16,-12-1-66-1,-9 0 7-15,-5 1-64 0,-8-3-41 0,1 3-64 0,-6-2-120 0,-2 1-440 16,-4 1 64-16,0-3 112 0,-4 3 67 0,0 0 38 15</inkml:trace>
  <inkml:trace contextRef="#ctx0" brushRef="#br1" timeOffset="30930.07">14543 3878 1018 0,'-7'-3'323'0,"7"3"-26"0,0 0-23 0,0 0-16 15,0 0-35-15,0 0-18 0,0 0-8 0,15 6-13 16,-2-3-18-16,0 2-2 0,5 3-15 0,5 1 12 16,13 6-46-16,3 1-10 0,3 3-77 15,8 6-12 1,3-2 4-16,4 1-10 0,-1-1 16 0,3 1 15 0,0-2-26 0,0 2 1 15,-2-1 12-15,-1-2-18 0,3-2 10 0,-3-1 70 16,1-1-26-16,-4 1 3 16,-6-5-16-16,-2 0 8 0,-3-4 5 0,-1 2-18 0,-5 0 0 15,-6-5-16-15,-4 1-35 0,-8-2 16 0,0 1 6 16,-2-3-14-16,-1 1 0 16,-2-1 7-16,-1 0-20 15,-2-1-1-15,-1-1 1 0,-2 3-23 0,3-4 0 0,-5 1-13 0,1-1-21 16,-6 0-28-16,12 0-40 0,-9 0-47 0,-3 0-54 0,10 2-58 15,-10-2-52-15,8-1-460 0,-8 1 82 16,5 0 56-16,-5 0 71 0</inkml:trace>
  <inkml:trace contextRef="#ctx0" brushRef="#br1" timeOffset="32754.63">14507 3740 719 0,'0'0'284'0,"0"0"10"0,0 0-35 0,19 16-24 0,-1-3-17 0,10 5-3 0,5 8-23 15,10 5-31-15,4 6 3 0,2 4-3 0,4 3-25 16,1 3 23-16,15 11-14 0,3 2 1 16,-5-1 31-16,-1 1-6 0,-14-11-7 0,2 1-10 15,-6 1-29-15,1-4 3 0,-3 3-28 16,0-2-5-16,-2-4 5 15,-3 0-26-15,-2-2-25 0,-4-3 17 0,1-3 6 0,-7-9-1 0,-1-2-32 16,-3-3-19-16,1-2 1 16,-6-4 7-16,-5-2-15 0,1-5 5 0,-3 0-29 0,0-1 6 15,-3-2 21-15,0-1-45 0,1-1 1 16,-4-3-25-16,1 2 12 0,-3-3-34 0,2 0 14 16,-7 0-47-1,11-3-20-15,-4 2-64 0,-4-2-46 0,2-1-105 0,-5 4-135 0,5-6-334 16,-2 4 129-16,0-2-11 0,-1 2 80 0,-2-3 81 15</inkml:trace>
  <inkml:trace contextRef="#ctx0" brushRef="#br1" timeOffset="33625.76">14344 3733 801 0,'0'0'266'0,"2"12"5"0,3-1-15 0,2 4-33 16,9 15-6-16,5 6-12 0,7 11-26 0,3 6-7 15,4 4-6-15,4 0-25 0,15 15-8 0,0 1-20 47,2 0-3-47,3 1 5 0,0-3 51 0,3-3-12 16,-3-3-11-16,2-3-20 0,-9-12-2 0,-1-2-22 0,0 1 11 0,-2-5-7 0,-1 1-3 0,-4-1-13 0,0 0 0 15,-3-1-3 1,-3 0-25-16,0-3 15 0,-1 0-15 0,-4-6-5 0,-8-3 2 0,-2-1-12 0,-2-3-8 16,-3 2 2-16,0-4-12 0,-5-1-26 0,-3-6 28 15,-2 1-100-15,0-4 5 16,-4 2 21 0,2-4-30-16,-2 0 7 0,-1 1 5 0,0-3-39 0,0 1 16 0,-1-3-10 0,0 0-8 0,1-3-38 15,-1-1-83-15,-1-1-68 0,1-4-85 16,1 4-443-16,0-2 42 0,-3-2 96 0,7 0 101 15</inkml:trace>
  <inkml:trace contextRef="#ctx0" brushRef="#br1" timeOffset="41898.46">14605 4550 1359 0,'-5'1'345'0,"5"-1"-35"0,0 0 2 0,0 0-17 16,0 0-47-16,0 0 5 0,0 0-40 0,18-5-6 16,-3-1-2-16,3 0-23 0,8-2 71 15,14-5-20-15,12-7-102 0,4 2-21 0,4-6 18 16,3 1-26-16,7 0 21 0,1-3-46 15,2 0 7-15,3-2 11 16,21-7-24-16,-1-1-7 0,4-2 13 0,0 0-15 0,-6-1-14 16,-1 1-2-16,2 2 6 0,-23 9-32 0,1-1 6 0,-3 3-6 15,-1 2-25-15,-4-2 10 0,-4 4-28 16,-8 5-15-16,-12 3-8 0,-5 1-29 0,-12 2-17 16,-4 4-20-1,-2-1-14-15,-6 5-4 0,-3-2-16 16,-1 4 18-16,-6-1-34 0,-2 1-22 0,0 0-31 0,0 0-54 0,0 0-40 15,0 0-39-15,-23 11-459 0,10-8 73 0,-2 6 25 16,-3 1 87-16</inkml:trace>
  <inkml:trace contextRef="#ctx0" brushRef="#br1" timeOffset="42394.27">14736 4529 883 0,'0'0'363'0,"20"3"-38"0,-7-4 18 0,3-3-92 16,9 2-41-16,6-2-16 0,15-1 1 16,8-3-18-16,12 0-14 0,1-2-12 0,0 1-15 15,-1-2 23-15,3 0 38 0,3 1-113 16,-2-2 29-16,1 1-31 15,-2 0 18-15,1 2-6 0,2-2-42 16,-6 0-4-16,-1 2 26 0,-12 3-30 0,-2-3 7 0,-1 5-5 0,-2-3-23 16,-4-1-12-1,-8 5 27-15,-6-2-28 0,-5 3 3 0,-4-1-5 0,0 0-13 0,0-1-29 0,-6 3-12 16,0 0-2-16,-7-3-1 0,2 4 5 16,-2 0-35-16,0 0-5 0,-3-3-16 15,-5 3-28-15,0 0-16 0,0 0-4 0,0 0-70 16,0 0-102-16,0 0-25 0,0 0-390 0,-21 7 6 15,8-5 107-15,-2 2 38 0</inkml:trace>
  <inkml:trace contextRef="#ctx0" brushRef="#br1" timeOffset="42745.26">14925 4488 1072 0,'11'1'294'0,"4"3"11"0,3 2-21 15,10 1-30-15,10 3 4 0,4 5-46 16,-1 0-17-16,13 5 7 0,-3 1-28 0,2 1-23 15,2 0 11-15,1 3 27 0,1-5 6 16,2 0-19-16,0-1-35 0,-3-1-5 0,3-1-3 16,-13-5-28-16,0 1-29 0,-5 0-1 15,-3-6-22-15,-1 4-47 0,-7-4 9 0,-4-4-43 0,-6 2-23 16,-2-2-16 0,-2-2-25-16,-1 1-39 0,0-2-30 15,-2 2-23-15,-3 0-54 0,0-4-26 0,-2 2-28 0,-2-2-151 16,1 0-348-16,-2 2 67 15,0-3 69-15,-2 0 58 0</inkml:trace>
  <inkml:trace contextRef="#ctx0" brushRef="#br1" timeOffset="43228.41">14926 4551 1113 0,'17'19'353'16,"4"5"8"-16,4 3-26 0,12 8-7 15,3 3-26-15,4 2 77 0,-3-2-57 16,5 4-35-16,-2 1-5 0,2 0-29 0,2 1-17 16,-4 0-24-16,5 1-76 15,0-3-57-15,1-3 6 0,-3 3 2 0,-1-2-13 0,-2-4-10 16,-1 3 15-16,-4-3-23 0,-1-2-4 16,-9-6 9-16,-1-3-7 0,-5-3-18 0,0-1-26 15,-7-2-2-15,-2-5-11 0,-3-1-15 0,-1-2-10 16,0-3-16-16,-2 2-14 15,-2-2 1-15,1-2 6 16,-2 0-8-16,0 0-2 0,0-2 12 0,-2-1 1 0,-1 1-24 0,1-3-2 16,-3-1 7-16,2 2-30 0,-2-2-26 0,0 0 0 15,0 0-51-15,0 0-23 0,0 0-87 0,-17-1-46 16,12 0-175-16,-3-2-309 0,0 1 128 16,0 1 18-16,-2-4 62 0</inkml:trace>
  <inkml:trace contextRef="#ctx0" brushRef="#br1" timeOffset="43872.4">14284 5014 775 0,'21'-12'284'16,"2"-2"16"-16,11-5-6 0,9-6-23 0,8-4-17 15,3-5 12-15,8-2-2 0,14-14-29 0,7-4 83 16,1-3-121-16,8-2-18 0,1-4-18 15,-1 1-12-15,1-5 4 16,4-3-25-16,0-2-20 0,6 2-14 0,-1 5 6 0,-4 4 3 0,-3 5-4 16,-3 5-32-16,-5 3-13 15,-18 16-11-15,-5 3-25 0,-5 6 0 0,-2-1-10 0,-16 10-31 16,-1 0-16-16,-11 6-25 16,-6 2-51-16,-5 3-13 0,-5 0-18 15,-5 3-33-15,-1 0-110 0,-2 3-90 0,-5 0-458 0,0-3 49 16,-2 7 112-16,-6-1 46 15,1 3 62-15</inkml:trace>
  <inkml:trace contextRef="#ctx0" brushRef="#br1" timeOffset="44203.38">14285 4883 865 0,'32'-8'363'0,"-5"1"-22"16,29-11-4-16,10 0-29 0,9-1-11 16,9-3-24-16,22-4-27 0,4-1-13 0,3-4-15 15,-3 0-6-15,2-1-10 0,1 0-33 0,1 1 10 16,1 0-28-16,-2 0-28 0,-3 3 0 0,-3 0-13 15,-24 9-30-15,-1 0-19 0,-8 1-40 16,1 1-11-16,-6 4-33 0,-6 1-49 0,-16 3-28 16,-4-1-61-16,-12 4-72 0,-5 3-66 15,-6-3-52-15,-9 6-522 16,-4-1 105-16,-2 1 36 0,-5 0 87 0,0 0 61 0</inkml:trace>
  <inkml:trace contextRef="#ctx0" brushRef="#br1" timeOffset="44551.84">14636 4902 1259 0,'38'14'391'0,"6"2"-35"0,12 8-8 0,3 1-28 0,3 2-28 0,5 3-15 16,4 2-9-16,-1 0-27 16,-1-1-44-16,2 0-2 0,-4 2-42 15,2-4-73-15,-2 1-19 0,-3-3-7 0,-2-2-21 0,-3 0-30 0,-3-2-21 16,-12-8-51-16,-6 1 7 15,0-3-56-15,-4-1 3 0,-9-5-18 0,-6 0-56 16,-1-1-26-16,-6-4-95 0,-4 2-115 16,2-2-361-16,-2 1 54 0,-1-3 143 0,-7 0 39 15</inkml:trace>
  <inkml:trace contextRef="#ctx0" brushRef="#br1" timeOffset="48888.22">5605 4649 1197 0,'-7'-2'356'16,"2"2"-38"-16,5 0 9 0,0 0-55 0,0 0-22 0,0 0-19 0,0 0-14 15,39 0-76-15,-9 0-44 0,19-2 16 16,10 2-11-16,15-1 16 0,8 2-8 16,5-1-12-16,1 4-6 0,4-3 66 0,0-1-35 15,3 3-13-15,-5 0 16 0,-1-1-6 16,1 3-25-16,0-2-24 0,0 0-12 0,-3 3-15 0,-2-2 2 16,-6 1-21-16,-5 1-19 0,-15-1-22 15,-5 0-35-15,-5-4-10 16,-3 4-85-16,-12-2-72 0,-6 1-46 0,-8-3-114 0,-7 1-86 15,0 0-373-15,-6 0 72 0,-1-2 76 0,-6 0 85 16</inkml:trace>
  <inkml:trace contextRef="#ctx0" brushRef="#br1" timeOffset="49209.8">5470 4738 719 0,'0'0'322'0,"23"1"-30"0,-8 2-26 0,11-1 11 15,18-2-32-15,14 3-14 0,22 1-16 0,7 2-18 16,8-1 21-16,5 2-60 0,30 1 75 0,-4 3 5 16,0-2-38-16,-2 2-16 0,-2-2-10 15,1 1-48-15,-20-3-3 0,-3 0-6 16,-5-2-7-16,-3 0-15 0,-5 1-13 0,-7 0 0 15,-3 0-28-15,-6-3-118 0,-17 0-11 16,-3 3-4-16,-2-6-39 0,-11 2 3 0,-7 0-46 16,-5 0-67-16,-5-1-18 0,-3-1-10 0,-3 0-38 15,-5 0-85-15,0 0-384 0,-4-1 11 16,-1 1 99-16,-5 0 77 0</inkml:trace>
  <inkml:trace contextRef="#ctx0" brushRef="#br1" timeOffset="83421.24">6255 6257 1282 0,'32'2'374'0,"-11"1"-29"0,7-1-40 15,13 4-11-15,6 0-23 0,4 2-9 16,16 0-40-16,2 1 11 0,3 2-36 0,2-3 0 0,8 4-46 16,-3-4-7-16,6 3-6 0,-5-5-31 0,-1 4-20 15,-7-1 3-15,-3-1-8 16,-2 2-36-1,-19-4-54-15,1 0-20 0,0-4-18 0,-6 3-31 0,-9 0 1 0,-6-4-40 0,-3 1-27 16,-4-2-34-16,-3 4-30 0,-2-3-95 0,-6-1-15 16,-3 0-477-16,1 1 21 0,-8-1 128 15,0 0 23-15</inkml:trace>
  <inkml:trace contextRef="#ctx0" brushRef="#br1" timeOffset="83700.38">6129 6370 1008 0,'0'0'363'0,"0"0"-60"0,28 0 1 16,-8 0-35-16,11 0-26 0,18 0 49 0,7 0-26 16,3 0-36-16,16 0-17 0,4 0-1 0,1 0-9 15,4 0-42-15,3 0 5 0,6 0-15 16,-6 0-30-16,2 0-19 15,-3 0-7-15,-5 0-31 0,-6 5 0 0,1-5-5 0,-6 1-36 0,-11 2-8 16,-5-1-28-16,0 0-28 0,-3 1-48 16,-2-1-91-16,-11-1-117 15,-10 1-110-15,2 1-496 16,-6-3 117-16,-1 0 74 0,-3 0 60 0,-4 0 48 0</inkml:trace>
  <inkml:trace contextRef="#ctx0" brushRef="#br1" timeOffset="84733.95">13259 6195 1103 0,'0'0'358'0,"0"0"-56"0,15-7 8 0,1 5-21 0,12-1-30 16,6 0-26-16,14-2-29 0,8-1-14 15,14 0-44-15,4-1-3 0,8 3-12 0,-5 1-14 16,5-1-17 0,0 2 10-16,-2-1-13 15,-4 2-20-15,4-1-26 0,-1 2-12 0,0-3-21 0,-4 1-34 0,-13 2-48 16,-3 0-58-16,0 0-60 0,-6-1-69 0,-4 1-51 0,-10 0-374 0,-9 1-102 16,-7-1 102-16,-5 0 57 0,-7-1 56 15</inkml:trace>
  <inkml:trace contextRef="#ctx0" brushRef="#br1" timeOffset="85129.34">13031 6292 995 0,'-16'3'328'0,"4"-1"-29"16,4 1-27-16,6-2-19 0,2-1 0 0,0 0-114 0,22 1-9 15,-1-2 14-15,15 1-27 0,17-1-17 16,19-2-3-16,5 1-2 0,3 2-18 16,7 0 77-16,6 0-19 0,6 0 6 15,-1 0-18-15,-3 0-31 0,5 0-10 0,-3 0-3 0,-2 4-10 16,0-3 0-16,-3 0-20 0,-5 2 13 16,-7-1-16-16,-1 0 2 0,-20 1-30 15,0-1 26-15,-5 1-26 0,-5 0 25 0,-11-2-25 0,-5 2 0 16,-4-1 0-16,-6-2-8 0,0 2-18 15,-5 1 6-15,-3-2 2 16,0 0-18-16,-2-1-15 0,-3 0 5 0,1 1 10 0,-6-1-13 0,3 1 5 16,-4 1-2-16,-4-2-13 0,6 1-10 15,-6-1 25-15,0 0-20 0,2 2-7 16,-2-2-27-16,0 0-17 0,0 0-26 0,0 0-41 16,0 0-28-16,0 0-7 0,0 0-57 0,0 0-82 15,-15-6-392-15,15 6 29 0,-5-1 48 16,5 1 41-16</inkml:trace>
  <inkml:trace contextRef="#ctx0" brushRef="#br1" timeOffset="86581.44">4718 7070 852 0,'0'0'315'0,"-5"1"-36"0,5-1 0 16,0 0-36-16,0 0-26 0,16 4-25 0,0-4 8 16,6 0-36-16,12 0 0 0,18 0-23 15,8 0-34-15,22 0 24 0,3 0-21 0,2 1-5 16,3 0 0-16,2-1-13 0,3 0 2 15,3 1-30-15,2 1-5 0,0-2 0 0,-3 1 8 16,0-1-21-16,-1 1 2 0,-4 0-42 0,-5 2 1 16,-5-2 1-1,-5 0-16-15,-3 1-28 0,-15-2-30 0,-7-1-14 0,-2 1-40 0,-9 0-92 16,-7 0-93-16,-10-1-522 0,-2 1 47 16,-4-1 99-16,-8 0 133 0</inkml:trace>
  <inkml:trace contextRef="#ctx0" brushRef="#br1" timeOffset="86902.4">4729 7286 1149 0,'17'1'366'0,"7"0"-36"0,9-1-23 16,18-1-25-16,11-1-44 15,17 0-28-15,4-1 5 0,4-1-41 0,0-2-10 0,0 6-8 16,6-7-23-16,-1 3 0 0,2 1-31 0,-1-2 8 16,-1 3-17-16,0-1-17 0,-2 2 1 0,-2 1 5 15,-1 0-15-15,-3 2 2 0,-4 0-16 16,-1 1-12-16,-5 2-10 0,-4 2-3 16,-1-1-28-16,-5 4 8 0,-8-4-39 0,-5 2-35 15,1-2-65-15,-4 0-97 0,-1-1-138 16,-1-1-478-16,0 0 40 0,-13-2 79 15,-5-2 73-15,-2-2 81 0</inkml:trace>
  <inkml:trace contextRef="#ctx0" brushRef="#br1" timeOffset="88645.64">9782 8536 1197 0,'3'-5'341'0,"-3"5"-37"15,0 0-19-15,0 0-22 0,0 0-12 0,0 0-23 16,2 14-18-16,-2-8-18 0,-2 0-3 16,2 5-40-16,-2-2-16 0,1 5-3 0,-1-1 47 15,-3 3-6-15,3-1-20 0,1 0-35 16,-4 3-17-16,2-1-1 0,1-1-19 0,-1-2-28 16,0 1-43-16,1-1-23 0,2-2-37 0,0 0-42 15,-2 1-68-15,2-5-117 0,0 1-353 16,2-1-210-16,-2-4 59 0,3-1 89 0,2 1 39 15,0-2 79-15</inkml:trace>
  <inkml:trace contextRef="#ctx0" brushRef="#br1" timeOffset="89746.68">10105 8582 611 0,'0'-2'254'0,"0"2"-34"16,0 0-18-16,0 0-10 0,0 0-13 0,0 0-5 15,0 0-13-15,0 0-38 0,0 0 26 16,0 0-24-1,0 0-15-15,0 0-2 0,0 0-6 0,0 0 98 0,0 0-6 0,0 0-22 0,0 0-26 16,0 0-8-16,0 0 16 16,0 0-32-16,0 0-22 0,0 0 18 0,-5-5-39 0,5 5-2 15,0 0-3-15,0 0 11 0,-10 0-6 0,10 0-28 16,-8 4-4-16,1-3 19 16,7-1-30-16,-10 2 36 0,4-2-37 0,1 3-6 15,-3 0-4-15,0-2 24 0,1 3-13 0,0-3-8 16,1 4-15-16,1-3 2 0,-3 0 18 15,1 1-10-15,4-2 11 0,-2 4-14 0,0-4 13 16,2 4 1-16,1-3 9 0,-1 3-17 0,3-1-78 16,0 0 1-16,0 1 31 15,3 1-8-15,2 0-13 0,0 1 2 16,0 4 29-16,3-3-21 0,-3 4 13 0,3 1 6 0,0-1-6 16,2 2 10-16,-5 0 3 0,0-1 0 0,0 0-8 15,0 0 0-15,-3-3 0 0,-2 0 16 16,0 3-21-16,-4-2 8 15,1 1 2-15,-4-3-10 16,-1 2 3-16,0-5 7 0,0 1-2 0,1 1-8 0,-1-4 5 0,0 1-12 0,0-3 25 16,3-1-23-16,-2-1 30 0,7 0-22 15,-8-1 10-15,8 1-18 0,-5-7 46 0,2 3-28 16,3 0 12-16,3-1-9 0,2-1 2 0,0 0 0 16,3-2-8-16,-1-1 8 0,4 0 8 15,2-2-11-15,-1 2-2 16,1-1 23-16,0-2 15 0,2 3 18 0,-2-3-22 0,0 2-4 0,-3-1 29 15,1 0 18-15,-4 1 61 0,1 2 36 0,-3-3-44 16,0 3 6-16,-3-2-11 0,-2 2-28 16,0-3 3-16,-2 5-3 0,-3-2-2 0,2 1-26 15,-4-2 5-15,-1 2-16 0,0 1 4 16,0 2-37-16,-2 0-20 16,3 0-41-16,-4 3-38 0,4 0-26 0,-1 2-43 0,8-1-96 0,-10 0-127 15,4 4-650-15,4-1 112 16,2-3 59-16,0 6 126 0,0-2 64 0,3-2 79 15</inkml:trace>
  <inkml:trace contextRef="#ctx0" brushRef="#br1" timeOffset="90555.69">10831 8687 1080 0,'0'2'330'0,"-3"4"-28"0,1 3-38 15,0 0-21-15,1-2-21 0,-1 5-27 16,-1-1-26-16,3-3 0 0,-2 4-16 0,1-3-32 16,1 0-1-16,-2 2-12 0,0-3 14 15,2-1-35-15,0 0-23 0,-3 0 26 0,3-2 5 16,0 0 2-16,0-1-10 0,0-4 3 0,3 3 12 16,-3-3-92-16,0 0 29 0,0 0-19 15,0 0 1-15,0 0 9 0,13-7 78 0,-9 1-21 16,2 4 18-16,-2-4-28 0,2 2 2 0,-1-2-5 15,2 3 0-15,-1-1-17 0,-1 4 22 16,3-3-15-16,-3 3-28 0,-5 0 20 0,13 3-5 16,-9-1-15-16,4 3 10 0,-2-2-10 15,-2 1-10-15,2 1-3 0,-4 1-5 0,1 1 12 16,2-1 4-16,-5 0-4 16,0 0 24-16,3 0-18 0,-1 0-13 0,-2 0-10 15,2-2 5-15,-2-1 2 0,3 3 39 0,-3-3-28 0,0-3 30 16,3 5 16-16,-3-2-82 15,0-3 0-15,5 2 25 0,-5-2 6 0,0 0-16 0,13-3 18 16,-8-2 80-16,3 1-6 0,-1 1-10 0,1-1 6 16,-1-2-6-16,4 1 8 0,-4 2-21 15,2-2-2 1,0 4 2-16,-4-3-2 0,3 3-21 0,0 0-7 0,-3 0 5 0,2 1-8 0,-7 0 10 16,11 1 3-16,-6 1-23 0,-2-2-11 0,2 4-9 15,-2-3 12-15,1 3-54 0,-1-2 8 16,-3 1-59-16,3 1-33 0,-1 0-15 15,-2-4-34-15,2 7-40 0,-1-5-6 0,-1 4-59 16,3-2-38-16,1 0-110 0,-1 1-612 16,2 0 59-16,-2 0 105 0,4-3 79 0,-2 2 65 15,1-2 83-15</inkml:trace>
  <inkml:trace contextRef="#ctx0" brushRef="#br1" timeOffset="90846.49">11290 8862 995 0,'0'-11'397'16,"3"4"38"-16,-3 0-51 0,0 0-3 15,0 2-32-15,-3-1-17 0,3 1-7 0,-5 2-12 16,3-1-50-16,-1 2-104 0,3 2-8 0,-11-3 0 0,11 3-20 16,-12 5-8-16,7-2-6 15,-3 0-17-15,2 3-18 0,2 0-18 0,-4 1-10 16,5 3 12-16,-4-1-12 0,4 1-5 15,-2-2-1-15,4 3-14 0,-1-3 7 0,2 2-21 0,2-1 3 16,-2 0-8-16,4 0-27 0,0-1-11 16,4 2-13-16,-3-3-44 0,3-1-9 15,2 1-14-15,-2-3-48 0,4-2-20 0,-3 2-57 16,1-3-210-16,0-1-452 0,2 0 55 16,-1-1 62-16,-3-3 115 0,2 3 67 0,0-3 20 15</inkml:trace>
  <inkml:trace contextRef="#ctx0" brushRef="#br1" timeOffset="91276.02">11431 8816 796 0,'0'0'355'0,"0"0"-35"0,0 0-28 0,0 0-18 0,-8 7-18 0,6-5-31 0,2 4-12 15,-3-1-26-15,3 0 5 0,0 2-26 16,-2 0-7-16,2 0-26 0,-1 0-18 0,2 1-20 0,-2 1 4 16,1-2-1-16,0 0-42 0,0 0 18 15,0-1-17-15,0 0-9 0,0 0 14 16,0-2-4-16,1-1 24 0,1 1-25 0,-2-4 12 16,0 4 8-16,0-4 28 0,0 0-34 0,0 0 19 15,0 0 86-15,13-5-22 0,-10 1-13 16,1 3 5-16,-1-3-21 0,2 0-17 0,-3 1-65 15,2-2 1-15,0 4 9 0,-1 0-30 16,4 0 34-16,-7 1-32 0,8 0 21 16,-8 0 8-16,11 2-15 0,-6 2-19 0,2 1 21 0,-1-1-8 15,-1 1-7-15,0 1-1 0,0 1-12 0,1-1-26 16,-2 0-4-16,2 1-45 16,-2-1-38-16,0 0-2 0,0 1-18 0,-2-1-31 15,2 0-8-15,-2 1-51 0,0-2-15 0,-1-1-49 16,4-2-123-16,-5 3-84 15,2-3-423-15,-2-2 90 0,5 3 39 0,-5-3 117 0,5 1 56 16</inkml:trace>
  <inkml:trace contextRef="#ctx0" brushRef="#br1" timeOffset="91635.19">11662 8894 1379 0,'0'0'423'0,"0"-3"-47"0,0 3-54 0,0 0-17 16,0 0-16-16,0 0-38 0,0 0-44 16,0 0 1-16,-10 10-16 0,6-5 20 0,4 0-56 15,-2 0 3-15,2 1 0 0,-2 2-57 0,2-3 0 16,-2 2-9-16,4 1-27 0,-2-2-2 16,2 1 0-16,0-1-31 0,-1 1-12 0,4-1 7 15,-3 0 33-15,1-3-45 0,2 0 7 0,-2-2 5 16,-3-1-2-16,10 0 22 0,-10 0-30 15,13-3 18-15,-8-1 23 0,3 2-13 16,-3-3-20-16,2 2 20 0,1-1 10 0,-3 1 8 16,1 1 2-16,-2 0-25 0,2-1 36 15,-6 3-15-15,8 0-16 0,-8 0 25 0,7 2-50 16,-2 0-11-16,-5-2-2 0,10 3-59 0,-7 0-11 16,3-3-38-16,1 2-56 0,0 1-23 0,-1-2-131 15,-2 1-181-15,7-2-456 16,-1 0 59-16,-2 0 74 15,2 0 61-15,-2 0 85 0,0 0 84 0</inkml:trace>
  <inkml:trace contextRef="#ctx0" brushRef="#br1" timeOffset="92223.68">11241 8893 1244 0,'0'0'348'0,"5"7"-64"0,-5-2 13 0,0-3-57 0,0 4-14 0,-2 3-17 16,-1 0-9-16,-2-1-41 16,0 3-41-16,-2 2-26 0,-2-1-54 0,-1 1-35 15,0 3-144-15,-5-2-197 0,4-2-461 0,4-1 65 16,-1-2 37-16,2 1 83 0</inkml:trace>
  <inkml:trace contextRef="#ctx0" brushRef="#br1" timeOffset="92703.13">12449 8813 1315 0,'0'0'412'0,"0"0"3"0,-8 8-77 0,3-4-28 0,3 3-42 15,-1-1-17-15,-2 1-26 0,2 3-40 16,-2-1-47-16,2 0-64 16,1-1-5-16,-3 3-94 0,4-2-88 0,-1 0-184 0,2 0-563 15,-2-2 72-15,2 3 94 0,0-4 52 0,0-1 68 0</inkml:trace>
  <inkml:trace contextRef="#ctx0" brushRef="#br1" timeOffset="92824.32">12428 8806 558 0,'-2'-4'76'0,"-1"0"-142"0,3 4-479 0</inkml:trace>
  <inkml:trace contextRef="#ctx0" brushRef="#br1" timeOffset="93066.23">12674 8654 1223 0,'0'0'361'0,"0"0"-36"0,-2 15-25 16,-1-6-24-16,1 1-25 0,-1 3 43 0,1-1-12 15,-4 5-34-15,2 1-12 0,-2-2-27 16,-2 6-42-16,3-4-26 0,-2-1-21 15,4 0-51-15,-2 1-25 0,0-2-9 0,2-3-47 16,0 1-68-16,3-2-58 0,0-1-126 16,-4-2-173-16,6 0-449 0,-2-1 110 0,2-2 44 15,-2-3 118-15,1 3 59 0</inkml:trace>
  <inkml:trace contextRef="#ctx0" brushRef="#br1" timeOffset="93229.06">12548 8926 1044 0,'0'0'338'16,"-4"-4"-11"-16,1 1-27 0,3 3-36 0,0-5-16 16,0 5-10-16,0 0-41 0,5-7-23 15,-2 7 0-15,2-3-20 0,3 0-16 16,-1 2-33-16,3 0-28 0,1-4-44 0,2 5-36 0,-3-2-58 16,3-2-65-16,2 4-181 15,-2-2-502-15,0 0 62 0,2-1 76 0,-2 3 88 16</inkml:trace>
  <inkml:trace contextRef="#ctx0" brushRef="#br1" timeOffset="94036.71">12852 8894 1034 0,'2'-5'314'16,"0"0"-17"-16,1 0-28 0,-3 1 5 16,0-2 31-16,0-1-16 0,0 1-18 0,0 1-20 15,0 2-8-15,-3-1-30 0,3 4-37 0,-5-6-17 16,2 6 12-16,3 0-27 0,-10 0 4 0,10 0-17 16,-10 5-36-16,5-1 4 0,-3 0-32 0,3 2-18 15,0 1-1 1,0-2-45-16,0 3-11 0,2-1 18 0,-2 1-30 0,5-1 7 15,-2-3 3-15,2 0 5 0,2 2-3 0,-2-2 3 16,3-1 28-16,2 0-21 0,0-1-2 0,-5-2 11 16,10 1 30-16,-10-1-34 0,13-2 9 15,-5 1 45-15,-1-3-12 0,1 1-6 0,0 0 6 16,0 1 7-16,-1-2-12 0,1 1 17 16,-1-1-10-16,-1 3-28 0,-1 0 39 15,0-3-21-15,2 4-3 0,-1-1 3 0,-6 1-72 0,0 0 3 16,13 1 21-16,-8 1-16 0,-3 1 7 15,3 1-4-15,1-1 7 0,-4 2 3 0,3-3-16 16,-2 3 16-16,-1 0-11 0,1-2-2 16,0 2 13-16,-1 0-8 0,0-1 23 0,1 0-17 15,-3 0-4-15,3-2 11 0,-3 3-3 0,0-5 21 16,2 5 8-16,-2-5 14 0,3 3-6 16,-1 0 4-16,-2-3 18 0,0 0 13 0,0 0-18 15,0 0 3-15,6 1-3 0,-6-1-3 16,0 0 14-16,0 0-4 0,8-4-9 15,-4 0-8-15,-1 1 18 0,0 2-26 0,1-2 0 0,-4 3 8 16,6-2 0-16,-4-1-16 0,-2 3 3 16,8-3-20-16,-8 3 7 0,5 0 21 0,-5 0-21 15,8 0 23-15,-8 0-38 0,0 0 25 0,8 0 14 16,-4 3-29-16,-4-3 20 0,6 3-14 16,-4-3 22-16,1 4-15 15,-3-4-5-15,5 2-1 0,-5-2-9 0,2 4 5 0,-2-4-8 16,3 3 33-16,-3-3-10 0,5 3 10 0,-5-3 16 15,3 2-6-15,-3-2 19 0,0 0 97 0,0 0-16 16,0 0 13-16,13-5-23 0,-10 3-2 16,1 0-3-16,-1-1-41 0,-3 3 7 0,7-2-27 15,-1 0 15-15,-6 2-18 0,5-2 18 16,-5 2-5-16,8 0-59 0,-8 0-18 0,7 0 0 0,-7 0 0 16,8 4 0-1,-5-2 0-15,-3-2-108 0,4 3-15 16,0 1-69-16,-2-4-43 0,0 4 4 0,1-2-58 0,0 2-18 0,-1-2-220 0,1 1-592 15,2 0 90-15,0-2 128 16,2-1 61-16,-1 0 106 16,-6 0 48-16,17 0 56 0</inkml:trace>
  <inkml:trace contextRef="#ctx0" brushRef="#br1" timeOffset="94312.56">13438 8881 844 0,'-5'-1'374'0,"5"1"-62"15,-12 1-20-15,6-1-13 0,-2 0-13 0,1 3-25 16,-1-1-13-16,1 0-49 0,1 2-3 0,1-2-14 16,0 3-14-16,2-1-10 0,-1 0-12 15,1 2 2-15,3 1-21 0,-3 2 6 0,1-3 15 16,2 1-21-16,0 1 29 0,0-2-21 16,0 1-17-16,0-1 47 0,-2 0 22 0,2 1-19 15,-4 0-17-15,2-1 15 0,0 0-46 0,-4 0-34 16,4-1-25-16,-3 0-33 0,-3-2-6 15,3 2-66-15,-3-5-41 0,1 4-48 0,-1-2-160 16,-2-3-163-16,2 0-507 0,-3-1 118 0,-1 0 74 16,-1-4 80-1,-2-1 50-15</inkml:trace>
  <inkml:trace contextRef="#ctx0" brushRef="#br1" timeOffset="94498.47">12597 8650 1292 0,'-10'0'428'0,"10"0"-85"0,-8-2-75 0,8 2-50 16,0 0-72-16,0 0-82 0,-2 2-169 0,2-2-678 15,0 0 81-15,8 10 75 0</inkml:trace>
  <inkml:trace contextRef="#ctx0" brushRef="#br1" timeOffset="95859.61">10421 9247 1156 0,'0'0'428'0,"0"0"-26"0,0 0-44 0,23-3-40 0,0 3-1 16,10 0-35-16,19 4-21 0,7-2-11 0,17 4-24 15,6-2-96-15,6 3-9 0,9 0 7 16,1 1 15-16,24 4-23 0,4 0 75 16,5-1-70-16,2 0 6 0,3 0-16 0,0 1 26 15,2 3-29-15,4-5-17 0,4 1 5 16,-1 0-3-16,0 0-12 0,3-1-29 0,0-4 13 15,1 1-18-15,-5-1-15 0,-3 0 25 0,3 1-9 0,-8-2-9 16,-3 0-7 0,-3 1-21-16,-30-3-7 15,0 2 13-15,-4 1 14 0,-7 1-35 0,-2-4 0 0,-5 0 16 0,-7 0-34 0,-16-2 8 16,-8-2-29-16,-2-2 34 0,-16 3-38 0,-5-5 9 16,-10 2 11-16,-3-2 8 0,-4-1 20 15,-1-4-20-15,-5 0-11 0,-2-2 21 0,-4-3-5 16,-6-3-3-16,-1-5 18 15,-5-8-2-15,-1-6 22 0,-7-8-2 16,3-3-7-16,-1-3 1 0,-1-5 14 0,2 0-10 0,0-3-14 0,1-2 11 16,3-2-23-16,-1-1 31 0,2-1-1 15,6-4-9-15,-1 1 9 0,3-1-12 0,2 0 10 16,6 4-25-16,2-1 4 0,0 3 16 0,2 5-10 16,1 0 7-16,0 11-2 0,0 4-16 15,-1 4 14 1,-1 9-9-16,-2 6 13 0,0 6-25 0,-2 2 31 0,0 2-29 15,1 1 3-15,-3 4-5 0,0 1 7 0,0 2-7 0,0 1 20 16,-5 0-20-16,-1 4 18 0,2 0-14 16,-6 0 17-16,-1 1 17 0,-2 1-15 0,-4 0-18 15,-4-1 20-15,-3 2-5 0,-9 0-25 0,0 0 7 0,-16-2 23 16,-7 1-7-16,-6 1-18 16,-15-1 15-1,-2 0 5-15,-1-1-2 0,-6-1-13 0,-7-2-3 0,-7 2 21 0,-3-3 5 16,-4 1-16-16,-26-3-4 15,2 1-14-15,-8-1 27 0,4 2-9 0,-2-2-9 0,-3-2 19 0,-1 2-32 16,-3 0 30-16,-2-2 3 0,-1 1-8 0,2-1-2 16,-4-1 2-16,3 1-13 0,-3-4 23 0,6 5 1 15,-1-5-24-15,-2 1 26 0,2 3-10 0,3-4-24 16,8 4 24 0,-3-2-8-16,8 1-3 0,2 0 3 15,26 3 13-15,3 2-26 0,-1 0 19 0,3-2-27 0,1 4 24 0,-2 3-8 16,5-3-3-16,3 0 23 0,6 2-35 15,5 0 20-15,16 2-23 0,5 0 23 0,4-1 5 0,11-1-15 16,8-1 22-16,7 1-4 0,0 0-21 16,1 0 11-16,9 0 12 15,-2 1-13-15,3-1-12 0,2 0-18 0,5 0 46 0,-2 0-26 16,5 1-5-16,-2 4 23 0,4-3 10 16,3 2-4-16,0 3-29 0,2 1 28 0,-1 3-20 0,1 4-8 15,3 4 28-15,0 3-13 0,3 15-4 0,0 1 4 16,-3 5 6-16,0 1 10 15,0 15-8 1,-2 7-16-16,-1 3 14 0,-2 4-8 0,2-1 2 0,-4 5 6 0,-3 0-1 16,-2-1 6-16,-3 1 7 0,-1 2-17 0,-2-3 25 0,-2-1-31 15,-6-3 21-15,-2-4 5 16,2-3-15-16,-4-3 14 0,-1-5-9 16,1-2 15-16,2-6-13 0,5-13 19 0,0-4 17 0,5-4-5 0,3-6-18 15,4-6 0-15,2-5 12 0,6 0 12 16,1-5-9-16,7-4 3 15,6-1-10-15,9-2-1 0,23-5 19 0,20-1-16 0,13-2 11 0,12-1-31 16,29-4-3-16,4-2 23 0,13 4-38 16,4 0 5-16,3 3-28 0,0-1-13 0,6 1-51 15,-1 2-52-15,-2-2-25 0,-3 6-40 0,-5-2-50 16,-5 3-17-16,-28 0-52 0,-3 4-112 16,-3-4-60-1,-5 5-465-15,-4-1 77 0,-4 0 110 0,-9 2 95 0,-8 0 45 0,-16-1 55 16</inkml:trace>
  <inkml:trace contextRef="#ctx0" brushRef="#br1" timeOffset="99158.04">11652 8910 739 0,'-4'3'279'0,"2"1"-38"0,0-2-16 16,-1 2-7-16,3-4-34 0,-5 7-28 0,3-6-2 15,1 4 4-15,-4-1-17 0,5 0-8 16,-2 2-10-16,0-2-3 0,1-1-22 16,-1 3-1-16,-1-1-23 0,3 0 0 0,-2-2-10 0,1 2 21 15,1-1-26-15,-2-1-5 16,2-3-3-16,0 7 15 0,0-3-2 0,0-4 8 15,2 5 2-15,-2-5-5 0,3 2-7 0,-3-2-85 16,5 1 36-16,-5-1-13 0,0 0-3 16,13-2 23-16,-8-2-20 0,2 2 6 0,-1-3 4 15,-1 0 13-15,2 3 2 0,-1-4 16 16,-1 0 11-16,1 0-6 0,1 1 13 0,-2 0 4 16,0-2 60-16,2-1-5 0,1 1-23 31,-2 1 10-31,-3-1 20 0,1 0-17 0,2 3-1 0,-4-3 8 0,3 1-33 0,-2 4 0 15,-1-2 23-15,0 2-66 0,-2 2 19 0,1-4 1 16,-1 4 0-16,0 0-18 0,0 0 10 0,0 0-5 16,-1 16-20-16,-1-10 20 0,2 0-15 15,0 1-24-15,-2 0 24 0,4-1-23 0,-2 2-26 16,2-2-15-16,4 0-54 16,-3 1-11-16,4-1-25 0,1-1-74 0,2 0-143 0,-2-6-103 15,2 5-514-15,3-4 69 16,-2 3 145-16,1-3 42 0,0-3 105 0,-1 3 45 0</inkml:trace>
  <inkml:trace contextRef="#ctx0" brushRef="#br1" timeOffset="99773.38">11300 8933 1174 0,'0'0'415'0,"0"0"-46"16,0 0-113-16,0 0-34 0,0 0-9 0,-10 14-26 15,5-9-18-15,-3 4-31 16,0-1-33-16,-2 5-41 0,-3-1-92 0,0 4-167 0,-2-1-427 15,2-2-100-15,-2 2 21 0,5-2 81 0</inkml:trace>
  <inkml:trace contextRef="#ctx0" brushRef="#br1" timeOffset="100498.37">11205 9001 611 0,'0'0'287'0,"0"0"48"0,0 0-10 0,0 0-43 16,0 0-11-16,13-10-28 0,-10 7-51 0,2 2 3 15,0-4-13-15,-2 2-3 16,4-1-33-16,-2-2-16 0,1 1 6 0,-1 1 0 15,2 0-19-15,-2-2 19 0,0 0-36 0,1-1 7 16,-1 1-76-16,0 1-3 0,-2-2 13 16,1 1-8-16,2-1-7 0,-4 0 18 0,0 1 9 15,-2 1-9-15,0-2 84 0,0 1-8 0,0 0-2 16,0 1-36-16,-2 1-26 0,0 0-10 16,-1-1-30-16,-2 3-47 15,0-2-25-15,2 2-70 0,3 2-79 0,-10 0-138 0,5 1-576 0,0 2 95 16,0 1 74-16,-1 0 59 0,2-2 74 15</inkml:trace>
</inkml:ink>
</file>

<file path=ppt/ink/ink20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0:12.340"/>
    </inkml:context>
    <inkml:brush xml:id="br0">
      <inkml:brushProperty name="width" value="0.05292" units="cm"/>
      <inkml:brushProperty name="height" value="0.05292" units="cm"/>
      <inkml:brushProperty name="color" value="#0070C0"/>
    </inkml:brush>
  </inkml:definitions>
  <inkml:trace contextRef="#ctx0" brushRef="#br0">6001 3940 1267 0,'0'0'353'0,"-3"-5"-31"16,3 5-25-16,0 0-18 0,0 0-41 15,0 0 0-15,0 0-58 0,0 0-12 0,0 0-19 16,0 0-54-16,0 0-19 0,5 16-27 15,-4-8-31-15,1 2-46 0,3 2-62 16,-3-2-112-16,-1-1-103 0,3 3-493 0,-1 1 86 16,0 1 75-16,1-3 61 0</inkml:trace>
  <inkml:trace contextRef="#ctx0" brushRef="#br0" timeOffset="4146.06">7087 6190 399 0,'6'-2'161'0,"2"1"-94"15,4-2-42-15,1 2-43 0,3-2-97 0</inkml:trace>
  <inkml:trace contextRef="#ctx0" brushRef="#br0" timeOffset="7838.71">20684 3634 1538 0,'-10'-2'566'0,"7"0"-65"0,3 2-7 0,0 0-51 0,3-5-31 15,-3 5-41-15,15-4-53 0,-5 2 4 0,3 3 21 16,2 0 0-16,1 0-92 0,2 3-56 16,-1 4-6-16,-3 1 1 0,-1 1-39 0,-3 2 28 15,-2 4-23-15,-6 3 87 0,-4 7-54 16,-6 10-22-16,-5-1-1 0,-3 5-30 0,-9 2 15 16,-1 0-33-16,5-10-59 0,-1-4-59 0,1-2 0 15,5-8 0-15,4-3 0 16,2-3 0-16,2-1 0 0,0-3 0 0,3 0 0 0,0-2 0 15,3-1 0-15,1 1 0 0,2-2 0 0,3-3 0 16,2 2 0-16,2-1 0 16,4 0 0-16,0-2 0 15,4-1 0-15,1 0 0 0,2-2 0 0,4 0 0 0,-2-1 0 16,7-2 0-16,-2 3 0 0,-2-1 0 0,-5 0 0 0,2 2 0 0,-2 0 0 16,-5 2 0-16,-3 1-98 15,1 2-319-15,-2 2-197 0,-2 1-605 0,-3 0 121 16,0 4 102-1,-3-2 142-15,-1 3 60 0,-1-2 90 0,-1 3 97 0,-3 0 39 0</inkml:trace>
  <inkml:trace contextRef="#ctx0" brushRef="#br0" timeOffset="8056.35">20968 4319 1781 0,'0'6'637'0,"-4"3"-58"15,-2 2-47-15,-4 4-30 0,0 6-72 16,-5 6-28-16,1 3-26 0,-3 0-61 0,1 1-13 16,1 2-64-16,-3-1-59 0,2 1-92 0,1 0-69 15,-1-5-89-15,2 1-70 0,0-4-56 0,4-6-59 16,3-6-64-16,-4 1-208 0,1-2-493 16,3-1 146-16,-2-4 53 0,0-2 128 0,3-3 49 15,-1-2 62-15</inkml:trace>
  <inkml:trace contextRef="#ctx0" brushRef="#br0" timeOffset="8229.02">20717 4625 1566 0,'16'6'619'0,"-9"1"-135"0,6-1-31 0,-2 6-46 0,6-4 64 16,1 5-51-16,4 0-51 0,5 4-39 0,3 0-36 16,1-3-38-16,-5-1-92 0,5 4-67 0,2-3-71 15,-2 1-77-15,-3 1-57 0,-4-3-38 16,-4 1-89-16,-1-1-121 0,-7 4-148 0,6 0-479 15,-5-2 125-15,-1 4 85 0,-4 3 69 0,0-1 67 16,-6 5 64-16</inkml:trace>
  <inkml:trace contextRef="#ctx0" brushRef="#br0" timeOffset="8896.04">20861 5427 1430 0,'2'-2'474'15,"-1"1"-49"-15,-1 1-18 0,0 0-33 16,0 0-47-16,-17 8-4 0,5-2-37 0,-3 6-25 16,-13 7 6-16,0 0-34 0,-6 2-11 0,1 3-14 15,-6 6-24-15,6-6 3 0,2-2-11 0,5 0-27 16,6-4-24-16,5-2-7 15,7-1 5-15,3-5-28 0,5 2 4 0,2-1-24 0,3 0 1 16,5-1 1-16,4 2-3 0,3-1 3 0,3 0-3 16,-3 0 34-16,1-2 10 15,-3-1 5-15,0 3-31 16,-2-3 15-16,-3 1-17 0,2-2 22 0,-6 1-14 0,2 0 19 0,-6 1 4 16,-1-1-9-16,-4 3-65 0,-2 1-47 15,-3 2 0-15,-3-2 0 0,-3 1 0 0,-5 2 0 16,-1 0 0-16,-8 3 0 0,5-5 0 0,3-5 0 15,-1 3-141-15,2 1-95 0,2-5-68 16,-2 4-47-16,4-2-25 16,0 2-118-16,0-3-205 0,3 3-384 0,-2 1 82 0,4 0 146 0,1 1 80 15,-3 1 130-15,4-1 10 0,1 0 90 0</inkml:trace>
  <inkml:trace contextRef="#ctx0" brushRef="#br0" timeOffset="9133.01">20927 6268 1794 0,'-13'14'635'16,"-2"5"-18"-16,0-1-57 0,-5 7-35 15,-1 5-23-15,1 1-52 0,-4 2-92 0,5 2-107 0,-3-1-18 16,1 3-97-16,-1-5-108 0,4 1-84 15,1-2-172-15,-2-1-64 0,6-6-709 0,3-6 80 16,-1-3 48 0,4-2 97-16,-4-3 124 0,4-2 14 0,-3-3 75 0</inkml:trace>
  <inkml:trace contextRef="#ctx0" brushRef="#br0" timeOffset="9333.54">20551 6456 1722 0,'12'7'609'0,"1"3"-107"0,5 3-41 16,3 1-34-16,7 6 44 0,3-2-41 16,7 1-18-16,-2 0-66 0,4 0-47 15,-1-2-55-15,0-1-55 0,0 0-56 0,1-3-43 0,-3 0-95 16,-2 1-75-16,-7-2-50 0,-7-1-73 16,-3-4-93-16,-3 0-186 15,1 2-518-15,-6-3 58 0,0-2 161 0,-2 1 21 0,-4 0 86 16,0-4 73-16</inkml:trace>
  <inkml:trace contextRef="#ctx0" brushRef="#br0" timeOffset="10050.86">20507 7131 1256 0,'5'-1'405'0,"-5"1"48"0,11 0-18 15,-4 0-59-15,0 1-10 0,1-1-36 0,-2 5 6 16,-1-2-44-16,3 4-1 0,-6 2-35 0,0-1-10 15,1 3 10-15,-3 1-56 16,-5 1-39-16,3 0 31 0,-1 0-28 0,0 0-29 16,-1 0 19-16,1-2-34 0,0-3-15 0,3 2 36 15,0-2-21-15,3-2 19 0,1 1 4 16,2 3-33-16,1-3-10 0,1 1 48 0,0 0-25 16,0 0 118-16,-3 0-98 0,3-2 70 15,-4 1-172-15,1 1-41 0,-4 1 0 0,-1-1 0 16,-2 1 0-16,-4 1 0 0,-2-1 0 15,-2 1 0-15,-5 2 0 0,-3 0 0 16,-3-1 0-16,1 0 0 0,-1-1 0 0,-2-1 0 0,3 1 0 16,-1-1 0-16,3-2 0 0,-2-1 0 0,2 1-103 15,0-1-324-15,0 1-108 0,-3 1-172 16,6-2-440-16,2 4 108 16,-2-1 90-16,5 1 109 0,-1 2 82 0,1 1 88 0,0 2 45 0</inkml:trace>
  <inkml:trace contextRef="#ctx0" brushRef="#br0" timeOffset="10429.62">19822 8973 1113 0,'18'-7'425'16,"0"1"-46"-16,0 2-34 0,-2-2-40 0,-1 4-52 15,3-2-43-15,2 0-41 0,-1 1-77 16,-1 2-69-16,-3 1-107 0,-3 1-239 0,4-1-488 16,-3 6 81-16,-5-2 57 0,1 3 131 15</inkml:trace>
  <inkml:trace contextRef="#ctx0" brushRef="#br0" timeOffset="10621.04">19704 9312 1156 0,'-7'3'402'0,"2"0"-15"0,2-2 53 16,3-1-35-16,0 0-42 0,0 0-12 0,0 0-21 16,26-7-41-16,-11 4-38 0,0-2-18 15,4-2-10-15,1-2-37 0,3 1-63 0,0-3-10 16,0 3-62-16,0-3-46 0,-2 5-53 0,4-7-65 15,-2 5-89-15,-5-3-308 0,5-1-432 16,-2 1 108-16,2 3 69 0,-2-3 97 0,-4 3 58 16,1 2 50-16</inkml:trace>
  <inkml:trace contextRef="#ctx0" brushRef="#br0" timeOffset="11435.04">20394 8708 1162 0,'8'-2'483'0,"2"2"-40"15,-5 0-38-15,-5 0-3 0,8 5-24 16,-6-2-7-16,-2 2-61 0,-2 1-10 0,-2 3-6 16,-2 3-7-16,-2 3-49 0,0 0-8 0,1-1 24 15,1 2-57-15,2-3-23 0,0 0-21 0,2-1-9 16,2 0-11-16,4 0-21 0,-2-1-12 0,5-1 26 16,-2 4-44-16,3-4 2 0,2 2 39 15,-5-4-34-15,3 3 27 16,0-3 22-16,-3 3-31 0,4-1-12 0,-5-1 2 0,0 1 8 0,-3-1 34 15,-1 2-58-15,-1 2 32 0,-1 0-5 16,-3-1-90-16,0 1-18 0,-3 3 0 16,0-2 0-16,2-3 0 0,-2-2 0 0,0 2 0 15,2-3-72-15,1-2-146 16,0 0-56-16,4-1-76 0,-3-3-14 0,4-2 16 0,0 0-148 0,0 0-4 16,10-16-216-16,-2 0-257 15,2-3 90-15,1 0 77 0,4-8 94 0,0 4 90 0,-4 4 69 16,1 0 602-16,1 1 140 0,-5 6 131 0,-1-1-8 15,-2 6 6-15,1 1-83 0,-1 0 11 16,0 6 84 0,0 0-10-16,-5 0-18 0,10 4 3 0,-2-2-52 0,-1 5-15 0,1-3 0 0,0 2-33 15,3 1-31-15,-1-4 8 16,3 2-8-16,2-1 13 0,-2-3 2 0,2-1-58 0,3 0-11 16,-2-5 75-16,1 2 27 0,1-4-58 0,-2-2 5 15,-1 1 113-15,-2-3-6 16,-6 3-61-16,-1-3-25 0,-4-2-22 0,0 2-34 15,-6-2-1-15,-2 0 2 0,-4 1 1 0,-1 0-11 16,-6 0-58-16,-1 5 0 0,-5-2-3 0,-5 3-36 16,0 2-36-16,0-1 13 0,5 4-66 15,-1 2-88-15,1 4-50 0,3-5-47 0,-1 7-64 16,3-1-58-16,3 0-83 16,2 0-673-16,0 0 72 0,8-1 149 15,0-2 99-15,3 2 46 0,1-4 54 0,1-1 113 0</inkml:trace>
  <inkml:trace contextRef="#ctx0" brushRef="#br0" timeOffset="11618.68">21020 8700 1313 0,'1'25'660'0,"-2"1"-74"0,-5 11-61 0,-4 5-28 16,-5 10-62-16,-6 3-31 0,0 0-74 0,-4-3-33 15,-1 2-64-15,1-1-59 0,2-3-77 16,2-1-89-16,3-11-46 0,5-1-108 0,-1-8-118 15,-2-1-268-15,11-10-449 0,0-9 106 16,4-5 84-16,1-4 97 16,0 0 83-16,9-21 45 0</inkml:trace>
  <inkml:trace contextRef="#ctx0" brushRef="#br0" timeOffset="11747.56">21161 9156 1200 0,'-14'38'491'0,"-6"18"-30"16,0 6-64-16,1 2-67 0,-5 5-61 15,0 2-123-15,4 1-90 0,-4 0-174 16,4-2-696-16,-1-1 29 0,1-1 132 0,0-4 59 16</inkml:trace>
</inkml:ink>
</file>

<file path=ppt/ink/ink20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1:55.800"/>
    </inkml:context>
    <inkml:brush xml:id="br0">
      <inkml:brushProperty name="width" value="0.05292" units="cm"/>
      <inkml:brushProperty name="height" value="0.05292" units="cm"/>
      <inkml:brushProperty name="color" value="#0070C0"/>
    </inkml:brush>
  </inkml:definitions>
  <inkml:trace contextRef="#ctx0" brushRef="#br0">4237 4233 1231 0,'0'0'555'0,"0"0"-30"0,0 0-23 16,0 0-60-16,-1 20-50 0,-1-9-34 0,2 2-15 15,-2 2-7-15,-1 4-52 0,1 1-38 0,-1 0-6 16,-2 4-20-16,2-3-33 16,-2 3-8-16,2 0-30 0,1 0-8 0,-1-4-19 0,-2 0-14 15,1-1-41-15,1 0-24 0,-1-1-15 0,2 1-53 16,-3-2-24-16,2-2-53 0,-1 0-34 0,1-1-30 16,0 0-34-16,1-1-41 0,-1-1 26 15,1 1-71-15,-3-1-229 16,3 0-468-1,-2-1 103-15,2-1 86 0,1-1 83 0,-1 0 58 0,0 0 90 0</inkml:trace>
  <inkml:trace contextRef="#ctx0" brushRef="#br0" timeOffset="260.77">4308 4916 1533 0,'0'9'471'0,"-4"5"-72"0,3 0-20 0,-4 4-54 16,0 5-18-16,-3 0-38 0,3 2-36 0,-2 1-28 0,-4 7-62 16,1-1-56-16,-3 0-54 0,3 2-89 15,-5-3-103-15,4-2-194 0,-4 2-502 16,4-11 36-16,1-2 128 0,3-2 56 0,-1-3 64 15</inkml:trace>
  <inkml:trace contextRef="#ctx0" brushRef="#br0" timeOffset="465.35">3993 5186 1471 0,'8'2'484'16,"2"4"-13"-16,0 0-54 0,5 2 59 15,2 5-35-15,3 0-57 0,8 5-21 0,0-1-30 16,0 1-26-16,-2-5-133 0,-3 0-36 0,-2-1-25 16,1-3-72-16,4 1-49 0,-3-2-46 15,3 1-74-15,-5-1-58 0,-1-2-122 0,-5-4-157 16,0 2-462-16,1 0 72 0,-3 0 67 0,-3 1 71 16,-2-2 57-16</inkml:trace>
  <inkml:trace contextRef="#ctx0" brushRef="#br0" timeOffset="1313.72">4301 6008 1023 0,'0'0'389'0,"0"0"-40"0,-16 5-35 0,8 0-27 15,-2 1-31-15,0 2-26 0,-2 2-15 0,1-1-15 16,-4 3-21 0,2-1-35-16,1 1-9 0,3-3-9 0,-3 3-19 0,6-2 6 0,-1-2-11 15,1-1-17-15,4 0-16 0,-1 1 13 16,1-1-26-16,2 0 13 0,2-2-2 0,3 2-3 15,1 0 10-15,-1-3-36 0,5 2 29 16,0 0-16-16,-1 0 31 0,3 1 15 0,-2-2 18 0,0 1-17 16,0 0 19-16,-1-2 78 15,-1 0 33-15,-1 1-6 0,-2 0-73 16,0-1 28-16,0 0 2 0,-3 2-21 0,-2-2-7 0,-2 3-10 16,-3 0-38-16,-3 1 14 0,-1 0-4 0,-5 1-39 15,-1 1-35-15,-1-2-6 0,-4 3-31 16,2-4-14-16,-3 2-37 0,4-2-48 15,-2 0-24-15,0 0-50 16,2-2-18-16,0 0-26 0,-1 1-16 0,0 0-43 0,2 1-28 0,2 3-79 16,3-1-116-1,-2 2 70-15,3 2-144 0,3 2-338 0,1 1 113 0,3 1 80 0,1 0 58 0,2 3 72 16</inkml:trace>
  <inkml:trace contextRef="#ctx0" brushRef="#br0" timeOffset="1618.7">4360 6707 1069 0,'0'0'446'15,"0"0"-31"-15,-5 10-19 0,4-1-43 0,-1 3-27 16,2 0-30-16,0 5-37 0,-3 3-11 16,1 0-25-16,1 7-18 0,-1 1-36 0,0 2-26 15,-4 8-51-15,2-1-64 0,-2-1-38 0,2-7-39 16,0-3-71-16,2-2-79 0,-1-5-91 16,-2 0-114-16,3-1-400 0,-1-4 69 0,1-2-7 15,-1 0 89 1,0-4 39-16</inkml:trace>
  <inkml:trace contextRef="#ctx0" brushRef="#br0" timeOffset="1823.24">4139 6965 1331 0,'-2'-1'506'0,"2"1"-22"0,0 0-46 0,0 0-82 0,20 9-21 0,-10-2 36 0,6 2-30 15,2 4-29-15,10 6-8 0,3-1-127 16,2 1 2-16,3 1-33 0,0-2-5 0,3 0-28 0,1-1-39 15,1 0-33-15,-2-2-39 0,-1-1-35 0,-4 4-21 16,-1-3-46-16,0 0-25 0,-10 0-23 16,-5-1-57-16,-3 2-54 15,1-1-56-15,-5 0-10 0,-2-1-302 0,-1 2-235 0,-3-1 106 16,-2 0 47-16,2-2 49 0</inkml:trace>
  <inkml:trace contextRef="#ctx0" brushRef="#br0" timeOffset="2438.29">4293 7626 1177 0,'3'3'445'0,"2"0"-137"0,-3 2-29 15,1 1-16-15,-1 1-17 0,-2 0-34 0,0 4-20 16,0-4 16-16,0 4-57 0,-2-3 7 0,2 2-27 16,-2-1-24-16,4-2-4 0,-2 0-19 15,5 2-7-15,-2-3-13 0,4-2 21 0,1 4-29 16,5-5 28-16,-3 3-4 0,-2-1 94 0,-1-2 7 16,-1 2 37-16,-1 0-75 0,0 1 24 15,-3-1 22 1,-1 1-30-16,-1-2-18 0,-1 4-8 0,-4 0-8 0,2-3-28 0,-4 3-20 15,-1-1-33-15,-1-1-21 0,0 1-67 0,-1-1-12 16,0 0-39-16,-3-2-7 0,3 0-67 16,0 0-54-16,-1 0-94 0,1-2-223 0,2-2-448 15,1 1 102-15,-1 0 59 16,3-1 118-16,-1 2 87 0,-1-1 31 0</inkml:trace>
  <inkml:trace contextRef="#ctx0" brushRef="#br0" timeOffset="3057.84">3686 8611 1103 0,'0'0'491'0,"0"0"-25"16,0 0 10-16,1 18-164 0,0-9-33 0,-1 3-5 15,3 1-23-15,-3 2-28 0,0 0-21 16,0 2-46-16,2 2-20 0,-4 0-41 15,2-1-39-15,0-3-43 0,0 4-44 0,0-6-41 0,-3 3-45 16,3-2-106-16,3-1-115 16,-8 0-97-16,7-3-397 0,1-1 56 15,0-1 121-15,-1-1 56 0</inkml:trace>
  <inkml:trace contextRef="#ctx0" brushRef="#br0" timeOffset="3381.89">4075 8575 1430 0,'-5'-3'497'15,"5"3"-62"-15,0 0-10 16,-17 8-41-16,8-2-51 0,-1 1-26 0,0 1-125 16,-3 2 7-16,3-1-23 0,0 1-27 0,4-2-9 15,-1-1-17-15,4 3-24 0,1-2-12 16,-1-2 13-16,3 1-8 0,3-1-6 0,-1 0-1 15,1 1-4-15,2 2-4 0,0-3 30 16,2 1-17-16,1-1-22 0,0 2 4 16,-1-1-1-16,-1-1 6 0,-3 1 107 0,2-1-41 0,-3 0-10 15,-2 1-5-15,0-1-21 0,-2 0 10 0,-1 0-35 16,-2 0-51-16,-1 0-27 0,-1-1-17 16,-1 0-56-16,-2 1-52 0,-3-3-27 15,3 2-29-15,-3-4-95 0,-2 3-132 0,-1-3-213 16,3 1-361-16,1-2 99 15,-4 0 80-15,-2-2 113 0,3 0 64 0,-3-1 66 16</inkml:trace>
  <inkml:trace contextRef="#ctx0" brushRef="#br0" timeOffset="4487.12">3429 8480 1136 0,'18'-9'353'0,"5"1"6"0,0-1-65 16,10-3 62-16,8-3-23 0,6 1-134 0,12-1-17 0,4-1 12 15,4 0-32-15,3 0-9 0,-1 2-12 0,-3-2-18 16,1 3-8-16,-5-1-15 16,-1 2 71-16,-12 1-22 0,-1 4-24 15,-4 1 6-15,-8 4-1 0,-7-2-4 0,-4 4-42 16,-2 3 1-16,-2-1 2 0,-1 2 5 0,-2 3-2 0,-3 0 25 15,-2 2-18-15,0 4-20 16,-3 2 18-16,-2 0-19 0,0 4-9 0,-1 3-1 0,1-1 9 16,-5 4-1-16,2-2-13 0,-2 2 3 15,1 0-2-15,-1 2-29 16,2-2 0-16,-2 1 29 0,2 2-26 0,0-2 10 0,-2 0-16 0,1-1-4 16,-1 1 5-16,0-2-21 0,1-1-10 15,-1-2 5-15,0-3-13 0,0 1-2 16,2-1 10-16,-3-4-5 0,1 1-23 0,-1-2 5 15,1 0-16 1,-3-1 29-16,3-3 33 0,-3 3-20 0,0-4-8 0,-3 3 10 16,0-3-18-16,-4 3-5 0,-1-3 0 0,0 3 3 0,-7-5 17 15,2 4-2-15,-2-1 13 0,-3-3-5 16,-2 1-8-16,-4-1 7 0,1-1 11 0,-2 2-2 16,-4-1 7-16,-9 0 5 0,-3 5-13 0,-3-4 13 15,-2 2-2-15,-2 0-16 16,-1 0 24-16,-11 2-14 0,-3 2-7 0,12-4 12 15,-11 6-14-15,0-2-9 0,0 1 37 0,-1 0-14 16,-2 1 1-16,4-1 2 0,1 2-2 0,12-6-21 16,2 1 0-16,3 2 15 0,4-2-22 0,1-3 20 15,10 0-85-15,5-1 11 0,5 0-6 0,0-1 24 16,5-2-8-16,0 1-5 16,0-1 28-16,3-1-6 0,2 2-9 0,-2-3 23 0,5 2 7 15,-3-3-18-15,0 2 11 0,4 0 2 16,1-3 8-16,-3 3-18 0,6-3 10 0,-8 2 13 0,8-2-12 15,0 0 24-15,-10-5-17 0,6 0 13 16,-2-3-18-16,1 1-3 0,-2-7 18 16,-1-3 10-16,-2-7-4 15,-1-8-17-15,-4-5 19 0,0 0 0 0,-1-2-23 0,3 0 25 16,0 3-5-16,-2 0-2 0,2 3 0 16,3 3 12-16,0 4 16 0,2 6-5 0,3 4-16 0,-1-2 13 15,-1 5-2-15,2 0-13 0,2 1 5 16,-2 1 0-16,3 3 7 0,0 0-15 0,1-2 11 15,2 3-8-15,0-1-6 0,2 0-30 16,2-1 46-16,0 0-18 0,5-1 3 16,1 0 13-16,2 1-3 0,5-4-21 0,-2 1-15 0,4 0 26 15,2 0-6-15,-3 2 14 0,4 0-16 0,-3-1 0 16,1-1 10-16,2 3-20 0,-3 0 7 16,-2 1 29-16,0 1-19 0,-2-1 9 0,-1 2-16 15,0 0-13-15,-4 1 5 16,1 0-5-16,1 2-4 0,-2 0 24 0,-1 0-30 0,-2-1 5 15,2 4-2-15,-3-2 4 0,1-2-12 0,2 4-20 16,-2-1 2-16,0 0-26 0,-1 0-7 16,-1 1-16-16,2-2-25 0,-1 2-24 0,1-1-9 15,2 2-21-15,0-1-1 16,0 2-9-16,0-1-31 0,-1 0-38 0,3-1-49 0,-2 1-8 0,4-1-82 16,-7-1-48-16,8 1-448 15,1-4 125-15,-1 1 54 0,3-2 74 0,0-1 47 16</inkml:trace>
  <inkml:trace contextRef="#ctx0" brushRef="#br0" timeOffset="5899.65">22050 3985 1382 0,'0'0'532'0,"0"0"-15"16,3 11-28-16,-6-1-54 0,6-1-56 15,-3 4-8-15,0 2-38 0,0 0 54 0,0 2-50 0,0 2-40 0,0 1-20 16,0 0-21-16,-3 2-49 0,3-3-38 16,0-3-44-16,0 5-50 0,0-6-40 0,0 2-22 0,0-2-56 15,-2-1-70-15,2 1-33 0,0-1-46 16,-1 2-36-16,-3-3-51 0,1 5-107 15,-2-4-172-15,3 0-389 0,-4 3 69 0,2-3 74 16,-2 3 154-16,1-1 23 0,-1 0 79 16</inkml:trace>
  <inkml:trace contextRef="#ctx0" brushRef="#br0" timeOffset="6166.41">22009 4727 1420 0,'0'6'576'15,"-2"-1"-115"-15,-1 1-44 0,-4 4-28 0,2 4-38 16,-5 0 38-16,-4 4-31 0,-6 6-20 16,-1-2-49-16,0 2-51 0,-3 3-69 0,0-2-48 15,1 3-80-15,0-4-62 0,-1 2-61 0,0-4-56 16,7-3-85-16,0-4-130 0,4-3-461 0,3-5-72 15,0-1 124-15,5-3 14 0,-1-2 78 16,6-1 60-16</inkml:trace>
  <inkml:trace contextRef="#ctx0" brushRef="#br0" timeOffset="6345.39">21789 4919 1205 0,'10'0'499'0,"3"2"6"0,0 2-42 0,1 2-115 15,0 2-26-15,5 0-14 0,1 3-17 16,2 2-55-16,9 3-3 15,-2 3-26-15,1-3-51 0,-1 1-40 0,-1 1-35 0,-3-5-58 0,4 4-79 16,-4-4-54-16,-2 0-36 0,-5-1-161 16,-5 0-169-16,0 1-435 0,-3-3 112 15,0 0 64-15,-4 1 67 0,-6-4 67 0</inkml:trace>
  <inkml:trace contextRef="#ctx0" brushRef="#br0" timeOffset="7157.39">21980 6052 1325 0,'0'0'517'0,"-19"5"-38"15,1 2-44-15,-2 5-61 0,-11 6-3 16,0 2-43-16,-3 4-36 0,1-1-36 0,0 0-8 15,2 0-51-15,8 1 3 0,5-5-29 16,5-1-35-16,3-4-11 0,5 3 8 0,0-4-33 16,4 0 20-16,2 0-15 0,1 0-2 15,4-1-29-15,2 0-10 0,2-1 5 0,2-2-15 16,3-1 12-16,6 0-40 0,-1-2 5 0,6-2-42 16,-3 0 14-1,3-3-52-15,2-1-33 0,-3-1-17 0,4-3-34 0,-1 0-59 0,-2-4-26 16,1 1-69-16,-3-1-63 0,-3-3 4 0,-4 0-66 15,-3 1-507-15,0-6 69 0,-3 3 123 16,-2-2 72-16,-5-2 41 0</inkml:trace>
  <inkml:trace contextRef="#ctx0" brushRef="#br0" timeOffset="7346.9">22112 6182 529 0,'-3'-13'359'0,"1"3"-11"0,-1 2-74 16,1 4-18-16,-2 2 0 0,0 2 38 0,4 0-25 16,-10 5 107-16,6 1 5 0,-2 1-48 0,0 5 8 15,1 2-6-15,-2 4-13 0,-1 4-96 0,3 2-21 16,-6 10-11-16,2-1-17 0,-1 3-29 15,-1 1 70-15,-2-2-42 0,0 1-35 0,1 1-18 16,1 0-56-16,-2-4-44 0,0 2-57 16,1-2-63-1,4-7-36-15,0-2-64 0,1-2-87 0,1-9-203 0,0 5-534 0,0-2 84 0,-2 0 133 16,3-2 44-16,0-1 105 0,-1-1 41 0</inkml:trace>
  <inkml:trace contextRef="#ctx0" brushRef="#br0" timeOffset="7571.83">22007 6914 1666 0,'-18'12'530'0,"3"0"-57"16,-3 1-58-16,-8 6-18 15,0-1-44-15,-2 1-43 0,0 0-70 0,-1 3-73 0,4-1-73 16,-1-3-78-16,6 0-55 0,2-5-89 16,2-1-179-16,-9-3-97 0,12 0-492 0,3-5 120 15,2-1 88-15,4-3 48 0,4 0 77 16</inkml:trace>
  <inkml:trace contextRef="#ctx0" brushRef="#br0" timeOffset="7732.26">21713 6970 1172 0,'6'-2'443'0,"0"-1"15"0,2 5 72 0,2 1-131 0,0 0-5 0,3 0-46 0,5 5-7 0,4 2-44 0,-1-1 46 0,13 5-23 0,-1 0-44 16,3 0-33-16,-5 0-166 0,0 2-18 15,0-2-57-15,1-1-50 0,-6 0-26 0,-1-2-52 0,-4 1-43 16,-1-1-76-16,-2 3-119 16,-7-5-86-16,2 1-477 0,-3 3 75 0,0-3 102 15,-4-2 46-15,-2-1 59 0</inkml:trace>
  <inkml:trace contextRef="#ctx0" brushRef="#br0" timeOffset="8310.45">21899 7488 1080 0,'8'1'384'0,"-1"3"-21"0,-4-2 6 0,3 2-42 15,-2 2 32-15,-1-1-9 0,0 2-53 0,-3-1 0 16,0 2-18-16,0-1-54 0,-3-1-17 0,3 5 12 15,0-3-31-15,3 4-35 16,-1 0 23-16,3-1-26 0,2 4 10 0,-1-1-87 16,5 2 26-16,-2-3 30 0,-2 2 60 0,-1 0 7 0,2-2 21 15,-3 0-1-15,-2-1 6 0,1 0-116 16,-4-2-7-16,0 1-18 0,-2 1 49 16,-3-1-49-16,-2-2-26 0,-3 3 8 0,0-1-28 15,-4-3-29-15,-1 4-40 0,-1-5-57 0,-2 3-43 16,1-3-56-16,-1-1-49 0,0-1-31 15,2-1-53-15,1 1-108 0,-1-5-105 0,-1 5-505 16,1 1 121-16,3 1 80 0,-2 1 63 0,0 3 98 16,1 0 46-16</inkml:trace>
  <inkml:trace contextRef="#ctx0" brushRef="#br0" timeOffset="9081.4">21548 8187 739 0,'-3'2'351'0,"3"-2"-31"0,0 0-31 0,0 0-51 15,0 0-46-15,16 4-48 16,-9-4-106-16,-1 1-84 0,2-1-77 0,-2 0-141 0,3 0-437 16,3 0 112-16,0 3 13 0</inkml:trace>
  <inkml:trace contextRef="#ctx0" brushRef="#br0" timeOffset="9656.68">21681 8708 1154 0,'0'-3'525'0,"1"-1"-49"0,-1 4-49 15,0 0-56-15,0 0 8 0,0 0-115 0,7 18-11 16,-7-8-7-16,0 4-51 0,3 3-6 16,-6 4-23-16,3-2-30 0,0 10-23 0,-1-2-49 15,-1 1-29-15,-2 1-65 0,3 0-52 0,-2-2-85 16,1-1-142-16,0 1-252 0,0-1-301 15,-2-5 76-15,2-3 33 0,2-1 85 0,0-2 72 16</inkml:trace>
  <inkml:trace contextRef="#ctx0" brushRef="#br0" timeOffset="9919.35">21943 8794 1159 0,'7'-6'502'0,"1"6"-54"0,-3 1-23 0,-5-1-116 0,1 11-14 16,-1-1-9-16,-3 4-30 0,-2 0-12 0,-4 9-27 16,-5 8 8-16,0 0-45 0,1 0-12 0,-1 0-19 15,6-8-1-15,2 0-27 0,2-5-4 16,3-1-12-16,2-2-12 0,1-2-6 0,4-1-18 16,4-1-5-16,4-3-5 0,-3-1-44 15,5-2 5-15,-1-4-63 0,3-1-16 0,4 0-5 16,2-5-33-16,4 1-13 0,0-2-29 15,0-3-17-15,-1 1-38 0,-2 2-67 0,-5 0-157 16,-7 1-14-16,5-2-438 16,0 4 71-16,-4-2 108 0,-2 0 43 15,-5 3 121-15</inkml:trace>
  <inkml:trace contextRef="#ctx0" brushRef="#br0" timeOffset="11023.31">17976 11332 1021 0,'23'-1'381'0,"-2"1"-20"0,-3 0-33 16,-2 5-34-16,-4 0-5 0,1 4-22 0,-5 0-19 16,-1 2-20-16,-4 6-18 0,-1 0-24 0,-2 4-1 15,-4 1-1-15,-7 10-38 0,-2 1 2 16,-4 1-38-16,0-1 1 0,-5-1 40 0,2-1-44 15,1-3 1-15,4-5 37 0,2-4-27 16,3-4-15-16,0-1 12 0,5-2 0 0,-1-3-5 16,4 2 26-16,-1-3 7 0,1-2-30 0,2 1-24 15,3-1 26-15,1 0-17 0,4-1-9 16,2-4-9-16,1 0-19 0,4-1 6 0,3 0-29 16,2-1-33-16,1 0-33 0,2-4-5 15,-2 5-57 1,2-3-25-16,0-1-26 0,-3 1-61 0,1 0-54 0,-1 1-123 0,-7-2-220 15,2 3-402-15,-1-2 93 16,-2 0 89-16,0 1 122 0,-4-2 114 0,-2 1 4 0</inkml:trace>
  <inkml:trace contextRef="#ctx0" brushRef="#br0" timeOffset="11328.08">18374 11382 1036 0,'10'-7'492'0,"1"6"-29"0,-2 1-38 0,0 1-10 15,-2 3-19-15,1-1-50 0,2 5-11 16,0 0-7-16,-2 1-34 16,2 5-33-16,0 2-25 0,0 2 2 0,-1 3-44 0,0 0-2 15,0 1-15-15,-2-1-21 0,1 1-15 0,1 1-11 16,-3-3-40-16,-1-1-23 0,3 1-73 15,-3-3-19-15,2-1-32 0,-1 0-78 0,-4-4-39 16,1 1-26-16,2-3-94 0,-3-7-193 16,-1 7-485-16,1-4 35 0,-2-3 125 0,-2 2 93 15,2-5 38-15,-3 2 87 0</inkml:trace>
  <inkml:trace contextRef="#ctx0" brushRef="#br0" timeOffset="11544.29">18397 11680 1402 0,'-5'-2'420'0,"5"2"-51"0,0 0-3 0,0 0-80 0,0 0 1 16,10-5-36-16,-2 2-8 0,2 2-28 0,7-1-33 15,2-2-47-15,1 1-35 0,3-3-49 16,5 0-63-16,-1 1-45 0,1-3-58 0,13-3-84 16,0-6-203-16,2 4-359 0,11-6-9 0,0-2 63 15,-1-1 137-15,2 1 9 0</inkml:trace>
  <inkml:trace contextRef="#ctx0" brushRef="#br0" timeOffset="11668.06">19278 11375 806 0,'0'0'435'16,"0"0"-5"-16,-15 13 0 0,5-2-90 0,-8 2 1 15,-10 9 76-15,-3 3-107 0,-10 9 5 0,-7 3-24 16,2 1-22-16,-6 5-10 0,1 2-24 16,-3 2-9-16,-15 11-11 0,15-13-39 0,-18 11-4 15,20-11-24-15,1-1-40 16,2-2-47-16,4-5-12 15,4-3-44-15,13-8-18 0,4-3-51 0,7-6-56 0,7-3-67 0,4-4-38 16,8-5-88-16,0-2-165 0,7-5-505 0,11-4 110 16,14-9 97-16,17-11 60 0,2-6 68 0,5-8 85 15</inkml:trace>
  <inkml:trace contextRef="#ctx0" brushRef="#br0" timeOffset="11820.55">19368 11445 1169 0,'-20'26'458'0,"-13"13"70"0,-8 7-57 15,-18 17-28-15,-8 5-24 0,-5 2-45 0,-2 3-54 16,-8 6-72-16,-5 1-74 16,-3 0-41-16,-2 4-94 0,-1-6-103 0,3 0-310 0,4-4-570 15,8-4 122-15,4-7 44 16,8-4 92-16,15-16 66 0</inkml:trace>
</inkml:ink>
</file>

<file path=ppt/ink/ink20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3:02.795"/>
    </inkml:context>
    <inkml:brush xml:id="br0">
      <inkml:brushProperty name="width" value="0.05292" units="cm"/>
      <inkml:brushProperty name="height" value="0.05292" units="cm"/>
      <inkml:brushProperty name="color" value="#0070C0"/>
    </inkml:brush>
  </inkml:definitions>
  <inkml:trace contextRef="#ctx0" brushRef="#br0">2029 4360 1402 0,'0'0'492'0,"0"0"-39"0,-5-2 28 0,5 2-43 0,0 0-44 16,0 0-8-16,0 0-40 0,0 0-39 0,0 0-10 15,-8 5-44-15,6-1-35 0,2 0-16 16,-2 0-17-16,1 0-27 0,-1 1-25 0,1 4 23 0,-1-2-40 15,2 0-6-15,-2 2 7 16,1 1-17-16,1-1-20 0,-2 0-27 0,2 3-32 16,0-3-42-16,0 1-17 0,0-2-23 15,0 2-19-15,0-2-50 0,0 0-24 0,0-1 11 16,2-1-34-16,-2-1-15 0,1 1-23 0,-1-1-38 16,2 0-49-16,0-3-85 0,-2-2-122 15,0 5-418-15,3-3 121 0,-3-2 35 0,0 0 88 0,0 0 133 16</inkml:trace>
  <inkml:trace contextRef="#ctx0" brushRef="#br0" timeOffset="390.3">1826 4388 1328 0,'-4'-1'376'15,"4"1"-17"-15,0 0-29 0,0 0-31 16,0 0 3-16,0 0 23 0,12-5-12 16,-4 2-19-16,0 1-28 0,2 0-15 0,-3-2-51 0,3 2 12 15,4-1-48-15,-4 0 5 0,1 0-28 16,1 1-26-16,-1 0-20 0,4-2-19 16,-5 2-37-16,3-1-14 0,0 0-60 0,-3 2-29 0,2-1-21 15,-1 0-33-15,-1 2-48 0,0-1-59 16,1 1-131-1,-1-4-151-15,0 7-376 0,-2-2 64 0,2 0 79 0,-4-1 77 0,1 2 64 16</inkml:trace>
  <inkml:trace contextRef="#ctx0" brushRef="#br0" timeOffset="845.9">2150 4444 1523 0,'0'0'432'0,"-8"2"-51"0,3 2-25 0,2 0-26 0,1 1-17 0,-1 1-39 15,1 0-18-15,1 3-26 0,1 0-33 0,0-1-7 16,3 1-39-16,0-1 0 0,2 0-36 16,1 2-8-1,1-4 6-15,0 1-24 0,3-2-7 0,-2 0-5 0,3-4 3 0,1-1-14 0,-2 0-2 16,4-1 0-16,-2-4 23 16,1 1-25-16,0-2 7 0,-3 2 7 0,1-1-37 15,-4-4-24-15,1 3 54 0,0-2-23 0,-3 0 93 16,0-3-6-16,0 4-33 0,-5 0-16 15,3 0-2-15,-1-2 2 0,0 2 1 0,-1 1-8 16,-1 1-47-16,2 1-17 0,-4-2-33 0,2 2-26 16,2 2-54-1,-2 2-44-15,0 0-17 0,-3-5-62 0,3 5-58 0,0 0-193 0,0 0-575 16,-7 8 92-16,7-8 122 0,-3 5 113 16,3-5 31-16,-2 4 87 0,2-4 56 0</inkml:trace>
  <inkml:trace contextRef="#ctx0" brushRef="#br0" timeOffset="1459.73">2429 4359 990 0,'0'0'425'0,"0"0"-23"0,0 0-28 0,10 6-24 16,-5-2-17-16,1 2-13 0,-2 1 38 16,2-2-30-16,-1 3-39 0,0 2-46 15,0-1 13-15,-3 2-56 0,4-1-34 0,-3 1 6 16,-1-3-44-16,3 1-3 0,-4-1 1 0,1 1-11 15,0-1-31-15,-2-3 16 0,3 1 0 16,-3-2 8-16,2 1 32 0,-1-1-7 0,1-2-17 16,-2-2 35-16,0 0-5 0,0 0-34 0,0 0-79 15,0 0-4-15,0 0 19 0,0 0-17 16,-5-12-13-16,2 10 13 0,3 2-31 16,0-10 2-16,3 7-15 0,-3-3-28 0,0 1-23 0,0 1-25 15,0 1-37-15,3-1-7 0,-1-2-20 16,0 1-50-16,-1 1 1 0,4-2-56 15,0 0-31-15,-2 1-78 0,2-1-57 0,0-1 58 0,0 1-75 16,2 0 60 0,-1 1 43-16,-1-1 36 0,2 2 95 15,-2-2 117-15,1 3 44 0,-2 0 59 0,0-1 51 0,0 3 15 0,-4 1 47 16,9 0 12-16,-9 0 3 0,7 6 15 0,0-4 18 16,-3 4-3-16,0-1-2 0,1 1-2 15,-2 2-27-15,2-1-1 0,0 2-1 16,-2-3 10-16,2 4-30 0,-2-1-8 0,2 0-2 15,-2 0-11-15,1-2 0 0,-1 0-2 0,0 0-21 16,1 0 3-16,-1-2-3 0,0 0-25 0,-1-2 35 16,0 1-12-16,2-3 7 0,-4-1 34 0,10-1-54 15,-10 1 0-15,10-7-11 0,0 2 39 16,-2-2-43-16,0-3 12 0,1 4-5 16,2-2 13-16,-1 1 85 0,0 1-9 0,0 0 1 15,-1 1-13-15,0 3-5 0,0-2 15 0,-1 4-48 0,1 1-3 16,-1 2-5-16,2 0 7 0,-2 1 4 15,2 3-27-15,-4 0-38 0,1 3 21 16,-2-2-36-16,1 3-52 0,-2-4-43 16,-1 2-58-16,2 0-60 15,-2-1-56-15,2 1-105 0,-5-1-217 0,5-1-518 0,0 0 80 0,0-1 143 16,0-1 69 0,0-2 141-16,3 0 41 0,-3-2 18 0</inkml:trace>
  <inkml:trace contextRef="#ctx0" brushRef="#br0" timeOffset="1841.36">3334 4257 1494 0,'0'0'479'0,"0"0"-21"0,0 0-117 0,0 15-29 16,0-6-10-16,-2 1-23 0,2 1-41 0,-3 2-20 15,0 3-14-15,1 3-22 0,-3-3 8 16,2 2-47-16,-1-2-18 0,0 2-38 0,-1-2-10 16,3 0-36-16,-3-3-49 0,2-1-43 15,1 1-61-15,2-2-29 0,0-2-67 0,0 0-155 16,0 0-323-16,0-2-166 0,0 0 58 16,2-1 80-16,-1-1 69 0,1 0 64 0</inkml:trace>
  <inkml:trace contextRef="#ctx0" brushRef="#br0" timeOffset="2560.31">3450 4576 1108 0,'10'-8'435'0,"-3"-1"18"0,3 0-10 0,-2 2-49 0,-2-2-51 0,1 1-2 16,-2 1-37-16,3-4-40 15,-5 3 10-15,1-3-103 0,2 3 16 0,-4 2-31 16,1-4-10-16,0 4 0 0,-3-1-28 0,0 2-3 16,0 0-18-16,-3 2-18 0,3 3-9 0,-5-4 4 15,5 4-10-15,0 0-8 0,-16 9 6 16,9-4-16-16,0 3-13 0,0 0 31 0,1 2-15 16,0-1-32-16,1 1 19 0,2-1-8 15,1 1-35-15,2-2 12 0,0 2-28 16,0-1-10-16,5-3-13 0,0 0-49 0,1 1-15 0,4-2-39 15,2-1-45-15,1-3-14 0,-2-1-27 16,6 0-36-16,-1-1 12 0,1-4-66 0,4 0-5 16,-1-2 7-16,4-4 6 0,-6 3 35 0,5-5 52 15,-5 0 41-15,-1 1 35 16,-1-2 31-16,-1-4 44 0,-4 0 51 16,2 1 58-16,-3-4 60 0,-2 2 22 0,-3 1 6 0,2-1 36 15,-6 6 17-15,1-3 26 0,0 4 6 0,-2 2-32 16,0 0 19-16,-2 2-24 0,0 0-18 15,-1 4-20-15,0 1 23 0,3 3-2 16,0 0-11-16,-13 7 0 0,8 1-12 16,0 3 9-16,-3 5 75 0,1 6-25 0,-1 11-19 0,0 4-2 15,1 0-6-15,2 1-50 0,-1 2 17 0,1 1-38 16,0 0 3-16,0 0-21 16,-2-4-7-16,4 1-45 0,-3-10-17 0,4-4-38 0,-4 0-39 15,4-5-10-15,0-1-48 0,-4-1-19 16,4-4 47-16,-3-4-39 0,0 2 0 15,0-6 13-15,0 1 10 0,0-4 5 0,-1-2 16 0,6 0 2 16,-12-6 26-16,6 4 45 0,2-4 24 16,-2 0 23-16,2 0 0 0,0-1-3 0,0-2 24 15,3 3 27-15,-1-2 11 0,2 0-5 0,-3 2-23 16,3 0 4-16,3-1 6 0,-3 0 8 16,3-2-6-16,1 3-15 0,2-2 3 0,1 1-1 15,1-4 4-15,5 3-17 0,-3-3-4 16,3 0-36-16,0 2-21 0,3-4-17 0,1 1-47 15,-1 0-43-15,2-3-25 0,-1 0-116 0,-1 0-136 16,2-2-504-16,-2-1 49 0,4-6 92 0,0-3 39 16,-5 1 76-1</inkml:trace>
  <inkml:trace contextRef="#ctx0" brushRef="#br0" timeOffset="2729.98">3978 4196 1064 0,'-1'-5'361'0,"1"3"-46"0,0 2-8 0,0 0 67 0,0 0-28 16,-10 11-14-16,6-4-25 0,1 2 1 15,0 2-114-15,0 7 1 0,1 0-6 0,-1 2-46 16,3-1 8-16,-2 7-25 0,1 2-26 16,0-2 15-16,1 0-46 0,-1 3-38 0,1-7-31 15,0 0-49-15,0 0-23 0,0-1-35 16,0-5-42-16,0 0-68 0,0-2-93 0,-2-1-130 16,2-2-405-16,0-4 41 0,0 0 98 15,-3-3 69-15,0-1 45 0</inkml:trace>
  <inkml:trace contextRef="#ctx0" brushRef="#br0" timeOffset="2955.05">3742 4522 908 0,'0'0'433'16,"0"0"-19"-16,-3-3-22 0,3 3-26 0,6-5-87 16,-2 4-20-16,4-2-14 15,2 1-32-15,0 0-14 0,4-2-7 0,1 2-30 0,3-3-24 0,3 1 0 16,1 1-43-16,4-3-16 0,0 2-15 15,2-3-43-15,0 1-47 0,-2 3-43 0,-3-2-51 16,-2 0-85-16,-1 2-136 0,-2 0-526 16,-3 1 35-16,0 0 130 0,-1-1 91 0,-2 2 30 15</inkml:trace>
  <inkml:trace contextRef="#ctx0" brushRef="#br0" timeOffset="4048.13">5067 4569 1323 0,'-4'-3'430'0,"1"0"8"0,-3-3-26 0,-1-1-16 15,2-3-88-15,-1 2-11 0,-1-3-18 16,2-4-21-16,-1-2 67 0,-1-1-54 0,4-1-9 15,-2-2-9-15,0-4-46 0,2 1-15 16,3-2 8-16,0 2-77 0,1-1 28 16,4 1-8-16,-2 4-53 0,1 1-6 0,2 0-7 0,1 4-16 15,-2 1 14-15,3 2 1 0,-3 3-6 0,2 3-29 16,0 2-18-16,0 4 5 0,-2 0-10 16,-5 0-18-16,5 7 23 0,-8 0-44 15,-1 4-48-15,-2 5 5 0,-5 3-15 0,-6 9-13 0,-4 0-24 16,-1-1 24-16,1-1 13 0,-5 2 7 0,3-6 6 15,-2 0 35-15,1-1-5 16,4-4 26-16,5-5 30 0,2-3 1 16,2 1 2-16,1-4 41 0,3 1 2 0,-1-2 4 0,2-2 9 15,4 1-15-15,0-2 20 0,2-2-15 16,0 0-12-16,10 4 2 0,-10-4-21 0,18-4-23 16,-3 3 39-16,3-4-28 0,1 3-11 0,6-3-7 15,3-2-44-15,2 0-13 16,-1 3-58-16,12-5-24 0,-8 4-30 0,-2-1-69 15,-5 4-67-15,2-5-210 0,-5 5-512 0,0 0 93 0,0 1 94 16,-5-1 59 0,0 1 71-16,-1 0 106 0,-1 1 38 15</inkml:trace>
  <inkml:trace contextRef="#ctx0" brushRef="#br0" timeOffset="4749.79">5906 4240 1233 0,'-2'6'474'0,"-1"1"-124"15,0 5-40-15,0 1-23 0,-1 5-16 0,0 1-30 0,-3 4-39 16,4 1-41-16,-2 1-81 16,0 1-42-16,0 0-71 0,3 0-162 0,-14 9-148 15,14-8-463-15,-1-7 48 0,3-3 121 0,3 0 43 16</inkml:trace>
  <inkml:trace contextRef="#ctx0" brushRef="#br0" timeOffset="5180.68">5911 4315 1236 0,'10'-11'420'0,"1"3"-16"0,-1 2-38 0,2 3-5 0,-4-1-26 16,0 2-25-16,-1 2-36 0,3 2-8 16,-4 0-41-16,2 2 1 0,-5 3-93 0,-2 3-26 15,-1-3 1-15,-2 5-8 0,-6 3-21 16,-2 3-5-16,-5 0-5 0,2 1 3 0,-8 5-13 16,3-5-26-16,3-5 13 0,-1 2-15 0,6-4 7 15,-4-2-2-15,5 2-13 0,-1-5 13 0,3 1-8 16,2-1 3-16,-1-2-23 0,2-1 12 15,0 0-20-15,4-1 5 0,0-3 18 16,0 0-23-16,0 0-23 0,14-3 46 0,-2-1-66 16,-1-2 2-16,6 1 0 0,2-1 7 15,3-2 19-15,1 0 10 16,1-1-23-16,-7 5 7 0,4-2 11 0,-6 1-23 0,0 1 15 0,-4 3-5 16,2 1 13-16,-3 4 5 0,-2-4-3 0,2 6 3 15,-5 0 5-15,1 0 15 16,-4 1-17-16,1 1-1 0,-1 3-2 0,-2-1-10 0,-2 1-42 15,1-1-35-15,-1 3-36 0,-3-2-72 0,2 0-97 16,1 0-115-16,-1-1-471 0,3-3 80 16,-3 1 27-16,1-2 93 0,2-2 104 15</inkml:trace>
  <inkml:trace contextRef="#ctx0" brushRef="#br0" timeOffset="5344.73">6157 4446 1203 0,'-3'-5'368'0,"3"2"-27"0,-2-1-80 16,2 4-46-16,0 0-80 0,0 0-132 15,0 0-167-15,0 0-558 0,0 0 103 0,0 0 10 0</inkml:trace>
  <inkml:trace contextRef="#ctx0" brushRef="#br0" timeOffset="5621.69">6308 4408 1371 0,'-10'4'446'0,"3"-2"-8"0,-4 0-52 0,1 2-22 0,-1 0-55 0,6-1-9 16,-3 1-37-16,1 0-45 0,2 1-6 16,0-1-9-16,4 2-40 0,-1-2-14 0,2 3-8 0,2 1-11 15,-1-2-12-15,4 2-26 16,3 2 5-16,-4-1-20 0,4 3 18 0,0-1-34 0,0 1 26 15,-1 2 6-15,1-2-6 16,-6 1-34-16,2 0 32 0,-2 0-11 0,-2 0-36 16,0-1 21-16,-2 0 13 0,-2 1-46 0,0-2 27 15,-2 1-45-15,-1-1 28 0,2-2-8 0,-3-1-74 16,0 1-36-16,1-2-25 16,-1-1-37-16,0-3-68 0,3 0-55 0,-2 0-206 0,1-2-500 15,2-1 26-15,4 0 164 0,-8-4 25 0,7-1 85 16,-1-1 38-16</inkml:trace>
  <inkml:trace contextRef="#ctx0" brushRef="#br0" timeOffset="6155.94">6421 4367 1830 0,'0'7'553'0,"0"-2"-72"16,-3 3-38-16,1 1-24 0,-1 2-47 0,1 1-6 15,-1 0-49-15,-2 1-18 0,3-1-63 0,-3 1-6 16,2-1-25-16,1 0-18 0,-2-3-21 16,2 3-22-16,2-4 7 0,-2 2-16 15,4-5-19-15,-2 2-1 0,0-4-28 0,3 0 25 16,2-2-25-16,-5-1-5 0,10-1-69 0,-10 1 3 16,13-4-9-16,-3 2-9 0,0-2 20 15,-2 2-1-15,2 0 22 0,-1-1-14 0,1 3-25 0,0-1 6 16,-3 1 6-16,4 1-14 15,-4 0-26 1,3 1 2-16,-2-1-64 0,0 0-17 0,0 1-8 0,-3-2-34 0,3 0-32 0,-1-3-32 16,1 3-27-16,2-4-4 0,0-2 14 0,3 1 0 15,0-3 30-15,0 0 13 0,0-3 41 0,-1 0 3 16,1-2 40-16,0 0 52 0,-5-1 13 16,0-2 17-16,0 1 47 0,-1-4 25 15,-4 1 21-15,1-2 17 16,-1 2 11-16,0 0 23 0,-1 4 3 0,-2 0 9 0,0 3 26 0,2 0 8 0,-2 4-2 15,-2 2-32-15,2 3-9 16,0 2-3-16,0 0-3 0,-8 9-20 0,3 3 15 0,0 1-10 16,1 5-8-16,1 0-20 0,-3 7-21 15,4-1 19 1,-3 1-42-16,4-3-10 0,1 0-21 0,0-3-42 16,3 2-45-16,0-3-38 0,-1-1-48 0,1-4-49 15,2-1-29-15,-2-1-58 0,4-3-164 0,-2-2 16 0,1-1-518 0,-2-4 82 16,4 0 87-16,-2-2 113 0,-1-2 18 15,2-1 87-15</inkml:trace>
  <inkml:trace contextRef="#ctx0" brushRef="#br0" timeOffset="6389">6536 4393 1300 0,'0'0'450'0,"18"-3"-22"0,-13 1-37 16,6 2-17-16,6-1-33 0,1-2-42 16,5 1-40-16,1-3-1 0,1 3 52 0,4-4-44 0,1 3-38 15,1 0-41-15,-3-2-29 0,1-1-45 16,1 4-44-16,-4-4-51 0,-3 2-26 0,-2 2-43 16,-3 1-49-16,-3-2-40 0,0 2-60 15,-2 0-125-15,-8 0-136 0,6 1-468 0,-1 1 100 16,-3 0 56-16,1 0 76 0,-3 2 78 15</inkml:trace>
  <inkml:trace contextRef="#ctx0" brushRef="#br0" timeOffset="9290.16">2183 5381 985 0,'2'-5'486'15,"-2"5"-20"-15,3-2-20 0,-3-2-47 0,0 4-20 16,0 0-44-16,5-4-30 0,-5 4-19 0,1-3-37 16,-1 3-37-16,0 0 11 0,0 0-52 0,7 12-12 15,-5-4-3-15,1 4-94 0,-1 6-37 16,2 1 21-16,-2 5 11 0,0 3 14 0,-2 2-15 16,-2 10-20-16,-3 1-23 0,0 0-62 15,-1 0-38-15,-1 1-43 0,-1-7-93 16,1 3-69-16,4-8-171 0,0-4-499 0,0-6 107 0,1 0 84 15,-1-2 70-15,1-3 46 16</inkml:trace>
  <inkml:trace contextRef="#ctx0" brushRef="#br0" timeOffset="9575.23">2173 5784 1077 0,'5'-10'443'0,"3"-1"54"0,0 3-67 15,-1 2-23-15,1 0-31 0,2 3-25 0,-3 0-29 16,1 3-33-16,1 1-12 0,0 4-3 16,-1-2-41-16,2 3-93 0,-2 2-19 0,2 2-1 15,-2-1-13-15,-1 1-2 0,-1 1-25 16,1 1-19-16,-4 0-5 0,2-1-25 0,-2-1-59 0,2 1-23 15,-3 2-54-15,0-6-33 16,1 3-57-16,-3-1-81 0,3-2-142 0,-1 1-541 0,-1-3 78 16,1 0 118-16,1 0 77 0,-1-3 57 15,0 1 140-15</inkml:trace>
  <inkml:trace contextRef="#ctx0" brushRef="#br0" timeOffset="9866.33">2481 5845 1169 0,'5'-12'476'0,"0"0"-28"0,-3 2-36 0,-1 0-22 15,1 0-50-15,0 2-10 0,-2-1-38 0,0-1 59 16,0 1-39-16,0 0 0 0,-2 1-12 16,2 1-55-16,-2 1-4 0,1 0-31 0,1 1-18 0,-2 3-23 15,2 2 0-15,0 0-39 0,0 0-9 16,0 0-4-16,-10 12-14 0,6-4-6 15,2 0-18-15,0 2-7 0,-1-1-13 0,3 2 2 16,0-2-22-16,0 1-29 0,5 0 8 0,-4-1-36 16,4 1-15-16,0-2-21 0,3 0-56 0,1 0-28 15,4-1 10-15,0-2-28 16,0-1-11-16,2-1-30 0,1-2-61 0,-1-1-78 0,0-1-119 16,3-6-27-16,-3 5-485 15,1 0 104-15,-1-3 49 16,1 3 100-16,-1-2 143 0,-1 3 6 0</inkml:trace>
  <inkml:trace contextRef="#ctx0" brushRef="#br0" timeOffset="10226.11">2857 5737 1228 0,'-15'3'320'0,"5"0"-2"0,2-1-32 0,-4 3-22 0,1-3-6 16,1 3 57-16,-3 1-38 0,5-4-6 16,0 3-41-16,-1 0-20 0,3-3-18 15,1 4-15-15,-2-3-6 0,1 0-45 0,3 1 7 16,1-3-33-16,-1 3 12 0,3-4-12 16,0 0-15-16,0 0-3 0,0 0-6 0,8 3 19 15,-8-3-28-15,10-1 9 0,-10 1-19 0,13-1-1 16,-13 1 11-16,10-1-24 0,-4 2-10 15,1-1 19-15,-7 0-17 0,10 1-22 0,-4-1-15 16,-1 2-32-16,0 1 11 0,0-2-59 0,1 0-2 16,-6-1-59-16,10 1-55 0,-3-1-52 15,-1 0-155-15,3-1-524 16,0-1 41-16,3-3 74 0,0 1 112 0,2-3 101 0,-1-1 40 16</inkml:trace>
  <inkml:trace contextRef="#ctx0" brushRef="#br0" timeOffset="10540.02">3111 5552 1082 0,'0'-7'384'16,"3"4"-33"-16,-3 0-47 0,0 3-7 16,2-1-18-16,-2 1-12 0,0 0-19 0,3 12-15 0,-3-7-26 15,0 3-33-15,2 1-7 0,-2 2-9 16,1 2-17-16,1-1-8 0,-2-1-30 16,0 1-19-16,2 1 3 0,-2-5-13 0,1 2-35 15,1-1-9-15,-2 0 4 0,0-1-6 0,0-2 3 16,0 0 38-16,0-1-18 0,0-2-31 15,-3 2-7-15,1-4 13 0,-1 4-3 0,3-5 10 16,-5 2 8-16,0 1-8 0,0-1 8 0,0 2-20 16,-1-1 2-16,2 1 18 0,-4 3-16 15,2-1 24-15,2 0-11 0,-4 1 1 0,3 0-9 16,0 0-1-16,2 0 1 16,-2 2-17-16,3-4 33 15,1 3-38-15,-1-3-18 0,2-1 28 0,-3 1-11 0,6 0-17 0,-3-5-41 0,5 2-23 16,1-1-62-16,1-1-10 15,3-2-51-15,1 2-167 0,-1-2-94 0,5-3-468 16,-2 1 91-16,5-3 98 0,-1 1 74 0,2 0 79 16</inkml:trace>
  <inkml:trace contextRef="#ctx0" brushRef="#br0" timeOffset="10998.26">3712 5874 1610 0,'-1'-5'524'0,"-4"-1"24"16,2-1-26-16,1 0-48 0,-1-3-72 16,0-3-26-16,2-2-25 0,0-3-49 15,2-3-13-15,0 0-43 0,5-7-21 0,-4 2-23 16,3 3-115-16,1-1-13 0,-1 5-20 15,2 2 13-15,-1 3-32 0,-2 0-1 0,-1 4-9 16,2 3-4-16,-2 1-6 0,2 1-7 16,-4 3 10-16,-1 2-18 0,0 0 23 0,0 0-18 0,0 0 0 15,-6 16 0-15,-2-5-7 0,-4 6-1 16,-1 2-5-16,-8 6-17 0,-2 0 25 16,-3-1-5-16,3-3-3 0,0 1-20 0,3-6 30 15,5 0-20-15,2-4 26 16,0 1 5-16,2-4-34 0,1 1 21 0,2-1-2 0,3 0 17 15,0-1 11-15,2-3-8 0,2 1 10 0,3-3-23 16,3 3 13-16,0-1 0 0,3-2 0 0,4 0-16 16,-1-3-4-16,4 0-8 0,3 0-26 0,-3-1-44 15,3-3-19-15,3 2-6 0,0-2-67 16,1-2 16 0,2-1-31-16,-4 4-43 0,-2-1-21 0,0-3-92 15,-5 2-156-15,2 0-412 0,-3 2 35 0,2-3 126 0,-4 2 64 16,0-2 69-16,-2 3 49 0</inkml:trace>
  <inkml:trace contextRef="#ctx0" brushRef="#br0" timeOffset="11392.45">4434 5426 1435 0,'0'0'528'0,"-5"-1"-34"0,5 1-67 0,0 0-33 15,-5 8-12-15,3-1-29 0,2 3-41 16,-1 2-2-16,2 1-41 0,1 1-46 0,-2 5-21 15,2 3-5-15,1 1-10 0,2 1-11 16,-2 2-30-16,2 1-38 0,-3-1-49 0,-1-1-44 0,1-1-46 16,0-3-48-16,1-1-34 0,0-2-45 15,-1 1-22-15,1-3-70 0,-1-3-101 16,-1-1-56-16,1-2-550 0,-2-1 76 0,0-3 108 16,2-3 90-16,-2 3 25 0,0-6 95 0</inkml:trace>
  <inkml:trace contextRef="#ctx0" brushRef="#br0" timeOffset="11966.09">4352 5794 1195 0,'0'0'471'15,"-5"-1"-21"-15,5 1-48 16,-2-4-36-16,2 4-30 0,0 0-32 16,0 0-20-16,4-6-25 0,1 4-13 0,3 0-49 0,0-1-3 0,2-1-107 15,3 2-5-15,5-4-18 16,0 0 0-16,2-1-25 0,4 1-9 0,-2-2-25 0,-1 2-30 15,2-4-1-15,-2 3-10 0,2-1 18 16,-5 2-28-16,-1-1 13 0,-1-1 7 16,-1 3-7-16,-2 0 31 0,-5 0 20 0,0 0 7 15,-1 2-15-15,-1 0 21 0,-2 1 2 0,-3 1-17 16,-1 1 2-16,0 0 0 0,0 0-6 16,0 0 32-16,0 0-21 0,-9 7-3 0,5-2 14 15,-4 1-9-15,3-3 14 0,0 4-24 16,0-2 18-16,0 1-2 0,2 1-28 0,-3 0 9 0,4 0 1 15,0-2-23-15,-1 1 5 0,3-1 5 16,0 0-18-16,3-2 5 0,-1 1-7 16,1-3 12-16,2 0 8 0,-5-1-5 0,15-1-3 15,-7 0 26-15,2-3-20 0,0 1 9 16,1-2-2-16,1 0 0 0,-1 1 11 16,-3 0 9-16,1-1-7 0,0 3-5 15,-2-2 20-15,1 2-17 0,-1 1 20 0,-1-1-6 0,-2 1 9 16,-4 1-29-16,11 3 13 0,-5-2 8 15,-2 1-29-15,-4-2-30 0,8 3 5 0,-6-1-31 0,4-1-28 16,-6-1-35-16,5 4-24 0,-2-3-41 16,-3-1-2-16,7 0-47 15,-7 0-53-15,10-3 18 0,-5 1 38 0,3 0 70 0,-3-2 60 0,3-1 14 16,0 2 74-16,0 0 25 0,-1 0 31 16,-2 1 23-16,0-1 13 0,-2 3 15 0,-3 0 24 15,10 0-9-15,-10 0 24 16,8 3-16-16,-5-1 3 15,-1 3-21-15,0-2-7 0,-1 1-3 0,1 1 8 0,1-2-28 0,-3 2-16 16,0 0-38-16,2-2-44 16,-2 2-27-16,0 0-52 0,0-2-110 0,0-3-185 0,1 6-483 0,-1-6 64 15,2 4 90-15,-2-4 76 0,0 0 105 16</inkml:trace>
  <inkml:trace contextRef="#ctx0" brushRef="#br0" timeOffset="12071.01">4987 5643 1333 0,'-2'-5'420'0,"0"1"-67"0,-4 1-33 0,4 0-41 16,0 1-64-16,-1-2-59 0,0 1-105 0,-1 1-171 15,3-2-264-15,-1 0-399 16,2 4 102-16,0-9 85 0,0 0 35 0</inkml:trace>
  <inkml:trace contextRef="#ctx0" brushRef="#br0" timeOffset="12269.2">5083 5374 1031 0,'2'8'476'16,"-2"-1"36"-16,0 4-51 16,0 2 7-16,2 1-25 0,-1 4-21 0,-1 1-32 0,0 3-60 15,3-1-8-15,-3 2-43 0,0-1-30 16,2 3-22-16,-2-2-14 0,0-3-70 0,2-1-48 16,-1 0-39-16,1 0-43 0,1-2-49 15,-1-3-36-15,-1-1-40 0,3-1-62 0,-1-1-28 16,2-4-162-16,-3 0-363 0,4-1-238 0,-1 0 85 15,0-4 148-15,0 1 76 0,0-2 57 16,-2 0 31-16</inkml:trace>
  <inkml:trace contextRef="#ctx0" brushRef="#br0" timeOffset="14830.14">2124 6921 1228 0,'-5'40'320'0,"0"1"67"0,-5 19-21 16,-1 4 0-16,-4 5-18 0,2 6-49 15,-5 6-15-15,-3 22-122 16,-2 0-4-16,1 2-17 0,-4-4-3 0,0 3-17 0,-2-2 55 0,4-3-32 16,7-23-6-16,-1-1 13 15,2-1-38-15,-1-7-11 0,4-3-20 0,3-5-23 0,-1-3-16 16,3-10 1-16,1-5-34 0,0-3-7 15,1-7-29-15,1-8 0 0,2-6-7 0,-1-3-13 16,1-2-10-16,0-4-49 0,0-3-57 16,1-3-37-16,2-2-39 0,0 0-46 0,-5-15-59 0,5 3-523 15,0-5 65-15,3-3 77 16,-1-10 58-16,0-8 73 16</inkml:trace>
  <inkml:trace contextRef="#ctx0" brushRef="#br0" timeOffset="15914.54">2234 6980 952 0,'31'-5'356'0,"10"0"-129"0,5-1 55 0,8-1-16 16,17 4 0-16,7-2-28 0,6-1-18 0,4 0-12 16,1 1-34 15,6-1 15-31,2 1-27 0,3 1-4 0,0-1-25 0,-2 1-2 0,2 1-3 15,0-3-97-15,0 2-8 0,-2 2 10 0,-1-1-15 0,-7 2 0 16,-4 0-3-16,-3 1-2 0,-6 0 5 0,-13 1-5 0,-5 0-8 0,-3 4 28 16,-5 0-30-16,-4 0-1 0,-4 1 19 15,-5 2-11-15,-7 1 13 0,-8 0-15 0,-2 5 2 16,-5-2 5-16,1 5 29 0,-9 1-37 16,2 3 16-16,-2 0 8 15,-5 6 8-15,-1 0-9 0,-2 4 19 0,-2 13 5 0,-1 1-1 16,-4 3 4-16,-2 9-19 15,0 0 3-15,0 3 0 0,-3 2-13 0,2 1 11 0,-1-3 7 16,-4 5-18-16,2-1-5 0,-3 3 2 0,-1-2-2 16,1 4 82-16,-2 3-20 0,-3 0-34 0,4 1 18 15,-1-3-2 1,-5-1-16-16,5 0 13 0,0-1-5 0,0-2-23 0,-5-1-11 0,5-3-17 16,0-2 7-16,3-2-7 0,-3-4 7 0,2-3-12 15,3-10-6-15,3 2-10 0,-2-5 11 0,1-2-21 16,1-4 20-16,2-2-15 0,1-8-7 15,-1 0-16-15,3-2-3 16,-3-3-12-16,3-3 20 16,0-1-10-16,-1-1 5 0,4 1 3 0,-3-3 2 0,2-2 15 0,1-2 16 15,-3 2-18-15,2-3-2 0,-2 2 20 0,-1-1 20 16,2-3-10-16,-1 0 26 0,0 1-11 0,-3-3-20 16,-2 0 5-16,1-1 6 0,-1 0-4 0,-2 0 6 15,-4 0-8-15,-1-1 5 16,-7 0 19-16,1-3 1 15,-7 2-19-15,-1-2 9 0,-13-2 11 0,-1 3-21 0,-5-1 16 0,-1-2-3 0,-6-1 7 16,-9 1-12-16,-3 0 8 16,-3 0-24-16,0 1-7 0,-2-1 31 0,-3 2-16 0,3-1 18 15,-6 0 8-15,3-1-10 0,-2 4-6 16,-1-3 24-16,3 3-21 0,1-2 13 16,1 1-8-16,-1 0 18 0,3 1-23 15,-1-1 28-15,17 1-2 0,1 1-24 0,0 0 14 0,3-1-9 16,3 0-1-16,-1 2-17 0,5-1 16 0,10-3 1 15,3 4-9-15,4-3 11 16,1 0-3-16,3 2-13 0,4-1 11 0,0-1-6 0,3 2-9 16,3 0-6-16,2-1 15 0,1-1 8 15,2 2-20-15,1-2-8 16,2 0-18-16,0 1 11 0,1-2-19 0,3-1-25 0,1 0-16 0,-1 0-30 16,3-2 7-16,0-1-33 15,3 0-17-15,-3-1-9 0,2-2-40 0,1-1-83 0,-1 1-109 16,1-2-274-16,0 0-285 0,2-5 96 0,0 2 101 15,-2-2 62-15,-1 0 90 0</inkml:trace>
  <inkml:trace contextRef="#ctx0" brushRef="#br0" timeOffset="16478.63">2242 7156 1377 0,'0'0'391'0,"0"0"-20"16,1-4-48-16,-1 4-16 0,0 0-20 0,0 0-24 15,-1 17-37-15,1-9 12 0,-3 3-39 16,1 0-40-16,0 2-3 0,-1 4-7 0,-2 0-16 16,2 1-33-16,-2-1-34 0,-2 1-58 0,-1 2-52 15,2-2 8-15,2-4-30 0,1 3-39 16,-3-5-26-16,4-3-58 0,0 1-105 16,2-7-83-16,2 6-467 0,0-6 91 0,1 1 49 15,2-2 92-15,3-2 98 0</inkml:trace>
  <inkml:trace contextRef="#ctx0" brushRef="#br0" timeOffset="16759.93">2516 7182 1057 0,'-8'-2'363'0,"3"1"-30"0,5 1 7 0,-18 3-53 0,6-1-21 0,-1 3-30 15,-4 1-21-15,0 0 2 0,-1 3-38 0,-2 0-7 16,2-1-24-16,2 1 21 0,1 0-43 15,0-2-3-15,2 3-3 0,3-4-5 16,0 2 13-16,2-1-38 0,0-1-16 0,3 0 3 0,0 0-18 16,0 0 17-16,5 0 4 0,0 0-19 15,0-1-4-15,2 1-1 0,1-4-28 16,5 3 5-16,-4-3-38 0,4 2-23 0,0-2-26 16,0-2-38-16,3 3-5 0,-1-3-52 15,2 0-27-15,-1 0-137 0,1 0-78 0,-1 0-490 16,2-3 60-16,-1 3 94 0,-2 0 94 0,3 0 34 15</inkml:trace>
  <inkml:trace contextRef="#ctx0" brushRef="#br0" timeOffset="17409.39">2660 7414 1100 0,'0'0'374'16,"-8"-1"48"-16,6-3-28 0,-1 2-25 15,0-3-13-15,-2 2-18 0,2-2-26 0,-1-1-36 0,1 0 16 16,-2-3-128-16,2 0 2 15,-2-3-25-15,3 2-5 0,-1-3-26 0,3 1-3 16,-3-3-25-16,3 6 11 0,3-3-12 0,-2 1-29 16,1 3 1-16,0-3 11 0,1 4-23 15,0 1-18-15,1 0 31 0,-1 0-31 0,2 1 5 16,0 3 0 0,-2 0-12-16,2-1-3 0,0 2-13 0,-5 1 2 0,0 0 6 0,11 4 0 15,-7-2-29-15,-4-2 21 0,3 4-13 0,0-2 0 16,-1 0-7-16,-2-2 15 0,2 5-3 15,-2-5-33-15,4 4 51 0,-4-4-10 0,2 2-2 16,-2-2 7-16,2 2 10 0,-2-2-15 16,0 0 8-16,0 0 10 0,0 0 8 0,9-4-26 0,-5 0 2 15,-1-2 13-15,2 1-2 0,1 1-5 16,1-2 5-16,-2 1-21 0,5-1 6 16,-5 1 22-16,6-1-10 0,-4 4-5 0,1-3-5 15,2 2-20-15,-2 0-1 16,0 1 16-1,-1 2 10-15,1 0-10 0,0 0 3 0,-3 2-1 0,3 2 1 0,-1 0 2 0,-4 1 20 0,2 1-15 16,-3 0 31-16,-2 1 2 0,0 3-4 0,-5-2 12 16,1 4-5-16,-2-3 10 0,-2 3-23 15,-2-1-7-15,0 0-16 0,-3 2 10 16,2-3-28-16,1-1-5 16,-2-1-38-16,2 0-8 0,0-3-31 0,1 0-58 0,2 1-34 0,0-3-92 15,1-3-197-15,1 3-487 0,2 2 96 0,1-3 76 16,-1 2 79-16,3-4 47 0,-2 7 50 15</inkml:trace>
  <inkml:trace contextRef="#ctx0" brushRef="#br0" timeOffset="18261.03">3381 9106 1034 0,'-8'0'376'0,"8"0"-15"0,0 0-18 15,0 0-33-15,-8-8-24 0,5 4-30 16,1-3-10-16,-1 1 82 0,3 1-16 0,-2-4-31 16,1-1 6-16,0-1-23 0,1 0-31 0,2-5-18 15,0 3-36-15,1-5-82 0,-1-1 0 0,1 4-17 16,2-2-1-16,0 4 3 0,1 2-13 15,-2-2 0-15,2 4-20 0,-3 2 5 16,1 2-1-16,2 1-12 0,1 4 11 0,-2 0-4 16,3 4-20-16,-3 1 0 0,2 3 6 15,1 1-6-15,0 4 0 0,0 3 0 0,-3-2-15 0,0 2-33 16,2 0 4-16,-3 2-40 0,0-2-39 16,-1-1-58-16,2 2-6 0,-3-4-25 0,1 0-52 15,0 0-74-15,-1-1-107 16,-2-5-67-16,3 3-460 15,-3-2 117-15,2-1 80 0,-2-2 45 0,-2-2 70 0</inkml:trace>
  <inkml:trace contextRef="#ctx0" brushRef="#br0" timeOffset="18447.53">3411 9106 1279 0,'0'0'359'0,"0"0"-29"0,0-4-51 0,0 4-31 16,0 0-10-16,10-7-13 0,-4 6-25 15,3-1-28-15,0-1-26 0,1 1-8 0,2 0-31 16,2-2-32-16,-2 3-73 0,1-3-38 16,2 3-117-16,0-2-162 0,1 0-502 0,-1 1 54 15,1-1 129-15,-1 2 53 0</inkml:trace>
  <inkml:trace contextRef="#ctx0" brushRef="#br0" timeOffset="19087.63">3760 9118 934 0,'-3'-4'420'0,"0"3"45"0,3 1-35 0,-8-7-15 0,6 1-36 16,-3 3-33-16,0-1-21 0,0-3 28 15,0 0-61-15,0 0 2 16,0-2-23-16,2-3-40 0,-4 4-14 0,4-4-43 0,-3 4 26 16,4-3-118-16,-4 3-16 0,4-2 21 0,0 2-17 0,0-2-12 15,-1 3-1-15,2-2-3 16,1 1-24-16,-2 0 1 0,2 1 7 16,0 1-25-16,2-1 15 0,-2 0-2 15,4 1-18-15,-2 0 20 0,2 0-3 0,2 1-14 0,-3 2 1 16,2 0 4-1,0 0-19-15,1 0 1 0,-2 2 9 0,2 1 45 0,-6 0 17 0,12-1-11 16,-12 1-17-16,11 1 31 0,-4 0-41 0,-2 3-13 0,-2 1 23 16,4-2 0-16,-4 3 2 15,2 0-12-15,-2 1-8 0,2-1-8 16,-5 1 19-16,2 0-17 0,-1 0-4 0,0 1 8 0,0 0-8 0,2-4-6 16,-3 3 14-16,0-3-1 15,0 0-2-15,0 0 0 0,0-4 15 0,2 6-17 16,-2-6-29-16,2 3 38 0,-2-3-22 0,0 0 5 15,0 0 25-15,11-7-30 0,-6 2 7 32,-2 2 5-32,1-3-7 0,2-1 5 0,2-3-6 0,-1 4 11 0,1-3-31 0,0 0 24 0,2 2-6 15,-2 1-15-15,2 0 22 16,-2 2-30-16,-1 0 16 0,1-1-1 0,-2 5-4 0,0 0-27 16,-6 0 34-16,11 4 5 0,-4-1-10 0,-4 3 18 15,0 0-15-15,-1 0 19 0,-2 1-24 16,0 3 14-16,-2-1-1 0,-3 2 19 15,0 1-2-15,-3 0-2 0,0 1-11 0,-2 0-2 0,-1-2-6 16,1-3-7-16,-2 5-44 0,1-5-25 16,-2 2-77-16,6-3 3 0,-3 0-54 0,2-1-24 15,0 1-55-15,0 2-75 16,1-6-161-16,1 4-512 16,2 0 66-16,-2 0 126 0,4 0 75 0,-3-2 68 0,2 2 36 0</inkml:trace>
  <inkml:trace contextRef="#ctx0" brushRef="#br0" timeOffset="28814.64">8567 3975 1162 0,'5'-12'304'0,"-2"0"-15"0,2 5-4 0,-2 0-1 16,-3 2-46-16,2 0-5 0,-2 3 0 16,0 2-41-16,2-3-8 0,-2 3 10 0,0 12 6 15,-2 4-28-15,-3 9 73 0,-8 13-4 0,0 23-36 16,-7 9-82-16,-3 29-6 0,-8 8 11 15,-3 11 13 1,1 10-5-16,-3 14-1 0,-13 51-17 0,-4 1-10 0,-1 6 17 0,-5 6-28 0,-2 6 77 16,-4 2-12-1,1 6-34-15,6 5-13 0,3 3-28 16,4 4-143-16,7-6-14 0,4 0-47 0,6-8-1 0,6-6 10 0,10-48-32 16,5-3 7-1,3-1 5-15,2-7-21 0,1-3 3 0,4-4 16 0,1-11 4 16,-1-6-4-16,1-8-1 0,-1-9-2 0,-2-26 0 0,2-3-62 15,-5-5-27-15,1-2-42 0,-1-7 36 16,-2-5-76-16,-10-6-193 0,12-14-279 16,-5-2 85-16,-1-7 64 0,2-4 54 0</inkml:trace>
</inkml:ink>
</file>

<file path=ppt/ink/ink20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4:25.928"/>
    </inkml:context>
    <inkml:brush xml:id="br0">
      <inkml:brushProperty name="width" value="0.05292" units="cm"/>
      <inkml:brushProperty name="height" value="0.05292" units="cm"/>
      <inkml:brushProperty name="color" value="#0070C0"/>
    </inkml:brush>
  </inkml:definitions>
  <inkml:trace contextRef="#ctx0" brushRef="#br0">1827 3351 673 0,'0'0'251'0,"7"-1"-16"0,-7 1-33 16,10 0-5-16,-10 0-12 0,11 0-47 0,-4 0 10 16,1 0-20-16,0 0 0 0,2 0-5 0,3 1 8 15,-3 1-19-15,6-2-14 16,1 3 1-16,2-2-6 0,3 1 4 0,1 2-18 0,5-1 6 15,1 2-21-15,-1-1 7 0,1 0-12 16,1 2-18-16,-1-1 10 0,-1 1-20 0,13 0 5 16,-8 1-8-1,5 3 5-15,1-4-10 0,-5 1 13 0,-4-1-26 0,9 1 24 0,-4-1-11 16,-6-1-16-16,4 1 27 0,5-2-32 16,-4 1 32-16,-6-1-9 15,3 0-9-15,-3 1-4 0,0-2-4 0,2 0 15 0,-1 2-18 16,-3-3 13-16,2 2-3 0,-3-1-12 15,1 2 2-15,-2-3 16 0,1 1-16 0,-2-2 38 16,2 3-30-16,-1-3 0 0,4 4-3 0,-3-4 28 0,-2 0-27 16,3 1 14-16,0 0-9 0,2-1 12 15,-2 1-21-15,4-1 6 16,-4 2 8-16,2-2-3 0,-2 0 0 16,0 0 7-16,-1 2-4 0,-2-3 7 0,3 2-13 0,0-2-5 0,-3 1 11 15,2 0 7-15,-2 1-23 0,1-2-2 0,1 1 7 0,0 0 3 16,-1-1-13-16,2 2 13 0,-1-1 12 15,1-1 3-15,2 0-30 0,-3 2 17 16,1-2-15-16,0 0 13 16,0 1 15-1,1-1-30-15,-1 0 12 0,0 0-13 0,0 1 1 0,-1-2 14 0,1 1-27 0,-1 0 23 0,1 0 15 16,-3 0-21-16,3 0 1 0,-3 1-1 16,0-1 1-16,1-1 2 0,0 2 10 0,0-1-17 0,-1 0 10 15,2 0 22-15,-1 0-22 16,-1 0 0-16,2 0-16 15,-1 1 11-15,1-1 9 0,0 0-14 0,-2 0 7 16,3 0 15-16,0 0-27 0,-1 0 14 0,-2 0-4 0,3 0 2 0,0 0-5 16,-1 2-13-16,1-2 18 0,-1 0-15 15,2 0 10-15,-2 0 3 0,1 1-1 0,-1-1 3 16,1 0-5-16,0 0 13 16,2 2 0-16,0-5 2 0,-2 4-4 0,5-1-9 15,-3 0-2-15,0 0 5 0,3 0-15 0,0 0 25 16,0 0-7-16,1-1 5 15,-1 1-13-15,3 0 15 0,-3 0-10 0,2-2 3 0,-2 2 15 0,1-1-8 16,-1 1-17-16,0 0 12 0,-3 0 16 16,1-2-13-16,-1 2-8 0,0 0 15 0,-3 0-17 15,6 0 7 1,-5 0-15-16,5-2 15 0,-1-1 5 0,2 3-12 0,1-2 12 0,0 2-4 0,0-2-11 0,1 1 25 16,-3 0-12-16,4 1 10 15,-1-2 0-15,1 2-3 0,2-3 4 0,8 3 14 16,-6-2 0-16,8 1-2 15,-7 1-10-15,-7 0 10 16,16-1 5-16,-8 1-13 0,-7 0 28 0,0-2-28 0,1 2 13 0,1 0 10 0,13 0-10 16,-8 0-2-16,-5 0 32 0,12 0-9 0,-1 2-14 15,-7-1 19-15,9-2-3 0,-8 1-18 0,6 1 5 16,1-1 0-16,3 0 8 16,3 0-13-1,-3 0 18-15,4 0-7 0,-2 1 7 0,1-1-29 0,0 0 4 0,2 0-3 16,-2 0 0-16,0 0 22 0,2 0-19 0,-2 1-11 0,0-1 8 15,5 1 5-15,0 2-16 0,-1-3 4 16,0 1 4-16,1-1 3 0,0 1-29 0,-1 1 32 16,-2 0-3-16,-1-1-13 0,-2 2-13 0,-1 0-8 15,2-1 21 1,0 1-10-16,-1 0-10 0,-2 1-11 0,1-2 26 0,-1 1 2 0,-2 1-27 16,-4-1 43-16,0 0-36 0,-8 1 10 0,-3-3-8 15,-5 3-2 1,1-2 8-16,-2 1 7 0,-4 0-12 0,1-1 2 0,-2 1-2 15,-2 0-8-15,-1 0 17 0,-2-2-17 0,-3 2-10 0,-2 0 20 16,-3-3-25 0,1 1 4-16,-1 0-2 15,0 0 13-15,-4 1-3 0,2-1 11 0,-1-1 20 0,-2 1-18 0,-5-1-7 0,10 1-14 16,-10-1 1-16,6 0-3 0,-6 0-8 0,0 0-40 16,0 0-65-16,0 0-43 0,0 0-28 15,0 0-59-15,0 0-110 0,0 0-190 16,-11-5-483-16,6 3 94 0,0 1 121 15,-2-2 89-15,1 0 70 0,1 2 53 0</inkml:trace>
  <inkml:trace contextRef="#ctx0" brushRef="#br0" timeOffset="3492.92">1647 4188 888 0,'34'0'332'0,"-9"-1"-22"0,21-2-5 15,11 1-19-15,22 1-24 0,8-1-24 0,8-1 0 16,8-2-46-16,28 4-16 47,1-4 6-47,-1 3-31 0,-25 1-13 0,2 1-20 0,-4 0-5 0,2 0-16 0,-2 1-13 0,-5 1 21 0,-5 1-41 0,-5-1-18 0,-4-1-25 15,-5 3-13-15,-6-1-26 0,-15 0-21 0,-5-2-12 16,-3 0-21-16,-13 0-20 16,-7-1-87-16,-5 0-18 0,-8 0-167 0,0-1-475 0,-7 0 91 0,-4 0 47 15,-2-2 69 1</inkml:trace>
  <inkml:trace contextRef="#ctx0" brushRef="#br0" timeOffset="3765.87">940 4510 1392 0,'-13'3'376'0,"10"-1"-12"0,8-1-34 15,-5-1-10-15,31-3-31 0,12-2-46 16,27-2-17-16,17-1-9 0,30-7-17 0,12 0-24 16,10-4-17-16,14 0-26 0,4 1 3 0,4-2-31 15,6 4-13-15,-3 1 21 16,-3-3-37 0,-9 2-30-16,-9 2 11 0,-10 0-34 0,-9 4-3 0,-31 3-4 0,-7 1 2 0,-6 0-24 15,-12 3-47-15,-13 0-65 16,-6 2-15-16,-13 2-103 0,-6-1-127 0,-6 4-541 0,-2-3 49 15,-6 3 123-15,-1-2 51 0,-5 1 77 0</inkml:trace>
  <inkml:trace contextRef="#ctx0" brushRef="#br0" timeOffset="12224.92">5488 8975 1640 0,'0'0'476'0,"0"0"-10"0,0 0-59 0,0 0-25 0,0 0-42 15,0 19-33-15,0-7-15 0,0 1-41 16,0 4-18-16,-1 3-21 0,1 0-30 0,0 4-39 16,0-3 11-16,-2 7-41 0,0-2-47 15,2-1-28-15,-3 1-35 0,0 2-36 0,1-3-21 0,0 0-46 16,1-4-30-16,-1-2-111 16,2 0-74-16,-3 0-56 0,3-1-325 0,0-5-210 15,0-2 117-15,0-3 62 0,0-2 77 0,3 0 46 0</inkml:trace>
  <inkml:trace contextRef="#ctx0" brushRef="#br0" timeOffset="12472.75">5614 9094 1136 0,'0'0'392'15,"0"0"-19"-15,0 0-14 0,4 11 50 0,-4-3-50 16,0 0-29-16,3 3-3 0,-3 1-60 0,0 4-34 15,0-1-88-15,0 4-22 0,0 0-25 16,-3 0-24-16,3 1-5 0,-2 1-43 0,2-3-19 16,-2-3-73-16,1 1-39 0,1 0-51 0,-2-4-47 15,2-1-81-15,0-5-66 0,0 3-485 0,2-1 108 16,-1-2 8-16,-1-2 53 0,0 2 90 16</inkml:trace>
  <inkml:trace contextRef="#ctx0" brushRef="#br0" timeOffset="12718.44">5454 9124 995 0,'3'-20'382'0,"5"-1"-52"0,-1 4-41 0,1-5-20 0,5 3 0 15,-2 0-6-15,1 1 52 0,1 4-5 0,0 1-13 16,0 2-31-16,-1 5-23 0,1 2-59 15,2 4-38-15,-2 4-23 0,3 2 13 0,-3 7-11 16,4 2-12-16,4 11-3 0,-5 1-15 0,-1 2-16 16,0-2-7-16,-4 5-52 0,1 0-56 15,-4-6 13-15,-3 0-59 0,3 0-58 0,-3-3-58 16,0 0-96 0,0 1-144-16,0-3-478 0,1 3 69 0,-2-5 94 0,-1-1 80 0,2-4 31 15</inkml:trace>
  <inkml:trace contextRef="#ctx0" brushRef="#br0" timeOffset="13316.58">8134 9164 962 0,'0'0'430'0,"-8"6"-41"0,6 1-20 0,-4 4-34 0,2 6-30 0,-2 4-42 16,3 3-32-16,-1 6-9 0,0 9-14 0,0 2-27 15,-1-1-37-15,2-2-44 0,-2-1-70 16,5-7-30-16,-5-4-43 0,3-1-39 0,1-3-95 16,1-2-120-16,-2 1-46 15,2-5-476 1,2-2 74-16,-1-3 116 0,1-2 14 0</inkml:trace>
  <inkml:trace contextRef="#ctx0" brushRef="#br0" timeOffset="13517.64">8231 9054 1180 0,'1'-6'381'0,"-1"6"-5"0,0 0-10 0,4 13-20 0,-1-1 58 0,-3 2-51 0,3 5-33 16,-1 8-20-16,-2 1-95 0,2 2-62 16,-2 10-5-16,1 0-28 0,-1 1-35 0,-1-9-17 15,1 0-60-15,0-5-42 0,0 0-38 0,-2-6-53 16,2 1-108-16,0-1-139 0,0-3-514 31,0-1 128-31,-2-3 34 0,2-1 68 0,-3-5 75 0</inkml:trace>
  <inkml:trace contextRef="#ctx0" brushRef="#br0" timeOffset="13812.57">7975 9329 1405 0,'12'-25'432'0,"4"-5"-32"15,2 0-39-15,3-6-13 0,4-5-36 16,1-1-41-16,2 4-20 0,-2 8 5 16,2 4-51-16,-2 1 10 0,1 7-97 0,-3 5 7 15,-3 7-20-15,1 6 31 0,4 9-8 16,7 7-21-16,-4 10-7 15,4 11 13-15,-3 4-8 0,-4 4-24 0,-3 4-22 0,-2 4-10 0,-6 3-64 16,0 0-52-16,-4 0-33 0,2-1-56 0,-3-11-49 16,-5 0-66-16,5 0-131 15,-2-6-66-15,0 3-367 16,-1-4-9-16,1-2 94 0,-2-8 84 0,-2-5 108 0</inkml:trace>
  <inkml:trace contextRef="#ctx0" brushRef="#br0" timeOffset="18500.13">5137 12293 1387 0,'0'0'427'16,"0"0"-17"-16,0 0-49 0,0 0-21 0,0 0-2 0,-1 25-10 0,-3-5-31 0,1 7-8 15,3 14-15-15,-3 7-92 0,1 14-16 0,-1 6-15 16,-2 3-10-16,-3-1 0 15,1 4-31 1,-3-1 18-16,-1 1-16 0,1-3-30 0,-3 1 5 0,1-4-18 0,1-1-7 0,1-3-24 0,0-3-7 16,2-5-21-16,-2-12-15 0,5-3-16 15,-1-2 11-15,-2-3-15 0,4-8-21 16,1-5-31-16,-2-5 15 16,2-2-38-16,1-3 8 15,-1-1-41-15,1-3-15 0,0-3-29 0,1-4-92 0,-2 0-191 0,3-2 9 0,0 0-419 16,-4-15 53-16,3 4 98 15,1-3 53-15,1-3 68 0</inkml:trace>
  <inkml:trace contextRef="#ctx0" brushRef="#br0" timeOffset="19293.91">5098 12287 1151 0,'5'-5'300'0,"-2"-2"-21"0,7 2-28 15,0 1-8-15,9 0 8 16,9-2-36-16,3 3-34 0,17-2 6 0,3 1-31 0,6 2 3 0,1 0-13 15,19 0-10-15,5 0-16 0,4-1-5 16,3 1-30-16,1 0 27 0,0 1-32 16,-1 0-14-1,-4-2 85-15,-4 3-28 0,-3-1 3 0,-6-1-32 0,-13 3 6 0,-6 1-13 16,1-1-8-16,-11 2-9 0,-6-1-4 16,-9 2-15-16,0 0 13 0,-8 1-5 0,1 3-5 15,-3 1 7-15,0 0 21 0,-3 4-18 0,-4 1 3 16,-1 1 7-16,-3 5-13 0,-1 2-9 15,-1 3 30 1,-3 2-39-16,-4 2 11 0,2 11 12 0,-6 2-25 0,1 2 5 16,-2 1-2-16,1 2 5 0,-4 7-11 0,2-7-15 0,2-4 5 0,0-1-7 15,3 0-1-15,-2-3-43 16,2 0 8-16,1-7-1 0,2-5 1 0,-2 3-31 0,-1-4 31 16,3 2-11-16,-3-4-7 0,3 3-3 0,-2-6-8 15,-1 4 1-15,3-5 22 16,-3 2-27-16,3-2 12 0,-4-1 5 15,1 0-10-15,0-2-2 0,-2 1-8 0,0-2-1 0,3-2-7 16,-1-1 6-16,-4 0-11 0,4-1 15 0,-5-1-7 16,3-1 2-16,-2-2-2 15,-1 1 10-15,0-2-8 16,-2 0 21-16,-1-1-1 16,1-1 9-16,-5 1 4 0,-1-2 19 0,-4 2-11 0,-6-1 21 0,1 0 2 0,-6 0 33 0,-10 3-27 15,-3-2 40-15,-2 0-23 0,-3 0 6 0,-2 0 2 16,-3-1-18-16,0-1 25 0,-2 0 3 0,2 0-17 15,0 0-9-15,0-1 19 0,-2-1 4 16,0 2-24-16,-1 0 11 0,1-1 29 16,-3 0-33-16,2 2-21 15,1 0 34-15,3 0-8 0,3-2 2 0,0 1-5 0,3-1-7 0,3 3 30 16,8-2-25-16,5-2-11 0,7 1 14 16,0-1-1-16,1 0-23 0,5-1 8 0,3 0-23 15,-1 0 5-15,6 0-10 0,-2 0-6 0,3-1-17 16,2 0 15-16,0 0-28 0,7 0-18 15,-9-1-8-15,9 1-25 16,-5-4-31-16,5 4-41 0,0-5-102 0,0 5-144 0,3-7-399 16,0 2-97-16,1-1 125 0,2 0 72 0,-4-2 97 15,4-1 21-15</inkml:trace>
  <inkml:trace contextRef="#ctx0" brushRef="#br0" timeOffset="19899.97">5380 12349 965 0,'0'0'427'0,"0"0"-33"0,0 0-51 16,0 0-38-16,-2 12-16 0,1-5-46 15,-1 0-5-15,2 2-36 0,-3-1-10 16,1 2-43-16,-1 1-11 0,1 0-25 0,-1 1-31 0,-2 0-16 16,2 0-35-16,-2-1-64 0,2-1-65 15,1 1-73-15,0-3-67 0,-1 2-49 16,3-2-542-16,0-2 138 0,0-1 5 0,3 1 102 15,-1-3 82-15</inkml:trace>
  <inkml:trace contextRef="#ctx0" brushRef="#br0" timeOffset="20215.63">5524 12409 988 0,'-3'-3'296'0,"3"3"-34"0,-5-5-24 15,0 4-8-15,5 1-23 16,-8 0-17-16,8 0-11 0,-10 3-26 0,2-1-14 16,3 2-9-16,-2-2 8 0,1 2-17 0,1 1 9 15,0-1 52-15,0 2-28 0,0-1-8 0,2 1-18 16,-2 1 0-16,2-1-29 0,1 2 17 0,0-1-4 16,-1-1-38-16,3 0 13 15,0 0-23-15,0 1-2 0,0-2 17 0,3 1-10 16,1-1-33-16,-3-1-8 0,4 0 8 0,0-1-33 15,2 0-19-15,-1 0-14 0,-1-1-14 16,3 0-38-16,-1 1-20 0,0-1-34 0,1 0-97 16,0 2-89-16,-3 0-154 0,1 1-379 0,1 0 105 15,1 1 71-15,-3 1 62 16,3 1 75-16</inkml:trace>
  <inkml:trace contextRef="#ctx0" brushRef="#br0" timeOffset="21061.29">6259 13204 1249 0,'-2'4'378'0,"-1"3"-6"0,1 1-40 0,-3 0-42 0,2 1-37 0,1 2-15 16,-1-1 5-16,0 2-38 0,-1-1-39 15,0 1-43-15,2-1 26 0,0-2-49 0,-1-1-34 16,0 1 29-16,3-2-49 0,-2 1-8 0,0-3 3 16,2 0-46-16,-1-1 31 0,1-4-3 15,0 5-26-15,0-5 26 0,0 0-15 16,0 0 28-16,0 0-13 0,0 0 31 0,3-13-6 15,-3 4-9-15,2 0 12 0,1-5 13 0,0-2-34 16,1-5 27-16,2 0-3 0,-1-3 12 16,5 1-20-16,-2 2 5 0,5 1-2 0,-3 1 0 15,-3 4 25 1,2 2-79-16,-1 1 5 0,1 4 18 0,-4 0 7 0,3 5 6 16,0 2 5-16,-3 1 15 0,3 4 49 0,-1 2-5 0,-2 2-6 15,-1 2-27-15,-2 4 19 16,3 0-17-16,-5 3-15 0,2-2 7 0,-1 3 3 0,-1-3-33 15,0 1-13-15,0-2-31 16,0 2-26 0,-1-2-10-16,-1 0-53 0,-1 0-41 0,3-1-50 0,-2-2-157 0,-1-1-214 0,3-2-403 0,-5-1 60 15,5 1 183-15,-3-3 30 16,1 0 69-16,-1-3 75 0</inkml:trace>
  <inkml:trace contextRef="#ctx0" brushRef="#br0" timeOffset="21245.05">6283 13327 1300 0,'10'0'371'0,"1"0"-64"0,6 1-38 0,-1-2-57 0,6 1-35 0,7-1-110 15,5-2-234-15,14-1-565 0,0 1 113 0,4-2 22 16,0-2 34-16</inkml:trace>
  <inkml:trace contextRef="#ctx0" brushRef="#br0" timeOffset="23126.76">6114 12550 1290 0,'-3'-2'506'0,"3"2"-32"0,-8-1-100 0,1 6-31 16,-4 5 10-16,-12 13 44 0,-5 3-24 0,-8 12-12 16,0 5-51-16,-8 1-16 15,3 6-114-15,-2-1-4 0,-4 3-30 0,-1-1-3 0,-13 15-40 16,-1-3-11-1,8-15-20-15,-10 10-8 0,10-10-8 0,1-5-13 0,1 0-48 0,1-4-20 16,2-3-24-16,5-3-35 0,-2-4-44 0,13-7 5 16,0-3-39-1,2-4-32-15,8-5 7 16,2-5-69-16,6-5-69 0,-1-2 20 0,4-5-112 0,-1-5 102 0,0-5 67 0,-2-12-10 0,7-4 94 16,0-6 43-16,6-1 93 15,2 7 69-15,2-5 41 0,6 1 21 0,2 2 30 0,3 4-16 16,3 1 40-16,2 9 22 0,-3 6 5 0,8 3 23 15,-2 3-20-15,1 5 26 0,4 6-6 16,12 5-5 0,4 5-97-16,-1 4 33 0,12 6-12 0,-4 4-29 0,2-2-2 0,-1 4 10 0,3 0-18 15,1-3 89-15,0-1-45 0,2 0-18 0,1-3 7 16,2-1-64-16,-1-3-17 16,1 0-50-16,-10-5-25 0,-3 0-43 0,3-2-44 15,-5-1-89-15,1-1-172 0,0 0-445 16,-10-3-29-16,-7-4-40 15,-2 0 137-15,-3-1 127 0,-2-1 22 0,-1 0 56 0</inkml:trace>
  <inkml:trace contextRef="#ctx0" brushRef="#br0" timeOffset="26467.42">12900 12480 1136 0,'0'50'379'0,"-3"18"-49"0,1 3-30 15,-1 1-32-15,1 2-17 0,-1 1-18 0,0 0-33 16,-2-1-26-16,3-2 15 31,-1 0-38-31,1-3-38 16,-1-4 5-16,3-3-36 0,-2-13-16 0,1-4 6 0,1-2-49 0,-2-4-23 0,2-7-10 0,-2-8-26 0,-1-3-31 0,3-3 26 15,0-2-38-15,0-6-175 0,-3-2 4 0,3-2-526 16,0-4 3-16,0-2 100 0,0 0 25 0</inkml:trace>
  <inkml:trace contextRef="#ctx0" brushRef="#br0" timeOffset="27171.61">12913 12124 1044 0,'25'-12'274'0,"11"-1"0"0,7 1-36 15,19-3 28-15,11-2-31 0,8 3-27 0,1-1-11 16,34-2 46-16,7 1-13 0,5 3-2 16,5-1 5-16,3 3-64 0,6 2 5 15,6 3-2-15,-2 2-32 16,2 0 17-16,-1 3-55 0,-3 2-13 0,-4 0 27 0,-4 2 12 0,-31-1-62 16,-2 1 24-16,-3-1-3 0,-5 1 20 0,-5 0-20 15,-8 2-20-15,-8 2 5 0,-5-1-1 0,-15 1 6 16,-8 1-10-16,-4 3-32 0,-4 0 1 15,-5 3 39-15,-10-1-83 0,0 9-5 16,-10-2 0 0,-2 1 23-16,-7 5-10 0,2 10 21 0,-6 7-3 0,-3 1 5 0,-2 2 15 15,-5 14 8-15,-1 2-5 0,-1 2 5 0,1 2-28 16,1 0 0-16,2 1 5 0,-2-1 16 0,2-4-16 16,3 2 10-16,0 0-5 0,0-2-13 0,0-2 1 15,3-11 7-15,-1-1-5 0,0 1 7 0,0-1-12 16,-2-2 3-1,3 2-14-15,-1-4 8 0,1 0-5 16,-3-3-5-16,0-2 3 0,2-1 12 0,-4-2-7 0,-1-1-13 0,2-5 8 16,1-4 7-16,-7 8-3 0,1-2-1 15,-4-2-12-15,-1-1 4 0,-1-2 10 0,-4-1 17 16,-5 0-4-16,-2-1-6 0,-7-3-2 0,-2-1-11 16,-14 1 3-16,-3-1 1 0,-4-2-9 15,-4-5 13-15,-7-3-12 16,-6-3 12-16,-4 0 13 0,-6-3-15 0,-5-1-6 0,-7-2 21 0,-3 0-7 15,0 0 7-15,-5 1 0 16,-29 1 10-16,-1-1 21 0,1 1-26 0,26-1 54 0,-22 2-11 16,25-3-14-16,-23 4-21 15,2 1 30-15,26 0-33 16,0 0 3-16,7-1-15 0,1 2 76 16,3-4 0-16,4 0-10 0,3-3-12 0,5 2-1 0,16-2-18 0,4-1-20 0,3 0-18 15,6-3-26-15,4 1-28 16,9-1-23-16,8-3-15 0,2-1-44 0,2-1-25 0,7 0-41 0,1-3-6 15,5-1-50-15,2-2-60 0,1-2-217 0,1-1-164 16,4-3-345-16,-1-6 107 16,6-3 128-16,2-13 44 15,10-14 145-15,3-5-7 0</inkml:trace>
  <inkml:trace contextRef="#ctx0" brushRef="#br0" timeOffset="27668.28">13256 12229 1110 0,'0'0'459'0,"-4"-5"-19"0,4 5-128 0,0 0 0 0,0 0-27 0,0 13-22 0,0-4-25 16,2 4-10-16,-2 2-28 0,2 4-1 15,-4 1-30-15,0 5-20 0,1 2-21 16,-2-1-8-16,-1 0 3 0,1 1-74 0,-2 0-11 0,2 0-35 15,-2-2-47-15,2-2-25 0,-1-3-18 16,0-1-59-16,2-2-43 0,0-3-85 16,-1-4-77-16,3 0-448 15,3-1 24-15,-1-4 109 0,0 0 24 0,2-5 40 0</inkml:trace>
  <inkml:trace contextRef="#ctx0" brushRef="#br0" timeOffset="27949.73">13503 12319 1072 0,'-16'6'343'0,"4"-1"10"0,-1 1 44 15,-3 3-62-15,-2 1-7 0,3 0-26 0,-1 3-28 16,-2-1-3-16,5-1-51 16,-1-1 3-16,3 1-18 0,1-1-11 0,0-1-89 15,4-1-20-15,-1 1-1 0,2-1-4 0,2-1 4 16,0 0-10-16,3-1-5 0,3-1-17 0,-3 0-22 15,5-2-12-15,0 0-13 0,3 0-38 0,-1 1-18 16,2-2-18-16,3-2-34 0,-2 1-25 16,1-2-38-16,4 0-64 0,-2 0-142 15,2-1-40-15,-2 0-430 0,0 0 36 0,3-1 112 16,-1 3 88-16,-3 0 86 0</inkml:trace>
  <inkml:trace contextRef="#ctx0" brushRef="#br0" timeOffset="28603.43">13792 12541 1118 0,'0'0'448'0,"0"0"-59"0,0 0-18 15,-15-6-33-15,15 6-28 0,-3-3-21 0,3 3-94 16,-7-2-19-16,7 2-4 0,-5-2-14 0,1-1 9 15,4 3-11-15,-7-3-23 0,2 0-7 16,0 2-19-16,0-2 6 0,0 0-6 0,0 0-4 16,0-1-37-16,-1-1 113 0,1 2-43 0,0-2 10 15,0-1-34-15,2 1-4 0,-1-2 15 16,1 0-39-16,-2-1-4 0,4-1 19 0,-1 2-27 16,2-3-8-16,0 0 0 0,2-1-13 15,-1 1-20-15,1-1 15 0,3 0-23 0,0 2-15 16,-2-1 23-16,4 4-14 15,-1 0-9-15,-1-1 8 0,2 3 7 0,-4 2-8 0,3 0-2 16,1 2-24-16,-7 0 27 0,11 2 9 0,-7 2-25 16,2 0 0-16,-2 1 6 0,-1 1 6 15,2 0 6-15,-2-1-15 0,-1 2-8 0,-2-1 10 16,3 0-3-16,-3-1-2 0,2-1 11 16,-1 1-29-16,-1 0 13 0,0-5 33 0,-1 6 0 15,1-3-28-15,0-3 2 0,0 4 11 0,0-4-20 16,0 0 14-16,0 0-17 0,0 0 13 15,0 0-6-15,6-13-2 0,-3 7 0 16,4-4 15-16,-2 2 0 0,3-3-5 0,4 0 3 0,-3-2-3 16,3 4 5-16,1-2-12 15,0 3-6-15,-1 1 11 0,-1 1-19 0,1 2 27 0,-2 3-1 16,-1 1-31-16,1 1-2 16,-2 3 44-16,0 3-19 0,-1 0 1 0,0 2 20 0,-4 1-10 15,0 2 10-15,-1 0 15 16,-4 1 16-16,-4 1-5 0,-1 2-11 15,-4 3 0-15,-3-2 8 0,-2 1-2 0,1-1 2 16,-1 0-13-16,1 0-15 0,-3-2 26 0,2-1-108 0,1-4-8 0,2 1-7 16,0-3-39-16,3 0-15 15,2 1-31-15,-2-3-15 0,5-2-57 0,-3 2-45 16,4-1-72-16,0 0-129 0,0 0-78 0,3-1-382 16,1 1 64-16,-2 0 82 0,4 0 77 15,1 1 86-15</inkml:trace>
  <inkml:trace contextRef="#ctx0" brushRef="#br0" timeOffset="29238">14835 13454 1308 0,'0'0'394'0,"0"0"79"0,3 10-30 15,-3-1-62-15,3 1-30 0,-1 3-31 16,-2 3-33-16,0 1-3 0,1 2-113 16,-1 0-20-16,-1 3-17 0,-1 0-1 0,2 1-18 0,-3 1-28 15,1-1-18-15,2-3-46 0,-3 1-26 16,1-2-30-16,2-3-31 0,0-2-28 0,-3-1-13 16,3 0-31-16,3-4-91 0,-1-1-93 15,1-1-103-15,2-3-424 16,0-1 59-16,3-3 91 0,0-1 81 0,2-2 47 0</inkml:trace>
  <inkml:trace contextRef="#ctx0" brushRef="#br0" timeOffset="29519.73">15033 13627 1131 0,'-10'1'430'16,"0"2"-26"-16,0 1-4 15,-4 1-52-15,1 0-18 0,-5 2-13 0,4 0-30 0,-2 0-8 16,1 0-72-16,4-2-22 0,-4 3-11 15,5-2 2-15,2 1-30 0,-2 0-5 0,5 1-16 16,-3-3 1-16,6 1-34 0,-1 0-7 16,3-2-4-16,0 3-4 0,3-3-13 0,1 0 72 15,4 0-41-15,2-1-6 0,3-1-81 0,1 0-6 16,3-2-25-16,-1 2-41 16,6-1-38-16,-1-2-31 0,2 0-28 0,0 0-59 0,0-1-172 15,-2 2-453-15,4 2-76 0,-6-2 130 0,3 1 36 16,-1 2 74-16,-1-1 84 0</inkml:trace>
  <inkml:trace contextRef="#ctx0" brushRef="#br0" timeOffset="30010">15376 13864 1203 0,'-4'-6'424'0,"-2"0"-47"0,1-4-19 0,-2 1-28 0,1-1-15 16,1-3-51-16,-2 1-21 0,2-5 5 0,-1 0-48 0,1-3 0 15,3 1-26-15,-1 0-28 16,3-1-21-16,0 5 0 0,3-1 11 0,-1 0-13 16,1 3-34-16,1-1 24 15,0 4-28-15,0 0-24 0,-1 2 8 0,3 3-13 0,-4 1-2 0,3 2 0 16,0 1-26-16,-5 1 28 0,0 0-4 15,13 6-17-15,-10-2-14 0,-1 1 12 0,1 1 3 16,-1 1-23-16,1-1 10 0,-1 0-13 0,-2 2 18 16,0-2 3-16,1-1-21 0,-1 0 8 15,0-1 23-15,0 0-20 0,0 0-11 0,0 0-5 16,0-4 5-16,0 0 26 0,0 0-41 0,0 0 10 16,0 0 23-16,18-9-18 0,-11 5 8 15,3-5 18-15,3 1-41 0,-2 0 15 16,1 0 3-16,4 0-105 0,-4 2 18 0,1 1 15 0,0 1 10 15,0 3 6-15,-3-1 17 16,1 4 11-16,-1 1 12 16,0 4 8-16,-2 1 49 0,-3 3-21 0,0 1 8 15,-5 0 77-15,-3 3-28 0,0 2-83 0,-4 5 4 0,-1 0 9 16,-9 7-43-16,1-2 5 16,1 0-38-16,-3 0-13 0,2-7-59 0,3-1-3 0,1 0-56 0,-1-2-25 15,0 0-136-15,2-3-131 0,1-1-486 0,0 1 123 16,5-5 43-16,-3 1 106 15,3-4 91-15,0 1 29 16</inkml:trace>
  <inkml:trace contextRef="#ctx0" brushRef="#br0" timeOffset="31995.3">12318 10371 982 0,'30'4'379'0,"7"-4"-56"0,16 0-29 0,27 5-38 0,9-4-5 0,11-1-39 16,34 1-4-16,12 3-27 0,-2 1-12 16,4-2-30-16,11 2 32 0,-4 1-66 15,-2 1 0-15,-2-1-26 0,0 0-33 0,-4 4-5 0,-4-3 11 16,-4 0-29 0,-9 1-16-16,-24-4 1 0,-2-1-16 15,-4 2-4-15,-7-3-22 0,-8 3-50 0,-11-1-54 0,-12-3-42 0,-8 1-88 0,-19-4-27 16,-4 6-491-16,-13-2 34 0,-8-1 102 0,-4-1 87 15</inkml:trace>
  <inkml:trace contextRef="#ctx0" brushRef="#br0" timeOffset="32740.3">12341 10853 1300 0,'-5'-3'409'0,"5"2"-32"0,0 1-9 0,16 0-32 0,1 0-45 0,9 0-9 15,23 1-34-15,23 2-10 0,9-1-7 16,7 3-42-16,9-2-28 0,34 3 13 0,4 1-20 15,1-2-13-15,1 4-47 0,8 1-14 16,-1-4-14-16,0 7-17 16,-3-4-64-16,-2 0-21 0,-4 3-28 0,1 0-16 0,-10-1-30 0,-29-4-20 15,0 0-39-15,-9 1-46 0,-6 0-51 0,-8 1-116 16,-8-1-419-16,-19-1 43 0,-14-2 37 16,-12 1 109-16,-9-1 51 0</inkml:trace>
  <inkml:trace contextRef="#ctx0" brushRef="#br0" timeOffset="32979.81">11982 11487 1169 0,'3'6'374'16,"9"-5"-23"-16,12 2-49 0,7-3-23 0,24-1-18 15,28-2-28-15,14-3-26 0,37 4-12 0,4-2 12 16,10-1-61-16,9 2-18 16,5-1 5-16,2 1-28 0,5 1-13 0,-2 0-33 15,-1 2 5 1,-6 0-82-16,-7 0-36 0,-4 4-10 0,-11-1-77 0,-30 1-35 16,-5 1-32-16,-3 0-58 0,-6-1-105 0,-6 1-443 15,-7 1 115-15,-4 1 24 0,-23-2 63 0</inkml:trace>
</inkml:ink>
</file>

<file path=ppt/ink/ink20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5:11.84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definitions>
  <inkml:trace contextRef="#ctx0" brushRef="#br0">16938 2776 1351 0,'-15'1'430'0,"5"0"-8"16,0-1-38-16,2 0-38 0,2 1-39 15,6-1 0-15,-2 2-56 0,2-2 2 0,0 0-20 16,33 1-15-16,-2-1-6 0,23-1-17 0,20-1-6 15,11-1-2-15,15-1-23 0,31 1 2 16,9 0-15-16,4 1-7 0,12-1-9 0,3 1 1 16,-2 2 7-16,5 0-7 0,1 2-33 0,2 0-19 15,-4 1-23-15,-7 0 9 16,2 0-32-16,-6 2-5 16,-7-1-33-16,-10 0 3 0,-31 0-34 0,-4 2-10 0,-6-3-10 0,-5 2-21 0,-7 0-53 15,-9-1 12 1,-14-1-58-16,-6 1-34 0,-14-1-110 0,-7-2-43 0,-9-2-139 0,-6 4-493 15,-5-2 170-15,-7 1 4 0,-3-2 81 0,0 0 75 16,-24 0 43-16</inkml:trace>
  <inkml:trace contextRef="#ctx0" brushRef="#br0" timeOffset="924.95">16956 2865 847 0,'-41'5'386'0,"5"0"-25"16,11-3-15-16,7 0-47 0,5-1-7 15,10 1 0-15,3-2-18 0,0 0-31 0,41-5-23 0,15 0-18 16,26-1 0-16,16 0 26 16,38-3-92-16,13 2 64 0,10 1 2 15,7-1-28-15,11 4 5 0,0 0-10 0,3 3-15 16,4 3-26-16,-2 2-6 0,-2 1-4 0,-5 5 10 15,-8-1-36-15,-7 0 8 0,-9 2-18 16,-12-2 10-16,-11 1-18 0,-28-3-15 0,-5 0 10 0,-5 1-23 16,-6 0-25-16,-4 0 25 15,-3-1 5-15,-6 0-12 16,-19 1-9-16,-3-2 34 0,-6-1-38 0,-9-1-3 0,-7 0 5 0,-3-2-23 0,-6 2 26 16,-1-3 7-1,-3 1-15-15,-2 0 6 0,-1-1-14 0,-2-1 21 0,0 1 10 0,-2-1-5 16,0 2 18-16,-1-3-6 0,-1 1-17 15,-5-1 26-15,8 1-6 0,-3-1-10 0,-5 0-15 16,0 0-3-16,7 1-5 0,-7-1 26 0,0 0-16 16,0 0-23-16,8 0 13 0,-8 0 21 15,0 0-19-15,0 0 24 0,0 0-39 0,0 0 3 16,8 0 15-16,-8 0-15 0,0 0-11 16,0 0 9-16,0 0-16 0,0 0-1 0,0 0-22 0,0 0 13 15,0 0 5-15,0 0 22 16,0 0-17-16,8-1-5 0,-8 1-5 0,0 0 12 15,0 0 13-15,0 0-27 0,0 0 29 0,0 0-9 16,0 0-16-16,0 0 16 0,0 0-16 16,0 0 8-16,0 0-6 0,0 0 22 0,0 0-19 15,0 0-2-15,0 0 2 0,0 0 3 0,0 0-13 16,0 0 8-16,0 0 0 0,0 0 2 16,0 0 3-16,0 0 5 0,0 0-5 0,0 0-3 15,0 0 11-15,0 0-29 0,0 0 8 16,0 0 15-16,0 0-20 0,0 0 26 0,0 0-26 15,0 0 33-15,0 0-23 0,0 0 16 0,0 0-23 16,0 0-4-16,0 0 19 0,0 0-7 16,0 0 14-16,0 0-20 0,0 0 11 0,0 0-32 15,0 0 14-15,0 0 12 0,0 0-13 0,0 0 6 16,0 0 7-16,0 0 13 0,0 0-10 16,0 0-8-16,0 0-8 0,0 0 26 0,0 0 13 15,0 0-13-15,0 0 15 0,0 0-33 0,0 0 21 16,0 0-11-16,0 0-17 15,0 0 19-15,0 0-6 0,0 0 1 0,0 0 27 0,0 0-26 16,0 0-26-16,0 0 28 0,0 0-15 0,0 0 26 16,0 0-9-16,0 0-4 0,0 0 8 15,0 0-21-15,0 0 0 0,0 0 17 0,0 0-9 16,0 0 7-16,0 0 21 0,0 0-31 16,0 0 23-16,0 0-17 0,0 0 4 0,0 0-2 15,0 0-16-15,0 0 18 0,0 0-2 16,0 0 3-16,0 0-11 0,0 0-3 0,0 0-17 15,0 0-6-15,0 0-2 0,0 0-15 0,0 0-16 16,0 0-23-16,0 0-48 0,0 0-9 16,0 0-34-16,-12-6-45 0,3 5-156 15,-1 0-140-15,0 1-453 0,-3-3 114 0,-2-1 78 0,-1 0 43 16,1-1 100-16,-6-1 76 0</inkml:trace>
  <inkml:trace contextRef="#ctx0" brushRef="#br1" timeOffset="9412.51">9903 4428 1438 0,'0'0'456'0,"0"-4"-37"16,0 4-32-16,0-6-39 15,0 6-41-15,2-3-18 0,-2 3 8 0,0 0-33 16,1 16-23-16,1-3 2 0,1 5-20 0,-1 8-26 16,1 12 2-16,-1 5-30 0,3 6 0 0,-5 2 72 15,0 13-19-15,-2 3-14 0,-1 2-26 16,0 1-26-16,-1-3-10 0,-4-2-29 15,2-3 4-15,2-1-34 0,-2-15-80 0,1 0 14 16,3-4-29 0,-3-1 21-16,3-10 2 0,1-5-15 0,-2-3 0 0,1-3-20 0,2-3 12 15,0-3-2-15,0-1-28 0,-2-1 22 0,2-3-12 16,0 1 13-16,0-3 10 0,2-2 5 0,-2 1-29 16,0-4 22-16,0-2-1 0,5 4 0 0,-5-4 8 15,0 0 0-15,0 0-7 0,0 0 9 16,13-4-4-16,-13 4-27 15,8-5 24-15,-3 4 0 0,0-2-8 0,3 0-2 16,-1 1 10-16,1-1 0 0,2 0 15 0,0 1-15 16,0-1 31-16,3 1-21 0,0-2 5 0,2 2 3 0,-1-2-11 15,1 2 11-15,5-2-28 0,-4 3 35 16,5-3 1-16,-1 3-29 0,1-2 13 0,1 0 3 16,-1 2-3-16,2-1-3 15,5-3-4 1,3 3 4-16,-3-1 11 0,-2 1-5 0,5 1-23 0,-1-3 30 0,-1 3-23 0,4-1 13 0,0-1 16 15,-2 1 7 1,3 2-20-16,-1 0 2 0,0-4-23 0,1 4 31 0,1-2-5 0,-1 1 18 0,-1-1-42 16,3 0 14-16,-1 2 2 0,2 0 3 0,11-1-11 15,-9 1 16 1,-3 0-13-16,0 0 8 16,-1 0-26-16,3 0 28 0,11 0 3 0,-10 0-29 0,10-1 11 0,-11 0 0 15,-4 1 0-15,2 0 8 0,-1 0-9 0,1 0 24 16,0 0-20-16,13 0 7 15,-1 0-5-15,-9 0-5 0,-6 2 0 0,3-2 5 0,-3 0 7 0,4 0 4 16,-2 0-32-16,11-2 16 0,-5 2 15 16,-7 0 6-1,4 0-21-15,9-3 5 0,-9 4 23 16,-5-1 5-16,3 0-28 0,-3 0-5 0,3 0 20 0,-2 2-18 0,-1-1-15 0,3 0 21 0,-3 0-18 16,3-1 10-16,0 2 10 0,10 1-3 15,-7-3-2-15,-6 2 3 0,14 2-3 16,-2-4 18-16,-6 0-11 0,-3 2-7 0,-1-2-23 0,-1 1 28 15,-1-1-20-15,3 2 13 16,8 0 2-16,-3-2-3 16,-8 0 13-16,3 0 6 0,0 0-1 0,-1 0 3 0,14 0 10 15,-8 0-10-15,-7 0 10 0,2 1-15 16,0-1 0-16,10 0 2 0,-6 2-2 0,-6 0 2 0,1-1 1 0,-1-1-6 16,-3 2 13-16,2-2-23 0,0 1 0 15,-2 1 31-15,0-1-34 0,0-1-2 16,2 0 15-16,-2 0 5 15,2 0-9-15,1 0-4 0,-1 0-15 16,0 1 6-16,1-1 14 0,-1 0 27 0,0 0-32 0,-2 1 3 0,0-1 16 16,-3 0-21-16,3 3-10 0,-5-3 17 0,4-3 6 15,-2 3 15-15,-2 0-15 0,0 0-16 0,0 0-9 16,-1 3 1-16,1-3 14 0,-3-3 12 16,2 3 1-16,-1 0-24 15,-2 0 11-15,-1 0 17 0,-1 0-38 16,4 0 13-16,-4 0 8 0,-2 0-1 0,0 0 21 0,5-1-10 15,-5 1-18-15,2 1 0 0,4-3 17 0,-4 3-9 0,-2-1 0 0,5 0 30 16,-5 0-15-16,3 0-31 0,-4 0 21 31,4 0-16-15,-3-1 36-16,2 1-12 0,1 0 12 0,-5 0-28 0,2 0 5 0,-1 0 5 0,1 0 62 0,-2 0 20 0,-1 0-8 0,-5 0-9 16,4 0-6-16,-2 0-33 0,0-1-36 15,-3 2 0-15,1-2 0 0,0-1 0 0,0 2 0 16,-2-1 0-1,0 1 0-15,-1 0 0 16,3-2 0-16,-4 2 0 0,2-1 0 0,-1-3 0 0,-2 3 0 0,0-1 0 0,0-3 0 0,1 1 0 16,-1-3 0-16,0 2 0 15,-2-2 0-15,1-1 0 0,2-5 0 0,-2 1 0 0,0-4 0 16,-2-3 0-16,3-3 0 0,0-3 0 0,0-13 0 0,1-1 0 16,-2 0 0-1,2 0 0 1,2 0 0-16,-1-4 0 0,-2 2 0 0,0 1 0 0,3-2 0 0,-3 3 0 0,3-3 0 0,-3 3 0 15,0 1 0-15,2-2 0 0,-3 7 0 16,0-3 0-16,2 6 0 0,-2 3 0 0,-1 0 0 16,0 2 0-16,0-1 0 0,1 1 0 0,-1 0 0 15,2 4 0-15,-2 1 0 0,0 2 0 32,1 3 0-32,-1-3 0 0,0 4 0 15,-1 2 0-15,1-1 0 0,-1 1 0 0,1 1 0 0,-1 3 0 0,1-3 0 0,0 3 0 0,-1-1 0 0,0 2 0 16,-1 1 0-16,1 3 0 0,-2-3 0 15,3 2 0-15,-3-2 0 0,2 4 0 0,-2-4 0 16,0 6 0-16,1-7 0 0,-1 5 0 16,0 2 0-16,0-4 0 0,0 4 0 15,2-5 0-15,-2 5 0 0,0 0 0 0,0 0 0 0,0 0 0 16,0 0 0-16,0 0 0 0,0 0 0 0,-11 0 0 16,11 0 0-16,0 0 0 0,-12 4 0 15,7-3 0-15,0 1 0 0,-1 0 0 16,-1 0 0-16,-1 0 0 0,1-1 0 0,-2 2 0 0,-1-2 0 15,-2 2 0-15,-1-1 0 16,0 0 0 0,-2-1 0-16,-1 1 0 0,1-1 0 0,-1 2 0 0,-2-3 0 0,1 0 0 0,-4 3 0 15,-2-2 0-15,0-1 0 16,-3 0 0-16,1 1 0 0,-6 0 0 0,-3-1 0 0,1 0 0 0,0 0 0 16,2 0 0-16,-2 1 0 0,0-1 0 15,-1 0 0-15,0-1 0 16,1 1 0-16,0-1 0 0,0 0 0 0,-1 1 0 0,1-4 0 15,-1 4 0-15,-1-2 0 0,1 1 0 0,-14 0 0 16,4-2 0-16,-2 1 0 0,10-2 0 0,0 3 0 16,3 0 0-16,0 0 0 0,-1-2 0 0,1 1 0 15,0 2 0-15,-1-3 0 0,1 2 0 16,-3 0 0-16,3 0 0 16,-11-3 0-16,6 3 0 0,2-1 0 15,3 2 0-15,-14-4 0 0,1 3 0 0,8 0 0 0,5-1 0 0,-3 0 0 0,5 1 0 16,-5 0 0-16,3 0 0 15,0-3 0-15,-1 3 0 0,1 0 0 0,2-2 0 0,-2 0 0 16,-1 1 0-16,1-1 0 16,0 2 0-16,-1-2 0 15,-1 2 0-15,1-1 0 0,1 1 0 0,0-2 0 0,-2 0 0 0,0 1 0 0,1 1 0 16,1-1 0-16,3 1 0 16,-3-3 0-16,2 2 0 0,0 1 0 0,0-2 0 15,-2 1 0-15,2-1 0 0,2 1 0 0,-3 0 0 0,3-2 0 16,-2 2 0-16,1-1 0 0,-4 0 0 15,3 0 0-15,0 0 0 16,-12-3 0-16,7 2 0 0,5 1 0 16,-2-3 0-16,2 2 0 0,1 2 0 0,-1-4 0 0,0 2 0 15,-3 2 0-15,4-3 0 0,-14 0 0 0,3-1 0 0,3 3 0 16,7-1 0-16,1 1 0 0,1-2 0 16,-2 1 0-16,-2 1 0 0,0-1 0 0,2 2 0 15,0-3 0-15,0 1 0 16,-2 0 0-1,3 0 0-15,-1 1 0 0,0 0 0 0,3 0 0 0,-1-1 0 0,1 2 0 0,3-2 0 16,1 2 0-16,-1 1 0 0,1-2 0 16,0 1 0-16,0-1 0 0,3 1 0 0,-2 1 0 0,5 0 0 0,-2-2 0 15,2 2 0-15,3 0 0 0,-3 0 0 0,5 1 0 16,-3 0 0-16,4 0 0 0,1-3 0 16,-1 3 0-16,-1 0 0 0,5-1 0 15,-2 1 0 1,2 0 0-16,0 0 0 0,0 0 0 0,1 0 0 15,0 0 0-15,7 0 0 0,-16 0 0 0,11 1 0 0,-3 2 0 0,1-3 0 0,2 0 0 16,-3 1 0-16,-2 1 0 0,2-1 0 16,0 2 0-16,1-2 0 0,-1 1 0 15,-2 1 0-15,0-3 0 0,-1 3 0 0,1 0 0 0,-3-2 0 16,2 2 0-16,-1 0 0 16,1-1 0-1,1-1 0-15,-2 1 0 0,1 1 0 0,1-3 0 0,0 4 0 0,-3-2 0 0,5-2 0 16,-2 1 0-16,-3 2 0 0,3-3 0 0,0 3 0 15,-1-2 0 1,1 1 0-16,0-1 0 0,0 1 0 0,2-2 0 0,-3 4 0 0,1-4 0 16,3 1 0-16,-3-1 0 0,-1 4 0 15,1-3 0-15,2-1 0 16,-2 1 0-16,0 0 0 0,2 0 0 0,-2 0 0 0,2 1 0 16,-2-2 0-16,2 1 0 0,-2 0 0 0,2-1 0 0,1 0 0 15,-1 1 0-15,0 2 0 0,0-3 0 0,1 0 0 16,-1 0 0-16,3 1 0 0,5-1 0 0,-13 0 0 15,5 1 0-15,3 0 0 16,5-1 0-16,-10 1 0 0,5 1 0 16,5-2 0-16,-11 1 0 0,11-1 0 0,-7 0 0 0,7 0 0 15,-8 0 0-15,8 0 0 16,-7 0 0-16,7 0 0 0,0 0 0 0,-8 1 0 0,8-1 0 0,0 0 0 16,-8 0 0-16,8 0 0 15,0 0 0-15,-7 0 0 16,7 0 0-16,0 0 0 0,-8-1 0 0,8 1 0 0,-6-3 0 0,6 3 0 0,-4-3 0 15,4 3 0-15,-6-1 0 0,6 1 0 0,-5-4 0 16,5 4 0-16,-5-2 0 16,2 0 0-16,3 2 0 0,-7-3 0 15,7 3 0-15,-5-1 0 0,5 1 0 0,0 0 0 0,-8-1 0 16,8 1 0-16,-8 0 0 0,8 0 0 16,-7 1 0-16,7-1 0 15,-8 3 0-15,3 0 0 0,0-1 0 0,-1 2 0 0,-1 2 0 0,2-2 0 16,-3 1 0-16,3 1 0 0,-3 1 0 0,0 2 0 15,-1-2 0-15,0 1 0 16,-1-1 0-16,3 3 0 0,-4-2 0 0,1 3 0 0,-3-3 0 16,3 3 0-16,-3 1 0 15,1 0 0-15,-1-1 0 0,-2 3 0 16,-1-1 0-16,3-1 0 0,1-2 0 0,-2 1 0 16,2 0 0-16,1-2 0 0,1 0 0 0,0-2 0 15,2 1 0-15,0-1 0 0,1-1 0 16,1 1 0-16,-1-1 0 0,2 0 0 0,-1-1 0 0,2-1 0 0,1-1 0 15,-2 1 0-15,2-1 0 0,1 2 0 16,-1-3-77-16,0 2-159 0,3-1-25 16,0-3-8-16,0 8-45 0,1-6-106 0,4 3-131 0,-5 0-14 15,5-2-492-15,3 2 102 0,2 0 105 0,2 0 67 16,1-1 76-16,5 2 49 0</inkml:trace>
  <inkml:trace contextRef="#ctx0" brushRef="#br1" timeOffset="10227.53">15354 4982 1499 0,'0'0'489'0,"0"0"-105"0,0 0-25 0,0 0-32 16,-16-6 16-16,9 5 0 0,-6 1 16 0,0-1-19 16,-5-1-33-1,0 2 11-15,-5-1-47 0,0 1-23 0,-3 0-89 0,-5 0-21 16,0 1 8-16,-2-1-13 0,0 0-20 0,0 0-29 0,2 0 11 15,3 0-36-15,2 0 18 0,3 0-11 16,-2 0-9-16,4 0-19 0,1 0-5 16,2-1-30-16,2 1-16 0,1 0-36 0,4 0-40 15,-2-2-37-15,6 2-50 0,-3 0 2 16,2 0 18-16,8 0-36 0,-10 0-18 0,10 0-18 16,0 0-69-16,-3 2-64 0,3-2-77 0,0 0-465 15,0 0 35-15,15 5 138 0,-7-4 60 31,0 1 56-31</inkml:trace>
  <inkml:trace contextRef="#ctx0" brushRef="#br1" timeOffset="10452.81">15115 5025 1254 0,'0'0'507'0,"3"2"-54"16,-3-2 2-16,0 0-117 0,-11 4-13 15,4-1 5 1,-4 0 49-16,-1-1-23 0,-3 0-8 0,-1 1-117 0,-2-1-37 0,-3 1 19 15,1-1-32-15,-1-1-9 0,1 4-21 16,5-4-21-16,-3 0-2 0,0 1-30 0,2-1 7 16,1 0-13-16,-1 1-13 0,3-2-12 0,1 1-29 15,-1-1-18-15,3 2-14 0,-1-1-53 16,1-1-27-16,5 0-28 0,-3 1-34 0,1 0-35 16,7-1-26-16,-11 0-21 0,11 0-20 0,-7 0-59 15,7 0-15-15,-6-2-205 0,6 2-407 0,0-3 115 16,0 3 26-16,0 0 76 0,0 0 80 15</inkml:trace>
  <inkml:trace contextRef="#ctx0" brushRef="#br1" timeOffset="10779.03">14979 4850 1387 0,'-7'-4'435'0,"7"4"-8"0,0 0 11 0,-18 4 5 0,10-1-23 0,-3 2-44 0,-1 0-25 16,-4 2-19-1,-4 4-22-15,2 0-31 0,0-1-2 0,-2 4-34 0,-1 0-5 0,4 0-21 16,1 1-50-16,1 0-19 0,4-2-2 0,1 0-5 16,2 2-54-16,1 1 8 0,4-3-24 15,3 1-35-15,0-1 8 0,2 0-65 16,4 0-40-16,-1 3-13 0,3-3-47 0,2 1-35 0,0 1-59 15,0-2-64-15,1 0-274 0,1 2-460 0,1-3 50 16,-3 1 106-16,3 1 102 16,-2-2 66-16,-1 0 57 0,0 4 48 0</inkml:trace>
  <inkml:trace contextRef="#ctx0" brushRef="#br1" timeOffset="18927.98">8485 10721 957 0,'0'0'438'0,"-2"22"-3"15,-1-2-21-15,0 8-17 0,-1 18-33 0,1 18-6 16,0 13-51-16,-2 7 8 0,2 30-34 0,-7 12 4 16,3 8-37-16,-1 5-18 0,-5 8-22 0,-3 9-29 15,6 2 28-15,-5 5-81 0,-1 0 4 16,1-6-22-16,0-1-47 0,2-3-35 0,-2-7-14 15,7-6-14 1,-2-9-29-16,5-8 11 0,-1-10-6 16,6-27-20-16,-5-5-8 0,0-4-17 0,2-3-19 0,-5-5-5 0,4-7-43 15,-2-17-39-15,-1-3-38 0,-4-5-41 0,-1-5-122 0,1-18-14 16,1-1-512-16,0-7 70 0,-3-5 99 0,0-5 60 16,-4-9 42-16</inkml:trace>
  <inkml:trace contextRef="#ctx0" brushRef="#br1" timeOffset="19842.86">8587 10852 1000 0,'16'-2'290'0,"7"1"-17"0,7-1-24 15,17-2-27-15,4-1-12 0,18 1-15 0,6-4-6 16,10 3-40-16,1-1 12 0,7-2 3 16,-1 0-26-16,6 2-28 0,25-5-2 0,0 3-9 0,-23 1-22 15,2 0 28-15,3 0-8 0,18-2-17 0,-20 5 20 16,-6-2-8-16,-2 3 8 15,-3 1 10-15,-4 0-3 0,-9 2 11 0,-2 4-8 16,-2 2-23-16,-6 3 13 16,-8 1-13-16,-2 6-10 0,-15-1 25 0,-3 4-15 0,5 6 5 15,-7 6 13-15,-11-2-31 0,3 12 8 0,-8 5 0 16,-5 7-2-16,-6 3-9 16,-2 10 19-16,-4 5-21 0,-6 4-15 0,0 8-21 0,-3 3 13 15,-2-1 18-15,0 2-31 0,2-2 11 16,-2 1-3-16,0 1 0 15,0 0-23-15,2-3 7 0,1 2-4 16,-3-3 9-16,2 0-1 0,3-2-50 0,-3-2 44 0,-2 1-15 0,5-5 17 16,0-5-1-16,3-1-14 15,-3-3-3-15,3-3-7 0,-4-10-2 0,2-1-11 0,-1-3-10 0,0-2 5 16,0 0 8-16,-1-2-21 0,-4-2 13 16,5-3-2-1,-3 0-11 1,-1-7 18-16,-4 1-7 0,2-5 12 0,0-4-12 0,-2-3-14 0,-2 0 27 0,1-2-16 0,-3-1 15 0,-1-3 8 0,-2-1-23 15,-3-4 18-15,5-2 5 0,-5-1 2 16,-1-1-4-16,-5-1-3 16,-2 1 12-16,-3-3 11 0,-14 2 0 0,-4 1 3 0,-4-4 9 0,-5 2-12 15,0 0 8-15,-19-2-3 16,1 1-26 0,-3-1 32-16,-7 0-19 0,-4 1 3 0,1-2 28 0,-3 0-39 0,1-1 11 15,1 1-18-15,-4 0 38 0,-1-1-12 16,1 2-11-16,2 0 13 0,6-2-18 0,-1 0 13 0,4 0-39 15,6-1 37-15,0 2-3 0,14-2-6 0,0-2-2 16,-1 4-17-16,3 0 19 0,2-2-9 16,4 0-3-16,12 0-24 15,7 0-19-15,1 0-3 0,3-2-31 0,7 0-23 0,2-1 0 16,5 0-51-16,1-3-13 0,2-1-69 0,6-2-151 0,-1 0-200 16,3-3-351-16,4-4 78 0,1-4 63 0,3-5 75 15,5-13 97-15,2-2 40 16</inkml:trace>
  <inkml:trace contextRef="#ctx0" brushRef="#br1" timeOffset="20327.09">8865 11128 1274 0,'0'-3'476'0,"0"3"-43"0,0 0-21 0,0 0-18 16,0 0-35-16,-1 15-37 0,1-6-10 0,0 2-43 16,0 2-36-16,0 1 0 0,-2 3-61 15,2 2-34-15,-3-2-26 0,0 3-25 0,1-1-38 16,0-3-49-16,-1 1-33 0,0 0-24 0,1-3-30 16,2-1-53-16,0-2-106 0,0-1-100 15,0-2-166-15,2-2-368 0,1 0 99 16,2-4 44-16,0 2 84 0,3-6 65 0</inkml:trace>
  <inkml:trace contextRef="#ctx0" brushRef="#br1" timeOffset="20617.82">9064 11181 977 0,'0'0'369'0,"-10"0"-24"16,2 3-7-16,-2 0-15 0,0 2-42 0,-3-1-2 0,1 3-23 0,-2 0-23 15,2 0 18-15,-1 0-46 0,0 1-11 0,6-2-2 0,-3 3-7 0,2 0-27 16,0-3-14-16,3 1 7 0,0 2-31 16,4-2 0-16,-1-1-33 0,4 1 16 15,-2-1 61-15,3 1-24 0,2-3-9 0,0 0-67 16,1 1-23-16,1 0-21 0,0-3-17 0,1 3-29 16,2-4-15-16,1 2-56 0,-1-3-10 15,0 0-42-15,4-3-84 0,-4 3-79 16,3-5-121-16,1 4-503 0,0-1 81 0,-1-1 105 0,2-1 46 15,0 1 89-15,-2 2 62 16</inkml:trace>
  <inkml:trace contextRef="#ctx0" brushRef="#br1" timeOffset="22214.19">10587 12961 1574 0,'0'0'471'0,"-10"1"-46"0,2 2-24 0,1 1-98 0,-1 1-14 16,0 1-23-16,0 2 0 0,1 2-38 16,2 1-13-16,-3 2 54 0,3 2-26 0,-3 4-5 15,0 3-33-15,4 1-34 0,-2 0 8 0,4-3-43 16,-1 1-3-16,1-1 0 0,4-1-20 0,1 0-21 15,-1-3-15-15,1 0-11 0,4-2-4 16,1-1-37-16,0-3 1 0,0-2 5 0,2-2-29 16,1-1 1-16,-1-3 10 0,2-2-36 0,-1-2 5 15,4-2 31-15,0-1-16 0,1-5-18 16,1-3 39-16,1-2-23 0,3-10 16 16,-3-4-35-16,-2 1 12 0,-4-4 12 0,-4-3 5 0,2-4-36 15,-7-1 23 1,-1-2 21-16,-4 3-26 0,0 1 6 0,-4 7 17 0,4 4 3 15,-4 5-6-15,-1 0 27 0,1 6 27 16,-1-2-40-16,-3 6 32 0,2 4-22 0,1 2-10 16,-1 3 7-16,2 1-10 0,-1 4-3 15,1 1 21-15,-1 4 7 0,2 2-4 0,2 4 20 0,0 5-13 16,1 4 2-16,2 4 32 16,2 2-4-1,4 10-4-15,-1 1 5 0,2 2-41 0,2-1-13 0,1 2 23 0,0-2-28 0,0-1 25 16,3 0-12-16,0-3 0 0,-3 0 2 0,1-2 13 0,1-1-20 15,-2-8-11 1,-2-3 13-16,0-1-2 0,-1-3-11 0,-1-2 13 0,-1-2-30 0,0-3-29 16,0 0-2-16,0-2 10 0,-2-2-23 15,2-2-11 1,-2-1-12-16,1-2-25 0,-1-2-27 0,-3 0-25 0,0 0-35 0,13-5-42 0,-8 1-13 16,0-1-40-16,-2-1-77 15,4-3-154-15,-2-1-525 0,1 0 119 0,1 0 24 0,1-3 160 16,-1-1 43-16,-1-1 79 0,6-2 65 0</inkml:trace>
  <inkml:trace contextRef="#ctx0" brushRef="#br1" timeOffset="23425.45">11838 12017 916 0,'0'0'389'0,"0"0"-23"0,0 0-31 0,14-1-10 0,-4 1-38 16,3-1-41-1,4 2 2-15,1-2-23 0,6-1-33 0,1 2-5 0,6 0-23 16,0-1-5-16,0-1-26 0,0 1-44 16,1-1-25-16,1 0-10 0,1 0-67 0,-1 0-30 15,-2-1-49-15,0 1-85 0,-1 0-56 0,-4 1-36 16,-5-1-156-16,-1 2-376 0,-2 0 56 0,-5 2 95 16,-3-2 110-16</inkml:trace>
  <inkml:trace contextRef="#ctx0" brushRef="#br1" timeOffset="23703.18">11836 12139 1031 0,'-21'1'351'0,"1"0"48"16,7 1-20-16,0-2-54 0,6 0 0 0,1 1-23 16,2-1-13-16,4 0-30 0,0 0-11 0,0 0 6 15,0 0-37-15,20 5-4 16,-7-3-21-16,2-1-26 0,6 1-28 0,-1-1 11 15,5 1-14-15,-1 0 4 0,1-1-6 0,1 0-16 0,0 1-12 16,0-2 3-16,-1 3-31 16,-2-2 2-16,-2 0-15 0,-4-1 0 0,1 1-28 0,-2 1 28 15,-1-2-49 1,-2 0-20-16,-2 1 15 0,-1-1-38 0,0 0-41 0,0 0-23 16,1 0-41-16,-1-1-23 15,2 1-54-15,-1-3-67 0,1 2-122 0,4-3-574 16,-1 3 90-16,3-4 59 0,2 2 36 0,1 0 125 0,0-1 97 15</inkml:trace>
  <inkml:trace contextRef="#ctx0" brushRef="#br1" timeOffset="24429.73">13541 11781 1133 0,'0'0'364'0,"0"0"-19"0,0 0-9 0,-3 12-32 0,1-3-25 0,-3 2-18 0,5 1 3 16,-5 6-8-16,2-1-36 0,1 3-43 0,2 0-11 16,0 2 80-16,2-1-11 0,1 5-48 0,2-1-15 15,5-2-1-15,3 7-25 0,-1-8-36 16,7 5 5-16,3-3-2 0,-3-5 15 16,7 1-41-16,1-3 0 0,7-3-15 0,-1-2-11 15,-2-4-10-15,-3-4 11 0,-2 0-13 0,-3-4 7 16,0 0-38-16,3-3 15 0,-4-1-5 15,-3-2 0-15,1 1 11 0,-2-3-6 16,-3-3 8-16,-2 2-8 16,-2-3 13-16,-4-4 0 0,-2 2 3 0,-4-1-8 0,-1-2 2 15,-6-5 11-15,-4 1-10 0,-3-8-1 16,-5 2 14-16,-3 3-9 0,-1 0-9 0,-1 2 14 0,2 5-14 16,0 4 22-16,1 2-30 0,2 2-3 0,-2 1-82 15,-1 3 11-15,0 1 4 16,1 2 6-16,4 0-21 15,-6 3-20-15,-2 2 8 0,3 1-9 0,-4 1-14 0,2 1-9 0,0 2-24 0,0 1-29 16,3 0-13-16,2-1-26 16,2 2-30-16,3 1-25 0,1 0-37 0,4-2-28 0,0 1-87 15,5-2 16-15,-2 0 43 0,5 0-537 0,-2 0 92 16,4 1 50-16,1 0 94 16,2-2 50-1</inkml:trace>
  <inkml:trace contextRef="#ctx0" brushRef="#br1" timeOffset="25194.76">15077 11794 1087 0,'0'0'418'0,"-8"12"-4"15,-5-2 60-15,-2 6-42 0,-16 6-73 0,-7 11-44 16,-6 3-8-16,-8 1-5 0,-4 4-23 16,-16 15-10-16,-2 4-42 0,3 2-19 15,-6-1-4 1,5-1 29-16,-3 0-10 0,6-1-10 0,0-2-37 0,12-12-15 0,-1 1-17 0,6-3 7 16,1 0-41-16,5-2-23 15,5-2 5-15,5-1-36 0,8-10 21 0,4-3-23 0,2-1-36 16,9-7-16-16,0-4-30 0,5-2-10 0,0-3-13 15,3-1-49-15,2-4 15 0,1-1-25 16,2-2-25-16,0 0-32 0,0 0-14 16,13-16-24-16,0 5-56 0,5-2-80 0,8-8-150 0,-1-3 2 15,6-1-425-15,10-7 64 0,0-1 151 0,2-2 8 16,4 1 59-16,-1-4 77 16</inkml:trace>
  <inkml:trace contextRef="#ctx0" brushRef="#br1" timeOffset="25708.55">15523 11725 977 0,'8'-2'343'0,"-3"0"64"0,-3 0-13 15,-2 2-20-15,6 0-33 0,-6 0-11 0,0 0 26 16,0 0-62-16,0 0-7 0,-3 12-13 15,-2-7 2-15,-3 3-30 0,-2 3-16 0,-5 3 21 16,-11 9-31-16,0 1-28 0,-12 8-20 0,-3 4-60 16,-3-1-4-16,-2 6-14 15,-5 0-12-15,-3 3 21 0,2 2 55 0,-15 12-35 0,16-8 8 47,0-1-13-47,-16 8 7 0,16-12-38 0,0 2-5 0,-1-1 15 0,-1-2-38 0,4 0-5 0,1-2 5 0,1-2-3 0,4-1 16 16,4-1-24-16,0-4-14 15,4 0 1-15,7-8 12 0,2-2-22 0,1-3 1 0,6-2-16 0,1-5 23 0,4 0-10 16,-2 0-7-16,5-5-4 0,1 0 32 16,0 0-1-16,2-3-35 15,0 0 25-15,4-1-53 16,-2-1 25-16,1 0 8 0,0 1-31 0,2-3 3 0,-1 1-19 0,1 0 6 0,3-3 5 16,-5 3-18-16,5-3 21 0,-3 3-19 15,0 0 11-15,3-3-13 0,-4 2 0 0,4-2 3 16,0 0-8-16,-3 3-21 0,3-3 13 0,0 0-2 15,0 0-13-15,-5 2-18 0,5-2 8 16,0 0-34-16,0 0 21 0,0 0 28 0,0 0-28 16,0 0-6-16,0 0-17 0,0 0-10 15,0 0-8-15,0 0-11 0,8-12-22 0,-8 8-34 16,2 1-81 0,0-1-136-16,2-2-341 0,0 0-199 0,-1-2 94 0,2-2 126 0,0 0 30 0,-2-2 65 15,2-1 86 1</inkml:trace>
</inkml:ink>
</file>

<file path=ppt/ink/ink2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8T15:42:03.759"/>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context xml:id="ctx1">
      <inkml:inkSource xml:id="inkSrc303">
        <inkml:traceFormat>
          <inkml:channel name="X" type="integer" max="3840" units="cm"/>
          <inkml:channel name="Y" type="integer" max="1080" units="cm"/>
          <inkml:channel name="T" type="integer" max="2.14748E9" units="dev"/>
        </inkml:traceFormat>
        <inkml:channelProperties>
          <inkml:channelProperty channel="X" name="resolution" value="111.62791" units="1/cm"/>
          <inkml:channelProperty channel="Y" name="resolution" value="55.95855" units="1/cm"/>
          <inkml:channelProperty channel="T" name="resolution" value="1" units="1/dev"/>
        </inkml:channelProperties>
      </inkml:inkSource>
      <inkml:timestamp xml:id="ts1" timeString="2023-04-28T16:03:49.279"/>
    </inkml:context>
  </inkml:definitions>
  <inkml:trace contextRef="#ctx0" brushRef="#br0">19525 4943 1215 0,'0'0'366'0,"0"0"-58"0,0 0 37 15,0 0-27-15,12-5-29 0,-6 0-36 0,2 4-28 16,3-1-12-16,1-3-24 16,0 1 19-16,1 2-42 0,1-2-15 0,3 1 0 0,4-2-23 0,-4 0-18 15,4-1 18-15,-1 2-51 0,-2 0-21 16,1-1-5-16,-2-1-25 0,-4 4-39 15,0-3-12-15,0 1-32 0,-2 1-22 0,-1 0-36 16,-3 1-54-16,1 0-85 0,0-2-140 0,-3 2-274 16,0 2-92-16,0-4 66 0,-2 2 65 15,-3 2 55-15,7-4 75 0</inkml:trace>
  <inkml:trace contextRef="#ctx0" brushRef="#br0" timeOffset="411.14">19751 4672 1108 0,'0'0'263'0,"0"0"-4"0,0 0 7 16,0 0-33-16,-8 11-5 0,5-6 7 0,1 3-40 15,2 1-21-15,-1 0 10 0,1 3-7 16,-2 3-23-16,2 2 58 0,0 2-35 0,0 3-3 0,0-2-21 16,0 2-25-16,2 0-5 15,-2 0-26-15,1 5 11 0,-1-6-19 0,2 2-12 16,1-4-10-16,-1 0-8 0,-1 0-8 0,4-4 13 15,-3 1-15-15,1-4-16 0,-1 0 5 16,4-2-2-16,-2 0 2 0,-1-3-9 0,2 0 1 16,1-1-14-16,0 0-11 0,0-3 25 0,-1-1-14 15,1-2-14-15,1 0-17 0,-7 0-16 16,13-3 3-16,-5 1-43 0,2 0-14 0,-2-2-40 16,-1-1-42-16,1 2-55 0,2-2-88 0,0 0-64 15,1 3-455-15,-1-4 20 0,0 2 125 0,2 1 88 16,-3-3 59-16</inkml:trace>
  <inkml:trace contextRef="#ctx0" brushRef="#br0" timeOffset="1442.57">20120 5069 1031 0,'1'-4'305'0,"-1"4"-19"16,2-8-99-16,0 2-23 0,2 1-10 16,-3-2-16-16,4-1-13 0,-2 2 1 0,2-4 68 15,-2 1-20-15,2 0-18 0,-5 2-7 0,3-2 4 16,-2-1-12-16,0 2 8 0,-1 1-1 0,0-4-28 15,-1 5 21-15,0-1-18 0,-2 1-33 16,0 1 12-16,1 2-12 0,-1-2 2 16,0 3-8-16,1-1-17 0,2 3 7 0,0 0-2 15,0 0-21-15,-15 5 0 0,12-2 8 0,-2 1-13 16,3 1 8-16,-2 1-23 0,0 1-11 0,3-1 3 16,-1 2 5-16,2 2-20 0,-3-3 18 15,6 1-14-15,-3 2-9 0,0-2-8 0,2 0-13 16,-1 2 10-16,3-4 3 0,2 2-3 15,-4-2-4-15,4 0-9 0,0-1 1 0,-2-2 17 16,1 1-5-16,0-3-4 16,0 2 1-16,-5-3-1 0,8 0 24 0,-8 0-12 0,10-4 11 0,-5 3-11 15,0-3 17-15,1 2-9 16,0-3-10-16,0 2 17 0,-3-2-2 0,4-1 0 16,-2 0 12-16,-1 1-2 0,3 0-10 0,-4 1 5 15,1-1 5-15,2-1 0 0,-1 2-5 16,0 0-8-16,-2 0-5 0,2 1 5 0,0 0-7 15,0 1 15-15,-2-1-5 0,-3 3 15 0,7-2-13 16,-7 2-12-16,8 0 15 0,-8 0-21 0,0 0 29 16,13 2-8-16,-9 1-8 0,-1-2 3 15,2 1-8-15,-2 2 10 0,-1-2 1 0,2 2-9 16,0-1 27-16,0 1-24 0,-2-1 8 0,0 2-8 16,0 0-2-16,1 1-24 0,-3-2 32 15,0-1-16-15,3 2 20 0,-3 1 8 0,2-3-5 16,-2 2-5-16,0 0 0 0,2-3 5 0,-2-2-69 15,1 6 33-15,-1-1-5 0,0-5 36 16,0 4-18-16,0-4 34 0,0 0-11 0,0 0 20 16,0 0-25-16,0 0 3 0,0 0 9 0,0 0-9 15,0 0-1-15,10-9 8 0,-10 6-12 16,5-2-11-16,-2 0-8 0,-1 0 31 0,4 2-15 16,-2-3 0-16,-1 0 7 15,4 1-7-15,-3 0 5 0,3 2 21 0,-2-2-6 0,-2 4-33 16,4-3 2-16,-2 2 9 0,0 2 1 0,2-1-6 15,-7 1 4-15,9 0-2 0,-9 0 17 16,13 1-7-16,-8 0-5 16,1 0-18-16,-2 0 23 0,2 2-8 0,-2-1 3 0,2 1 5 15,0-1-16-15,-2 0 26 0,1 1-17 0,-2-2-11 0,1 0 17 16,-4-1-14-16,6 4 76 16,-6-4-48-1,5 1-10-15,-5-1 30 0,7 0-28 0,-7 0 33 0,7-4-25 0,-5 2-6 0,2-3-7 16,2 2-2-16,-1-2 14 0,0 0-4 0,0 0 7 15,2-1 1-15,-1 4 1 0,1-4-1 16,-1 4 99-16,1-1-10 16,0 1-29-1,-1 2-22-15,-1 0-11 0,3 0-7 0,0 2 13 0,0 1 15 0,-1 0-29 0,0 3-14 0,-1-2-19 0,2 3 11 16,-3-1-8-16,2 1-26 0,-2 0 6 16,-2-2 0-16,2 2-73 0,-1 0-22 0,-2-1-33 15,0 1-16 16,2-3-53-31,-3 2-16 0,-1-3-28 0,3 3-39 0,-3-2-66 0,2-2-230 0,0 2-405 0,-1-3 85 0,-1-1 58 16,0 0 83-16,0 0 68 0,0 0 101 0,0 0 48 16</inkml:trace>
  <inkml:trace contextRef="#ctx0" brushRef="#br0" timeOffset="2031.14">20733 4868 1351 0,'0'-4'381'0,"0"4"-32"0,0-6-37 0,0 6-5 0,-3-3-51 0,3 3-21 16,0 0 6-16,0 0 56 0,0 0 2 15,0 0-45-15,0 13-16 0,3-7-18 0,-3 1-25 16,2 0-19-16,1 1 11 0,-1 4-15 0,3-1-14 16,-2 1-35-1,2 2 15-15,-2 0-12 0,-1 3-1 0,3 2-15 0,-2 0-28 0,-1 1-8 16,1 2 8-16,2 0 0 0,-3 0-8 15,1-1 1-15,0-1-19 16,-1 1-94-16,0-5 15 0,-1 3-13 0,2-1 18 0,-1-3-13 16,1-1 21-16,-3 0-3 0,2-1-18 0,-2-1 11 0,3-1-6 15,-1-2 26-15,-1 1-7 0,1-4 4 0,-2 2 16 16,2-2-13-16,-2-1 18 16,0 1 12-16,0-4-12 0,0-2 18 0,0 0 5 0,0 0-10 15,0 0-23-15,0 0 97 0,0 0 5 16,0 0 15-16,-2-20-28 0,2 8-5 0,-2-2-10 15,1-3 5-15,1-4-61 0,0-6 33 16,0 1-26-16,1 0 31 0,1 0 18 0,0 6-8 16,3 0-102-16,-2 3-3 0,1-1 1 15,-2 5 7-15,2 0 0 0,2 1-8 0,-1 2 36 0,0 3-5 16,3 0-26-16,-3 5 6 0,3-2 2 16,-1 3-8-16,-2 0 8 0,-5 1 26 15,12 1-16-15,-8 0-4 0,-2 3 4 0,1-2 5 16,2 3 16-16,-5 1 15 0,2-1 24 0,-4 1-11 15,-1 2-29-15,-2-1-7 0,0 2 3 0,-2 0 2 16,1 1-5-16,-2-1-2 0,1-2-21 16,-1 0-43-16,0-1-26 15,1 1-49-15,-1-3-20 0,3 1-26 0,0-3-23 0,-1-2-25 0,-1 1-13 16,4-1-46-16,3 0-42 0,0 0-227 0,-10-1-412 16,10 1 95-16,0 0 58 0,0 0 134 15,0 0 81-15,0 0 16 16,0 0 54-16</inkml:trace>
  <inkml:trace contextRef="#ctx0" brushRef="#br0" timeOffset="2560.66">21282 5026 916 0,'0'-4'379'0,"0"4"-31"0,-2-8-13 16,2 3-25-16,-4-2-90 0,4 1-2 0,-2-3-1 0,1 1 54 15,-4-2-27-15,3-6 4 0,-3 2-20 16,0 0-8-16,0-4-36 0,1-1 13 0,-3-3-15 16,0 0 0-16,1-1-21 0,0-1-7 15,0 2-9-15,-2-3-24 0,5 2-9 0,-2 5-2 0,0 3 8 16,3-2-26-16,-2 3-5 16,0 2 11-16,1 0-4 0,-2 1-9 0,3 1 12 15,1 0-23-15,-1 2-10 0,-3-1-23 0,5 1 23 16,-2 1 3-16,2 1-31 0,-1 0 12 15,-1 1 6-15,-1 1-26 0,3-1 26 0,0 0-23 16,-2 0-3-16,2 5-3 0,-1-7-17 0,1 7-8 16,-1-4 3-16,1 4-1 0,0-4-2 0,0 4-7 15,-1-4-11-15,1 4-36 16,0 0 5-16,0 0-15 0,0 0-13 0,0 0-25 0,0 0 7 16,0 0-35-16,0 0-21 0,0 0 2 0,0 0-27 15,0 0-34-15,0 0-38 0,0 0-47 16,0 12-158-16,0-12 13 0,1 4-423 0,0-1 44 15,-1-3 102-15,0 0 93 16,0 0 38-16,6 0 140 0</inkml:trace>
  <inkml:trace contextRef="#ctx0" brushRef="#br0" timeOffset="2882.41">21194 4483 1139 0,'0'0'394'0,"-8"0"-36"0,8 0-28 0,-10 1-12 0,7 3-39 0,-4-3-23 0,2 4-34 0,-2 0-19 16,0-2-1-16,-2 3-23 0,1-1-2 15,1 1-21-15,-2 1 0 0,0 0-23 0,1 0 3 16,0 0-34-16,0 1 13 0,-2 0-18 16,3-2-12-16,-1 0-1 0,3 0 3 0,-3 1-102 15,2-1 10-15,-1 0-15 0,0-2 9 16,1 0 14-16,3 1-3 0,-4 1-10 0,5-4-3 15,-4 2-15-15,1 1-8 0,3-3 3 0,-1 3-24 16,0-4-4-16,-1 1-16 0,4-2-23 16,-4 4-15-16,4-4-31 0,-4 3-15 0,4-3-41 15,0 0-39-15,0 0-28 0,0 0-64 0,0 0-2 16,0 0-394-16,0 0 27 0,0 0 88 16,0 0 48-16</inkml:trace>
  <inkml:trace contextRef="#ctx0" brushRef="#br0" timeOffset="3242.18">21084 4490 985 0,'0'0'392'0,"5"-2"-29"16,-5 2-20-16,5-1-33 0,0-2-11 15,-5 3-9-15,10 3 4 0,-10-3-71 0,14 2 7 16,-4 0-10-16,-3 1-33 0,4 2 5 15,1-3-13-15,-1 3-105 0,3-1-2 0,-3 0 7 16,2 1-2-16,-2 1-18 0,1-2 23 16,1 0-5-16,0 3-21 0,-1-3-2 0,-1 2 12 15,-1-1-20-15,2-1 31 0,-3 0-13 0,-1 1-10 16,-1-3 5-16,3 3-3 0,-3-3 13 16,-3 2 5-16,1-2 6 0,0 2-19 0,-2-3 6 15,1 0 74-15,-4-1-6 0,6 5-4 0,-6-5-21 16,6 2-10-1,-6-2-3-15,4 1-38 0,-4-1-31 0,0 0-48 0,0 0-34 0,4 2-51 16,-4-2-44-16,0 0-35 0,0 0-123 0,0 0-162 16,4 1-478-16,-4-1 21 0,0 0 104 0,7 0 121 15,-7 0 45-15,10 0 58 0,-2 0 60 16</inkml:trace>
  <inkml:trace contextRef="#ctx0" brushRef="#br0" timeOffset="3990.29">22348 4677 1423 0,'0'-5'448'0,"0"5"-44"0,0 0-30 0,0 0-29 15,0 0-27-15,0 0-60 0,0 18-4 0,0-12-27 16,2 3-24-16,-2-1-6 0,0 3 15 15,0 2-140-15,-2 0-13 0,1-1 0 0,1 3-18 16,-2 1-16-16,0-3-35 0,-1 0 5 0,3 0-31 16,0-1-25-16,-1-3-19 0,-1 1-25 0,0-3-38 15,2 4-29-15,-2-7-127 0,1 2-80 16,1-1-458-16,0-1 115 0,-1-2 75 0,1-2 25 16,0 0 64-16</inkml:trace>
  <inkml:trace contextRef="#ctx0" brushRef="#br0" timeOffset="4168.59">22327 4639 852 0,'0'0'194'0,"0"-5"-81"15,0 5-64-15,0 0-93 0,0 0-335 0,5-2-174 0</inkml:trace>
  <inkml:trace contextRef="#ctx0" brushRef="#br0" timeOffset="4494.02">22607 4596 893 0,'6'-2'397'0,"-6"2"-42"0,0 0-17 0,0 0-10 16,0 0-52-16,0 0-17 0,-14 8-11 15,9-2-20-15,0 1-28 16,-3 0 2-16,1 3 56 0,-1-1-32 0,-2 3-14 0,1 2-12 0,-1 0-42 16,0-1-9-16,0-1-11 0,2 2-97 15,1 0-8-15,1 1 26 0,-1-1-33 0,4 0 7 16,1-2-5-16,-1-1-20 0,2 2 7 16,2-5 21-16,-1 2-15 0,0-4 4 15,5 2-17-15,-2-2-11 0,2 2 16 0,0-3 5 16,2 0 5-16,-4 0-10 0,5-2-5 0,-2 1 7 0,2-2-13 15,-2-2-12-15,0 0-5 0,-6 0-34 16,13-2-28-16,-4 2-20 0,-2-4-49 16,1 2-38-16,-2-1-52 0,2 1-109 0,-3-4-67 15,3 5-415-15,-2 0 80 0,-2-2 63 0,2 2 29 16,1 0 58-16</inkml:trace>
  <inkml:trace contextRef="#ctx0" brushRef="#br0" timeOffset="4846.68">22748 4829 1215 0,'5'-5'392'16,"-2"-2"-18"-16,2 0-47 0,-1 0-22 0,-1-1-26 16,2 1-18-16,-2-1-5 0,1-1-5 0,-3 3-11 15,-1-2-25-15,3 1-25 0,-3 1-1 16,0 1-2-16,-3 3-49 0,3-2 47 0,0 4-68 15,-5-5 11-15,5 5 13 0,0 0-54 16,0 0-13-16,-15 6 3 0,10-2-15 0,-1 2-21 16,1-1 30-16,0 2-9 0,0-1-19 0,1 0-2 15,0 1 3-15,0 0-3 0,3 0 20 16,-2-1-120-16,1 2 16 0,4-1 9 16,-2-1-19-16,3 2 27 0,0-5 6 0,2 3-29 15,-2-1 0-15,4 0 3 0,0-2-25 0,-4 1-1 16,5-4-33-16,0 2-33 0,0-1-11 0,-1 1-35 15,1-2-57-15,2 0-107 0,0-3-74 16,0 1-461-16,2 2 133 0,-3 0 25 0,4-5 91 16,-3 4 47-16</inkml:trace>
  <inkml:trace contextRef="#ctx0" brushRef="#br0" timeOffset="5619.57">23278 4565 1162 0,'-4'-2'368'0,"-2"2"-17"0,6 0-34 0,-11 0-27 0,2 1-22 16,1 1-30-16,0 1 16 0,-2 3-44 15,0 0-3-15,0 1-38 0,0 1 10 0,-1 3-38 16,-2 0 25-16,3-1 34 0,0 2-21 0,2 0-13 16,1 0-32-16,1-1 24 0,2 0-45 15,0-1-8-15,0 1 2 0,4 0-9 16,-2-2-42-16,2 1 16 0,1-3 12 0,0 1-35 15,1 2 25-15,3-2-28 0,-2-1-23 0,3 0 8 16,-2-2-13-16,1 1-16 0,2-1-38 0,-1-2 13 16,2 2-38-16,-1-3-24 0,1 1-25 0,0-2-12 15,-1 1-17-15,0-2-25 0,-1 0-71 16,-6 0-62 0,13-2-20-16,-6 1-60 0,-1 0 9 0,-1-2 27 0,0 0 16 0,0 0 36 15,-2 2 41-15,2-2 15 0,-1-1 54 0,0-1 40 16,-1 3 27-16,-1-3 68 0,0 2 70 15,2-2 58-15,-2 0 26 0,0 0 3 0,0 1 15 16,1-1 3-16,0-1 7 0,-1 0 13 16,2 3-5-16,-2-1 10 15,0 0-5-15,2 2 0 0,-3-3-5 0,2 3-8 0,0-2-7 0,-3 4-11 16,4-2 0-16,-4 2-12 0,6-3 7 16,-6 3-5-16,9 4 3 0,-6-3-26 0,3 4-3 15,-2-3-12-15,-1 4 10 0,4-1-13 0,-4 1 56 16,2 1 3-16,-2 0-41 0,0 1 23 15,-1 1-41-15,-1 0-2 0,0 0-31 0,-1-1 5 16,0 0-13-16,1-1-23 16,-1-1 21-16,0 1-14 0,0-2 4 0,0 1 9 0,0-2-2 15,0-2-15-15,0-2 7 0,0 0 3 16,0 6-2-16,0-6 7 0,0 0-8 0,0 0 18 16,0 0-4-16,0 0 17 0,0-18-46 0,2 11 5 15,-2-1-5-15,0-2 18 0,5 0-8 0,-4-1 21 16,3-2-21-16,-1 1-8 0,2 1 19 15,0 3-3-15,-2-5 0 0,2 2-34 16,1 4-12-16,-2-3-18 0,4 2-18 0,-1 0-13 0,1 3 3 16,0-1-41-16,-3 2-8 0,3 1-25 15,-3 1-80-15,1 1-92 0,1-1-110 16,-2 4-441-16,-5-2 47 0,10 3 133 16,-4-1 90-16,0 2 58 0,-2 0 16 0</inkml:trace>
  <inkml:trace contextRef="#ctx0" brushRef="#br0" timeOffset="6892.19">23598 4752 1290 0,'1'-8'322'0,"-1"1"-4"0,0 1-27 0,0-1-7 0,0 1-33 0,0 1-10 0,0 0-44 16,0 2 0-16,0 3-2 0,-5-5-29 15,2 2-18-15,3 3-2 0,-10-1-25 0,10 1-9 16,-7 4 9-16,1-1-32 0,2 1-4 16,-2 2 89-16,1-1-31 0,0 2-28 0,0-1 13 15,-3 2-36-15,4 2-5 0,-2-1-12 0,4-1-24 16,-2 1-8-16,2-2 11 15,2 1-16-15,0 1-38 0,0-2 24 0,5 0-40 0,-2-1-30 16,4 0 23-16,-2-2-38 0,3 1-19 16,0-2-12-16,0 0-13 0,3 0-28 0,-2-2-38 15,4-1-16-15,0 0-51 0,2-3-29 0,0 0-37 16,1 1-42-16,-1-2-12 0,3-2 69 16,-2 1 7-16,-2 0 39 0,2-2 69 15,-3 4 87-15,-1-4 51 0,-3 1 67 0,1 1 33 0,-2-1 46 16,0 1 28-16,-2-1 21 0,-2 4 10 15,-1-4 12-15,-1 2-14 0,0 2-1 16,-2 2 16-16,0-6-21 0,0 6-10 0,0 0 5 16,-5-4-12-16,5 4-9 15,-8 0-7-15,8 0-5 0,0 0-13 0,-13 3-5 0,8-1 8 16,1 2-31-16,-2-1 2 0,2 0 13 0,-2 4-27 16,1-1-22-16,1-3 1 0,0 3 7 0,-1-1-12 15,2 1 7-15,1 1-90 0,0-1 1 0,2-1 13 16,0 1-24-16,0-3 5 15,2 1 37-15,2 1-39 0,-3-3 20 0,2 2 8 0,3-3-13 16,-6-1-2-16,8 5 15 0,-4-5-10 16,-4 0 15-1,11-2 3-15,-11 2 2 0,11-3-12 0,-6 2 12 0,1-3-2 0,-1 3 18 16,2-4-3-16,-1 2 2 16,-1 0 14-16,1-2-3 0,-2 2 15 0,1-2 13 0,-2 3 0 0,1-2 31 15,-3 1-18-15,4-1-8 0,-3 3-7 16,1-4 7-16,-3 5 26 0,3-2 76 0,-3 2-27 15,4-5-37-15,-4 5 11 0,1-1 5 0,-1 1-18 16,0 0 0-16,0 0-28 0,0 0-3 16,0 0-5-16,0 0 13 0,0 0-12 0,0 0-19 15,0 0 3-15,0 0-13 0,0 0-16 0,3 8 42 16,-1-4-21 0,-2-4 11-16,0 6-4 0,0-6-4 0,2 3-5 0,-1 1-24 0,-1-4 21 15,0 3-18-15,2 0-2 16,-2-3 10-16,6 2-3 0,-6-2-10 0,2 3 46 0,-2-3-46 15,7 0-2-15,-7 0 22 0,5 2-30 16,-5-2 5 0,0 0 33-16,11-5-38 0,-11 5 10 0,7-1 0 0,-4 0 0 0,4-1 12 0,-7 2-9 15,6-2-8-15,-6 2 2 0,8-2-10 0,-8 2 19 16,5 0 14-16,-5 0-12 0,5-3 12 16,-5 3-7-16,0 0-18 0,0 0 0 0,10 3-8 15,-10-3 31-15,5 4-8 0,-5-4-25 0,3 4 43 16,-3-1-100-16,0-3 13 0,3 4 6 15,-1-1 12-15,-2-3-13 0,1 3 21 0,-1-3-3 16,2 5 26-16,-2-5-3 16,0 4 13-16,0-4 46 0,2 4-18 0,-2-4-5 0,3 3 13 0,-3-3-8 15,0 0-10 1,0 0 18-16,2 3 84 0,-2-3 13 0,0 0-74 0,0 0 56 16,0 0-7-16,0 0-16 0,0 0-23 15,0 0-13-15,11-6-17 0,-11 6 30 0,4-3 0 0,0 0-31 16,-2 1 3-16,-2 2 18 0,5-3-15 15,-5 3 2-15,7-3-3 0,-7 3-20 16,6-1 21-16,-6 1-1 0,0 0-35 0,10 1 5 0,-10-1 5 16,5 1 20-16,-1 3-28 15,-4-4-20-15,6 1-3 0,-6-1 24 0,3 1-9 0,-3-1-2 16,5 3 5-16,-5-3 6 0,4 2-11 0,-4-2 0 16,0 0 0-16,4 2 0 0,-4-2 0 15,4 3 0-15,-4-3 0 0,0 0 0 0,0 0 0 16,0 0 0-16,0 0 0 0,11-3 0 15,-11 3 0-15,0 0 0 0,0 0 0 16,8 0 0-16,-8 0-18 0,0 0-52 0,0 0 6 0,7 0-15 16,-7 0 10-16,0 0-33 0,0 0-31 0,0 0-54 15,7-2-31-15,-7 2-43 16,4-1-49-16,-4 1-61 0,8-3-187 0,-4 2-450 0,2 1 73 16,-1 1 109-16,5-2 58 0,0 0 82 15,2 1 74-15,0 0 56 0</inkml:trace>
  <inkml:trace contextRef="#ctx0" brushRef="#br0" timeOffset="7313.24">24609 4960 1016 0,'3'-7'402'0,"-3"4"-129"15,0-2 6-15,0 1 3 0,2 1-31 16,-2-4 7-16,2 1-12 0,-2 0-26 16,0-4-10-16,0 1 33 0,0-2-38 0,0-3-39 15,-2-2 29-15,0 1-59 0,2-7-3 0,0 1 5 16,0-3-5-16,0-2-13 0,0 0-4 15,-3 4-17-15,3 1-27 0,0-1 33 0,3 1-36 16,-6 3 0-16,3 4-2 0,0-2 10 16,0 2-24-16,0 5 11 0,0-2-12 0,0 4 4 15,0-3 77-15,-1 3-15 0,-1-1-18 0,1 4-24 16,1-2-17-16,-3 1-41 16,3 1-15-16,-3 0-29 0,3 4-38 0,-3-5 3 15,3 5-39-15,-4-2-44 0,4 2-30 0,0 0-84 16,-9 1-72-16,9-1-213 0,-7 3-391 0,7-3 97 15,-5 3 82-15,2 1 64 0,1-2 51 0,2-2 76 16</inkml:trace>
  <inkml:trace contextRef="#ctx0" brushRef="#br0" timeOffset="7571.01">24617 4488 1167 0,'0'0'458'0,"0"0"-26"16,-5-1-37-16,5 1-16 0,0 0-42 0,-13 1 24 16,10 1-56-16,-2 2-36 0,-2 1 15 31,1-2-49-31,-1 4-22 0,-4 1-37 0,4 0-9 0,-3 0-29 0,2 2 3 0,-2-2-24 0,1 4-19 16,-2-1 7-16,0-2-34 0,3 2-19 15,0-3-24-15,-2 2-41 0,2-1-33 0,1 0-44 16,1 0-30-16,-1 1-16 0,0-3-45 15,1-1-29-15,2-1-118 0,0 2-133 16,1-4-412-16,-1 2 72 0,4-3 72 0,0-2 56 16,-3 4 56-16,3-4 69 0</inkml:trace>
  <inkml:trace contextRef="#ctx0" brushRef="#br0" timeOffset="7838.37">24592 4502 1563 0,'7'0'443'0,"3"0"-38"0,-2 4 9 15,2-2-37-15,0 3 55 0,2-1-50 0,-1 3-101 0,4 1-35 16,0-2-31-16,-1 3-33 0,1 0-3 16,1-1-18-16,-2 0-38 0,0 1-26 15,-1-2-33-15,2 1-41 0,-4-2-41 0,1 0-30 16,-1 1-42-16,-3-3-10 0,1 2-40 0,-2-4-50 15,-3 3-48-15,1 1-182 0,0-4-215 16,-2 2-186-16,-1 1 48 0,-2-2 141 16,0 3 40-16,0-2 42 0</inkml:trace>
  <inkml:trace contextRef="#ctx0" brushRef="#br0" timeOffset="24444.41">20589 5520 1589 0,'0'-5'525'0,"0"5"-52"15,0 0-43-15,-1-3-35 0,1 3-55 0,0 0-25 16,0 0 18-16,0 0-54 0,0 0-36 15,0 0-31-15,-6 13-25 0,6-7 5 0,-1 2-49 16,0 2 6-16,-3 2 4 0,2 1-42 0,-1 3 1 16,0 2-22-16,-1 1 4 0,1 1 1 15,-2 4-51-15,0-1-1 0,2 1 49 0,-2-2-30 16,2-2-6-16,0-1-7 0,-1-2-13 0,1 2-16 16,0-4 3-16,3-2-15 0,-2-4 5 0,0 2-8 15,2-1-5-15,-1-1 2 0,1-3-9 0,0 1-6 16,-1-1 18-16,2-2-21 0,0-1 14 15,1 2-3-15,0-4-3 0,-2-1 23 16,8 3-4-16,-3-2-1 0,2 1 5 0,-7-2-20 16,11-2-2-16,-1 1 19 0,0-1-1 0,1 1-19 15,2 0 3-15,0-3 2 0,2 1 8 16,2 0-20-16,0 0 33 0,7-2-23 16,1 0 0-16,2-1 12 0,1 4 11 0,3-4-15 0,13 1 17 15,-1-2 8-15,4 1-22 0,1 2-1 16,1 0 13-16,3-1 10 0,1-1-13 0,1 0 11 15,15-1-13-15,3 1-16 0,-3-2 21 16,4 3 7-16,2 0-22 0,3-1 7 0,1 3 1 0,-3-2 6 16,0 1-4-16,3 1 3 15,1-1-22-15,1 2 19 0,3-3-15 0,-1 3 2 16,-3-2 18-16,-1 3 2 0,-3-3-10 0,-2 2-17 16,1 0 30-16,-5-2-16 0,2 4-4 0,-11-2-11 15,-2-1 11-15,-2 2 2 0,1 0 10 16,-4 0-17-16,-1 0 12 0,-6-1 10 15,0 0-20-15,-6 1 3 0,-8 1 2 0,-2-1 10 16,-3-2-32-16,-2 3 14 0,-1 0-17 0,-1-1 25 16,-4 1-5-16,-2 0 15 0,-1 0-10 0,-1-1 5 15,-3 0 3-15,1 1-28 0,-5-3 10 16,4 3 2-16,-3 0 31 0,-2 0-5 16,-1-1 5-16,-1 1-28 0,2-1-5 0,-1-1 8 15,-2 0 20-15,-2 0 10 0,2 1-28 0,-2-4 26 16,1 3 15-16,-4-3 3 0,5 1 5 15,-4-3 12-15,1 2-35 0,-2-1 5 0,0-3 30 0,0 2-35 16,3-3-23-16,-3-2 15 0,-3-1-3 16,1-6-17-16,2 0 2 0,-2-5 20 0,-2-2-109 15,0 1 46-15,3-1-1 0,-1 1 3 0,-1 5 0 16,1-2 3 0,1 3 10-16,-1 1-8 0,0 3 16 0,-1 2-18 0,3 1-31 15,-1 0-16-15,-3 2-30 0,2 2-53 0,1 1-27 16,-2 1-53-16,-1 4-36 0,1-1-23 0,-4 3-59 15,7 0-79-15,-11 5-536 0,1 1 60 0,0 1 107 16,-1 4 57-16,-4 2 76 0,0 1 49 16,-11 6 74-16</inkml:trace>
  <inkml:trace contextRef="#ctx0" brushRef="#br0" timeOffset="24959.37">22061 5883 1146 0,'2'-2'517'0,"-2"-3"-12"0,0 5-55 16,1-5-40-16,-1 5-26 0,0 0-49 0,0 0-23 16,0 0-41-16,0 0 1 0,0 0-98 0,4 15-28 15,-4-7-8-15,0 1-23 0,3 2 13 16,-2 2-18-16,-1 1-30 0,0 1-1 16,1 0-2-16,0 1-29 0,-1-2-17 0,0 3-21 15,0-3-15-15,0 0-2 0,0 2-22 0,0-3-19 16,0-2-11-16,0-1-41 0,0 2-5 15,0-2-20-15,0-2-11 0,0-2-30 0,-1 4-98 16,0-3-130-16,1-2-128 16,-4 0-326-16,4 0 70 0,-4 0 166 0,1 0 42 0,0-2 19 15</inkml:trace>
  <inkml:trace contextRef="#ctx0" brushRef="#br0" timeOffset="25410.01">21799 6159 1156 0,'3'-3'433'0,"-3"3"-49"0,5-5-31 16,0 4 49-16,-5 1-56 0,11 1-21 0,-4 0-36 15,0 3-33-15,1 1 15 0,0 2-43 0,2 0-23 16,-1 1-21-16,1 3-28 0,0 1-33 0,0-1 13 16,2 1-39-16,-3-2 13 0,3 3 0 15,0-2-33-15,-3 2 20 0,3-4-25 16,-2 1-16-16,-2-4-10 0,3 2 0 0,-1-3 24 0,0 1-35 16,0-1 50-16,-2-2-93 15,2 0 31-15,-2-2 39 0,3-2-16 0,-2-3 10 16,2 1 85-1,1-2-34-15,-2-1 47 0,1-1-34 0,2-4-28 0,-3 3-25 0,3-3 25 16,-1-3-23-16,-1 2-5 0,1 0-10 16,-1 0 12-16,-1 1-14 0,0 1-1 0,1-1-15 0,-4 1-59 15,1 2-26-15,-3 1-15 0,1 0-51 16,1 1-57-16,-4 1-35 16,-1 1-85-16,3 2-89 0,-4-1-134 0,-1 3-524 0,0 0 95 15,0 0 122-15,0 0 69 0,0 0 106 0,-6 16 48 0,2-10 59 16</inkml:trace>
  <inkml:trace contextRef="#ctx0" brushRef="#br0" timeOffset="26088.05">21140 6945 1269 0,'3'-2'394'0,"-3"2"-35"0,0 0-19 16,0 0-43-16,0 0-18 16,18 8-5-16,-11 0 36 0,1 1-21 0,4 3-41 15,-3 2-20-15,0-1-23 0,2 4-98 0,-3-1-27 0,2 3 22 16,-5-2-35-16,2 1-14 0,-3 1 32 16,1-2-52-1,-3-2-5-15,1 3 3 0,-3-5-3 0,0-1 5 0,0 0-7 16,0-2-8-16,0-1 7 0,0-2 9 0,0 0 4 0,-3-1-5 15,3-1-22-15,-2 0 7 0,2-5-1 16,-2 2 1-16,2-2 3 0,0 0-3 0,0 0 2 16,-6-9-15-16,5 0 8 0,1 2 5 15,1-1-5-15,-1-4-13 0,3 1 10 0,0-4 6 16,-1 0-9-16,3-1 9 0,0-2-19 0,1 1 16 16,-2 2-18-16,4-2 0 0,0-1-3 0,-1 4-2 15,3 0-13-15,1-1-11 0,-4 1-17 0,3 3-33 16,-2 2-29-16,1-1-25 15,0 3-41-15,-1 1-72 0,-1 3-149 0,-1-1-147 16,2 3-298-16,-4 0 103 0,-4 1 66 0,11 1 64 16,-5 2 52-16</inkml:trace>
  <inkml:trace contextRef="#ctx0" brushRef="#br0" timeOffset="26465.62">21468 7192 893 0,'3'-4'404'0,"-2"-2"-33"0,0 0-30 15,0 1-14-15,-1 2-30 0,0-2-15 16,0 5-18-16,0-6-19 0,0 6 6 0,-2-7-38 15,2 7-14-15,-4-1-27 0,4 1-13 0,0 0 4 16,0 0-40-16,-14 5-18 0,11-3 31 16,-1 0-36-16,0 4-13 0,-2 0-13 0,2 0 0 15,1 0-15-15,0 1 20 0,1-1-20 0,0 0-2 16,1 1-9-16,1 2-12 16,1-2 5-16,1-1 8 0,0 0-6 0,1 1-10 15,2-3-10-15,0 0 6 0,3 2-4 0,-1-4-17 16,-1 2-36-16,-1-3-26 0,5-1-10 0,-4 2-49 0,1-2-27 15,1-2-55-15,-8 2-120 16,12-1-105-16,-4-1-460 0,0-2 74 16,-3 4 20-16,0-2 143 0,0-2 42 0,0 2 56 0</inkml:trace>
  <inkml:trace contextRef="#ctx0" brushRef="#br0" timeOffset="26755.2">21607 6882 1008 0,'0'0'407'16,"0"-3"-41"-16,0 3-10 0,0 0-59 0,0 0 69 15,0 0-28-15,2 11-26 0,-2-2-23 0,3 0-15 16,-1 2-36-16,-1 2-36 15,3 4 1-15,0 2-109 0,-2 1-14 0,0 4 12 0,1 1 10 16,0 1-53-16,-1-2-18 0,0 2 7 16,0-1-46-16,-1-2-7 0,-1-2-54 0,0-2-36 15,3-1-23-15,-3-1-33 0,2-2-39 16,0-3-74-16,-1 0-74 0,-1-4-59 0,3-2-371 16,1 0 28-16,-1-1 107 0,2-4 65 0,0 2 45 15</inkml:trace>
  <inkml:trace contextRef="#ctx0" brushRef="#br0" timeOffset="27242.47">21907 7096 901 0,'-1'-3'383'0,"-1"-1"-19"0,-3 2-39 16,3-2-13-16,2 4-25 0,-8-1-44 15,8 1-12-15,-11 0-16 0,4 1-23 0,-1 3 56 16,0-1-31-16,0 3-25 0,0 0-7 0,-1 1-29 16,1 1 23-16,1 0-38 0,-1 0-41 15,3 2-3-15,-3-2 10 0,3 2-27 0,2-2-11 16,-1-1-18-16,4-1-2 0,0 1-21 0,0-1-5 16,2-2 5-16,0-2-31 0,4 3 24 15,-1-5-8-15,4 2 5 0,-2-2-6 0,-1-2-6 16,5 1-1-16,-1-3 5 0,-2-2 18 0,5 2-10 15,-6-5-10-15,5 3 35 16,-6-1-22-16,2-1 7 0,0-1 13 0,-3 1-13 16,2 0 8-16,-4 2 43 0,3 0-15 0,-4 0 3 15,3 1-1-15,-2-1 1 0,-1 1-19 0,0 4 9 16,1-4-32-16,-3 5 21 0,0 0-7 16,0 0-19-16,0 0 14 0,0 0-11 0,3 11 2 15,-6-5-2-15,3 1 10 0,0-2-20 16,0 3-31-16,3 1 18 0,-3-1-15 0,4 0-36 15,-3 1-8-15,4 0-20 0,-2-3 2 0,4 1-20 16,-2-1-24-16,3-1-22 0,0 0-16 16,-3-2-17-16,5 0-34 0,-2-1-46 0,0-2-85 15,-1 0-48-15,-2 0-102 0,3-2-354 0,0-1 116 16,-1-3 66-16,1 4 46 0,2-3 84 0</inkml:trace>
  <inkml:trace contextRef="#ctx0" brushRef="#br0" timeOffset="27526.22">22161 6880 1292 0,'0'-10'330'0,"0"2"-12"0,0 3 4 15,-3-1 80-15,1 3-31 0,2-1-12 0,0 4-55 16,0-5-12-16,0 5 10 0,0 0-120 0,0 0 23 16,0 0-21-16,-6 11-25 0,4-4 7 0,2 4-15 15,-1-3-5-15,1 6-13 0,0 2-20 16,0-1-14-16,0 1 50 0,1 4-8 15,-1 0-1-15,2 2-6 0,-2-2-37 0,3-1-28 16,-3 1 8-16,3-2-39 0,-3-1-20 0,2-3-54 16,1-1-10-16,-1 1-23 0,0-2-23 15,-1-1-34-15,1-1-14 16,2-3-34-16,-2 0-44 0,0 0-53 0,3-4-85 0,-5 1-176 0,3-4-423 16,1 0 148-16,-4 0 50 0,0 0 76 0,0 0 67 15,11-4 58-15</inkml:trace>
  <inkml:trace contextRef="#ctx0" brushRef="#br0" timeOffset="27842.9">22107 7106 1062 0,'0'0'302'0,"0"0"-21"0,0 0-9 15,0 0-29-15,0 0 64 0,0 0-28 16,10-5-54-16,-4 5-15 0,1-5-8 0,-2 3-38 15,3-3-15-15,2 2-11 0,2-2 10 0,-1-1-17 16,1 0-13-16,-1 1-36 0,2-1 35 16,-2-1-12-16,1 4 23 0,-2-3-13 0,-2 2-12 15,2 0-11-15,-2 1 21 0,-1-1-26 16,-1 3 20-16,-1 1-4 0,2-2-11 0,-7 2-8 0,11 2 29 16,-5 1-21-16,-2-1-26 15,2 3 19-15,-2-2 2 0,0 3-26 0,0 1 14 16,0 2-24-16,-3-2-18 0,2 0-15 0,1 0-31 15,-4 3-41-15,1-3-38 0,-1 1-56 0,0 0-52 16,0 2-171 0,0-2-458-16,0-3-75 0,0 1 42 0,0 0 112 0,0-2 94 0,0-4 47 15,2 3 43-15</inkml:trace>
  <inkml:trace contextRef="#ctx0" brushRef="#br0" timeOffset="27974.03">22363 6967 1136 0,'-2'-3'343'0,"2"3"-56"16,-5-5-98-16,5 5-153 0,-3-3-123 15,3 3-553-15,0 0 87 0,0 0 31 0</inkml:trace>
  <inkml:trace contextRef="#ctx0" brushRef="#br0" timeOffset="28640.98">22558 6983 1443 0,'-18'4'440'0,"15"-2"-97"0,-1 2-41 0,1 1-38 0,-2 0-16 0,2 3-25 15,-2-1-21-15,3 1-23 0,1-2 1 16,0 4-42-16,2-3-10 0,-1-1-10 0,1 2 2 15,1-2-33-15,0 1-5 0,4-1 7 0,-1-2-19 32,0-1-9-32,0 0-12 0,3-2 76 0,0-2-25 0,1-2 0 0,0 1 5 0,-2-2 2 15,1 1-38-15,1-2 3 0,-5-1-16 16,1 0 29-16,1-1-47 0,-4 1 31 0,0-1-23 0,-2 2 0 16,0-2 26-16,-2 2-44 15,0 0 0-15,-2 3 1 0,1-4-1 0,-4 4-16 0,2-2 24 16,-1 4-28-16,-1-4-5 0,0 2 14 15,1 1 14-15,2 0-33 0,4 1-6 0,-11-3-15 16,6 2 25 0,5 1-4-16,-8-1-16 0,8 1 23 0,0 0-10 0,-5 0 0 0,5 0 13 15,0 0 15-15,0 0-36 0,0 0 8 16,0 0-8-16,18-2 3 0,-10 2 15 16,-8 0-5-16,13 1-18 0,-6 0 20 0,4-1-14 0,-1 1 22 15,0 2-5-15,-3-1 0 0,5 0 5 31,-3 3-10-31,-1-4-2 0,0 3 9 0,1 1-14 0,-2-2-3 0,1 1 25 0,-4 1-5 16,1-2-10-16,0 1 8 0,0-1 10 0,-2 0-3 16,1 0 18-16,-3 2-12 0,4-4 38 0,-5-1 0 15,5 5 10-15,-3-3-64 0,-2-2 8 16,4 1-6-16,-4-1 52 0,0 0-20 0,0 0-11 16,0 0 0-16,9-4 21 0,-9 4 7 0,3-5-36 15,-1 3 21-15,-2 2 3 0,3-5 2 16,2 2-5-16,-5 3-18 0,5-3 36 0,1 0-26 15,-1 1-2-15,-5 2-13 16,10 0 12-16,-10 0-7 0,10 0-7 0,-3 2-32 0,-1 0 6 0,-1 0-46 16,2-1-47-16,-4 0-50 0,3 4-19 15,-2-2-53-15,2-1-54 0,1 3-110 16,-7-2-174-16,5-2-407 0,1 3 94 0,-1-4 126 16,5 1 75-1,-2-1 30-15,2-1 99 0,0 1 24 0</inkml:trace>
  <inkml:trace contextRef="#ctx0" brushRef="#br0" timeOffset="28929.03">22992 6963 1185 0,'-8'1'368'0,"8"-1"-22"0,-12 0-42 0,5 0-14 0,0 3 22 16,2 0-5-16,0-3-30 0,0 4-45 0,2-1-17 15,3 3-2-15,0-1-19 0,0 1-19 0,0 2 1 16,3 1 24-16,2-1-44 0,0 0 8 15,0 3 12-15,1-1-22 0,1 0-24 16,-2 0 24-16,0-2-8 0,0 2-8 0,1-1-7 0,-4 0-26 16,2 0 41-16,-3-2-52 0,-1-1 11 15,-3 2-13-15,1 1-22 0,-2-3-14 16,-2 1 3-16,-2 0-41 0,3-3-6 0,-2 0-17 0,-2 1-41 16,1-4-43-16,0 3-29 15,0-3-48-15,0 1-34 0,0-2-77 0,0 0-158 0,8 0-258 16,-8-2-270-16,8 2 113 0,-5-6 75 15,5 4 66-15,-2-4 76 0,2-1 109 16</inkml:trace>
  <inkml:trace contextRef="#ctx0" brushRef="#br0" timeOffset="29301.09">23057 6879 1377 0,'0'0'473'0,"4"-3"-30"0,-4 3-97 16,4-2-24-16,-4 2-33 0,0 0-22 0,8 6-24 15,-5-4-18-15,2 4-13 16,0 1-32-16,1 0 6 0,1 3-40 0,-2-1-5 16,0 2-21-16,-1 2-15 0,-2-1 5 0,2 1-25 15,-1 1 7-15,-1 0 67 0,-1-4-16 0,-1 1-43 0,2 0-5 16,-2-2 20-16,3 0-49 0,-2-2 19 16,0 0-6-16,0-1-5 15,1-4-15-15,2 3 16 0,0-4-14 0,0 0 3 0,-4-1-31 16,11 0 18-16,-3-2-5 0,0 2-20 15,-1-2 20-15,3 0-10 0,-2 1 2 16,0 0-4-16,2 1-4 0,-2 0 9 0,0 2-9 16,-1 2 14-16,1-3-21 0,1 3 13 0,-2-2-26 0,0 3 11 15,-2 0-24-15,0-1-17 0,2 1-11 16,-3-2 10-16,0 0-45 0,-1 1-42 16,0-2-20-16,1 2-41 0,-1-1-28 0,0 0-64 15,0-1-202-15,1-1-558 0,-4-1 132 16,0 0 17-16,6 1 88 0,-6-1 116 0,0 0 54 15,0 0 89-15</inkml:trace>
  <inkml:trace contextRef="#ctx0" brushRef="#br0" timeOffset="29559.48">23386 7021 1228 0,'2'5'389'0,"0"0"5"0,-1 2-43 0,0 0 33 0,-1 0-33 0,2 3-29 0,-2-2-48 0,2 3-28 0,-2-3-3 15,0 2-66 1,0-2-21-16,-2 2-49 0,2-2-53 0,-2 0-49 0,2-2-71 0,-1 1-83 16,0-3-178-16,-1 1-526 0,0-2 24 15,2 2 76-15,0-5 93 0,-2 2 61 0</inkml:trace>
  <inkml:trace contextRef="#ctx0" brushRef="#br0" timeOffset="29671.1">23353 6901 1520 0,'-3'-2'440'0,"1"-2"-30"0,2 4-70 15,-3-6-56-15,1 4-76 0,2 2-85 16,-3-5-54-16,3 5-274 0,0 0-548 0,-5-1 70 15,5 1 61-15,0 0 54 0,0 0 45 16</inkml:trace>
  <inkml:trace contextRef="#ctx0" brushRef="#br0" timeOffset="30164.65">23478 6795 1077 0,'0'12'440'0,"3"-6"-30"0,-3 1-39 0,3 6-33 0,-1-1 100 0,4 5-52 0,-2 1-33 16,-1 4-40-16,3 6-4 0,-4-2-47 0,0 1-111 15,1 2-34-15,0 9 19 16,-1-6-49-16,4 6-23 0,-4-6-26 0,0-2-40 0,-2-4-14 16,4 2-1-16,-2-1-19 0,-2-2-3 15,2-6 21-15,-2 0-20 0,4 0-6 0,-3-3 6 16,-1-3 2-16,0 1 13 0,0-6 13 15,0 1 7 1,0-2 9-16,0-3 37 0,0 0-33 0,0-4 8 0,0 0 10 0,0 0 29 0,0 0 12 16,3-15 8-16,-3 4 2 15,2-2 8-15,-2-4 0 0,2-2 0 0,1-7-15 0,0-1 4 16,2-11-4-16,0-2 13 0,3 2-9 0,-1 1 4 16,1 4-11-16,0 8-5 0,2 5-3 15,-5 4 24-15,3 0-26 0,2 2 10 0,-2 6-8 16,2-1 19-16,0 0-24 0,0 4-18 15,-1 2 36-15,1 2-2 0,0 1-36 0,0 0 64 0,-2 1-44 16,-3 2-2-16,3 2-8 16,-3 0 5-16,-3-1 113 0,-1 0-44 0,-2 1-15 15,-4 2 8-15,1 0-11 0,-5 1 6 0,-3 1-52 16,0-2-64-16,-4-1-61 0,0 2-74 16,3-3-82-16,1 0-77 0,-4 2-146 15,6-2-520-15,-3-3-79 0,5 1 87 0,-2-2 108 16,5-1 94-16,-2-1 62 0,7 1 74 0,-9 0 56 0</inkml:trace>
  <inkml:trace contextRef="#ctx0" brushRef="#br0" timeOffset="30335.86">23830 7055 1441 0,'0'0'445'16,"3"-5"-61"-16,-3 5-49 0,4-2-76 0,-4 2-80 0,0 0-59 15,0 0-81-15,0 0-172 0,0 0-249 16,-12-3-327-16,12 3 15 0,-13 5 121 16,7-4 69-16</inkml:trace>
  <inkml:trace contextRef="#ctx0" brushRef="#br0" timeOffset="37025.75">9523 2036 1318 0,'-7'-1'373'0,"7"1"-14"0,0 0-42 0,-5-3-45 16,5 3-22-16,0 0-19 0,-3-3-26 0,3 3-3 16,0 0-41-1,0 0-5-15,0 0 0 0,13-4-25 0,-6 1-1 0,3 2-17 16,1-1 64-16,2 0-26 0,2 1-5 0,5-3-13 15,4 1-16-15,4-1-17 0,5 2 10 16,11-3-12-16,5 2-9 0,0-2-22 0,2 1-1 16,0 0-15-16,3 1 11 0,-3-1-1 15,5 0 6-15,3 2-95 0,-2-2-3 0,-1 1 0 16,3 1 11-16,-2-2-3 0,-1 1 5 0,0 2 2 16,-5-1 4-16,-2 1 4 0,-10 1 5 15,-3-2-14-15,-5 2 9 0,-3 0 8 0,-3 0 5 16,-2 0-10-16,-2 0-8 0,-4 0-2 15,-1 0 2-15,-1 0 28 0,-1 0-2 0,-2 0 0 0,-4 0-11 16,0 0 21-16,-1 0 6 16,1 0 1-16,-3-1-17 0,-5 1 13 0,8 0-37 15,-8 0-4-15,7-1 7 0,-7 1-20 16,0 0-41-16,6-1-15 0,-6 1-39 0,0 0-31 0,0 0-22 16,0 0-68-16,0 0-109 0,0 0-54 15,0 0-458-15,0 0 69 0,0 0 59 0,0 0 87 16,0 0 61-16</inkml:trace>
  <inkml:trace contextRef="#ctx0" brushRef="#br1" timeOffset="47998.48">23340 4219 931 0,'0'0'310'0,"0"0"-28"0,0 0 4 0,-1-6 1 16,1 6 28-16,0 0-26 0,-4-6-10 16,4 6-23-16,0 0-13 0,-2-5-15 0,2 5 10 15,0-5-51-15,0 5-18 0,-2-7-13 16,2 4-15-16,-1-3-31 0,-2 0 5 15,3-4-20-15,0 2-6 0,0-3 9 0,0-1-32 0,0-3 11 16,0 0 5-16,0 1-11 16,0-2-12-16,0-1 18 0,0-2-5 0,0 2-36 15,0-2 7-15,0 5 13 0,0-3-97 0,0 2 6 32,0 2 14-32,0-1 1 0,0 0 2 0,0 1 25 0,3 2-32 0,-3 1-11 0,0-2 13 15,1 2 26-15,-1 1-16 0,0 0 5 0,0 3 16 16,0-2-26-16,0 3 13 31,0-2-11-31,1 4-9 0,-1-3-6 0,0 1-2 0,0 0-8 0,0 5-13 0,0-6-5 0,0 3-25 16,0 3-8-16,0-5-34 0,0 5-12 0,0-6-23 15,0 6-31-15,0-4-59 0,0 4-49 0,0 0-27 16,1-3-24-16,-1 3-417 0,0 0 87 16,0 0 93-1,0 0 19-15,0 0 37 0</inkml:trace>
  <inkml:trace contextRef="#ctx0" brushRef="#br1" timeOffset="48275.51">23348 3720 911 0,'-3'-2'389'0,"3"2"36"0,-5-5-21 15,2 4-5-15,3 1-89 0,-7-3-23 0,7 3-18 16,-11 1-19-16,6 1-24 0,-2-1-29 0,2 1-21 15,-3 2-7-15,2-2-20 0,-1 3-34 16,-1 0 10-16,0 1-9 0,0-3-6 16,1 3-18-16,-3 0-110 0,3-1 15 15,-1 1-12-15,0 1-23 0,0-2-19 0,1 2-14 0,1-2 9 16,1-2-30-16,-2 3-33 0,1-2-34 0,2-1-54 16,2 1-78-16,-2-2-29 0,1 2-26 15,-1-2-135 1,4-2-269-16,-3 4 136 0,3-4 17 0,0 0 39 0</inkml:trace>
  <inkml:trace contextRef="#ctx0" brushRef="#br1" timeOffset="48540.11">23274 3740 1026 0,'4'-1'328'0,"-4"1"-16"15,0 0-41-15,0 0 98 16,0 0-39-16,12 2-18 0,-8 2-48 0,1 1-16 15,-2-2-2-15,2 2-36 16,2 0-105-16,-4 1-5 0,4 0-24 0,-1 1 6 0,-3-2-10 16,4 2-21-16,-2-1 16 0,-2-2-1 0,2 1-27 15,0 1-4-15,0 0-19 0,-2-2-8 0,-1 2-19 16,3-5 6-16,-4 4-49 16,3-3-25-16,-1 0-34 0,-3 3-45 0,0-5-75 0,5 4-108 15,-3-2-25-15,-2-2-417 0,6 4 82 16,-1-3 58-16,-5-1 95 0,0 0 62 0</inkml:trace>
  <inkml:trace contextRef="#ctx0" brushRef="#br1" timeOffset="49408.6">23102 3272 1315 0,'0'0'443'0,"0"-3"-131"0,0 3-17 0,0 0-39 0,0 0 5 15,0 0-46-15,0 0-26 0,-8 15 1 0,6-6-27 16,0 1-27-16,-2 2 0 16,-1 5-16-16,0 0-12 0,3-1-14 0,-4 3-22 15,4-1-8-15,0 1-23 0,-1-1 2 0,0-4-22 16,3 2-11-16,-1-3 3 0,1 0 12 16,-2 0-32-16,2-2-3 0,-2-3 7 0,2 0-10 15,0 1 0-15,0-3 3 0,0-1-8 0,2-1 16 16,-2-1 4-16,0-3 14 0,0 0-14 15,0 0 1-15,0 0-8 0,0 0 10 0,0 0-5 16,0 0 13-16,-7-14-8 0,4 7 15 16,-2 1-17-16,0 0 4 15,1 0 22-15,-3-1-1 0,-2 0 5 0,1 2-2 0,0 1-21 16,-3 1 18-16,3 2-7 0,-4 1 2 0,1 0-13 0,-3 1-8 16,1 2 9-16,0 0 9 15,2 2-2-15,-1 1-15 0,2 0 2 0,2 1-10 16,-2-1 28-16,5 2-23 0,0-2 18 0,-1 2 2 15,3-1-15-15,-1 0 0 0,1-1 13 16,6 0 15-16,-3 1-15 0,4-4-15 0,-3 3 2 16,4-1-8-16,0-1 1 0,3 0 25 15,0-1-8-15,-1 0-45 0,3-3-6 0,-2 3-8 16,2-3-22-16,0 0-34 0,2 0-20 16,-3 0-55-16,1 0-37 0,3-3-98 0,-3 3-56 15,-2-1-148-15,5-1-249 0,-5 1 67 16,2-1 48-16,-3 0 65 0</inkml:trace>
  <inkml:trace contextRef="#ctx0" brushRef="#br1" timeOffset="49745.27">23219 3513 1279 0,'4'-9'379'15,"-2"2"-33"-15,3 0-37 0,-3 0-30 0,-1-1-76 0,1 2-37 0,-2-3 8 16,0 2-15-16,-2 2-6 0,2 0-19 16,-1 0 1-16,0-1-7 0,-3 2-2 0,1 1-39 15,-2 0 15-15,5 3-30 0,-10-1-8 16,10 1-13-16,-10 4 13 0,5-1 2 0,-3 2-25 16,3 1-2-16,0 0 2 0,-3 2-11 0,5 2 14 15,-1-2-31-15,0 0 5 0,2 0 2 16,0 1 1-16,2-1-6 0,0 1 3 15,0-2-3-15,4 1 6 16,0-1-14-16,0-1-14 0,-1-1-24 0,5 1-2 0,0-1-16 0,-1-2-38 16,1 0-13-16,0-1-64 0,2-2-35 0,0 0-116 15,2 0-18-15,-3 0-363 0,1-3 0 16,3 0-13-16,-3-2 97 0,0 2 44 0</inkml:trace>
  <inkml:trace contextRef="#ctx0" brushRef="#br1" timeOffset="50243.53">23437 3376 988 0,'0'-6'445'0,"0"6"-53"0,0 0-39 15,-2-4-31-15,2 4 9 0,0 0-24 0,0 0-54 16,-5 10-23-16,2-4-7 0,1 3-28 0,1 1-11 16,0 1-25-16,1 2-13 15,-1 1-1-15,1 1-4 0,1 2-28 0,0 2-26 0,-1-3-5 16,1 3 20-16,1 0-30 0,2-3-18 15,-3 2 17-15,-1-2-99 0,1-2-13 16,-1 2 8-16,2-3 2 0,0 0 13 0,0 1-12 16,-1-3-1-1,-1-3 18-15,0 0-5 0,0 1 0 0,3-2 16 0,-3-1-16 0,2 1 13 16,-2-2 0-16,0-1 20 0,2 0 18 0,-2-4-35 16,1 5-6-16,-1-5 8 0,0 0 15 15,0 0-10-15,0 0 11 0,0 0-16 16,0-14 18-16,2 8 7 0,-2-3-2 15,0 0 31-15,0-2 2 0,0-2-20 0,0-4 5 0,3-2-13 16,-1 0 13-16,0-1-2 0,2 1-1 16,1 2 3-16,1-2-31 0,-2 4 29 0,1 3-29 15,2 1 18-15,-1 0-15 0,2 4-8 0,-3 1 18 16,3 1-3 0,-4 2 16-16,4 2-15 0,-3 1-1 0,-5 0 8 0,8 1 6 0,-8-1-1 15,7 6 13-15,-6-4-13 0,-1 1 13 0,0 2-17 16,0-1 4-16,-1 3-20 0,-3-2 10 15,1 1-26-15,-2-1 6 16,0 1-37-16,-1 0-40 0,-1-2-33 0,2 1-26 0,0-1-52 0,0 0-50 16,2-1-52-16,-2 1-120 0,2-1-87 15,3-3-366-15,-3 4 41 0,3-4 115 16,0 0 56-16,0 0 67 0,0 0 85 0</inkml:trace>
  <inkml:trace contextRef="#ctx0" brushRef="#br1" timeOffset="51306.65">20561 4191 737 0,'0'0'266'16,"0"3"-13"-16,0-3 8 0,0 0 59 0,3 4-2 15,-3-4-6-15,0 0-28 0,0 0-94 0,0 0 27 16,0 0-27-16,7-8 12 0,-4 6-28 0,-3-3-13 15,2-2 31-15,-2 0-13 0,2-3-33 16,0-2-2-16,-1-2 47 0,-1 0-24 16,1-5 2-16,-1 0-13 0,0-2-28 0,2 0 2 0,-4 1-19 15,2-3-22-15,0 2-4 0,0 2-11 16,0 3 5-16,0 1-30 0,0-1-24 16,-1 1-19-16,0 3-12 0,-1 0-52 0,0 1-6 15,2 3-57-15,-2 1-40 0,2 0-41 16,-3 1-77-16,3 1-103 0,-3 1-76 0,3 1-451 15,0 3 98-15,-2-4 71 0,2 4 106 0,0 0 65 16,0 0 27-16</inkml:trace>
  <inkml:trace contextRef="#ctx0" brushRef="#br1" timeOffset="51495.4">20609 3785 1090 0,'0'0'333'0,"0"0"-36"0,-15 5-34 0,10-1-17 0,0-1-5 0,1 3-11 16,-2 0-46-16,-2-1-15 16,0 2-36-16,1 3-18 0,-4-2-22 0,1 3-22 0,0-1-40 15,-3 1-28-15,2-1-62 0,-1 0-82 16,2 1-107-16,0-4-42 0,2 3-424 0,0-3 21 0,0 0 101 16,3-2 57-16</inkml:trace>
  <inkml:trace contextRef="#ctx0" brushRef="#br1" timeOffset="51709.43">20492 3809 1128 0,'5'-1'297'0,"-5"1"-25"0,10 1-6 0,-3-1-46 0,0 3-18 16,-1-2-18-16,2 2-17 0,0 1-19 0,3-1-22 15,-2 1-26-15,-1 0-26 0,2-1-33 16,-2 1-31-16,2-1-46 0,-2 2-53 16,0-2-98-16,0 0-49 0,-1-1-2 0,0 1-440 0,-4-2 17 15,4 0 85-15</inkml:trace>
  <inkml:trace contextRef="#ctx0" brushRef="#br1" timeOffset="52126.18">20046 3509 952 0,'0'0'394'0,"0"0"-46"16,-3 10-31-16,3-4-30 0,0 0 15 15,0 1-54-15,0 1-30 0,0 3-16 0,0-3-12 16,0 3-44-16,0 1-8 0,0 1-26 0,0-1-22 16,0 0-44-16,0 0-25 0,-3-3-42 15,3 1-79-15,0 0-74 0,0 0-97 0,-2-2-152 16,2-1-365-16,0 1 84 0,2-2 57 16,-2-2 86-1</inkml:trace>
  <inkml:trace contextRef="#ctx0" brushRef="#br1" timeOffset="52408.63">19882 3559 1018 0,'0'0'420'16,"2"-7"-46"-16,2 3-16 0,-3 0-53 16,6-1-34-16,-1 0-25 0,1-1-11 0,5 3-17 0,-3-3-36 15,4 1-21-15,0-1-8 0,-1 1-35 16,2-1-21-16,0 3-53 0,-1-1-31 16,1 4-67-16,1-2-94 0,-2 1-88 0,0 1-84 15,-1 3-507-15,0-1 105 0,-3 2 44 16,-1 1 84-16,-4 1 41 0</inkml:trace>
  <inkml:trace contextRef="#ctx0" brushRef="#br1" timeOffset="52614.53">19979 3753 1087 0,'0'0'374'0,"0"0"-16"0,0 0-48 0,0 0-97 0,17 0-27 0,-17 0-22 0,16-3-15 16,-7 0-21-16,0 0-21 0,-1-1-50 0,5 2-19 16,-1-2-38-16,-1 1-92 0,1-2-110 15,1 3-72-15,-3-3-438 16,3 1 26-16,-2 1 82 0,-4 0 64 0</inkml:trace>
  <inkml:trace contextRef="#ctx0" brushRef="#br1" timeOffset="52999.45">20233 3578 972 0,'0'0'379'0,"0"0"-100"0,0 0-28 0,0 0-16 0,-3 12-32 0,3-7-11 0,0 0-18 15,0 1-16-15,3 0 4 0,-1 1-11 16,-2-1-18-16,3 1-8 0,-3-2-12 0,2 2-26 15,1-4 5-15,-1 4-13 0,-1-3 8 16,1 1 0-16,1-3 5 0,-3 2 72 0,0-4-8 16,4 3 13-16,-4-3-33 0,3 1-3 0,-3-1-18 15,0 0 39-15,10-5-36 0,-7 1-13 0,2-1 41 16,1-1-49-16,0 0-10 16,-2-1-13-16,3 1 5 15,1 1-9-15,-2 0 6 0,3 0-19 0,-4-1-11 0,3 2 5 0,-3 2-8 16,3 1-4-16,-1-2 15 0,-1 3-16 15,-6 0 21-15,10 4-13 0,-1-2-26 0,-1 2 37 16,-2-1-34-16,-1 2-10 16,1-1-16-16,-2 1-25 0,2 2-21 0,0-1-40 0,-2-2-68 15,-2 2-27-15,4 0-74 0,-2-1-101 0,-1-1-276 16,4-1-317 0,-3 1 128-16,1-3 66 0,0 1 60 0,0 1 53 0,0-3 81 0</inkml:trace>
  <inkml:trace contextRef="#ctx0" brushRef="#br1" timeOffset="53441.53">20640 3398 1087 0,'3'-4'492'16,"-3"0"-157"-16,0 4-35 0,0-3-19 0,0 3-4 16,0 0-39-16,0 0-16 0,0 0-17 0,-3 13-18 15,1-6-8-15,-1 1-25 16,3 5-6-16,-2-1-33 0,-1 1 3 0,0 0-18 15,3 3-10-15,-2-3-9 0,2 0-17 0,0 0-7 16,0-2 12-16,0 1-18 0,2-4-12 16,1 0-22-16,-3 1-6 0,3-2-11 0,-1 1 0 0,0-2 15 15,-1-2 0-15,1-1-4 0,1 0-4 16,-3-3 24-16,4 2-28 0,-4-2 14 16,0 0 1-16,0 0-5 0,0 0 10 0,0 0-13 15,-12-8 16-15,7 7-8 0,-3-2-10 16,0 2-16-16,-2 1 49 0,-2 0-33 0,2 2 2 15,-1 1 8-15,1-1-11 0,2 2 17 16,-5-1-1-16,6 0 2 0,-3 1-4 0,2 1-11 16,2-1 44-16,1-1-42 0,0 0-6 0,2 1 27 15,-1 0-18-15,4-2-5 0,0-2 1 16,2 8 1-16,-2-8-27 0,8 2-11 0,-1-1-14 16,1-1-17-16,2 1-17 0,1 1-26 0,-1-4-36 15,3 2-17 1,0-1-29-16,-3 0-79 0,2 1-64 0,-1-1-49 0,-1 1 6 0,0-1-367 15,1-2-2-15,2 3 56 0,-3 0 74 16,0 0 62-16</inkml:trace>
  <inkml:trace contextRef="#ctx0" brushRef="#br1" timeOffset="53711.84">20763 3632 936 0,'3'-5'415'0,"2"3"-54"0,-2-1 10 15,-1 0-118-15,3-2-9 0,-2-1-9 0,-1 1-15 16,1-1-20-16,0-1-6 0,-3 0-14 0,2 0-22 15,-2 2 4-15,0-1-16 0,-2 0-13 16,2 1-11-16,-3 1-11 16,3 0 1-16,-1 2-30 0,1 2-10 0,-6-4-1 0,6 4-12 15,0 0-2-15,-11 6-11 0,6-2-13 0,3 0 26 16,-1 1-39-16,-2 1 1 0,2-1-14 16,1 1 4-16,-1 0-45 0,3 1-4 0,0-1-41 15,0 0-6-15,3-1-33 0,0 2-30 0,1-1-31 16,2-3-13-16,1 1-90 0,2-1-43 15,0 0-5-15,-1-3-44 0,2 1-15 16,0 0-299-16,0-2 35 0,1 0 59 0,-2-2 59 16</inkml:trace>
  <inkml:trace contextRef="#ctx0" brushRef="#br1" timeOffset="54155.3">20940 3559 570 0,'5'-12'267'0,"-2"2"35"0,-3-2-16 0,3 2 19 16,-3 1-24-16,0 2-19 0,-3-2 17 15,3 2-34-15,0-1 21 0,-1 2-115 0,-1 0 3 16,0-1-13-16,-1 3-6 0,1 2-14 15,2 2-6-15,-5-4-13 0,5 4 1 16,0 0 22-16,-10 7-35 0,7-1 10 0,-2 1-24 0,3 3 19 16,-2 1-13-16,2 2 59 0,0 2-23 0,2 1 10 15,-1 0-44-15,2 4 26 16,-2 1-23 0,2-2-5-16,-1 1-92 0,2 0 17 0,3 1-7 0,-3-1-17 0,1-3 14 0,1-1-5 15,0 2-2-15,-2-4-8 16,1 2 18-16,0-5 5 0,-1-1-10 15,1 1 15-15,-3-3-5 0,2 1 8 0,1-2-10 0,-3-4 5 16,0 2-3-16,2 0 2 0,-2-5 47 0,2 2-46 16,-2-2 15-16,0 0 25 0,0 0-30 0,0 0 34 15,1-14-24-15,2 6-8 0,-3-2 3 0,3-3 8 16,1 0 2-16,-1-4-38 0,4-2 41 16,1-1-28-16,0 1 12 0,2 0 6 0,0 3-14 15,0 2-1-15,1 2 14 0,-1 0-14 0,-2 4 4 16,2 1 21-16,-2 1-21 0,-3 1 3 0,3 3 18 15,-2-2 7 1,-2 3-2-16,1 0-15 0,-5 1 12 0,0 0 6 0,0 0 2 16,3 6-3-16,-3-6-17 0,0 0-8 0,-10 7-28 15,2-4-21-15,2 2-10 0,-1-1-69 16,1 0-46-16,-2 1-34 0,-1-2-58 0,1 0-164 16,0 2-200-1,-1-1-340-15,1-3 125 0,-1 2 108 0,2 0 51 0,-1-1 54 0,1-1 114 16</inkml:trace>
  <inkml:trace contextRef="#ctx0" brushRef="#br1" timeOffset="54305.86">21378 3719 1028 0,'3'-4'313'0,"-3"4"-96"0,0 0-132 15,1-6-139-15,-1 6-570 0,0 0 42 0</inkml:trace>
  <inkml:trace contextRef="#ctx0" brushRef="#br1" timeOffset="84397.16">20115 8896 1497 0,'0'0'481'0,"-2"-2"-51"15,2 2-36-15,0 0-40 0,0 0-29 0,0 0-18 16,0 0-8-16,-6 7-53 0,4-2-13 15,2 0-10-15,0 0-26 0,0 4 0 0,0-2-33 16,0 5-39-16,0 0 16 0,0 1-18 16,2 0-23-16,-2 4 10 0,2 2 5 0,-2-1-31 15,4 2-63-15,-2 0-34 0,0-1 3 0,2 5 12 16,-3-1-14-16,0-3-12 0,1 0 19 16,2 2 3-16,-3 0-24 0,-1-4 26 0,3 2-2 15,-3-1 4-15,2-1 3 0,-2-1-5 0,2-4-12 16,-1 0 12-16,1 1-26 0,-2-2 8 0,3-1 8 15,-3-3-6-15,0 1-9 16,0-2 22-16,2 1-15 0,-2-3 0 0,1 1 3 16,-1-2 0-16,0 0-3 0,0 1 5 0,0-5-2 15,0 6-6-15,0-4 6 0,0-2 15 16,2 4-3-16,-2-4-10 0,0 0 24 0,0 0-27 16,0 0 11-16,0 0 3 0,0 0-19 0,0 0 11 15,0 0 7-15,0 0-4 0,0 0 9 0,-3-17 1 16,3 13-21-1,0-2 18-15,0-2 2 0,-2-1 4 0,2-2-17 0,-3-1 9 0,3-1-3 16,3 1 15-16,-3-1-8 0,3 0-14 16,-1 1 14-16,1 2 8 0,2 0 6 0,1-1-3 15,-2 4 2-15,4-1-5 0,-3 2 8 0,4 2-8 16,-3 0 31-16,2 1-13 16,2 3-12-16,-2 0 12 0,-1 0 3 0,1 5-13 0,2 0 2 15,-2-2 6-15,0 4 2 16,-1 2-3-16,1-1-12 0,0 0 8 0,0 1-6 0,-3 0-2 15,2 2 5-15,-2-3-8 0,1 3 3 0,-1-2-16 16,0 0-12 0,-3 0 2-16,1-3-20 0,0 1 7 0,1-1-35 0,-3-1-26 0,1 1-18 15,1-1-21-15,-1-3-40 0,0 3-57 0,-2-5-58 16,1 4-124-16,-1-4-55 0,0 0-439 16,0 0 113-16,0 0 67 0,0 0 89 0,10-6 44 15,-10 6 31-15</inkml:trace>
  <inkml:trace contextRef="#ctx0" brushRef="#br1" timeOffset="84807.67">20471 9250 1341 0,'-5'-3'366'0,"5"3"-5"15,0 0-46-15,0 0-21 0,-8 7 57 16,5-5-37-16,-1 2-45 0,1 2-26 0,0-1-5 15,1 2-48-15,-1 1 2 0,1 0-21 16,1-1-25-16,1 2-13 0,0 0 3 16,1-3-36-16,1 3-16 0,1 0-17 0,1-2 10 15,0 0-29-15,1-1-14 0,2-1 9 0,-2 0-20 16,1-2 3-16,2 0 10 0,-1-1-26 16,0-2 20-16,-7 0-9 0,13-5 5 0,-5 4 4 15,0-5 42-15,-3 3-29 0,2-3-2 16,-1-1 44-16,-1 1-11 0,-2-2 11 0,0 0-3 15,-2 2 12-15,-2 0-73 0,0-2 2 0,-4-2-3 16,4 4 21-16,-3-1-20 0,-1 1 4 16,0-1 14-16,-3 1-16 0,3 0-26 0,-2 2 8 0,-1 1 29 15,0-3-19-15,0 6 10 16,3 0-27-16,-3-2-19 0,0 2-27 0,8 0-21 16,-14 2-11-16,7-2-27 0,-2 4-42 0,4-2-48 0,-3 1-33 15,4 1-64-15,-2 1-121 16,3-4-13-16,0 4-491 0,3-3 98 0,0-2 81 15,0 6 95-15,0-6 38 0,6 4 42 0</inkml:trace>
  <inkml:trace contextRef="#ctx0" brushRef="#br1" timeOffset="85154.46">20617 9199 1077 0,'6'-5'466'0,"-6"5"-18"0,2-1 38 0,-2 1-43 0,0 0-38 15,0 0-34-15,0 0-16 0,0 0-24 0,0 0-40 16,2 8-6-16,-2-2-40 0,0 0-30 0,3 1-102 16,-3 4 2-16,0-2-7 0,3 1-44 0,-1 3 0 15,-2-1-13-15,3 1-28 0,2-2-15 16,-1-1-19-16,2 0-17 0,-1 1 3 0,1-3 4 16,1-2-12-16,2 0 10 15,-1-1 2-15,0-3-4 0,0 1 7 0,0-2 31 0,1-1-13 16,-3 0 23-16,2-4-3 0,0 2 6 15,0-3 12-15,-3 3 34 0,2-3-26 16,-2 0-5-16,-2-2 15 0,2 1-33 0,-1-1 10 0,-2 0-7 16,0 1 20-16,0-2-36 15,0 2 1-15,-1 0-4 0,-1 0-45 0,-1 0 2 0,1 0-13 16,-2 0-38-16,0 1-33 0,0 1-44 0,1 0-48 16,-2 0-65-16,-1 0-153 15,1 1-220 1,0 1-233-16,3 2 67 0,-4-4 78 0,1 3 60 0,3 1 100 0</inkml:trace>
  <inkml:trace contextRef="#ctx0" brushRef="#br1" timeOffset="85511.58">20805 9162 1090 0,'9'3'525'0,"-9"-3"-34"0,7 4-45 15,-5 2-103-15,2-2-36 0,2 2-23 0,-2 1-26 16,-1 1-30-16,4 3-21 0,-3-2 11 15,1 2-44-15,-3 2-23 0,3 0-2 0,-2 4-52 16,-1-3-13-16,1-1-22 0,-3 4-32 0,3-5-6 16,-3 1-27-16,0-2 18 15,0-2 3-15,2 1 3 0,-2-2-16 0,0-2 20 0,0 1 11 16,0-4-10-16,0 0-3 0,0-3 15 16,-2 4 6-16,2-4-3 0,0 0 2 0,0 0 8 15,-3-10-4-15,3 3 4 16,0 0-15-16,-3-1 12 0,3-1-7 0,0 0-20 0,0-1 14 15,3 4 12-15,-3-4-40 0,3 1 11 0,-1 0-5 16,3 0 7-16,-2 2-12 0,2 0-21 31,0-1-38-31,0 2-49 0,1-1-30 0,2 1-24 0,-1 1-46 0,0 0-127 0,1-1-147 0,4-1-434 16,-3 2 89-16,1 2 112 0,0-3 1 16,3 0 109-16,-3 1 39 0</inkml:trace>
  <inkml:trace contextRef="#ctx0" brushRef="#br1" timeOffset="85786.9">21054 9168 1162 0,'-6'1'399'0,"3"-1"-25"0,-2 3-19 0,0 0-47 15,3-3 78-15,-1 5-61 0,0-3-43 16,3 4-6-16,0-6-33 0,0 8-30 0,3-4-3 16,0 3-29-16,-1-1-24 0,3 1 9 15,2 3-23-15,-1-3-43 0,2 0 31 0,-3 3-21 16,3-1 2-16,-2-3-7 0,0 5 18 15,-3-4-8-15,2 0 1 0,-2 0-14 0,-3 3 13 0,0-2-76 16,0-2-16-16,-3 4 0 16,1-1-11-16,-2-2 14 0,-2 0-31 0,2-2-8 15,-3 2-15-15,2-1-21 0,0-1-4 0,-1-2-50 0,2 0-38 16,-4-3-7-16,3 3-93 16,2 1-58-16,3-4-106 0,-10 0-240 0,10 0-276 15,-4 3 135-15,4-3 62 0,0 0 76 0,-6 1 121 16,6-1 25-16</inkml:trace>
  <inkml:trace contextRef="#ctx0" brushRef="#br1" timeOffset="86284.19">21476 9384 824 0,'2'-4'417'15,"-2"-2"-25"-15,-2 0-8 0,2-1-18 0,-2-3-16 16,2 3-35-16,-1-5-21 0,-1-1 6 0,-1 0-31 16,-1-5 7-16,-2-1-28 0,1-5-25 15,-1 1-13-15,-1-3-21 0,-3-8-14 0,5 8-17 16,2 1-9-16,-2 6-19 0,2 1-12 15,-2 0 2-15,2 0 3 0,1 5-28 0,-3 0-3 16,3 2-10-16,1 3-23 0,-1 1 23 16,0-1-46-16,-1 1-3 0,2 2-20 0,1 0-6 0,-2 0-20 15,0 3-25-15,2 2-28 0,-2-6-22 0,2 6-14 16,-2-3-16-16,2 3-56 16,0 0-46-16,0 0-49 0,0 0-125 0,0 0-69 15,-6 5-459-15,6-5 96 0,0 0 96 0,0 7 57 16,0-7 110-16,0 0 18 0</inkml:trace>
  <inkml:trace contextRef="#ctx0" brushRef="#br1" timeOffset="86542.84">21415 8937 1267 0,'0'0'371'0,"-16"6"-46"0,13-5-18 15,-4 3-33-15,2 0-28 0,-1 0-8 16,-1 3-26-16,-3-1-5 0,3 4-15 0,0-2-18 16,-3-1-46-16,0 3 11 0,3-2-16 0,-4-1-13 15,4 4 20-15,-1-3-56 0,0-2-20 16,2 1-3-16,-1 2-40 0,0-3-17 16,2 1-14-16,0-4-31 0,0 2-44 0,2 0-18 15,0-2-45-15,1 0-85 0,-1-1-80 0,3-2-43 16,0 0-428-16,0 0 62 0,0 0 105 15,0 0 54-15,0 0 66 0</inkml:trace>
  <inkml:trace contextRef="#ctx0" brushRef="#br1" timeOffset="86839.85">21343 8913 1182 0,'8'0'369'15,"-8"0"-8"-15,10 0-34 0,-3 1-14 16,1 2-29-16,0-1 64 0,2 2-36 0,2-1-7 16,2 2-29-16,-1-3-20 0,1 2-41 0,0 2-13 15,-1-2-5-15,1-1-38 0,0 3 0 16,-1-2-16-16,2 0-17 0,-2 1-32 16,-1 0 19-16,-1-3-62 0,1 3-13 15,-2-4-17-15,-1 4-52 0,1-4-30 0,-2 3-24 0,0-2-48 16,-1 1-23-16,-2-2-138 0,0 0-175 0,2 0-437 15,-7-1 36-15,9 1 128 16,-9-1 148-16,10-1-5 0,-10 1 66 16</inkml:trace>
  <inkml:trace contextRef="#ctx0" brushRef="#br1" timeOffset="88333.89">20417 9705 1400 0,'-5'-5'386'0,"0"5"-20"15,0-2-28-15,-3 1-51 0,-2 2-31 0,0 1-13 16,-3-2-92-16,0 6-13 0,3-1-25 0,-3 1-1 16,1 0 6-16,1-1-26 0,1 0-12 15,0 0-14-15,2 2 6 0,0-1-18 0,5-1-8 16,-2 1 48-16,3 0-1 0,2-2-14 0,0-1-13 16,2 3-4-16,3-2-11 15,-2-1 0-15,5 1-12 0,0-2 14 0,-1 3-35 0,3-4 26 16,0 2-29-16,3 0 11 0,-2-2 5 0,3 3-24 15,-3-3 16-15,-1 3-5 0,2-1 8 16,-3 0-6-16,-1 1-4 0,0-4 7 16,-1 5-5-16,-2 0 15 0,0 0-5 0,-2-2-5 15,-1 3 0-15,1 0 5 0,-3 1 5 0,-3-1-7 16,3 1 5-16,-4 2-3 0,2-2 5 0,-4 2-10 16,0-1 0-16,-1 1-18 0,-1-2 1 15,0 3 14-15,-2-2-17 0,0-1 9 0,0 1 11 16,2 1-46-16,-2-2 0 0,2 0-28 31,-2-1-26-31,-1 1-28 0,6-3-33 0,-3-2-74 0,1 4-111 0,0-6-68 0,4 1-482 16,-2 2 79-16,5-3 52 0,0 0 74 0,0 0 64 15,0 0 53-15</inkml:trace>
  <inkml:trace contextRef="#ctx0" brushRef="#br1" timeOffset="88676.59">20530 9663 1205 0,'0'0'443'0,"0"0"-18"0,0 0-21 0,0 0-68 0,0 0 1 0,0 0-42 0,0 13-90 16,0-8-24-16,0 1 1 0,-3 5-18 15,1-2-21-15,0 3-30 0,0 2 17 0,-2 1-32 16,2-2 63-16,1 1-7 0,-4 0-11 0,3 0-13 15,0-1-17-15,2 2-21 0,-1-2-2 16,-1-1-16-16,2 1 3 0,0 0-13 0,0-2-8 16,3 0 34-16,-3-3-44 0,4 0 18 15,0 2-10-15,0-2-29 0,1-2 3 0,0-1 0 16,1-1-22-16,-1 0 4 16,4-1-38-16,-3-1-16 0,2-2-40 0,-3 1-37 0,3-2 14 15,0 1-70-15,-1-1-69 0,1-3-102 0,-1 1-100 16,-2-1-471-16,1 1 95 0,1 0 64 15,-4 0 48-15,2 0 93 0,-5 0 41 0</inkml:trace>
  <inkml:trace contextRef="#ctx0" brushRef="#br1" timeOffset="88894.25">20423 9873 1223 0,'0'0'410'0,"0"-5"-39"0,0 5-113 0,2-5-20 16,3 2-30-16,-2-1-16 0,2 1 7 16,4 0-40-16,-1-2-21 15,3 2-10-15,-1-2-61 0,3 0-70 0,-3 2-38 0,4 0-74 0,-2-1-113 16,-2 1-117-16,3 0-405 0,0-1 38 0,-3 4 85 16,1-4 97-16</inkml:trace>
  <inkml:trace contextRef="#ctx0" brushRef="#br1" timeOffset="89276.29">20705 9773 1156 0,'0'0'459'15,"0"0"-121"-15,4 7-26 0,-4-6-8 0,0 6-22 16,3-3-18-16,-2 1-34 0,0-1-23 16,0 3 1-16,1 2 53 0,2 0-31 15,-2-1-30-15,0 1-21 0,0-2-23 0,4 0-30 0,-4 3-24 16,3-2-46-16,0-1 1 15,-2-1-32-15,4 3-2 0,-4-2 8 0,3-4-29 0,-2 2-7 16,2-3 8-16,-2 0-1 0,-4-2 9 16,11-2 7-16,-11 2 12 0,8-5-22 15,-3 0 12-15,0 0-4 0,0-2 2 0,-2 1 18 16,2-2-6 0,-2-1 19-16,1 3 18 0,-1-1 12 0,0 1 3 0,1 0-5 0,-3 3 10 0,1-2-11 15,-2 0-12-15,0 5 18 0,3-2 5 16,-3 2-5-16,0 0-25 0,0 0-11 0,0 0-8 15,0 0-82-15,0 0 9 0,8 10-1 16,-8-5 10-16,0 1-12 0,0 0-31 0,0 1-26 16,0-1 0-16,2 3-35 0,-2-2-24 0,1-1-63 15,0 2-88-15,0-3-120 0,4 2-512 32,-3-2 100-32,-1-2 85 0,3 3 63 0,-1-6 59 0,0 3 78 0</inkml:trace>
  <inkml:trace contextRef="#ctx0" brushRef="#br1" timeOffset="89688.37">21043 9635 1395 0,'0'0'394'0,"0"-4"-38"0,0 4-26 0,0 0-18 0,0 0-41 16,0 0-20-16,-3 12-28 0,1-6 15 15,2 2-64-15,-1 3-23 0,-1 0-18 0,0 2-7 16,2 0-11-16,0 1-26 0,0-1 6 15,-3 0-31-15,6 1-15 0,-1-3-6 0,-2 0-20 16,2-1 18-16,-1-2-36 0,1 0 13 16,1 1-18-16,-3-5 13 0,0 2-13 15,2-3 15-15,-4 0-7 0,2-3-11 0,-3 5 14 0,3-5-6 16,-3 2 26-16,3-2-16 0,-7 3-5 16,7-3 8-16,-8 2 0 0,1-2-8 0,1 4 8 15,1-2 61-15,-2 2-2 0,-1-1 10 0,1 1-15 16,1 1 5-16,1-2-3 15,0 2-7-15,2 0-9 0,-4-1-9 0,5 0 2 16,-1 1 16-16,0 0-29 0,2-1-12 0,1-1 20 16,0-3-33-16,1 8-3 0,2-6 3 15,0 2-54-15,-1-3-46 0,3 2-8 16,0-2-36-16,0 1-32 0,4-2-96 0,0-3-225 0,-1 1-432 16,0 1 79-16,2-2 46 0,0-1 77 15,2-2 71-15,-2 1 70 16</inkml:trace>
  <inkml:trace contextRef="#ctx0" brushRef="#br1" timeOffset="90063.9">21184 9770 1244 0,'-3'5'424'16,"-2"-2"-42"-16,3 0-39 0,1 1-21 0,-1-1-17 15,-1 3-123-15,3-1-8 0,0 0-36 16,0-1-31-16,0 0-2 0,4 3-12 0,-2-3-37 15,2-1-7-15,0 0-14 0,2-1 9 0,-6-2-6 16,11 0 3-16,-3-2-15 0,0-1 15 16,0 0-8-16,2-1 13 0,-3 1-15 0,1-1 35 15,0-1-4-15,0 2-8 0,-1-1 4 0,-2 2 1 16,1-2 5-16,-2 3 13 16,-4 1 28-16,10 0-31 0,-10 0 39 0,11 5 61 15,-4-2 3-15,1 4-3 0,0 2-34 0,-1 5-63 0,3-1 0 16,-3 3 23-1,3 4-29-15,-2 1-4 0,-2 3 2 0,0 0-7 0,-1 1-11 16,-2-1-10-16,-1 2-11 0,0-6 9 0,-1 3 30 16,-2-2-33-16,-1-2-8 0,-3-1-5 0,4 0-5 15,-3-4-21-15,0 1 14 16,-2-3-4-16,3-2-30 0,-4 0-36 0,4-3-23 0,-2 1-30 16,0-4-24-16,1 1-40 0,0-2-16 0,1-3-31 15,3 0-128-15,0 0-127 0,-10 0-454 16,10 0 82-16,0 0 56 0,0-6 116 15,0 0 51-15,0 1 36 0</inkml:trace>
  <inkml:trace contextRef="#ctx0" brushRef="#br1" timeOffset="91813.61">22533 8911 780 0,'-1'-4'325'0,"1"4"-12"0,0 0-42 16,0 0-30-16,0 0-14 0,0 0-19 15,-7 12-24-15,5-6-15 0,2 0-10 0,0 2-8 16,0 3-21-16,2-2-10 0,-2 3 6 16,0 2-11-16,2 0-28 0,-2-1-15 0,3 0 20 0,-3 3-41 15,0-2-5-15,2 0 26 0,-2-1-21 16,0 2-18-16,1-3 1 0,-1 0 68 0,0-1 8 15,0 0-20-15,0-3-21 0,2 3 10 0,-2-4-17 16,0 1 2-16,0 0-13 16,0-1-10-16,2-3 18 15,-2 0 5-15,0 2-11 0,2-1 27 0,-1-3-19 0,-1-2 6 0,0 0-3 16,0 6 20-16,0-6-28 0,0 0 1 16,0 0 2-16,0 0-16 0,0 0-17 0,0 0 25 15,5-16-15-15,-3 12 2 0,-1-3 3 0,4 0-10 16,-2 1-16-16,2-1 13 0,-1 0-5 15,-1 2 21-15,3-1-26 0,0 0-11 0,-2 1 22 16,4 0-17-16,-2 2 4 0,-2 0 2 0,1 2 33 16,-5 1-5-16,10 0-10 15,-4 1-11-15,-2 3 6 0,2-2-18 0,1 4 13 0,0-1-6 16,-4 2-71-16,3-2 7 0,-1 1 8 16,0 0-12-16,-3 1 9 0,4-1-14 15,-4 2 17-15,3-2-28 0,-2 1-16 0,-1-1 4 16,0 0-60-16,-1 0-5 0,2-1-46 0,-1 0-56 15,0-1-169-15,0 1-84 16,-1 1-362-16,2-4 41 0,-3 2 152 0,4-3 25 0,-4-1 72 16</inkml:trace>
  <inkml:trace contextRef="#ctx0" brushRef="#br1" timeOffset="92009.42">22781 9156 1185 0,'0'0'445'0,"0"0"-56"0,0 0-10 16,0 0-49-16,0 0-51 0,0 0-2 0,0 0-37 15,3 13-58-15,-1-7-16 0,-2-2-71 0,0 1-57 16,0-1-91-16,0 2-221 0,-2 1-573 16,2-1 109-16,0 0 68 0,0 0 76 15,0 0 44-15</inkml:trace>
  <inkml:trace contextRef="#ctx0" brushRef="#br1" timeOffset="92167.29">22781 9094 1126 0,'0'0'304'0,"-1"-7"-63"0,1 7-41 0,0 0-49 0,0 0-64 0,0 0-136 0,0 0-125 16,0 0-453-16,0 0 28 0,14 3 113 15</inkml:trace>
  <inkml:trace contextRef="#ctx0" brushRef="#br1" timeOffset="92505.02">22907 9081 1018 0,'-21'5'481'0,"15"-2"-145"15,-1 2-16-15,-1-1-11 0,-1 0-35 0,3 0-18 16,-1 1-33-16,3 1-21 0,-2-2-17 0,0 0-22 15,2 2-22-15,-2-1-13 16,4-3-33-16,1 3-3 0,0-1 8 0,1 0-11 0,0-4-17 16,2 6-16-16,0-1-7 0,0-2 0 0,2 1-1 15,0 2-20-15,1-1 19 0,-2 0-24 16,5 1 10-16,-3-1 3 0,2 3 15 16,1 0-15-16,0-1 5 0,-3 3 2 0,3-2 8 0,0 5-10 15,-1-4-2-15,-2 3 7 16,0 0 2-16,1 2 9 0,-4-2-4 0,0 1-14 0,2 3 7 15,-4-4 10-15,0 1-15 0,-1 0 3 16,-2 0-26-16,-1 1 15 16,2-4-7-16,1 1-6 0,-4-3-25 0,4 1-31 0,-3-1-28 15,1-1-31-15,0-2-30 0,-1 1-67 0,3-3-84 16,-2 2-147-16,3-5-102 0,-4 3-301 0,4-3 50 16,0 0 49-16,0 0 72 0,0 0 69 15</inkml:trace>
  <inkml:trace contextRef="#ctx0" brushRef="#br1" timeOffset="92904.4">23012 8997 1016 0,'3'14'399'0,"-3"-8"64"16,0 0-45-16,2 2-42 0,-2 2-18 16,0-1-46-16,2 1-30 0,-2-1-29 15,3 3-40-15,-2-1-8 0,-1-3-34 0,1 5 3 16,0-3-20-16,1-1-6 0,-2-3-33 16,4 4-7-16,-3-3 10 15,2-2-18-15,-3 0 12 0,4-1-84 0,-3-1 39 0,2 0-29 0,-3-3 16 16,5 0-18-16,0 2-3 15,-5-2 21-15,10-2-31 0,-10 2 28 0,10 0-2 0,-10 0-21 16,11 0-5-16,-4 4 18 0,-2-2-16 0,1-1 4 16,1 3-29-16,-1-1-39 15,1 2 9-15,-4 0-55 0,4-1-40 0,-4 0-34 0,2 1-64 16,-2 1-181-16,1 1-103 0,-3-1-453 0,4-1 141 16,-1-1 105-16,-3 0 69 0,2 2 46 15,1 0 100-15</inkml:trace>
  <inkml:trace contextRef="#ctx0" brushRef="#br1" timeOffset="93409.88">23292 9151 1244 0,'2'-7'350'0,"-2"0"-14"0,0 0-6 0,0 1 23 16,0 1-8-16,-2 2-32 0,2 0-44 0,0 3 7 15,-2-7-64-15,2 7-4 0,-6-1 2 16,6 1-31-16,0 0-13 0,0 0-25 16,-10 5-26-16,10-5 8 0,-6 8-28 0,4-3 2 15,0 0-12-15,-1 2-21 0,0 0 10 0,3-1-38 16,-1 1-19-16,2-2-32 0,-1 0-13 16,0 0-3-16,3 0-15 0,-1 1-18 0,0 1-7 15,1-4 17-15,1 0-3 0,-2-1 19 16,2 1-5-16,2-3 17 0,0 1-2 0,-6-1 2 15,9-1 16-15,-9 1 5 0,8-5 20 0,-1 5-10 16,-2-3 11-16,0 0 9 0,-2 3-12 16,3-3 10-16,-6 3 0 0,7-4 5 0,-2 4 6 15,-5 0-1-15,10 0 15 0,-10 0 24 0,8 5-21 16,-5-3 3 0,2 3-3-16,-2-2-17 0,-1 1 37 0,3 3-40 0,-5-2 2 15,3 1 8-15,-1 1-77 0,-2-1-7 16,0 0 10-16,0 0-11 0,2-1 39 0,-2-3-18 15,0 4 20-15,0-2 11 0,0-4 15 0,2 6-13 16,-2-6 24-16,0 0-22 0,0 0-1 0,0 0 12 16,0 0-11-16,0 0 17 0,6-10-11 15,-3 4 5-15,0 0-18 0,0-1-16 0,-1-1-12 16,5-3-2-16,-2 0-26 0,3-2-19 16,0 3-17-16,0 1-25 0,2-4-29 0,1 7-25 15,-1-2-75-15,0 3-112 0,2 0-67 0,-2 4-453 16,-1 0 100-16,1 3 49 0,-2-1 33 15,-1 4 94-15</inkml:trace>
  <inkml:trace contextRef="#ctx0" brushRef="#br1" timeOffset="94236.9">22740 9772 757 0,'-8'7'300'15,"7"-5"-16"-15,0 5-23 0,-2-1-26 0,3-1-15 16,0 4 44-16,0 0-23 0,0 0-26 0,0-1 7 16,0 1-42-16,0-2-22 0,3 3-4 15,-3-1-26-15,1-3-21 0,0 1 9 0,-1-2-17 16,1 1-17-16,-1-1 0 0,0-2-18 0,2 2 13 16,-2-5 13-16,2 1-32 15,-2-1-6-15,0 0-16 0,0 0 20 0,0 0-13 16,0 0-17-16,6-12-6 0,-2 8 14 0,-4 0-9 15,1-2 3-15,1 0-12 0,-2 0 30 16,5 3-31-16,-4 0 6 0,1-3-3 0,1 4-3 16,-1-3-5-16,1 5 8 0,-3 0 5 15,6-5 26-15,-2 4-24 0,-4 1-19 0,0 0 27 16,10 1-15-16,-10-1-5 0,8 5 25 0,-3-2-89 16,-2 0 35-16,1 1-22 0,-1-1 30 0,0 1 6 15,-1-2-9-15,-1 3 14 0,1-3 20 16,0 4-15-16,1-3 15 0,-3-3-8 15,1 6 13-15,1-5 108 0,-2-1-31 0,5 3 15 16,-5-3 13-16,2 3-20 0,-2-3 0 0,0 0-19 16,0 0-4-16,7-7-24 0,-6 3 14 15,2 2 4-15,-1-2-27 0,1-1 4 0,2 2 8 16,-2-2 0-16,4 0-20 0,-4 2 23 0,3-1-11 16,-2-2-7-16,1 6 12 0,2-3-17 15,-1 0-34-15,-1 3 31 0,2 0-5 0,-7 0 3 16,13 3-6-16,-5 0 6 15,-2 0-75-15,1 0-7 0,0 1 32 0,-1-1-65 0,2 3-32 16,-3-1-55-16,3-1-68 0,-2 1-24 0,0-1-70 16,0 2-156-16,1-2-492 0,0-2 47 0,1 0 122 15,0-2 80-15,0 0 45 0,1 0 142 16,0-3-8-16</inkml:trace>
  <inkml:trace contextRef="#ctx0" brushRef="#br1" timeOffset="94758.43">23166 9769 982 0,'0'0'359'0,"-8"0"-24"0,8 0-41 0,-10 0-22 0,10 0-19 0,-9 6 57 0,3-6-3 0,0 6-54 16,1-1-40-16,0 0 2 0,1 2-33 16,-2-1-3-16,5 2-15 0,-3-1-54 15,1 0-13-15,3-1-33 0,-1 3-36 0,2-5-18 0,-1 4-7 16,0-5 2-16,0 4 21 0,3-3-3 15,-1-2 2-15,1 2 11 0,-1-2-13 16,-2-2 0-16,6 0-7 0,-6 0 17 0,0 0-8 16,10-2 14-16,-5-2 15 15,-2 2-13-15,1-2-21 0,2-2 21 0,-2 3 10 0,2-1-28 16,-1-2 0-16,0 4-7 0,0-3 22 0,0 2-17 16,-2 0 2-16,2 1 12 15,-5 2-1 1,10 0 17-16,-10 0-26 0,8 0 11 0,-8 0 10 0,7 3-10 0,-4 0 5 0,2-1 23 15,-4 5-15-15,3-1-21 0,0 0 5 16,-2-1-74-16,0 2 11 0,1-2 12 0,-1 1 20 16,-2-2-4-16,1 0-6 0,-1 2 10 0,2-2-14 15,-2 0 22-15,2-1 23 0,-2-3 11 16,2 5 4-16,-2-5-14 0,0 0-1 0,0 0 0 16,0 0 0-16,0 0-2 0,0 0-10 0,0 0-6 15,4-16 5-15,-2 10 1 0,0-2 5 16,-1 2-19-16,1-3 11 0,1 2-26 15,1 0-9-15,-3 1 4 0,2-1-21 0,1 1 1 0,-3 1-18 16,1 1-5-16,3 0-57 0,-4-1 0 16,3 3-32-16,-1-2-65 0,0 1-74 15,3-1-106-15,-5 3-101 0,2-4-400 0,5 0 111 16,-3 2 99-16,0-2 46 0,2-1 51 0,-1 1 116 16</inkml:trace>
  <inkml:trace contextRef="#ctx0" brushRef="#br1" timeOffset="94952.67">23394 9706 1136 0,'0'0'351'0,"0"0"81"0,0 0-35 0,0 0-16 0,0 0-30 16,0 0-18-16,0 13-62 15,0-9 6-15,-2 1-111 0,2 0-10 16,0 3-15-16,0-1-23 0,0 1-8 0,-1 2-18 0,1-1-38 0,0-2-31 16,0 5-44-16,0-5-33 15,0 4-22-15,1-4-32 0,-1 0-58 0,2-1-67 0,2 1-59 16,0-3-56-16,1-3-382 0,0 0-45 15,0-1 145-15,-5 0 44 0,16-1 33 0</inkml:trace>
  <inkml:trace contextRef="#ctx0" brushRef="#br1" timeOffset="95220.32">23630 9687 1172 0,'-15'6'327'16,"9"-5"-27"-16,1 2 89 0,-1 0-31 15,-6 3-30-15,2-1-8 0,0 0-110 0,1 1-5 0,-1-2 10 16,2 3-16-16,-1 1-7 0,1-2-15 16,0-2-26-16,1 2 10 0,2-1-20 0,-1 2 7 15,2-3-20-15,-2 1-15 0,4-2-26 16,-1 2-15-16,0 0 33 0,1-2 59 0,0 2-36 16,2-3-3-16,0-2-23 0,0 6-4 15,0-6-14-15,2 5-25 0,-2-5-31 16,5 4-46-16,0-4-7 0,-5 0-50 0,13 0-9 15,-7 0-52-15,1-3-46 0,3 2-53 0,0 0-136 16,1-3-169-16,3 2-410 0,-3-3 141 16,2-1 21-16,0 3 112 0,0-2 87 0,4-1-2 15</inkml:trace>
  <inkml:trace contextRef="#ctx0" brushRef="#br1" timeOffset="95454.81">23745 9713 1123 0,'-6'4'341'0,"6"-4"2"0,-4 6-34 16,2-4-14-16,2 2 4 0,0-4 26 16,0 8-5-16,2-1-7 0,2 0-24 0,-3 2-20 15,2 0-11-15,1-3 8 0,-1 4-112 16,-3-1-13-16,3 0-13 0,-3 0 20 0,0 1 90 16,-3-1-7-16,3 2-52 0,-3-3-15 0,-1 2-8 15,0-1-26-15,-2-2-12 0,0 2-11 16,-2-3-43-16,5 0-23 0,-4-2-48 0,0 1-50 15,3-2-60-15,-2-1-68 0,6-2-76 16,-8-5-225-16,5 3-548 0,3 2 82 0,-3-6 138 16,6 1 94-16,-3-1 39 0,5 1 75 0,0-2 102 15</inkml:trace>
  <inkml:trace contextRef="#ctx0" brushRef="#br1" timeOffset="95896.43">24117 9742 913 0,'-1'-5'320'0,"2"0"-28"16,-1 5-8-16,0-9-28 0,0 0 5 15,2 1 57-15,-4-3-39 0,2 0-13 0,0-5-13 16,0-3 8-16,-1-5-48 0,-1-1 2 0,0-3-39 16,-3-10-12-16,3-3-82 0,-1-1-15 15,-3 1 10-15,2-1-19 0,0 2-12 0,0 3 1 16,1 6-1-16,0 7 0 0,1 0 5 15,-1 3-5-15,1 0-10 0,-3 2-11 0,4 3 16 16,-1 0 0-16,0 3-7 0,-1 1-1 0,2 0-10 31,-3 2-10-31,1 1-1 0,3 2-29 0,-3 0-22 0,1 0-22 0,2 1-57 16,-2 1-25-16,-1-1-49 0,3 4-59 0,-1-2-49 0,1 4-61 16,-4-4-7-16,4 4-374 0,-2-3 15 15,2 3 33-15,0 0 67 0,-1-4 82 16</inkml:trace>
  <inkml:trace contextRef="#ctx0" brushRef="#br1" timeOffset="96135.92">24068 8932 1228 0,'0'0'369'0,"-10"5"-29"0,7-2-22 0,-2 1-14 16,0 2-20-16,0 0-25 0,-2 1-8 0,-1 4-49 15,2-3-5-15,1 4-23 0,-3 0-5 0,0 2-13 16,0 0-41-16,0 1-5 16,0-1-12-16,-1-1-29 0,1-2-5 0,1 2-31 15,-3 1-25-15,5-4-52 0,0-1-15 0,-1 1-28 16,1-2-64-16,2-3-115 0,-1 1-95 16,1 1-25-16,1-4-375 0,1 0 29 15,1-3 67-15,0 0 86 0,0 0 57 0</inkml:trace>
  <inkml:trace contextRef="#ctx0" brushRef="#br1" timeOffset="96353.93">23994 9025 1167 0,'8'0'417'0,"2"2"-36"0,0 2-120 15,1 0-2-15,1 0-21 0,1 1-46 0,3 1 8 16,2 0-34-16,-1 0-20 15,1-1-13-15,0 2 8 0,-2-1-39 0,-1-1-12 0,1 0-31 16,-2-1-31-16,-1 2-46 0,0 0-28 0,-2-3-100 16,-1 1-113-16,-2 0-76 0,2 0-423 0,-5 0 29 15,3 1 150-15,-2-2 42 0,-2 1 25 16</inkml:trace>
  <inkml:trace contextRef="#ctx0" brushRef="#br1" timeOffset="97211.71">18774 9674 1080 0,'-3'-1'384'0,"3"1"-13"0,0 0-36 0,0 0-46 16,0 0-12-16,13-7-24 0,-5 3-25 15,2 3 8-15,3-3 12 0,1 2-10 0,0-2-31 16,1 2-35-16,5 0-37 0,-1-1-22 0,1 0-52 15,-2 0-45-15,0 3-37 16,-3-3-58-16,1 3-70 0,-3 0-101 0,-1 0-111 16,-1 0-307-16,-1 3-118 0,-5-3 74 0,-2 3 93 0,2 0 56 15</inkml:trace>
  <inkml:trace contextRef="#ctx0" brushRef="#br1" timeOffset="97438.08">18754 9775 1146 0,'-3'0'433'0,"-2"0"-118"0,5 0 0 16,0 0-39-16,0 0-20 0,0 0-15 16,0 0-24-16,0 0-30 0,18 3-18 15,-10-6 54-15,2 3-14 0,4-3-6 0,0 0-19 0,3 3-69 16,2-5-23-16,3 1-7 0,-1 0-54 16,3-1-80-16,-2 2-38 0,-1-2-100 15,-1-1-151-15,0 1-478 0,-1-1 20 0,-1 2 92 16,-3-2 61-16,1 0 75 0,-4 0 74 15</inkml:trace>
  <inkml:trace contextRef="#ctx0" brushRef="#br1" timeOffset="97714.93">18989 9485 1090 0,'10'0'340'0,"0"3"-9"0,4-3-17 0,4 3-29 0,-1-1-17 0,4 2-19 0,2-1-11 15,0 4 7-15,3-2-30 16,-5 2-2-16,3 3 7 0,-7-3-25 0,0 1-24 0,-1 2-2 16,-4 0-15-16,1 1 45 0,-5 1 6 0,-3 2-13 15,-2-3-41-15,-4 7 20 0,-3-1-35 16,-4 4-36-16,-5 8-28 0,-5 3-49 0,-2-2-52 15,-1 0-55-15,-5 3-64 0,4 0-24 16,-7 6-173-16,6-8-152 0,0 1-399 16,0 0 46-16,0-2 87 0,3-1 60 15,-1-2 68-15,1-3 51 0</inkml:trace>
  <inkml:trace contextRef="#ctx0" brushRef="#br1" timeOffset="167270.4">1053 9713 1400 0,'0'0'494'0,"-6"-3"-49"0,6 3-48 0,-10-3-29 16,10 3-68-16,-11 4-13 0,1-2-3 0,0 4-41 15,0-1-13-15,-2 1-48 0,-2 1 2 0,-1 3 13 16,0-1 31-16,-3 4-33 0,2-3-108 16,3-1 18-16,-3 1-16 31,4-1-14-31,2-3-9 0,0 1-5 0,2-1-27 0,3 2 12 0,-2-3-15 0,4 0 15 0,0 1-23 16,1-1-3-16,2-3 19 0,5 4-34 0,-2-2 10 0,6-2-18 15,-1 3 6-15,3-3-8 0,1 3-5 0,0-1 5 16,4-2 20-16,-3 2-23 15,3-1-2-15,-2 0-21 0,5 1 21 0,-4-1-16 16,0 2 6-16,1-2-6 0,-3 3 14 0,-1-4-9 16,-1 3 16-16,2 1-5 0,-6 1 2 0,1-1 11 15,0-1 2-15,-5 3 8 16,2-2-1-16,-5 3 9 0,-3 0-1 0,1-1 11 0,-1 3-8 16,-3 2 10-16,-1-1 3 0,-3 0-18 0,2 2 13 15,-5-3-21-15,1 2-2 0,-1 0 7 16,0-2-10-16,-2 0 3 15,2-2-3 1,0-1-10-16,-3 0-18 0,1-1 5 0,2-2-18 0,1 1-18 0,1-3-15 0,1 1-54 16,2-1-7-16,0 0-8 0,1-1-52 0,2-1-63 0,5-1-57 15,-8 0-64-15,8 0-15 0,0 0-438 0,0 0 39 16,0 0 53-16,0 0 90 0,0 0 64 16,16-12 51-16</inkml:trace>
  <inkml:trace contextRef="#ctx0" brushRef="#br1" timeOffset="167661.68">1283 9837 1461 0,'-7'0'425'0,"7"0"-44"0,-11 0-25 0,6-1-110 16,5 1-16-16,-10 3-25 0,3 0-28 0,1-1-3 16,1 4-31-16,-1 0 8 0,-1 1-18 15,2-1-12-15,2 3 9 0,0 0-20 0,-1-2-23 0,2 0 23 16,1 4-33-16,-2-1 0 0,3-1-3 15,3-1-13-15,-2 1-7 0,3-1 8 0,-2-2-1 16,4 2-10-16,-1-2-10 0,0 0-13 16,3-1-7-16,-1 1-19 0,4-4-12 15,-4 3 18-15,3-5-23 0,-1 0-9 16,1 0-16-16,2-2-45 0,-2-2-7 0,1 3-28 16,2-5-31-16,-1 5-41 0,-1-4-77 15,-1 0-64-15,2-4-15 0,-1 4-494 0,-1 0 89 0,-2-1 60 16,2 3 78-16,-2-1 37 0</inkml:trace>
  <inkml:trace contextRef="#ctx0" brushRef="#br1" timeOffset="168788.22">1624 9817 941 0,'-2'-5'420'0,"-1"3"44"0,3 2-9 16,-5-4-48-16,5 4-59 0,-8-2-18 0,8 2-40 0,-10 1-24 15,5 1-13 1,-3 1-40-16,0-1-1 0,-2 4-25 0,0 0-8 0,2 1-74 0,-2-1-36 16,0 1-2-16,2 2 2 15,1-1-15-15,-1 0 0 0,2-1-16 0,1 0-7 0,0 1 2 0,1-1-13 16,3-1-9-16,-1-1-14 0,-1 0-2 15,3 0-5-15,0-1 2 0,3-2-7 16,-1 3 12-16,-2-5-5 0,5 1 3 0,-5-1 3 16,0 0 4-16,13-3 1 0,-8-2 17 0,0 0-22 15,1-1 12-15,1 0-23 0,-2 1 16 16,0-1-6-16,0 2-4 0,-1 0-1 0,0 2 8 16,1-1-10-16,0 1 2 0,-5 2 8 0,8 0-5 15,-8 0 5-15,11 3-10 16,-6-1-24-16,0 0 6 0,2 2-10 0,-4-1-3 0,3-2-31 15,0 4-2-15,0-4-3 0,-1 2 18 0,0-3 11 16,-5 0-1-16,12-3 26 16,-5 1-5-1,0-3 20-15,0 2 39 0,-2-5-6 0,1 0 24 0,1 0 2 0,-1-3 8 0,-1 0 10 16,0 0 34-16,-1-1-9 16,2-2-14-16,-4-1 17 0,1-3-13 0,-1 0-2 0,-2-2 23 15,0 1-20-15,0-4-3 0,-2 3-16 0,2 0-2 16,-2 1 8-16,1 2-3 0,1 4 13 15,-2 1-44-15,2 0 31 0,0 4 1 16,-3 0-30-16,3 2-16 0,0 2 14 0,0 4-23 16,0 0 13-16,0 0-10 0,0 0 13 0,3 24-16 15,-3-11-2-15,2 1 8 16,1 4-19-16,0 1-7 0,2 5-20 0,0-1-19 0,0-1-25 16,0 2-28-16,2-1-6 0,1-2 11 0,-2-3-5 15,1-1 0-15,-1-2-24 0,-1-1 21 0,2-3-2 16,1 1-5-16,0-5-6 15,-1 1 3-15,-1-4 10 0,1 2 0 0,1-4 13 0,-3 0 28 16,3-2-7-16,-8 0 9 0,12-6 19 0,-4 2-5 16,-3-2 27-16,1-3 26 0,-2 0-7 15,2-4 15-15,-3 0 5 0,2 2-3 16,-3-3 19-16,0 1 22 0,-1-5-2 0,-1-1 26 0,0 1-1 16,-1-1-2-16,1 0 5 0,-4-2-18 15,1 2 16-15,0 1-9 0,1 0 34 16,-1 0-35-16,0 5 117 0,3 1-23 0,-4 0-18 15,1 1 0 1,0 3 7-16,1 0-4 0,0 2-16 0,1-1-33 0,-1 3 18 0,-1-1-36 16,3 5-21-16,-2-1 9 0,2 1-22 0,0 0 1 15,0 11 13-15,2-3-54 0,1 1 22 16,-1 1 11-16,1 2-5 0,2 1-15 16,0 4-5-16,0-3-50 0,2 2 1 0,1-2-10 0,0-1 10 15,0 0 2 1,-3-2-5-16,3-2 1 0,-3 2-1 0,3-3-28 0,-1 1 13 0,-2-3 5 0,1-2-10 15,1 0 2 1,-2 0 29-16,-2-3 4 0,4 0-9 0,-7-1-14 0,10-2 14 16,-4-2 7-16,-1 2-15 0,0-3 30 0,0 0-12 15,-2-1-1-15,2 1 1 0,-2 1-8 16,2-1 15-16,-3 0 6 0,1 0 22 16,0 3-7-16,-1-2 15 0,-2 4-43 0,2-3 30 0,-2 3-7 15,6-2-1-15,-6 2-9 0,0 0 4 0,0 0 14 16,7 9-16-16,-4-5 0 0,2-1 7 15,0 3-19-15,0 1 17 32,0-1 13-32,0 0-26 0,3 1 23 0,0-2-4 0,-3 2-34 0,3-2 5 0,-1 0-44 0,1-2 16 15,0 1-33-15,-1-3-18 0,-1 1 22 0,1-2-22 0,-7 0-33 16,13-2-27-16,-8 1-22 0,0-4-15 16,0 0-34-16,1 2-61 0,-3-2-67 0,2-1-123 15,-5 1-455-15,0-1 99 0,0-1 88 16,0 1 46-16,-6 0 63 0,1 2 88 0</inkml:trace>
  <inkml:trace contextRef="#ctx0" brushRef="#br1" timeOffset="169049.37">1563 9775 1341 0,'0'0'494'0,"0"0"-46"0,-3-5-34 16,3 5-32-16,8-6-11 0,0 2-66 0,1 0-21 16,2-3-21-16,2-1-19 15,4-1-29-15,0-4-13 0,3 4-26 0,1-3-107 0,-1 0-20 16,0 0-36-16,0 0-23 0,1 0-29 0,-3 4-48 16,0-3-41-16,-3 0-41 0,1 3-69 15,2 2-120-15,-8 0-62 0,6-1-435 16,1 0 169-16,-1 0-10 15,-1 2 61-15,3-1 64 0</inkml:trace>
  <inkml:trace contextRef="#ctx0" brushRef="#br1" timeOffset="169410.61">2185 9526 998 0,'0'0'389'0,"0"0"-36"16,10 10-33-16,-7-5-13 16,3-1-33-16,1 4-28 0,1 0-23 0,-1 0-29 15,-1 2-22-15,1-2-9 0,-1 4-22 0,1-2-18 0,-2 0-15 16,0-1-16-16,0 1 0 16,-2-4-23-16,0 1-13 15,0-1 16-15,2 0-3 0,-3 0 103 0,-2-1-4 0,2-3-24 0,-2-2 43 16,3 5-26-16,-3-5-33 0,0 0 18 15,0 0-16-15,0 0-27 0,0-13 12 0,0 7-20 16,0-3 2-16,0 0-28 0,0 0-5 0,0-3 0 16,0-1-10-16,3 3-39 0,-3-3 31 15,0 0-2-15,2 2-85 0,-1-2-5 0,1 2-46 16,0 3-16-16,1 1-71 0,-3-1-44 0,3 4-71 16,1-3-164-16,-4 6-489 0,0 1 92 15,0 0 74-15,0 0 67 16,8 9 61-16,-8-2 92 0</inkml:trace>
  <inkml:trace contextRef="#ctx0" brushRef="#br1" timeOffset="169833.56">1834 10254 1346 0,'0'0'435'0,"0"0"-38"0,0 0-62 0,0 0-33 15,0 15-10-15,3-7-31 0,2 4-31 0,0 3-15 16,3 0-15-16,-1 7-34 16,1-1-17-16,3 2-8 0,-4-1-8 0,3 2-41 0,-2-1-41 0,5 8-15 15,-3-6-44-15,-2-4-17 0,2 1-24 16,-2-2-48-16,-3-4-41 0,3-1-31 15,-1-1-34-15,-1-2-63 0,-1-1-15 0,0-1-78 16,2-2-393-16,-4-1 9 0,2-2 88 0,-3-1 87 16</inkml:trace>
  <inkml:trace contextRef="#ctx0" brushRef="#br1" timeOffset="170115.41">1875 10410 1487 0,'-7'-16'437'16,"4"3"-4"-16,3 4-131 0,-2-1-3 0,2 2-37 16,2 1-1-16,0 1-41 0,-1 0-13 15,4 1 3-15,-2 0-18 16,2 3-15-16,0-2 15 0,2 4-39 0,-7 0-7 0,13 0-5 16,-5 4 35-16,-3-2-40 0,2 3-18 0,-1 1-11 0,-1 1 6 15,1 1-3-15,-2 0-23 0,1 1-5 16,-2 4-3-16,-3-1-25 0,0 0 5 15,0 1-10-15,-3 0-34 0,1 2-28 0,-1-1 0 0,-1 0-66 16,0-1-21-16,-1-1-53 0,0 0-29 16,0-2-48-16,0 0-113 0,0-1-162 0,0-2-416 15,2-4 76-15,0 2 85 0,1-5 94 16,2 0 49-16,0 0 36 0</inkml:trace>
  <inkml:trace contextRef="#ctx0" brushRef="#br1" timeOffset="170335.55">1952 10179 1338 0,'0'-5'520'0,"0"5"-24"0,0 0-50 0,0 0-29 16,0 0 16-16,10 10-52 0,-5-3-15 0,1 2-56 16,2 1-26-1,2 5-20-15,0 1-29 0,1 2-17 0,1 2-29 0,3 7-107 16,-2-3-49-16,-5 0-38 0,2-3-21 0,1 3-40 15,-1-4-31-15,-3 3-59 0,1-3-26 0,0-3-56 16,0-1-121-16,-3-5-135 0,4 2-422 16,-2-2 92-16,2-3 41 0,-1-2 99 0,-1-2 116 15,-1-3 0-15</inkml:trace>
  <inkml:trace contextRef="#ctx0" brushRef="#br1" timeOffset="170663.69">2270 10393 860 0,'-3'-3'366'0,"3"3"-31"0,0 0-23 0,0 0-35 0,0 0-29 0,-7 10-23 0,7-5 54 16,0 2-33-16,0 0 7 0,3 1-50 15,-1 1-40-15,0-1 4 0,1 1-34 0,2-1-21 16,1-1-4-16,1 0-34 0,-1-2 0 16,1 0-2-16,1-3-8 0,2 2 10 15,-3-2-28-15,1-4 6 0,1 2 17 0,0-4 10 0,-4 1-2 16,3-2-54-16,-5 0 36 0,4 0 28 15,-6-2 20-15,1 1-9 0,-2 0 4 0,0-2-2 16,-1 0 12-16,-1 1-19 0,-3 0-9 16,2 0-15-16,-4 3 3 0,2-1-8 0,0 1-26 15,-3 2 1-15,0-2-37 0,0 4-38 0,1 0-23 16,-1 0-7-16,-2 3-31 16,2-1-42-16,0-1-50 0,-2 4-54 0,2 0-154 15,-5-3-74-15,6 4-427 0,3-5 63 0,0-1 106 0,4 0 55 16,0 0 106-16,-5-6 56 0</inkml:trace>
  <inkml:trace contextRef="#ctx0" brushRef="#br1" timeOffset="170876.72">2324 10067 1215 0,'2'-5'471'16,"-2"5"3"-16,0 0-62 0,0 0-23 0,0 0-28 0,8 10-36 0,-3-2-15 0,-1 0-41 0,5 5-16 15,-1 4-23-15,-1-4-22 0,3 6-24 16,1 4-5-16,-1-3-46 0,4 9-99 0,-2-4-11 16,-2-4-59-16,0-2-28 0,-1 4-69 15,0-3-36-15,-1 1-95 0,-3-3-148 0,1-2-487 16,-1-2 47-16,0-2 146 0,-2-4 43 0,-1-1 36 16,0-2 115-16</inkml:trace>
  <inkml:trace contextRef="#ctx0" brushRef="#br1" timeOffset="171281.99">2377 10300 903 0,'6'-7'371'0,"-1"1"-43"0,2-4-24 0,4 1 52 0,-1-3-69 0,6-2-39 16,-1-3-33-16,1 4-36 0,2-4-2 15,-1 3-23-15,-3-2-21 0,1 1-21 16,-3 4 4-16,-4 3 4 0,2-1 10 0,-5 3-7 16,0 0 3-16,1 1 22 0,-4 0-28 15,-2 3-15-15,0 2-5 0,0-4-8 0,0 4-10 16,0 0 0-16,0 0-15 0,0 0 12 0,0 0-15 16,-5 13-5-16,5-8-8 0,3 1 5 0,1 2-7 15,0-2 5-15,0 4 5 0,4-2-13 16,-3 2 15-16,3-1 52 0,2 1-3 15,-2-2-5-15,0 3-3 0,-1-3-10 0,1 3 11 16,-2-3-32-16,-2-1 11 0,1 3-15 16,-2-3-34-16,-3 1-2 0,0 1-49 0,0-1-33 15,-3 0-44-15,1 1-56 0,-3-2-54 0,0 1-97 16,-1 1-179-16,-3 0-525 0,0 2 90 0,-1-2 89 16,-3 3 82-16,-2 1 95 15,-3 3 66-15,0-2 39 0</inkml:trace>
  <inkml:trace contextRef="#ctx0" brushRef="#br1" timeOffset="172817.76">1660 10969 1123 0,'8'-4'440'0,"5"-2"-61"0,4-4-13 16,7 2-33-16,7-8-46 0,7 2-21 16,5-3-36-16,14-1-4 0,4-3-32 0,1 2-12 15,1-2 2-15,3-1-46 0,-1-1 11 16,4 0-49-16,-1 0 0 0,1-1-6 16,-2 2-25-16,-6-2 3 0,-2 2-8 0,0 0-5 0,-8-1-3 15,-9 9-7-15,-1-2-21 0,-6 0 5 0,-1 0 1 16,-9 3-1-16,-5 5-15 0,-4-2 12 15,-1 0-12-15,-2 1 16 0,0 0-11 0,-3 0 2 16,0 2 11-16,-2-2-21 0,0-1-2 0,-3 1 41 16,3-1-26-16,-6-2 0 0,1 0 21 15,0-1-39-15,-3 2 0 0,-1-4 19 16,-1-2 17-16,-3 0-8 16,-3-6-5-16,-5-12 3 0,-2 3-3 0,0-6 3 0,-6-10-13 0,-2 1 0 15,0-2 0-15,0-2 0 0,0-3 11 16,-3 2-9-16,0-8 9 0,1 3-9 15,-3-5-22-15,2 5 15 0,-2-2 0 0,2 4-93 0,0 0 24 16,1 4 26-16,-4 2-27 16,1 0 6-16,3 5 8 0,-1 1 25 0,5 11-2 0,1 0 7 15,0 2 13-15,1 4-2 0,-1 1 2 0,5 5-3 16,1 1 19-16,2 1-1 16,-1 0-7-16,0 3-5 0,1 2 17 0,4-2-2 15,-3 2 1-15,1 1-19 0,3 3 13 0,-1 0-8 16,0 1-13-16,1 1 21 0,1-1 3 15,1 3 12-15,0 0-46 0,0-1 23 16,0 2-22 0,0 1-9-16,2-2 31 0,-2 3-17 0,0-2-16 0,0 3 10 0,2-1 5 0,-4 0 0 15,7 2-20-15,-11 0 31 0,4 0-19 16,-1 2 16-16,-2 0-7 0,0-2-9 0,-1 4-4 0,-4-1-6 16,2 2 14-16,-3-4-6 0,-1 5-3 15,-1-1 21-15,-2 1 3 0,-1-1-8 0,-3 2 5 16,-1-1-21-16,-3 1 11 0,-1 0 7 15,-9 2-12-15,3 2 25 0,-2-1-12 0,6-2-14 16,3-1 27-16,0-1-6 0,-10 5 0 16,7-4 0-16,3 0-10 0,-11 4-18 0,3-3 33 15,1 4-7 1,-3 0 2-16,4-1-10 0,-2-1 28 0,0 2-21 0,2 0-10 0,-2 0 1 0,9-1 14 16,1-3-24-16,-10 5 4 0,2-2 26 15,6 2-21-15,3-6 8 0,-9 7 10 31,1-2-7-31,4-1-6 0,4 0 13 0,0-4-12 0,-1 3-19 0,-7 3 24 0,7-4-3 0,1 2-3 16,4-3-2-16,-2 2 15 0,0-2-27 0,2 0 14 16,3 0 11-16,-2-1-3 0,4 0-5 15,-2 0 10-15,0 0-2 0,3 0-19 0,-1-1 11 16,-1 1 3 0,2-1-6-16,-1 3 9 0,6-4-12 0,-6 2-6 0,4 0 17 0,2-2-13 15,-1 2-7-15,1-1 7 0,2-2-10 16,-2 2 8-16,2 0 12 0,0 0-2 0,1 0-2 15,1 0-13-15,-1-1 27 0,2 2-22 0,-1 0 5 16,2-1 18-16,-1 5-23 0,2 0 2 0,0-1 10 16,0 3-7-16,1 2 10 0,0-1 11 15,2 0-14-15,-3 4 3 0,3 1-2 16,0 0-6-16,3 0 24 0,1 7-6 0,0 1 3 16,3 7 3-16,6 4-16 0,0 0 10 0,2-1 6 15,0 4-6-15,6 5 5 0,0-1 11 16,1 3-15-16,2-1 22 0,-3 0-23 0,3-2-4 15,0 3-1-15,-1-2 8 0,-2 1-8 0,2 0 0 16,2-4 3-16,-5 4 0 0,2-2-11 0,0 0 14 16,-4-8 20-16,0 1-31 0,0-1 30 15,-2-1-32-15,1-3-3 0,-1 3 10 0,1-4 8 16,-3 0-36-16,-2 0 26 0,-2-7 2 16,-2-3-5-16,0-1-15 0,-1-3 15 0,-1 1-2 15,-2-2-3-15,2-2 18 0,-3-2-16 16,2 0 3-16,-3-1-2 0,1-2 7 0,-1-2-20 15,1 1 23-15,-3 0-3 0,3-3-15 0,-1 1 0 16,0-2 17-16,-2-1-6 0,3 1-19 16,0 0 13-16,-3-1 2 0,2-1-12 0,-1 0 25 15,0 1-27-15,3-1-6 0,-2-1 28 0,-1 2-15 16,3-2 7-16,-1 1-4 0,1 0 7 16,-4-3-23-16,11 1 8 0,-1 1 15 15,-2-1-5-15,2-1 0 0,3-1 5 0,2-1 3 0,1 1-8 16,4-5-5-16,1 6-8 0,3-6 10 0,4 1-9 15,-1-2 24-15,11-1-14 0,-6 0 4 16,-4 0-2-16,0 1 5 16,-2 0-12-16,1 1 20 0,0-1-24 0,-5 1 24 0,-3 0 0 15,1 3-8-15,-1-2-13 0,-1 0 13 0,-4 0 3 16,2 4-31-16,-4-1 15 0,-1-1 14 16,1 1-22-16,-4 0 16 0,2 1 5 0,-1-1-5 15,-2 2 0-15,0-1 11 0,-1-1-17 0,-6 2 19 16,10-3 5-16,-7 3-15 0,4-1-6 15,-7 1 6-15,8-3-1 0,-6 1-15 16,-2 2 13-16,6-1 8 0,-6 1-10 0,0 0 4 0,7-2 3 16,-7 2-18-1,3-4 8-15,-3 4-5 0,0 0 23 0,5-2-21 0,-3-1-20 16,-2 3 8-16,3-1-21 0,-3 1 10 0,0 0-13 16,0 0 3-16,3-6-20 0,-3 6-3 0,2-1-10 15,-2 1-41-15,0 0-19 0,0-6-34 16,0 6-37-16,0-5-64 0,0 5-84 0,2-4-54 15,-2 0-443-15,0 4 46 0,1-6 75 0,-1 0 79 16,3 4 79-16,-3-3 51 0</inkml:trace>
  <inkml:trace contextRef="#ctx0" brushRef="#br1" timeOffset="180618.57">3977 7505 1151 0,'1'-4'479'0,"-1"4"-46"0,2-3-19 0,-2 3-50 0,0 0-39 16,0 0-10-16,0 0-26 0,0 0-31 15,0 0-12-15,7 8-33 0,-3-3-6 0,-2 2-12 16,-2 0-24-16,2 0-5 0,-1 3-109 0,1 2 2 16,-2 1 12-16,3 1-27 0,-6 0 2 0,1 5 0 15,1-1-8-15,-1 1-17 16,0-1 15-16,-1-1-8 0,1-2 10 0,1-2-12 16,1 0-19-16,-2 2 11 0,2-3 11 0,0-3-9 0,-3 0 24 15,3 0-37-15,0-2 14 0,0 0-9 16,3-3 19-16,-3-1-5 0,2 2-8 15,1-1-8-15,2-2-31 0,0-1 21 0,-5-1-53 16,13 1-19-16,-8-2-5 0,3 0-20 16,0 1-39-16,-1-2-20 0,3-2-31 0,-2 2-48 15,0-2-85-15,0 2-97 0,-3-2-377 0,2 1-10 0,-1-1 90 16,-2-2 41-16,2 4 107 16,-4-2 29-16</inkml:trace>
  <inkml:trace contextRef="#ctx0" brushRef="#br1" timeOffset="180845.13">3860 7694 952 0,'0'0'425'16,"0"0"-118"-16,0-4-8 0,0 4-9 15,0 0-40-15,10-4-4 0,-5 0-41 0,0 3-11 16,1-3-12-16,1 2-23 0,3-2-8 0,-2 2-28 15,0 0 0-15,2-2-16 0,0 2-51 16,0-2-40-16,1 3-16 0,-1 0-49 0,0-3-79 16,1 4-61-16,1 0-134 0,-3-1-273 15,3 1-144-15,-4 1 72 0,2-1 95 0,0 4 43 16</inkml:trace>
  <inkml:trace contextRef="#ctx0" brushRef="#br1" timeOffset="181234.34">4198 7697 970 0,'0'-7'312'0,"3"3"-7"0,-3-2-19 0,-3 1-12 16,3 0 74-16,-2 2-12 0,1-1-40 15,-1-1-22-15,2 5-13 16,-5-6-38-16,3 5-8 0,2 1-25 0,-6 0-27 0,6 0-9 16,0 0-8-16,-10 4-10 0,5-3-16 15,2 4-25-15,1-1-8 0,-3 0-8 0,3 2-20 0,1 1 25 16,-2-1-10-16,3 0-2 0,0 1 0 16,0-1-26-16,3 0 3 0,-2 1 15 15,3 0-16-15,-1 1 3 0,2-3-15 0,0 0-10 16,-2 0-19-16,2 1 16 0,2-4-38 0,-1 3 18 15,1-4-44 1,-2 2-31-16,0-2 11 0,1 0-67 0,-6-1-26 0,12-2-79 0,-6 0-84 16,-6 2-95-16,10-2-492 0,-6 0 72 15,2-2 77-15,-1 4 102 0,0-7 21 0,-2 2 120 16</inkml:trace>
  <inkml:trace contextRef="#ctx0" brushRef="#br1" timeOffset="181759.29">4318 7670 924 0,'0'0'289'0,"3"-2"-8"16,-3 2-12-16,0 0 51 0,0 0-20 16,0 0-29-16,0 0-20 0,0 0-6 15,1 13-37-15,1-11-9 0,-2 3-9 0,0-3-52 0,2 2 8 16,-2 1-26-16,3 0-10 0,-3-2 3 16,0 3-16-16,3-2-20 0,-3-1 0 0,2 1-29 15,-2-2 16-15,2 2 3 0,-2-4-23 16,1 5-3-16,-1-5 2 0,5 3-12 15,-5-3 2-15,0 0 8 0,0 0-18 0,0 0 5 16,0 0 0-16,10-6 13 0,-10 6-23 0,5-5-2 16,-2 4-16-16,-1-1 30 0,1-2-2 0,-1 2-89 15,-2 2 33-15,6-5-26 0,-4 5 16 16,-2 0 7-16,5-4 3 0,0 2 0 0,-5 2 12 16,6 0-7-16,-6 0 5 0,0 0 8 0,0 0 5 15,10 2-3 1,-7 1 6-16,1-2 4 0,-4-1 3 0,5 3-17 0,-2-1 9 0,-3-2 18 15,3 3-9-15,0 0-6 0,-3-3 15 0,0 0 28 16,4 2-2-16,-4-2 23 16,0 0 5-16,6 1 88 0,-6-1 4 0,0 0-2 15,0 0-26-15,12-4 28 16,-10 1-36-16,4 0-2 0,-4-1-13 0,1 2 21 0,2-2-36 0,-2 2-3 16,-1-1 10-16,4 2-10 0,-6 1-35 15,5-4 1-15,0 3-4 0,-5 1-10 0,8 0 12 16,-8 0-36-16,10 1-2 0,-5 1-18 15,0 0-28-15,-2-1-54 0,1 2 3 0,0-1-49 16,0 0-33-16,-1 2-49 0,-3-1-23 0,3 1-118 16,-3 1-179-16,0 0-468 0,0-2 79 0,0 2 90 15,0-1 84-15,0-4 64 0,2 6 123 16,-2-4 10-16</inkml:trace>
  <inkml:trace contextRef="#ctx0" brushRef="#br1" timeOffset="182269.11">4603 7587 760 0,'0'0'332'0,"0"0"-4"0,0 0-36 0,0 0 64 0,8 15-39 15,-5-9-25-15,2 5-16 0,2-1-2 16,-1 2-46-16,-1 3 0 0,3 0-13 0,0 2-31 0,1 2 39 15,-1 0-62-15,-1 4-12 16,1-3 4-16,0 0-32 0,0 4-27 0,-3-5 14 16,2 4-19-16,-2-4-14 0,1-1-17 0,-1-3-1 15,-2 4-9-15,1-6-32 16,-3 3-1-16,4-2 16 0,-3-1-16 0,-2-3 6 0,2-1-9 16,-1 1 9-16,1-3-13 15,1 1 2-15,-3-3-5 0,0 0 10 0,1-2-12 16,-1-3 22-16,0 5 4 0,0-5-14 0,0 0-2 0,0 0 20 15,0 0-12 1,0 0 22-16,-6-18 3 0,4 12-25 0,1-7 27 0,-1 0 19 16,-1-4 15-16,0-3 0 0,1 0-62 0,2-6 13 15,0 3 13-15,0 2-7 0,0 0 2 0,2 0 10 0,-1 2 0 16,1 2-12-16,1 4 17 16,0 0-18-16,1 0-4 0,0 3 9 0,0 2-17 15,-1 2 7-15,2 0 8 0,0 2 18 0,-2 1 53 16,2 2 19-16,0 0-13 0,-5 1 10 0,0 0 23 15,12 1-57-15,-12-1-22 0,3 4 18 16,0 0-31-16,-3-4 5 0,0 6-6 16,0-2 11-16,-3 1-12 0,1-1-55 0,-1 1 9 0,-4 1-42 15,1 0-71-15,-1-1-34 16,1-1-100-16,-4 3-68 0,2-3-124 0,1 1-199 0,-1-4-461 16,3 4 105-16,0-4 80 0,5-1 84 15,-6 0 158-15,6 0 6 0,0 0 71 16</inkml:trace>
  <inkml:trace contextRef="#ctx0" brushRef="#br1" timeOffset="182403.5">4937 7713 1241 0,'2'-2'384'0,"-2"2"-36"0,5-4-72 0,-5 4-96 16,2-5-150-16,-2 5-260 0,0 0-446 15,0 0 26-15,0 0 79 0</inkml:trace>
  <inkml:trace contextRef="#ctx0" brushRef="#br1" timeOffset="184049.7">478 5350 1103 0,'0'0'435'0,"0"0"-28"0,0 0-26 16,0 0-22-16,0 0-45 0,0 0-40 0,3 12-105 15,-1-6-18-15,-1 1 18 0,0 0-43 16,2 1 9-16,0 2-35 0,0-2-10 0,1 3-8 16,-1 0-13-16,-3-3-26 0,1 3-4 0,0-3-37 15,-1 3-40-15,1-3-11 16,-1 2-28-16,0-2-51 0,0-1-107 0,0 0-131 0,-1 0-422 15,0-3 40-15,1 2 116 0,-1-5 35 0,1-1 37 16</inkml:trace>
  <inkml:trace contextRef="#ctx0" brushRef="#br1" timeOffset="184190.13">414 5293 94 0</inkml:trace>
  <inkml:trace contextRef="#ctx0" brushRef="#br1" timeOffset="184743.21">602 5238 1103 0,'0'0'366'0,"0"0"-33"0,0 0-39 0,-8 11-18 15,5-8-30-15,0 4-28 0,1 3 66 16,-1-3-46-16,1 3 5 16,-3 3-46-16,2-2-31 0,0 1-2 0,0 0-20 0,1 0-9 15,0 0-9-15,-1 0-6 0,3-1 5 16,0-2-27-16,0 1-4 0,0-1-22 0,0 1 7 0,3-3-12 15,-1 0 2-15,0 0-15 0,2-1-8 16,0 0 15-16,2-1 3 0,-2 1-18 16,2-5-17-16,1 3-4 0,1-3-12 0,0-1-8 15,2-2-10-15,0-1-13 0,-1 2 3 16,3-5-36-16,0 0 17 0,-1 0-32 0,2-2 14 16,-1-2-19-16,-1 1-1 0,0-3 16 0,-2 5 7 15,-1-3-5-15,0 1 26 0,-5 0 10 0,1 3 29 16,-1-2 7-16,0 2 17 15,-1 1 6-15,-2 0-7 0,0 2-11 16,0 3-11-16,-5-5 17 0,5 5 1 0,0 0 14 0,0 0-8 16,0 0 20-16,-15 6-13 0,12-1 1 15,-3 1 0-15,4 0-14 0,-3-1 6 0,5 2 10 16,-3 0-15-16,2 0 2 0,1 0-20 0,1-1 30 16,0 1-12-16,1 0-10 0,3 0-11 15,-3-2 13-15,4 0-36 0,-1 1-2 0,1-1-29 16,1-2-12-16,0 0-16 0,1-2-33 0,0 1-30 15,0 1-55-15,-1-2-96 0,-1-1-144 16,-1 0-466-16,2 1 56 0,-1 1 90 0,-3 1 90 16,1 0 68-16,-1 1 45 15</inkml:trace>
  <inkml:trace contextRef="#ctx0" brushRef="#br1" timeOffset="185508.23">275 5899 1116 0,'0'0'337'0,"-8"0"-45"0,8 0-5 0,-4 4-36 0,-1 0-21 16,2 3 0-16,-2-1 42 0,5 3-34 16,-5 0 5-16,4 1-41 15,-1 1-23-15,2 1-33 0,-2 1-5 0,2-2 8 0,2 2-50 16,-1-2 9-16,1 1-8 0,3-3-23 0,-5 2-13 16,5-3 7-16,0 0-17 0,0 0-13 15,0-2 15-15,0-1-25 0,3-2 7 0,-3 1-12 16,1-3-62-1,1-1 8-15,1 0-26 0,-8 0-12 0,13-5-14 0,-6 4-2 0,-2-4 16 16,3 2-21-16,-3-2 7 0,0 0 11 16,0-1 16-16,-2 2-4 0,2-1 11 0,-3-1 21 15,-2-1 9-15,3-1 6 0,-2 1 5 16,-1 1 23-16,2 1-11 0,-2 0 22 0,2-1 1 16,-2 2-2-16,0 0 1 0,0 4-6 0,3-7-8 15,-3 5 16-15,0-2-26 0,0 4 26 16,0 0-6-16,6-3 3 0,-6 3-12 15,0 0 17-15,9 6-13 0,-4-4 11 0,0 4-23 0,1-2 7 16,-1 2 3-16,3 0 0 0,-3 2-3 16,2-2 6-16,-1 2-8 0,-3 2-13 0,1-2 5 15,1-2 13-15,0 1-5 16,-2-1-1-16,0 0-7 0,-1-1 24 0,0 2-17 0,1-4 19 16,0 0 0-16,-3 1-6 0,0-4 14 0,2 4-8 15,-2-4 4-15,0 0-1 0,0 0-11 16,0 0 20-16,0 0 14 0,0 0-40 15,0 0-9-15,-7-16 7 0,6 10-2 16,1 0-5-16,0-1-8 0,0-3-3 0,1 4 9 0,1-2-32 16,1-2 0-16,-1 3-17 0,1 0-44 15,2 1-51-15,-2-1-39 0,2 1-64 16,0 1-102-16,2 2-555 0,-1-1 107 0,-1 4 61 16,-5 0 73-16,8-1 70 0</inkml:trace>
  <inkml:trace contextRef="#ctx0" brushRef="#br1" timeOffset="185793.36">601 5977 813 0,'0'-2'303'16,"0"-4"-30"-16,0 6-14 0,-3-7-16 0,1 3-13 15,2 4-35-15,-2-6 5 0,-1 4-47 16,3 2 3-16,0 0-17 0,0 0-9 15,0 0 52-15,0 0-3 0,-13 7 0 0,11-3-43 16,1-1-13-16,1 2-16 0,0 2-17 16,-2-2 10-16,0 2-11 0,2-3-17 0,0 3-3 15,2-2-18-15,-2 0 0 0,2-1-10 0,-1 2-7 0,1-1-1 16,1-2-5-16,0 2-13 0,1-3 9 16,-1 1-24-16,0-2-26 0,1 1-23 15,-4-2-48-15,8 2-87 0,-8-2-98 0,0 0-92 16,10 0-493-16,-10 0 163 0,10-5 15 15,-4 2 75-15,-3 2 84 0</inkml:trace>
  <inkml:trace contextRef="#ctx0" brushRef="#br1" timeOffset="186814.42">709 5892 929 0,'-3'4'320'0,"-2"1"7"16,0 1-35-16,3 0-39 0,-1 1-22 0,0-2-70 15,1 3-28-15,0 0-23 0,1-1-10 0,-1 0 2 16,2-3-20-16,-3 4-10 0,3-4 0 16,0 2-18-16,0-1-1 0,0 1-9 0,3-2 7 15,-1-1 0-15,-2-3-2 0,2 5-1 16,1-4-12-16,-3-1 3 0,0 0-6 0,8 0 8 15,-8 0-16-15,0 0 1 0,7-6-3 0,-4 4 13 16,0-2 15-16,-3 2-10 16,0 2-2-16,5-7 7 0,-5 3 10 0,2-1-10 0,-2 3 15 15,0 2-7-15,1-7 15 0,-1 7-18 16,2-4 13-16,-2 4-7 0,0-6 17 0,0 6-23 16,0 0 80-16,-2-3-39 0,2 3 0 15,0 0 0-15,-1-5-12 0,1 5-11 0,0 0 5 16,0 0-13-16,0 0-10 15,-2-3 13-15,2 3-40 0,0 0 19 0,0 0-7 0,0 0-13 16,0 0 10-16,0 0-20 0,0 0-16 16,0 0 34-16,0 0-26 0,0 0 3 0,0 0 53 15,0 0-50-15,0 0-4 0,0 0-4 16,5 14 17 0,-5-14-17-16,3 2 7 0,-3-2-10 0,0 0 3 0,2 1-1 0,-2-1 1 0,0 0 15 15,0 0-11-15,1 4-1 0,-1-4-14 0,0 0 18 16,0 0 3-16,0 0-5 0,0 0-8 15,4 2 5-15,-4-2 10 0,0 0-2 16,0 0-3-16,0 0 3 0,0 0 7 0,0 0 3 16,11-5 0-16,-11 5 3 0,0 0-8 0,2-2-5 15,-2 2 7-15,0 0-17 0,0 0 12 16,5-1-12-16,-5 1-11 16,0 0 3-16,0 0 5 0,8 0 10 0,-8 0 18 0,0 0-20 0,0 0-5 15,10 2 2-15,-8-1-3 0,-2-1 1 16,6 3 10-16,-4-1-8 0,-2-2-13 15,6 3 8-15,-6-3 13 0,3 3 2 0,-3-3-23 16,4 1 21-16,-4-1 36 0,3 5-26 0,-3-5-5 16,0 0 25-16,5 0 3 0,-5 0-7 0,0 0 9 15,0 0-1-15,0 0 14 0,7-5-20 16,-7 5-33-16,3-2 10 0,-3 2-6 0,5-5 29 16,-5 5-15-16,3-3-6 0,-1 0-12 15,-2 3 13-15,6-2-11 0,-6 2-10 0,2-4 15 16,-2 4-15-16,5-1 8 0,-5 1-11 0,0 0 6 15,11-1 10-15,-11 1-16 0,0 0 21 16,7 1-33-16,-7-1 9 0,8 1 30 16,-3 2-24-16,-5-3-16 0,0 0 16 0,7 0 3 0,-7 0 7 15,8-3 16-15,-8 3-24 16,6 0 1-16,-6 0 12 0,7-2 11 0,-7 2-14 16,6-2-4-16,-2 0-10 0,-1 0 2 0,0-1 2 15,1 0-25-15,0 1-46 16,0-3-23-16,-1 3-44 0,2-2-40 0,-3 1-57 0,1 1-116 15,2 0-160-15,-5 2-458 0,6-1 68 0,-6 1 80 16,0 0 72-16,0 0 81 0,5 3 80 16</inkml:trace>
  <inkml:trace contextRef="#ctx0" brushRef="#br1" timeOffset="187463.73">283 6604 1072 0,'-10'-2'325'0,"10"2"-33"0,-10 4-5 16,4-2-42-16,-1 3-27 0,0 0-24 0,1-2-25 0,1 2-10 16,-2 1-16-16,1-1-27 15,3 1-1-15,-1 0-18 0,1-1 0 0,0-2-25 16,3 3-13-16,0-1-3 0,0 0-5 0,3-2-2 15,2 2-3-15,-2 0 8 0,4-2-16 16,1 2-12-16,0-3 10 0,-1 2-3 0,1-1-5 16,2 1-2-16,-2 0 4 0,0-2 4 0,-1 0 2 15,-1 2-3-15,1-2 5 0,-2 3 11 16,-2-2 15-16,2 0-13 0,-3 3 3 16,-2-2 15-16,-2 2 51 0,2-3-10 0,-5 4-23 0,2-2-7 15,-2 1-4-15,-2 0-9 16,-2 1-18-16,2-2 7 0,-3 1-33 0,0 0-13 15,2-3-10-15,-2 1-56 0,-1 1-11 0,4-3-27 16,-1 0-63-16,-2 1-78 0,4-1-136 16,-1 1-484-16,4-1 36 0,-1-1 76 0,4-1 68 15,0 0 81-15</inkml:trace>
  <inkml:trace contextRef="#ctx0" brushRef="#br1" timeOffset="188810.63">475 6621 1203 0,'-5'-2'391'0,"5"2"-20"16,0 0-61-16,0 0-21 0,-12 6-25 15,9-4-29-15,-2 2-17 0,-1-2-34 0,2 3-2 16,-1 1-18-16,-1 0-5 0,1-1-19 0,3-1 11 15,-4 1-35-15,2 1-19 0,1 0 10 16,0-1-20-16,0 1-23 0,1-1 5 0,-1-3-15 16,3 4-20-16,-2-3-6 0,2 1-10 0,0-4 12 15,0 5-22-15,2-2 10 0,-2-3 10 16,6 3-5-16,-6-3-28 0,7 0 10 0,-7 0 16 16,0 0-27-16,11-4 1 0,-11 4 13 0,5-2 30 15,-5 2-32-15,7-1 1 16,-7 1 3-16,8-3-17 0,-8 3 2 0,5 0 2 0,-5 0-7 15,10 0-3-15,-10 0 5 0,8 0-4 0,-8 0-14 16,8 3 3-16,-3-3 8 16,-5 0-8-16,8 0-3 0,-8 0-5 0,10-4 18 31,-5 4 8-31,-2-2-10 0,2-3 5 0,2 1 2 0,-4 1 3 0,2-3 18 0,0 0 0 16,0 0 27-16,-4-1 1 0,4-2 3 15,-3 1 25-15,-1 0-64 0,3-2-10 0,-1 0 13 0,-3 0 5 16,0-2 10-16,0 1 10 15,0 0 5-15,0-3-4 0,-3 1 6 0,3 0 7 0,-4 1 4 16,3 3-5-16,-1-2 8 0,-1 5 10 16,2-3-24-16,-1 0 17 0,0 3-16 0,2 0-23 15,-3 4-11-15,1-3 16 0,1 2-12 16,1 3 4-16,0 0 11 0,0 0-3 0,0 0-21 16,0 0 3-16,0 0 6 0,1 14-9 15,1-8 6-15,1 0-3 0,-1 2-3 0,0 1-22 16,4 1 0-16,-3 0-14 0,2-1-17 0,2 2-18 15,-1-4 18-15,-1 3-36 0,2-2 20 0,1-1-5 16,0-2-20-16,-3 2 13 0,1-3 33 16,1-1-26-16,-2 2 21 0,0-5 18 15,2 1-8-15,-1-1 20 0,-6 0-14 0,10-1 11 16,-10 1-1-16,8-5 17 0,-5 5-5 16,1-3 8-16,-1 0-5 0,-3 3-10 0,5-4 12 0,-3 3 0 15,-2 1-23-15,0 0 3 0,8-2 16 16,-8 2-1-16,0 0-5 0,8 3 20 15,-8-3-7-15,8 4 0 0,-6-3 3 0,3 2-14 16,-2-1 9-16,-3-2-6 0,8 5 13 0,-6-4-5 16,1 0-6-16,-3-1 19 0,5 4-8 15,-5-4 28-15,5 2-5 0,-5-2-7 0,0 0 4 16,8 0 8-16,-8 0 3 0,0 0-8 0,8-7 5 16,-6 4-7-16,-1 0 7 0,0-3-15 15,2 2 33-15,0-1-26 16,-3 1 6-16,0-2 4 0,2 0-14 0,-1 3-1 0,1-2 18 15,-2-1-15-15,0 0 13 0,0 1 20 0,0 2-17 0,0 3-1 16,0-7 26-16,0 4-31 16,0 3-3-16,0-6 6 0,0 6-15 0,0 0 1 15,0-6-1-15,0 6 9 16,0 0-27-16,0 0 12 0,-3-1-2 0,3 1 7 0,0 0-15 16,0 0 8-16,0 0-6 0,0 0 16 0,0 0 0 15,6 11-20-15,-4-10 7 0,3 0 2 16,-3 3 24-16,2-3-16 0,0 2-2 0,-1 1 3 15,2-3-11-15,-2 3 0 0,2-3 5 16,-1 3 11-16,2-2-11 0,-3 1 3 0,2 1-11 16,-2 1 6-16,1-2 20 0,-1 1 3 0,2 1-18 15,-4-3 22-15,1 3-12 0,0 1 8 16,1-3-13-16,-3 2-5 0,0 0 2 0,0 0 1 16,0-1-34-16,-3 1 2 0,1 0-7 0,0-3-56 15,1 2-11-15,-1-1-40 0,-3 1-44 16,4 0-52-16,-3-2-111 0,4-2-104 0,-6 5-408 15,4-3 58-15,2-2 87 0,-3 4 38 0,3-4 42 16,-3 2 73-16</inkml:trace>
  <inkml:trace contextRef="#ctx0" brushRef="#br1" timeOffset="188965.72">967 6580 1336 0,'3'-3'519'0,"0"2"-38"0,-3 1-7 0,4-7 17 16,0 5-20-16,-2-1-74 0,-2 3-28 15,3-3-34-15,-1-1-64 0,-2 4-79 0,3-4-117 16,-3 4-65-16,0 0-110 0,2-3-156 0,-2 3-187 16,0 0-506-16,0 0 78 0,0 0 103 0,0 0 129 15,0 0 29-15,-2 12 73 0</inkml:trace>
  <inkml:trace contextRef="#ctx0" brushRef="#br0" timeOffset="193753.93">1870 7682 916 0,'0'0'317'0,"0"0"8"15,-2-1-38-15,2 1-21 0,0 0-17 0,0 0-27 16,0 0-4-16,0 0-31 0,0 0-13 15,0 0-21-15,0 0-9 0,0 0-6 0,0 0 8 16,0 0-23-16,0 0-21 0,0 0 13 0,0 0-23 16,0 0 3-16,13-4-8 0,-13 4-5 0,7 0 2 15,-1-2-14-15,-6 2-4 0,10 0 3 16,-10 0-18-16,12 0 3 0,-4 0-3 0,0 0-20 16,-1 0 2-16,1-1 6 0,2 1-3 0,0-1-8 15,-1 1 20-15,1 0-22 0,2-2-8 31,-2 1 5-31,1 0-13 0,2 1 16 0,-2 0-6 0,1 0 6 0,0 0 2 0,-1-1-18 16,2 0 6-16,0-2-11 0,-1 2 8 16,-1 1-1-16,1-1 6 0,1 0-23 0,-3 0 13 15,1-1-3 1,1 1 0-16,-3 0 0 0,3 1 0 0,-2-1-5 0,0-2 31 0,-1 2-18 16,1 1-18-16,-1 0 15 15,0-2-15-15,1 2-3 0,-2-3 21 0,-1 3-8 0,0 0 3 0,-1-1-11 16,2 1-10-16,-1 0 42 15,1 0-27-15,-8 0 8 16,12-2-10-16,-5 2-2 0,2 0-3 0,-1-1 30 0,-1 0-27 0,-1-1 20 16,2 1-24-16,-1 1 12 0,3 0-78 0,0-1-7 15,-2 1 9-15,2-1 17 0,-1-1 7 16,3 2 2-16,-2-2 8 0,0 2 6 0,0 0-22 16,1 0 24-16,-4 0 0 0,4 0 2 15,-1 0 1-15,-2 0 20 0,2 0-16 0,0 0 1 16,-1 0 2-16,1 0 10 0,0 0 1 0,0-1-4 15,1 0 14-15,-1 1-8 0,2 0 2 0,-2 0-10 32,1 0 13-32,2 0-5 0,-3 0 0 0,3 0-5 0,-1 0-5 0,-1-1 2 0,1-1 13 15,-1 2 28-15,2-1-33 0,-1 1 10 0,-2 0 8 16,1 0-13-16,1-2-16 16,-1 2 29-16,2-2-23 0,-3 1-5 0,1 1 7 0,1-2 5 15,-2 2 1-15,1-1 4 0,1 0 3 16,-2-1-23-16,1 2 36 0,-1-1-5 15,0 0-15-15,1 1-3 0,-1-2 17 0,3 2 1 16,-3-4-5-16,0 4-3 0,-2 0 33 16,5-1-43-16,-3 1 23 0,0-1 3 0,1 0-27 15,-1-1 14-15,0 0 2 0,0 2-4 0,-2 0 6 16,0 0 1-16,0 0-8 0,1 0-10 0,-1-1 5 16,0 1 0-16,0-1 5 0,-8 1 3 15,13 0 0-15,-8-2-1 16,-5 2-7-16,10 0-5 0,-10 0 26 0,10-1-29 0,-5 1 13 0,-5 0 10 15,8-1-7-15,-8 1-3 0,8 0 18 16,-8 0-13-16,5 0-4 0,-5 0 17 16,8-1-3-16,-8 1-15 0,0 0 16 0,5-1-11 15,-5 1-2-15,0 0 12 0,0 0-2 0,8 0-5 16,-8 0 2-16,0 0-5 0,0 0 11 16,7-3-6-16,-7 3-17 0,0 0 20 0,0 0-13 15,0 0 0-15,5-1-8 0,-5 1 11 16,0 0 5-16,0 0 2 0,0 0 3 0,0 0 3 15,0 0-1-15,0 0 6 0,0 0-14 16,0 0-35-16,0 0-20 0,0 0-13 0,0 0-47 0,0 0 1 16,0 0-21-16,0 0-36 15,0 0-99-15,-17-2-167 0,17 2-120 0,-8-3-254 0,8 3 34 16,-6-1 120-16,6 1 2 0,-7-1 88 0</inkml:trace>
  <inkml:trace contextRef="#ctx0" brushRef="#br0" timeOffset="194630.37">2988 7450 801 0,'0'0'343'0,"0"0"-31"0,0 0-18 0,-5 0-25 16,5 0-5-16,0 0-24 0,0 0-2 0,0 0-41 15,0 0-2-15,0 0-6 0,13 7-102 0,-8-6 49 16,0 4-57-16,0-5-4 16,3 4 22-16,-3-2-23 0,0 3-2 0,3-3 74 0,0 2-26 15,0-2 0-15,1 4-10 0,-1-3-12 0,0 1 7 16,2-1-29-16,0 0 14 0,0 1-16 15,1-1-17-15,-4 1 1 0,3-2 12 16,-1 3-24-16,-1-3 28 0,1 2-41 0,-1-2-2 16,0 2 25-16,0-3-38 0,0 3 8 15,-1-2 2-15,0-1-10 0,1 3 13 0,0-3-6 16,-3 1-2 15,0 1-5-31,0-1 5 0,1-2-5 0,-1 3-3 0,-1-2 6 0,2 1-11 0,-1-2-7 0,-5 0 22 0,8 4-17 16,-4-3 2-16,-4-1 8 0,6 1 13 0,-6-1-21 0,3 3-10 15,-3-3 21-15,5 2-6 16,-5-2 10-16,0 0-17 0,3 2 10 0,-3-2 0 16,0 0-10-16,4 0 22 0,-4 0-17 0,0 0 3 0,0 0-14 15,0 0 13-15,0 6-12 16,0-6 0-16,0 0-1 0,0 0 6 0,-4 5-3 0,4-5 28 16,-3 4-12-16,-2-2-6 0,5-2-2 15,-5 6-16-15,1-5 19 0,2 3-85 16,-3-2 2-16,2 3 11 0,-2-3 10 0,0 4-16 15,0 0 26-15,0-1-7 0,0 1 4 0,-3 0 21 16,0 0 6-16,3 1-4 0,-2-1 21 16,1 1-35-16,-4 0 12 0,5-1 10 15,-3 2 0-15,0 1 14 0,1-2 6 0,2-1-12 0,-3 1 0 16,3-2-12-16,-2 2 14 0,1-1-10 0,1 0 16 16,-3 0-5-16,4-2 4 0,-2 2 1 15,2-1 15-15,0 1-13 16,-1-1 6-1,0-2 7-15,2 2 10 0,1-2-25 0,-3 0 12 0,2-1 8 0,1 2 6 0,0-3 7 16,2-1-26-16,-4 4 21 0,4-4 10 0,-4 3-18 16,4-3-10-16,-5 4 13 0,5-4 10 0,-3 1-11 15,3-1 6 1,-3 4-18-16,3-4 18 0,0 0 2 0,-2 1-10 0,2-1 26 0,0 0 10 16,-3 4-36-16,3-4 8 0,0 0-10 0,0 0 7 15,0 0-12-15,0 0 9 0,0 0 11 16,0 0-46-16,0 0 51 0,0 0-25 15,0 0-11-15,-3 3 0 0,3-3-5 0,0 0-23 0,0 0-28 16,0 0-38-16,0 0-31 0,0 0-26 16,0 0-33-16,0 0-26 0,0 0-30 15,-4-8-37-15,4 8-73 16,-3-4-116-16,3 4-12 0,-3-2-392 0,3 2 56 0,-7-4 103 0,4 4 61 16,3 0 54-16</inkml:trace>
  <inkml:trace contextRef="#ctx0" brushRef="#br0" timeOffset="197018.2">1485 7030 565 0,'0'0'231'0,"0"-6"-34"0,0 1-26 0,-1 1 16 0,1 4-21 0,0-8-20 0,0 4-10 15,0 0 2-15,-1-1-25 0,2 0 7 16,-1 0-10-16,-1 1 10 0,1-1-38 0,0 0 16 15,0-1-27-15,0-1 24 0,-2 1-26 16,2 0 5-16,0 0-15 0,0-1 5 0,-3 0-5 16,2-1 5-16,0-1 5 0,0 1-12 15,1 0-17-15,-2-2-4 0,-1 2 21 0,3-1-22 16,-2 1 19-16,1-1-23 0,1-1-3 16,0 2 8-16,-2-2-13 0,2 3 3 0,-2-2 7 15,1 0-5-15,-1 0-5 0,2 0-15 16,0 1 5-16,0 0 2 0,0-2 3 0,-3 1 2 15,6-1-12-15,-6 4 0 0,3-5 12 16,0 3-7-16,0 0 18 0,0-2-1 0,0 2-4 16,0 1 7-16,0-3-25 0,0 3 5 0,0 0-1 15,0-4 1-15,0 5 18 0,0-2 7 16,0 0-15 0,-2-1-5-16,2 1 0 0,0 0 8 0,0-2-16 0,0 4 5 0,0-1 11 0,0-1 7 15,0 0-22-15,0-1 6 16,-2 2 19-16,2-3-10 0,0 3-8 0,0 0 18 0,-1-1-21 15,-1-1 6-15,4 3-1 0,-4-2-15 0,2 0 39 16,0 2-37-16,0-4-7 16,0 3 13-16,0 1 8 0,0-1-3 0,-3 0-11 0,3 0 9 15,0-2-1-15,0 2-23 0,0 0 16 16,0 0 2-16,0-1-2 0,0-1 15 0,0 2-15 16,0 0 17-1,0 0-30-15,0 1 25 0,0-1-17 0,0-3 5 0,0 3 17 0,0 0-14 16,0-1 4-16,-2-2-7 0,1 4 20 15,1-4-28-15,0 1 20 0,0 2-10 0,-1-3 3 16,1 2 3-16,0 1 4 0,-1-4-5 0,1 3 1 16,0-2 7-1,0 1-13-15,0 2-2 0,0-3 22 0,0 1 78 0,-3-1-26 0,3 2 23 16,-2-3-39-16,2 2-2 16,-1-2-10-16,0 0 10 0,0 0 8 0,1 2-34 0,0-2 8 15,-2-2-5-15,2 2 8 0,-3-2-21 16,1 1-7-16,1-1 14 0,1 0-14 0,-2 0-3 15,2 0 5-15,-2 0-3 0,2-1-17 16,-3-1 20-16,1 0 10 0,1 2-5 0,-1-4-28 16,2 0 11-16,-3-1 22 15,1 3-36-15,1-1 16 0,-1 0 23 0,0-1-26 0,1 3-10 0,0 0 26 16,0-1-31-16,1 1 10 16,0 1-5-16,-3 0 25 0,3-1-20 0,0 1 1 15,-3 2-17-15,2-2 34 0,1 1-10 0,-1 0 0 16,1-1 18-16,0 2-11 15,0 1 21-15,-2-4-18 0,2 4-36 0,0-2 18 0,0 1 3 0,0 0-13 16,0 1 20-16,-3-4-7 0,3 5-3 0,0-2 28 16,0 2-20-16,0-2 0 15,0 0 20-15,0 1-7 0,0-1-13 0,0-1 7 16,0 1 19-16,0 0-39 0,0 1 5 0,-2-3 15 16,2-1-15-16,0 0 16 15,-1 1-1-15,0-1-12 0,0 1 12 0,1 0-9 0,0 0 14 31,0 2-4-31,0-1-19 0,-2 1 6 0,2-1-13 0,0 3 20 0,0-2-7 0,0 0 2 16,0 2 16-16,0-1-11 0,0 1 6 0,-3 0-4 16,3-1-32-16,-1 4 10 0,1-4 20 0,0 2 8 15,0 1-23 1,0-3 3-16,0 2-6 0,0 1 1 0,0-2 22 0,0 2-30 16,0 0 33-16,0 0-2 0,0 1-19 0,-1 1 21 31,1-2-20-31,0 1 10 0,1 3-26 0,-1-3 31 0,0 1-26 0,0 0 31 0,0 0-13 15,0 2 6-15,0 3-4 0,-1-7 19 0,1 3-10 16,0 4 9-16,0-6-14 0,0 6 37 16,-1-7-47-16,2 4-17 0,-1 3 22 0,0-5 22 15,-1 0-5-15,1 5 5 16,0-6-12-16,0 2 9 0,0 4-30 0,-2-3-7 0,2 3 48 16,-2-6-110-16,2 6 17 0,0 0 17 15,-1-4 1-15,1 4 6 0,0 0-26 0,-2-2 16 0,2 2 0 16,0 0 9-1,0 0-6-15,0 0-32 0,0 0 13 0,0 0-2 0,-3-5-31 16,3 5-23-16,0 0-16 0,0 0-19 0,0 0-32 16,0 0-2-16,0 0-16 0,0 0-12 0,-5 9-29 15,5-9-9-15,-3 4-42 0,1 0-84 16,2-4 38-16,-5 3-82 0,5 0-365 0,0-3 2 16,0 0 92-16,0 5 69 0,0-5 46 0</inkml:trace>
  <inkml:trace contextRef="#ctx0" brushRef="#br0" timeOffset="197942.76">1360 4964 962 0,'-3'-5'381'0,"3"5"-135"0,0 0-18 15,0 0-31-15,0 0-5 0,-7 0-21 16,7 0-22-16,0 0 7 15,0 0-23-15,-8 8-13 0,5-6 1 0,-1 3-19 0,3-2-15 0,-4 2 28 16,0 1-33-16,0 0 0 0,2 0 10 16,-1 1-7-16,-2 0-29 0,1 1 11 0,-1 1-16 15,2-1 13-15,-4 3-5 0,2-3-13 0,2 3-10 16,-4-3 12-16,3 3 9 16,0-2-27-16,-3 0 4 0,3 1-6 15,-3 0-13-15,1 0 8 0,4-1-2 0,-5 1-3 0,3-2 17 16,0-1-14-16,-3 4-6 0,4-4-15 15,-2-1 28-15,3 0-7 0,-1 1-13 0,0-2 4 32,2-1-9-32,0 1 7 0,-1-1 11 0,0 1-16 0,1-3-8 0,-1 3 3 0,1-3-8 15,2-2 1 1,-3 5-16-16,1-4 15 0,0 4 11 0,2-5 2 0,-3 2-3 0,3-2 11 0,-3 4-28 16,3-4 12-16,0 0-12 0,0 0-1 15,-2 3 11-15,2-3-13 16,0 0 13-16,0 0-5 0,0 0-8 0,0 0 21 0,0 0-14 15,0 0 24-15,7-9-20 0,-6 4-9 16,-1 5 3-16,7-7 21 0,-7 1-13 0,5 0 2 16,-3 0 6-16,4-1-3 0,-4 1-3 15,4-5 1-15,-2 3-1 0,2-3 26 0,-3 3-15 16,4-3-3-16,-4 2 5 0,2-3-15 16,0 2 8-16,0 2 17 0,0-3-15 0,0 2 8 15,0-1-13-15,-2 1 3 0,2 0 12 16,-3 1 1-16,1 2 7 0,0-4-16 0,2 4 19 15,-3 1-3-15,1 0-5 0,-3-1 0 0,3 0-3 16,-1 1 18-16,0 1-5 0,-1 0 60 16,2 0-12-16,-1 2-4 0,-2-3 15 0,2 1-23 15,-2 4-8-15,1-7 8 0,0 5 18 0,3-1-13 16,-4 3-7-16,2-4 20 16,-2 4-21-16,1-6 1 0,-1 6-37 0,2-3 16 0,-2 3 44 15,2-4-57-15,-2 4-5 0,3-4 15 16,-3 4-17-16,0 0 22 0,3-2-2 0,-3 2-18 15,4-4-2-15,-4 4 9 16,6-2-7-16,-6 2 8 0,5 0 13 0,-5 0-19 0,10 0 1 0,-10 0-13 16,10 0-8-16,-3 2 33 0,0-1-28 15,2 2 24-15,-1-1-9 0,0 3-15 16,2-2 8-16,0 0 0 0,3 3-7 0,-3 0 9 0,1-3-20 31,1 4 0-31,-1-2 15 0,1 1-4 0,-2 0-14 0,0 0 24 0,1 0-19 16,-1-1 26-16,-2 1-12 0,0 0-6 0,0-4-13 15,-1 3 1-15,-1 0 15 16,1-3-1-16,-2 3-7 0,1-3 13 0,-2 1 8 0,2-1-41 16,-2 0 20-16,-1 1 13 0,2-2 5 15,-5-1 7-15,6 5 19 0,-6-5 12 0,3 1-4 16,-3-1-24-16,4 2 36 0,-4-2-25 0,5 3-34 16,-5-3 28-16,2 1-27 0,-2-1-4 15,0 0-38-15,0 0 6 0,0 0-65 16,0 0-66-16,0 0-43 0,0 0-57 0,0 0-205 15,0 0-537-15,0 7 66 0,0-7 54 0,0 0 110 16,-4 6 64-16,1-3 64 0,0 0 82 16</inkml:trace>
  <inkml:trace contextRef="#ctx0" brushRef="#br0" timeOffset="200042.14">2343 7266 1003 0,'-1'-3'325'0,"1"3"-5"0,0 0-46 16,0-6-23-16,0 6-34 0,0 0-17 16,0 0 2-16,0 0-28 15,0 0-23-15,0 0-7 0,0 0-22 0,-7 17-17 0,7-11-2 0,-1 2-32 16,1 2 22-16,-2-1-19 16,-1 3-10-16,3 1-13 0,-3 0-20 0,3 0-16 0,-2-1-43 15,0 1-44-15,-1 1-56 0,3 1-33 0,0-3-98 16,-3-3-43-16,3 2-453 15,0 0 31-15,0-3 58 0,0-2 70 0</inkml:trace>
  <inkml:trace contextRef="#ctx0" brushRef="#br0" timeOffset="200719.37">2865 7251 936 0,'0'0'392'0,"0"-5"-31"0,0 5-44 0,0 0-33 15,0 0-28-15,0 0-10 0,0 0-18 16,0 0-23-16,0 0-36 0,0 0 2 0,3 15-30 16,-1-10 7-16,-2 3-32 0,3-1 1 15,-3 4-14-15,2-2-1 16,-2 3-25-16,-2-1-11 0,2 3-27 0,0-1-1 0,0 0-7 0,0-1-16 15,-3 0-35-15,3-1-6 0,-2-1-22 16,2 1-32-16,-1-4-58 0,1 3-77 0,0-3-110 16,-2-1-49-16,4 1-430 0,-2-3 78 15,0-1 40-15,1 1 56 0</inkml:trace>
  <inkml:trace contextRef="#ctx0" brushRef="#br0" timeOffset="201934.97">2119 7039 849 0,'3'-1'267'0,"-3"1"-27"0,4-2-2 16,-4 2-28-16,0 0-5 0,0 0-8 0,3 7-46 15,-3-2-10-15,0 2-3 0,-3 0-13 0,1 0-12 16,-3 4-21-16,0-2-12 16,0 3-9-16,2-6-4 0,-2 2 2 0,2 2 10 0,0-4-17 15,1 1-14-15,-3-1-17 0,3-1 15 16,1 0 0-16,-1-1-15 0,0 1 10 0,-1-3-31 16,2 2 11-16,1-4-11 0,-2 7-10 15,2-7 10-15,0 5 3 0,0-5-23 16,0 0-24-16,6 1-25 0,-6-1-76 0,7 0-67 15,-7 0-62-15,10-2-25 0,-2-2-433 0,0 2 54 16,0-2 33-16,-1-2 82 0</inkml:trace>
  <inkml:trace contextRef="#ctx0" brushRef="#br0" timeOffset="202209.39">2260 7019 614 0,'0'0'256'0,"0"0"-21"16,-8 12-22-16,8-5-14 0,-5 0 47 15,3 3-28-15,0-2-6 0,1 3-25 16,-2-3-23-16,1 4-8 0,2-2-33 0,-1-1-16 0,1 1 11 16,1-3-26-16,1 1-5 15,-2-2-13-15,3 0 19 0,-3 1-14 0,1-3-5 16,0 0 13-16,-1 0 13 0,0 1-10 0,0-5 15 16,1 5-29-16,1-2 4 0,-2-3-1 15,0 0-23-15,0 0 21 0,0 4-20 0,0-4-1 16,0 0-8-16,0 0-24 0,0 0-27 15,0 0-30-15,0 0-98 0,0 0-156 0,0 0-550 16,0 0 36-16,0 0 54 0,-13-6 79 16,13 6 92-16</inkml:trace>
  <inkml:trace contextRef="#ctx0" brushRef="#br0" timeOffset="202343.07">2273 7026 775 0,'0'0'223'0,"0"-6"-59"0,0 6-77 0,2-3-103 0,-2 3-91 0,6-2-464 0,-6 2 18 15</inkml:trace>
  <inkml:trace contextRef="#ctx0" brushRef="#br0" timeOffset="203247.06">2855 7021 883 0,'0'0'389'0,"2"-6"-36"0,-2 6-28 0,3-4-18 16,-3 0-15-16,0 4-36 0,7-5-28 15,-6 3-11-15,4 1-14 0,-5 1-22 0,0 0-37 16,8 0 7-16,-8 0 2 0,0 0-25 0,7 3-23 16,-7 1 3-1,0 1-88-15,3-3 1 0,-3 3-9 0,-3 1-17 0,3-1 16 16,0 0 24-16,0 1-22 0,-2 2-8 0,2-1-7 0,-1-3 2 16,1 4 10-16,0-5 5 15,0 4-7-15,0-2-5 0,0 1 12 0,-2 1-10 16,2-1-5-16,-2 0-8 0,-1 1 21 0,2-1-8 15,-1 4-18-15,0-4 13 0,-1 1-5 16,1-1-5-16,1-1-21 0,-1-2-22 0,-1 3-4 16,1-2-68-16,2-1-11 0,0 1-40 0,0-4-111 15,-3 5-5-15,3-5-7 16,0 0-16-16,0 0-10 0,0 0-146 0,13-9-172 0,-5 2 139 16,-1 1 271-16,-1-1 133 0,-3 1 11 15,4 0 37-15,-2-1 63 0,0 1 32 0,0 1 52 16,-2-1-11-16,2 4 11 0,-3-3 5 0,1 4 0 15,-3 1 0-15,6-4 7 16,-6 4-22-16,0 0-16 0,0 0 0 0,0 0 5 16,15 5-20-16,-13 1-13 0,3-4 7 0,-2 3-2 0,2-5-10 15,-2 5 26-15,2-4-14 16,0 0-12-16,2 2 18 0,-1-2-3 0,-1-1 46 16,0 2-12-16,2-2 25 0,-7 0 15 15,11-2 8-15,-11 2 26 0,7-1-13 16,-4-2 18-16,-3 3 61 0,6-2-7 0,-6 2-14 15,2-5-12-15,-2 5-2 0,-1-5-24 0,1 5 1 0,-2-3-60 16,2 3-4-16,-7-5-19 31,7 5-23-31,-8-1-35 0,8 1-18 0,-8 0-29 0,8 0-43 0,-10 0-28 0,4 1-100 0,6-1-100 0,-10 4-284 32,6-3-261-32,0 0 105 0,4-1 92 0,0 0 52 0,-10 0 68 0</inkml:trace>
  <inkml:trace contextRef="#ctx0" brushRef="#br0" timeOffset="203406.15">3044 6976 742 0,'0'0'248'0,"0"0"-23"16,0 0-45-16,0 0-47 0,0 0-59 0,0 0-46 15,0 0-115-15,0 0-28 16,0 0-103-16,0 0-347 0,0 0 55 0</inkml:trace>
  <inkml:trace contextRef="#ctx0" brushRef="#br0" timeOffset="203901.83">3467 7201 883 0,'0'0'299'0,"0"0"-20"0,0 0-2 0,-5 13-47 16,5-8 3-16,-2 5-28 0,2-1-31 0,0 0 0 16,0 3-26-16,0 2-22 0,0 0-9 15,0 0-9-15,-3 0-6 0,3 2-25 16,0-2-16-16,0-1-14 0,0-2-17 0,0 0 4 0,0-3-50 16,0 1-12-16,0-2-39 15,0 0-68-15,0-2-113 0,0-3-65 0,3 0-396 16,-3-2 13-16,0 6 56 0,0-6 59 0</inkml:trace>
  <inkml:trace contextRef="#ctx0" brushRef="#br0" timeOffset="204453.41">3355 6970 1159 0,'5'0'356'16,"-5"0"-26"-16,0 0-33 0,0 0-31 15,0 0 0-15,10 6-33 0,-7-2-28 16,-3-1-16-16,0 2-22 0,2 0-1 0,-2 0-22 16,-2-1-34-16,4 1-13 0,-2 0-13 15,0-2 14-15,0 2-45 0,0 1-7 0,0-3 11 16,0 0-29-16,2 3 23 0,-2-4-25 0,4 3 20 15,-2-2-18-15,0-1 5 16,-2-2 1-16,6 6-9 0,-4-4-10 0,0 2 39 0,1-2-28 16,0 3 12-16,-1-4 3 0,-1 4-95 0,1-2 31 15,-2-3-23-15,0 8 10 0,0-5 1 16,0 2 12-16,-2-3 0 0,1 3-6 16,-1-1 4-16,-1-2-8 0,0 4-14 15,1-2-11-15,-3-1-14 0,2 0-25 0,1-1-42 16,-3 3-73-16,2-4-113 0,3-1 23 0,-7 6-466 15,4-5 46-15,3-1 72 0,-5 5 84 0,2-4 118 16</inkml:trace>
  <inkml:trace contextRef="#ctx0" brushRef="#br0" timeOffset="205168.23">3560 6939 1059 0,'0'0'371'0,"0"0"-46"0,0 0-33 0,-6-2-31 16,6 2-30-16,0 0-6 0,-12 8-36 0,6-2-12 15,-1-1-23-15,2 0-3 0,-3-1 10 16,3 1-59-16,0 1-2 0,0-1-13 0,-1 0-2 16,4-2 4-1,-3 1-27-15,3-2-4 0,1 3-4 0,-1-2-3 0,0 1 8 0,2-4-25 16,0 5 1-16,0-5-1 0,2 7 9 15,-2-5 6-15,2 1-18 0,-1 0-6 0,-1-3 11 0,1 5-5 16,3 0 15-16,-4-5-13 16,0 6-5-16,2-4-2 0,-2 3-1 15,-2 0-14-15,2-2 12 0,-3 2-5 0,1-1-80 0,1 0-27 16,-3 0-6-16,0 1-31 0,2-2-7 16,-3 2-74-16,2 0-131 15,1-2-48-15,-1 2-398 0,1-5 60 0,2 0 56 0,-6 5 74 16,6-5 74-16</inkml:trace>
  <inkml:trace contextRef="#ctx0" brushRef="#br0" timeOffset="205352.73">3618 6862 834 0,'0'-5'322'0,"0"5"-32"0,1-2-65 0,-1 2-66 0,0 0-80 16,0 0-71-16,0 0-113 0,0 0-108 0,0 0-401 31,0 0 25-31</inkml:trace>
  <inkml:trace contextRef="#ctx0" brushRef="#br0" timeOffset="205905.66">4060 7249 921 0,'0'0'287'0,"0"0"-42"0,-11 8-9 0,8-2-11 16,1-1-35-16,0 1-9 0,-1 0-14 16,1 2-32-16,1-1 1 0,-1 3-28 0,0-2-9 15,-1 1-1-15,1 1-24 0,1-3-38 0,-1 3-29 16,0-3-27-16,-1 0-75 16,2 0-122-16,-1-1-29 0,0 0-402 0,0-2-17 0,1-1 66 15,-2 0 43-15</inkml:trace>
  <inkml:trace contextRef="#ctx0" brushRef="#br0" timeOffset="206308.15">4052 6974 1031 0,'0'0'358'0,"0"0"-35"16,0 0-31-16,0 0-8 0,-15 6-46 0,12-3-28 16,-2 0-3-16,0 0-12 0,-1 2-34 0,-1 1-7 15,0 1-34-15,-1 0-13 16,0 0-91-16,3-2 7 0,-1 1-5 0,-1 1 7 0,2-1-4 15,0-3-11-15,2 0 16 0,-2 1-9 0,2-1-1 16,1 1 9-16,0-2 1 16,2-2-8-16,-1 5 18 0,1-5-11 0,0 5-2 0,0-5 8 15,5 3-13-15,-1 0-3 0,-4-3 8 16,9 2 0-16,-4-2-17 0,3 1 9 16,0-1 3-16,0 0-18 0,-1 0-23 0,3 0-23 15,0-1-21-15,-2 1-25 0,2 0-59 0,-2-1-92 16,0-2-90-16,0 2-368 0,-1 0 30 15,-7 1 36-15,10 0 13 0,-4-1 95 0</inkml:trace>
  <inkml:trace contextRef="#ctx0" brushRef="#br0" timeOffset="206526.5">4083 6973 1141 0,'-3'-3'392'0,"3"3"-54"0,0 0-26 16,0 0-2-16,0 0-44 0,0 0-23 0,-7 10-36 16,4-6-4-16,0 1-11 0,3 2-26 15,-2 3-102-15,-1-2 2 0,1 2-12 0,-1 2-3 16,1-3-10-16,0 4-23 0,-2-2-31 0,1 2-58 31,1-1-57-31,0-1-69 0,-1 1-139 0,0-3 37 0,3-2-443 0,0 3 27 16,0-5 91-16,0-2 15 0</inkml:trace>
  <inkml:trace contextRef="#ctx0" brushRef="#br0" timeOffset="206871.64">4132 7039 798 0,'-3'6'254'0,"3"-1"-22"0,0 1-32 0,0 1-23 15,0-2-16-15,3 0-23 0,-3 0 16 16,2-1-26-16,1 1-16 0,2 0-12 16,-3-1 18-16,1-1 7 0,3-1 3 0,-6-2 0 15,9 0 13-15,-4 0 10 0,-5 0 3 16,10-5-65-16,-4 4 24 0,-1-2 2 0,0-2 8 16,-3 1 0-16,1 1 7 0,-3-2-30 0,3-1-2 15,-3 1 73-15,0 0-5 0,-3 1-2 16,1-1-43-16,-1 0-24 0,1 0-31 0,-4 2-37 15,1-2-27-15,2 3-15 0,-4-2-30 0,2 2-75 16,0-1-105-16,-3 1-179 0,1 2-493 16,7 0 75-16,-13 0 106 0,13 0 67 0,-13 0 53 15,8 0 72-15</inkml:trace>
  <inkml:trace contextRef="#ctx0" brushRef="#br0" timeOffset="207010.51">4214 6940 1123 0,'0'0'458'0,"0"0"-53"0,-3-3-39 0,3 3-77 0,0 0-59 0,0 0-71 16,0 0-64-16,0 0-110 0,0 0-183 0,7-1-562 16,-7 1 69-16,0 0 36 0,11 2 76 0</inkml:trace>
  <inkml:trace contextRef="#ctx0" brushRef="#br0" timeOffset="207583.14">4732 7206 831 0,'-3'4'320'0,"3"-1"-20"0,-3 3-54 0,1-1-8 0,2 2-34 0,-2 0-7 16,-1-1-25-16,2 2-8 0,-1 2-21 15,2-2-10-15,-2 2-41 0,1-2-38 0,-1 2-31 16,2-1-61-16,-3-1-95 0,3 1-118 16,-2-2-330-16,0 0-98 0,1 0 32 0,-1-3 68 15</inkml:trace>
  <inkml:trace contextRef="#ctx0" brushRef="#br0" timeOffset="207932.55">4734 6923 806 0,'0'0'292'0,"-10"2"-16"0,10-2-25 0,-10 7-21 0,2-1-40 16,0 1-6-16,-2 2-10 0,0 1-31 15,-1 1-20-15,-2 1-15 0,3-3-3 0,0 1-18 16,2-2-5-16,0-1-3 0,1 2-18 16,2-3 16-16,0-2 5 0,-1 1-20 0,4 0-16 15,-3-3-18-15,2 2 3 0,3-1-8 16,0-3 10-16,0 0 8 0,3 5-18 0,-3-5-5 0,10 0 10 16,-4 0-15-16,-6 0 15 0,17-1-10 15,-9 0-31-15,5-2-5 0,-2 0-43 16,1 2-75-16,0-4-146 0,-2 0-17 0,4 3-397 0,-2-3 33 15,-1-1 30 1,-3 5 65-16</inkml:trace>
  <inkml:trace contextRef="#ctx0" brushRef="#br0" timeOffset="208122.07">4726 6937 1064 0,'-4'5'382'15,"0"-1"-57"-15,2 2-26 16,0 3-25-16,-1 0-36 0,3-3-5 16,0 6-102-16,0-2-24 0,0 3-7 0,2 0-39 0,-1 1 1 15,1-2-77-15,-2 1-70 0,3 1-158 16,0-1-105-16,-1-1-387 16,3 0 88-16,-5-2 58 0,3-1 72 0</inkml:trace>
  <inkml:trace contextRef="#ctx0" brushRef="#br0" timeOffset="208449.41">4816 6974 826 0,'0'0'338'0,"8"-4"-18"0,-8 4-5 0,0 0-49 0,0 0-5 0,8 5-35 16,-8-5-11-16,0 8-26 0,0-3-12 16,-3 0-32-16,0 1 24 0,1 2-35 0,-3-3-17 15,2 2-17-15,-2 0-3 0,2-1 1 16,-1 0-24-16,3 1-2 0,-1-3-14 0,-1-1 1 0,0 1-10 16,1-1 10-16,2 1-18 0,-2 0 25 15,2-4-27-15,0 3-16 0,0-3 2 16,0 0-12-16,4 5 10 0,-4-5-31 0,8-1-30 15,-8 1-36-15,0 0-39 16,13-4-99-16,-7 3-134 0,1-1-514 0,-2-1 105 0,0 1 64 16,0-2 74-16,0 1 118 0</inkml:trace>
  <inkml:trace contextRef="#ctx0" brushRef="#br0" timeOffset="208605.21">4963 6857 1023 0,'0'0'361'0,"-3"-1"-77"0,3 1-97 0,0 0-120 15,-3-6-228-15,3 6-469 0,0 0 28 0,0 0 80 16</inkml:trace>
  <inkml:trace contextRef="#ctx0" brushRef="#br0" timeOffset="209890.44">1691 7071 916 0,'0'0'289'0,"0"0"-12"16,0 0-45-16,0 0-11 16,13 4-11-16,-13-4-13 0,12 0-31 0,-4 0-28 0,0 0-25 15,-1 0-41-15,4-1-32 0,-1 0-68 16,0-2-97-16,1 2-100 0,-1-1-90 0,0-2-369 16,3 2 67-16,-1-3 49 0</inkml:trace>
  <inkml:trace contextRef="#ctx0" brushRef="#br0" timeOffset="210419.53">1660 6663 980 0,'0'0'371'0,"0"0"-13"16,0 0-48-16,0 0-33 0,0 0-27 0,0 0-12 16,0 0-20-16,0 0-39 0,0 0-87 15,23 1-25-15,-15-1 15 0,-1-1 5 0,3 1-31 16,1-1-33-16,-1 0-36 0,0-1-38 16,3 0-46-16,-2 1-108 0,1-1-64 0,-1-1-409 15,1 2-31-15,-2-3 82 0,1 2 92 16</inkml:trace>
  <inkml:trace contextRef="#ctx0" brushRef="#br0" timeOffset="211241.27">953 7289 737 0,'2'7'215'0,"-2"1"-18"0,2-1-28 16,1 1-21-16,-1-1-30 0,1 4-21 0,-3-3-28 15,2 2-46-15,1-2-61 16,0 2-44-16,-3-1-54 0,2-3-86 0,-2 0-331 0,1 1 43 16</inkml:trace>
  <inkml:trace contextRef="#ctx0" brushRef="#br0" timeOffset="211617.56">1053 7266 813 0,'0'0'318'0,"0"0"-21"0,-9 7-8 0,8-4-48 0,0 1-29 16,1-4-40-16,0 8-16 16,0-3-38-16,0 0-34 15,1-1-46-15,3 1-40 0,-1 1-16 0,0-1-5 0,1-2 20 0,2 0-7 16,1-1-31-16,-2-2 41 16,3 0-8-16,-8 0-12 0,12-2 25 0,-6-1 36 15,-1 2 26-15,0-1 40 0,-2-1-2 0,-3 3 28 16,8-4-10-1,-8 0 0-15,2 3 0 0,-2 1-13 0,0-6-18 0,0 6-10 0,-5-6-5 16,3 4-6-16,2 2-12 0,-3-4-18 0,-2 1-10 16,5 3-18-16,-6-4-39 0,4 3-71 15,2 1-67-15,0 0-59 0,-6-3-51 0,6 3-112 16,0 0-379-16,0 0 63 0,0 0 83 16,0 0 45-16</inkml:trace>
  <inkml:trace contextRef="#ctx0" brushRef="#br0" timeOffset="211850.1">1229 7264 634 0,'0'0'267'0,"5"0"9"0,-5 0 3 16,0 0-10-16,9-3 12 0,-7-1-4 15,-2 4-8-15,5-3-70 0,-3 0-20 0,-1-3-23 16,1 3 8-16,-2-1-10 0,-2-2 53 0,1 1-10 15,-1 1-28-15,-1 0-18 0,0-2-18 16,1 1-30-16,-4-1-44 0,4 4-39 0,-5-3-61 16,2 5-38-16,-1-2-90 0,-2 2-125 0,1 2-474 15,-3-2-23-15,0 6 84 0,-3-1 90 16,2 0 41-16</inkml:trace>
  <inkml:trace contextRef="#ctx0" brushRef="#br0" timeOffset="212126.52">735 7418 921 0,'-1'5'351'0,"1"-5"-47"0,2 3-30 15,2 2-23-15,-2-1-18 0,0-1-5 16,4 3-18-16,-4-1-24 0,1 1-14 0,0 0-8 15,1-2-16-15,-1 3-7 0,-1 1-28 0,-1-1-16 16,1-1-15-16,-2 2-13 16,0-3-36-16,0 2-71 0,0-1-121 0,-2 0-84 15,1 0-571-15,1-1 54 0,-2-3 76 0,-1 2 70 16,3-4 46-16</inkml:trace>
  <inkml:trace contextRef="#ctx0" brushRef="#br0" timeOffset="212251.39">744 7430 870 0,'1'8'325'15,"1"-2"-33"-15,1 7-34 0,-1-2-20 0,3 0-46 16,-2 2-54-16,4 1-89 0,-1-1-141 0,-1 4-612 16,2-2 46-16,1-3 54 0</inkml:trace>
  <inkml:trace contextRef="#ctx0" brushRef="#br0" timeOffset="213205.06">1196 6726 757 0,'0'0'289'0,"0"0"-33"0,0 0-10 16,2-5 5-16,-2 5-44 0,0 0-15 0,0 0-30 16,0 0 9-16,0 0-35 15,16 6 12-15,-14-2-28 0,-1 1-12 0,4-2 2 0,-3 3-15 16,0 1-8-16,-2 2-8 0,1-1-5 16,-1-1-12-16,0 0 7 0,0 2-20 0,2 0 7 15,-2-4-2-15,0 2-11 0,0 0-10 16,0-3 11-16,0-1-18 0,0 3 2 15,0-3 0-15,0-3-18 0,3 7-13 0,-3-6-14 0,0-1 29 16,3 2-19-16,-3-2-32 0,0 0-9 16,0 0 4-16,15-4-35 0,-12 0 15 0,1 2-28 15,4-3-13-15,-5 0 2 0,4 2-4 16,-4 0-8-16,2-3 20 0,0 4 16 16,-2-3-6-16,0 4 34 0,1-1-11 0,-4 2 4 0,5-3 42 15,-2-2 1-15,-3 5 7 0,3-2 11 16,-3 2 4-16,3-4 22 0,-3 4 4 15,0 0-10-15,2-4-8 0,-2 4 21 0,2-4 23 16,-2 4-10-16,0 0-21 0,0 0 20 16,0 0-4-16,0 0-8 0,0 0 5 0,0-4-13 15,0 4 10-15,0 0-22 0,0 0 12 16,0 0-31-16,0 0 11 0,0 0 12 0,0 0-15 31,0 0 13-15,0 0-20-16,0 0 10 0,0 0-8 0,0 0 7 0,0 0-2 0,0 0-2 0,0 0 10 0,13 8-11 0,-13-8-12 15,5 0 15-15,-5 0-15 0,0 0 0 0,10-3-13 16,-10 3 5-16,6-2 13 0,-1 1 2 16,-3-2 11-16,-2 3 15 0,6-4 2 0,-4 0-2 15,0 3 29-15,-2 1-1 0,3-6 15 0,-3 2 14 16,0 4 2-16,0-6 12 0,0 6-27 0,-3-4-8 16,3 1-3-16,0 3-10 0,-4-6 10 15,1 5-30-15,3 1 10 0,0 0-13 0,-5-2-18 16,5 2-23-16,-5-4-15 0,5 4-34 0,0 0-15 15,0 0-41-15,0 0-40 0,0 0-42 16,0 0-51-16,-7 0-36 0,7 0-207 16,0 0-184-16,0 0 58 0,0 0 59 0</inkml:trace>
  <inkml:trace contextRef="#ctx0" brushRef="#br0" timeOffset="213382.8">1395 6725 542 0,'6'-1'266'0,"-6"1"3"0,0 0 2 0,5-3-7 0,-5 3-16 15,6-2 1-15,-6 2-19 16,5-4-25-16,-3 2 15 16,-2 2-31-16,5-5-12 0,-3 4-11 0,-2 1-12 0,3-2-3 0,-3 2-20 15,0-6-24-15,0 6-22 0,0 0-37 0,-5-6-27 16,3 2-67-16,2 4-88 0,-8-1-101 0,2 0-126 16,6 1-440-16,-10-1 84 15,3 2 54-15,-1 0 108 0</inkml:trace>
  <inkml:trace contextRef="#ctx0" brushRef="#br0" timeOffset="213608.37">1052 6868 921 0,'1'3'279'0,"1"2"-18"0,0 0-38 0,1 0-3 0,0 1-13 0,1 0-38 0,-3 1-23 15,4-3 0-15,-3 4-31 0,-2-2-25 16,2-1-52-16,-2 0-35 0,1 0-49 16,2 1-70-16,-3-1-86 0,0-5-448 0,-3 5 5 15,3-5 61-15,0 0 47 0</inkml:trace>
  <inkml:trace contextRef="#ctx0" brushRef="#br0" timeOffset="213713.7">1075 6876 849 0,'0'0'249'0,"9"12"-22"0,-5-7-17 0,1 2-25 16,-2-1-39-16,2 2-31 0,0 2-131 15,1-2-283-15,4 2-287 0,-3-3-24 0</inkml:trace>
  <inkml:trace contextRef="#ctx0" brushRef="#br0" timeOffset="214234.92">1724 5926 1108 0,'0'0'356'0,"-2"4"-26"0,2-4-33 16,0 0-36-16,2 6-13 0,-2-6-87 0,5 3-27 15,0-1-9-15,-5-2-18 0,10 2 21 16,-2-2-43-16,0 0-13 0,0-4-6 16,2 3-20-16,3 0-56 0,-3-3-11 0,3 2-45 0,-1-2-54 15,-1 2-90-15,2-5-108 0,-3 3-409 16,3 2 36-16,-3-2 77 0,-2 2 43 16</inkml:trace>
  <inkml:trace contextRef="#ctx0" brushRef="#br0" timeOffset="214739.41">1326 6099 790 0,'3'-5'295'0,"-3"5"-9"0,5-1-53 16,-5 1-2-16,5-4-32 0,-5 4-22 16,5 0-13-16,-5 0-3 0,0 0-23 0,6 5-17 15,-6-1-9-15,0-4-2 0,0 8-30 0,0-3-1 16,0-1-5-16,0 2-10 0,-3-1-18 15,3 1-5-15,0 1 3 0,0-1 4 16,0 0-37-16,0-1 14 0,0 2-4 0,0-1-8 0,0 0 2 16,0 0-25-16,3 0-24 15,-3-1-50-15,0-1-98 0,0 1-97 0,0 0 3 16,0 1-313-16,2-4-84 0,1 2 30 0,-3-4 98 0</inkml:trace>
  <inkml:trace contextRef="#ctx0" brushRef="#br0" timeOffset="-214340.09">1439 6113 537 0,'-10'12'192'0,"10"-12"-20"0,0 0 17 16,7 6-35-16,-4-5-27 0,-3-1-14 0,6 3 2 15,-1-1 18-15,-5-2 34 0,7 1-14 0,-7-1 11 0,0 0 3 16,11-3 76-16,-6 0-5 0,-5 3-18 15,2-2-8-15,-2 2-7 0,2-4-90 16,-2 4 3-16,1-6-8 0,-1 6-15 0,-1-5 2 16,1 5-18-16,-2-3-17 0,2 3-36 0,-2-4-42 15,2 4-50-15,0 0-4 0,0 0-65 16,0 0-16-16,0 0-36 0,5-6-100 16,0 6 6-16,-5 0-14 15,10-2 16-15,-5 0 92 0,3-2 21 0,0 4 30 0,0-3 67 0,-1 1 69 16,-1 1 49-16,1-1 102 0,-2-1 13 0,-5 3 33 15,8-2 20-15,-3 0 6 0,-3-1-13 0,3 2 5 16,-5 1 46-16,3-5 0 16,-3 5-36-16,5-3-4 0,-4 0-27 0,-1 3-22 15,5-4-26-15,-5 1-1 0,0 3-60 0,0 0-26 16,3-5-11-16,-3 5-53 0,0-3-33 16,0 3-59-16,0-5-29 0,0 5-114 15,0 0-85-15,0 0-141 0,0 0-394 0,0 0 138 0,-8 0 33 16,8 0 103-16,0 0 8 15</inkml:trace>
  <inkml:trace contextRef="#ctx0" brushRef="#br0" timeOffset="-214065.86">1191 6139 901 0,'-3'4'286'0,"3"-4"-35"0,3 6-39 0,-3-6-2 16,2 7-18-16,0-1-23 0,1 0-18 16,1-1-25-16,0 2-1 0,-1 0-20 0,2 1-2 15,0-1-39-15,0 4-21 0,-3-4-69 16,4 0-81-16,-6 3-88 0,3-3-53 15,1 1-440-15,-4-1 50 0,4 1 39 0</inkml:trace>
  <inkml:trace contextRef="#ctx0" brushRef="#br0" timeOffset="-213903.25">1242 6163 749 0,'0'6'308'0,"2"5"-60"0,1-1-18 0,0 5-27 16,2 0-17-16,0 3-6 0,-2 1-86 0,2 2-150 16,0 0-236-16,3 0-384 0,-1 2 85 0,0-3 61 15</inkml:trace>
  <inkml:trace contextRef="#ctx0" brushRef="#br0" timeOffset="-213390.59">1737 5370 747 0,'0'0'320'0,"5"-4"-46"15,-5 4-16-15,5-4-20 0,3 0-35 16,-3 3-17-16,2-4-27 0,1 3-18 0,0-2-11 16,2 2-9-16,-2-3-21 0,-1 3-59 0,4-2-62 15,-1-1-61-15,-2 2-87 0,5-2-53 16,-6 0-439-16,1 3-10 0,0-1 67 0</inkml:trace>
  <inkml:trace contextRef="#ctx0" brushRef="#br0" timeOffset="-212950.31">1455 5432 803 0,'0'0'323'0,"0"0"-8"0,-8 9-75 0,5-5 1 16,1 2-21-16,-5 0-26 0,1 1 6 15,-1 1-57-15,1 1-9 0,1-2-9 0,-2 1 3 16,4-2-8-16,-3 3-43 0,2-2 10 15,1 0-10-15,-2-2-8 0,3-1-18 0,-2 1-7 32,2 0-1-32,2-2-17 0,-2 1-6 0,2-4 19 0,-2 5-14 0,2-2-2 0,0-3 0 15,4 5-2 1,-4-5-13-16,6 4 9 0,-1-3 7 0,2-1-19 0,-7 0-16 0,15-3-37 16,-7 1-24-16,2 1-41 0,1-3-2 0,2 1-107 15,-3-1-57-15,0 1-75 16,1-2-319-16,-1 0 18 0,0-2 61 0,-3 2 49 0</inkml:trace>
  <inkml:trace contextRef="#ctx0" brushRef="#br0" timeOffset="-212791.66">1535 5459 752 0,'0'0'315'0,"-6"-2"-34"16,6 2-2-16,-5-1-25 0,5 1-26 16,0 0-11-16,0 0-22 0,-10 3-34 0,10-3-10 15,-3 6-18-15,1-2 8 0,2 1-34 0,0-2-7 16,0 3-18-16,2 0-2 15,-2-1-24-15,1 1-28 0,1 1-66 0,0-1-65 0,1 1-104 16,0-2-113-16,-1 1-20 0,1-2-208 0,2-1-120 16,-1-2 74-16,2 2 28 15</inkml:trace>
  <inkml:trace contextRef="#ctx0" brushRef="#br0" timeOffset="-212402.4">1596 5468 890 0,'0'-5'348'0,"0"5"-51"0,0 0-28 15,-2-4-13-15,2 4-10 0,0 0-36 16,0 0-23-16,0 0-54 0,0 0-3 0,0 0-20 16,0 0-12-16,12 8-19 0,-12-8-13 15,8 1 19-15,-8-1-1 0,5 0 3 16,-5 0 8 0,0 0 23-16,5-4-6 0,-5 4-4 0,2-5 2 0,-2 5-69 0,0-4 26 0,0 4-21 15,0-5-5-15,0 5-3 0,-2-7-2 16,0 4 2-16,2 3-15 0,-3-6-25 0,3 6-9 15,0-3-37-15,0 3-19 0,0 0-7 16,3-6 0-16,-3 6-39 0,5-3-35 0,0 2-29 16,-2-1 3-16,1 1 0 0,1-3 33 0,1 3 29 15,-1 0 22-15,0-3 72 0,-2 2 56 16,1 2 26-16,-1-4 29 0,2 2 9 16,-5 2 11-16,3-6 20 0,0 5 2 0,-3 1-25 0,3-5-10 15,-3 5-20-15,0-4 12 0,0 4-62 16,0 0-27-16,0 0-46 0,0 0-42 0,-3-4-81 15,3 4-162-15,0 0-102 0,0 0-294 16,-18 8 25-16,12-6 74 0,-1 2 42 16</inkml:trace>
  <inkml:trace contextRef="#ctx0" brushRef="#br0" timeOffset="-212146.09">1309 5481 954 0,'-1'2'282'0,"1"-2"-24"0,1 10-27 16,2-7-26-16,-1 1-21 0,0 3-8 15,1-2-25-15,2 3-17 0,-3-2-6 0,1 1-11 16,2 0-14-16,-2 0-21 0,-1-1-1 0,2 2 7 15,-2 0-7-15,0-2 6 0,1 2 3 16,-3-1-39 0,-3-1 6-16,3 1-27 0,-2 0-9 0,-1 0-37 0,0-2-45 0,-1 0-98 0,1-1-122 15,-2 1-444-15,2-3-7 16,-2-1 59-16,5-1 97 0</inkml:trace>
  <inkml:trace contextRef="#ctx0" brushRef="#br0" timeOffset="-211959.46">1306 5475 1118 0,'3'14'325'0,"4"-1"-18"0,-4 0-28 0,2 0-35 0,0 1 4 0,0 2-61 16,0 1-39-16,0 1-66 0,1 1-113 0,-1-3-179 0,0 2-573 15,2-2 120-15,1-1 108 0,-2-2 25 0</inkml:trace>
  <inkml:trace contextRef="#ctx0" brushRef="#br0" timeOffset="-211440.33">1737 4785 1149 0,'0'0'389'0,"0"0"-18"16,0 0-61-16,0 0-24 0,0 0-96 16,0 0-29-16,23-2-5 0,-13 1-7 0,1 0-32 15,1 0-19-15,1-2-29 0,0 1-28 0,2-3-54 16,1 3-38-16,-3-4-67 0,0 2-74 15,-1-2-77-15,1 4-440 0,-2 1 10 16,-1-2 42-16,-3 1 88 0</inkml:trace>
  <inkml:trace contextRef="#ctx0" brushRef="#br0" timeOffset="-210937.27">1263 4770 1062 0,'0'0'373'0,"-13"5"-42"15,7-2-111-15,-1 0-21 0,2 1-19 0,-1 0-9 16,-1 0-40-16,2-2-11 0,2 3-5 0,-2-3-15 15,2 2-18-15,2 0-13 0,0 0-2 16,1 1-3-16,0-5-29 0,0 6 27 0,3-4-3 16,-1 4-21-16,1-2-10 0,2 0 13 15,-2 1 3-15,2 0-3 0,-1 0-18 0,-1 1 5 16,0-4 5-16,-1 3-5 0,0 0-10 16,-1-1 3-16,-1 3-1 0,0-1 19 15,0-1-24-15,-1 3-25 0,-1-3-3 0,0 2-43 0,-1-2-44 16,0 2-105-16,-1-1-64 0,1-1-115 15,0-1-368-15,1-2 66 0,2-2 64 16,-5 5 77-16</inkml:trace>
  <inkml:trace contextRef="#ctx0" brushRef="#br0" timeOffset="-210451.72">1367 4819 350 0,'16'-6'182'0,"-6"1"10"0,0 3 20 0,-1-2 24 0,-4 1 10 0,0-2 2 16,-3 1 16-16,0 2-16 0,-1-2-8 16,-1 4-22-16,-1-7 0 0,-3 5-42 0,1-2-7 15,0 2-23-15,-2-2-10 0,0 1-24 16,1 2-25-16,0-2-15 0,4 3-49 0,-7-2 0 15,2-2-77-15,5 4-102 0,-5-2 18 16,5 2-144-16,0 0 14 0,0-4-1 16,0 4-148-16,0 0-80 0,10-2 88 0,-10 2 94 0,10-2 120 15,-5 2 121-15,-5 0-31 0,0 0 84 16,13 2 11-16,-8-2 20 0,0 2 34 0,0-1 35 16,0 1 34-16,0-1 30 0,1 1-4 15,-1-2-6-15,-5 0 5 0,12 4-2 0,-4-4 20 16,-2 0 7-16,1 0 32 31,-1-2-41-31,2 0 17 0,-2 0-7 0,0 1 18 0,-1-2 5 0,0 1-1 0,0 0 6 0,-2-1-30 16,-1 1-4-16,0-2 29 0,-2 4-33 15,3-6-19-15,-5 3-17 0,2 3-26 0,-2-8-28 0,1 6-36 16,1 2-40-16,-8-5-19 16,4 5-36-16,4 0-63 0,-13-1-113 0,13 1-80 0,-14 4-499 15,4-2 44-15,0 3 95 0,0 0 51 0,-2-1 71 16</inkml:trace>
  <inkml:trace contextRef="#ctx0" brushRef="#br0" timeOffset="-210175.44">1084 4840 831 0,'7'11'287'0,"-5"-6"-36"0,1-2-3 15,2 2-53-15,-3 1-6 0,3 0 1 16,-1 1-34-16,0-1-15 0,-3 1-6 16,4-1-22-16,-5 3-8 0,2-1-3 0,0-1-10 0,-2 1-5 15,-2 1-30-15,0-2-45 0,-1 1-42 16,1-2-109-1,-1 1-116-15,-3-1-398 0,4 0-8 0,-3-3 14 0,-1-2 68 0</inkml:trace>
  <inkml:trace contextRef="#ctx0" brushRef="#br0" timeOffset="-210012.69">1098 4888 993 0,'8'27'304'0,"0"1"-32"0,2 11-37 0,1 4-28 0,4 8-50 0,-5 6-106 0,3-1-228 0,2 5-514 16,-2-3 61-16,0 0 54 0</inkml:trace>
  <inkml:trace contextRef="#ctx0" brushRef="#br0" timeOffset="-194678.83">5944 155 931 0,'2'-2'353'0,"-2"2"-20"16,0 0-15-16,0 0-24 0,0 0-20 15,0 0-3-15,0 0 62 0,0 0-5 16,0 0-42-16,0 0 4 0,0 0-40 0,0 0-42 15,0 0 27-15,-20 7-56 0,15-1-2 16,-5-2-36-16,0 2-6 0,0 2-81 0,-1-2-13 16,-2 2 10-16,1 2-10 0,1-2-5 0,-1 0-10 15,1-2 15-15,1 3-23 0,0-3-3 16,2 1 11-16,0 0-26 0,1-1 7 0,2 1-2 16,-1 0 8-16,4 0-18 0,-3 2 8 15,5 0-9-15,-3 2 9 0,3 2 2 0,0 0-10 16,3 1 8-16,-1 3-11 0,3 0-7 0,-2 2 17 15,0 3 3-15,1 2 5 0,-1 0-12 16,2 1 2 0,-5 2 0-16,2 2 13 0,-4-1 0 0,2 1-16 0,0 1 11 0,-2-1-16 15,-4 7 16-15,1-5-3 0,0-4 5 16,0-3-5-16,-2-1 0 0,4-1 5 0,-3-5-12 0,2 1 25 16,-1-1-5-16,2-4-5 0,-2-2 5 15,5-1-18-15,-5 0 10 0,3-2 3 16,1-2-13-16,1 2 12 0,0-3 1 0,0 2 5 15,3-3-20-15,-1 0 22 0,1-1 6 0,4 0-14 16,1 0 17-16,2-3-14 0,1 0 5 0,1 0-4 16,2 0-3-16,1-2-3 0,3 0 3 15,2 0-6-15,1 1-7 0,-1-3 0 16,-1 1 21-16,-1 1-3 0,-1-1-21 0,-1 2 11 0,-1-2-36 16,0 1-18-16,-5 1-21 0,1-1 0 15,-1 0-50-15,0 0-9 0,0 1-14 16,-2 0-47-16,-3-2-49 0,3 2-81 0,0-2-98 15,-3 0-102-15,5-2-346 16,-2-1 96-16,2 0 42 0,0-2 78 0,0 0 60 0</inkml:trace>
  <inkml:trace contextRef="#ctx0" brushRef="#br0" timeOffset="-194215.39">6418 578 1167 0,'0'0'340'0,"0"0"49"0,0 0-23 16,0 0-36-16,0 0-4 0,18-5-37 0,-10 4-13 15,0-1-27-15,2 1-22 0,0-1 9 16,1 0-29-16,-1 0-20 0,2-1 2 0,1 1-30 15,1 0-28-15,-2 0 12 0,-1 1-33 0,1-1-5 16,-2 1-13-16,0 0-5 0,1 0-15 16,-1-2 0-16,-2 2-11 0,0 1-15 15,0-3-33-15,-3 3-34 0,2-2-22 0,-2 1-36 16,0 0-37-16,0-1-27 0,1 2-85 0,-6 0-99 0,10-4-91 16,-5 3-493-1,0 0 97-15,-5 1 113 0,8 0 12 0,-8 0 95 0,8-4 44 16</inkml:trace>
  <inkml:trace contextRef="#ctx0" brushRef="#br0" timeOffset="-193743.84">6926 355 1305 0,'2'-4'379'0,"-2"4"-54"0,0 0 2 16,0 0 14-16,0 0-19 0,0 0-27 16,0 0-19-16,0 0-12 0,0 0-23 0,0 0-9 0,0 16-45 15,0-11-10-15,0 2-8 0,0 2-18 16,0-1-13-16,0 3-97 0,0 2-13 0,0 0 0 15,0 1 1-15,0 3-9 0,0-2 13 16,-2 4 8-16,2 0-36 0,-2-1 21 0,2 1-8 16,-3 0-13-16,3-1 0 0,-3-3 13 15,3 0 13-15,-2-1-13 0,2-1-11 0,0-2 1 0,-2-1 0 16,1 0 12-16,1-2-2 0,0-1 10 16,0-1-7-16,0 0 7 15,0-2 10-15,-2 1-15 0,2 0 13 0,0-2-3 16,0 1-4-16,0-4-19 0,0 5 15 0,0-5-14 0,0 4-1 15,0-4-5-15,0 0-13 0,0 5-40 16,0-5-21-16,0 0 10 0,0 0-51 0,0 0-44 16,0 0-25-16,0 0-26 0,0 0-156 0,2-14-94 15,1 10-411 1,2 2 75-16,-2-1 41 0,2-2 72 0,2 1 59 0</inkml:trace>
  <inkml:trace contextRef="#ctx0" brushRef="#br0" timeOffset="-193074.06">8262 331 1328 0,'2'-4'456'0,"-2"4"-14"0,0-4-24 0,0 4-34 16,0 0-18-16,0 0-36 0,0 0-13 15,0 0-84-15,0 0-18 0,0 0-10 0,8 12-16 16,-10-5-15-16,2 0-25 0,0 3 2 16,-3 2-23-16,0 0 84 0,1 1-32 0,-4 3 14 15,2 1-51-15,-2 1-9 0,2-1 14 0,-2 0-28 16,2 0-12-16,-2-1-8 0,1-1-29 16,2-3-4-16,-2 1-8 0,3-2-3 0,-1 0 3 15,1-1 7-15,1-1-48 0,-1-1 28 16,2-1 11-1,-2-1-16-15,2 1 23 0,2-1-46 0,0-1 43 0,-1-1-23 0,4 0-20 0,0 0-2 16,0-2-1-16,0-1-15 0,3 1 13 16,2-2-23-16,0 0-3 0,0 0-46 0,1-2-33 15,-1 1 18-15,2-1-13 0,-3 0-31 0,1 0-5 16,0 1-49-16,0-1 11 0,-2 0-31 16,0 1-23-16,-4-1-31 0,2 1-48 0,-1-1-80 15,-5 2-94-15,6-4 7 0,-4 3-455 16,-2 1 107-16,2-3 105 0,-2 3 23 0,0 0 85 15,-2-8 120-15</inkml:trace>
  <inkml:trace contextRef="#ctx0" brushRef="#br0" timeOffset="-192833.07">8195 554 967 0,'-8'-2'525'0,"8"2"-49"0,-4-3-54 0,4 3-20 0,-3-4-46 15,3 4-11-15,0 0-32 0,0 0-24 0,7-6-25 16,-4 4-118-16,4 0-21 16,-1 0-5-16,-1 0-43 0,5 0-18 0,-2-2-49 15,2 3-41-15,0-2-33 0,1 0-53 0,2 1-60 16,0-2-71-16,1 2-93 0,0-3-40 16,1 3-428-16,1-2 62 0,-4 2 81 0,4-1 93 15,-1 0 17-15</inkml:trace>
  <inkml:trace contextRef="#ctx0" brushRef="#br0" timeOffset="-192529.86">8544 466 993 0,'0'0'350'0,"10"1"57"16,-10-1-7-16,-2 6-27 0,2-6-42 15,-3 6-1-15,1-1-36 16,2 0-25-16,0 1-16 16,0 0-20-16,0 2 8 0,2-1-67 0,1 1-8 0,-1-1-22 0,3 1-9 15,0-1-27-15,3 1 15 0,0-2-29 0,2 0-4 16,3-1-18-16,-3 0 10 0,3-4-1 0,3 2 6 15,-2-2-33-15,0-1 10 0,-1-2 21 16,1 0 20-16,0-1 20 0,-2 1-61 0,-1-1 13 16,-3-1 20-16,-1 0 87 15,0 0 11-15,-1-2-116 0,-3 0 31 0,-1 2-20 0,-2-2-8 16,-2-1 5-16,-1 0-8 0,-3 1-17 0,-1-1 12 16,0 0 0-16,-4 1-43 15,1-1-39-15,-3 2-20 0,2 0-31 0,-1 0-5 0,4 2-54 0,-2 0-33 16,2 2-53-1,1-1-52-15,-1 1-46 0,8 1-95 0,-10-3-207 0,7 3-395 16,3 0 65-16,0 0 82 0,0 0 89 0,0 0 72 16,0 0 69-16,21 0 38 15</inkml:trace>
  <inkml:trace contextRef="#ctx0" brushRef="#br0" timeOffset="-192161.88">9949 276 1571 0,'0'-6'456'15,"0"6"-44"-15,0 0-15 0,0 0-47 0,0 0-12 16,0 0-8-16,0 0-48 0,0 0 2 16,0 17-48-16,0-8-6 0,-3-1-36 0,3 3-12 15,-2 0-26-15,2 1 93 0,-2 2-39 0,2 0-26 16,-3-1-56-16,2 2-31 0,1 0-56 15,-2-2-79-15,2 1-62 0,-2 0-56 0,-1 0-105 16,3-1-200-16,0-1-520 0,0-2 88 0,0-1 79 16,0-1 87-16,0-3 95 15,0-1 23-15,0 0 53 0</inkml:trace>
  <inkml:trace contextRef="#ctx0" brushRef="#br0" timeOffset="-191901.39">9797 450 1105 0,'0'0'420'0,"-4"-3"-15"0,4 3-22 0,0 0-9 15,0 0-26-15,0 0-28 0,10-4-15 16,-5 2-26-16,5 1-13 0,0-2-25 0,1 2-34 16,6 0 0-16,-1-1-12 0,2-1-29 0,-3 1-33 15,6 0-20-15,-1-1-49 0,1 1-28 16,-3-2-39-16,2 2-53 0,-2-1-46 0,-3 0-42 15,-1 1-73-15,1-1-119 0,-2-1-109 0,0 2-459 16,-1 0 121-16,-2 0 43 0,1-1 85 0,-3 1 56 16,2-2 82-16</inkml:trace>
  <inkml:trace contextRef="#ctx0" brushRef="#br0" timeOffset="-191671.15">10326 254 1466 0,'0'0'487'0,"-5"-2"-27"16,5 2-14-16,0 0-39 0,0 0 30 0,-5 8-4 0,5-2-31 15,-1 0-41-15,1 1-18 0,-2 0-62 16,0 3 1-16,2-1-49 0,0 2-23 16,-3-1-21-16,3 2-25 0,-3 1-72 0,3-2-30 15,-2 2-29-15,-1 0-31 0,1-2-61 0,1 0-63 16,-1 0 1-16,2-3-35 0,0 0-10 15,0-1-75-15,0-1-89 0,0-1-121 16,0 0-503-16,2-3 86 0,-2-2 34 0,3 2 142 16,-3-2 22-16,0 0 50 0</inkml:trace>
  <inkml:trace contextRef="#ctx0" brushRef="#br0" timeOffset="-191114.86">10264 73 962 0,'-2'-3'392'15,"2"3"-24"-15,0 0-33 0,0 0-9 16,12-3-53-16,-6 3-17 0,4 0-99 0,3 0-35 16,-1 0 1-1,4 0-13-15,2 0-10 0,2 0-15 0,-2-1 4 0,6 1-12 0,-1 0-13 0,0 0 0 16,0 0-13-16,0 0 0 15,-2 0-2-15,-3 1 10 0,-1 0 2 0,-2 0-2 0,-2 1-2 16,0 0 22-16,0 0 10 0,-2 2-4 16,-1 2 7-16,0-1 5 0,-2 3-12 15,-1 0 22-15,1 0 3 0,-3 1-28 0,0 2 28 16,1 1-28-16,-2 2 28 0,2 0-10 0,-2 2-10 16,2 1-13-16,-2 0-11 0,0 0-12 15,0 2 15-15,-1 0 0 0,0 5-33 16,0-4-3-16,-1 1 24 0,0-1-32 0,1 1 8 0,0-2 6 15,-1 1-21-15,0 1 18 0,-2-1-1 16,4-1-19-16,-4 0 17 0,2 0-18 16,-2-1 21-16,0-2-36 0,0 0 13 0,0-2-8 0,-2 0 16 15,-2 0-16-15,2-1 10 0,-3 0-12 16,0-1 22-16,0 0 19 0,-3-1 2 16,-2 1-5-16,0-1 5 15,-1 0-8-15,-4-2 11 0,0 0 12 0,-6 1-20 0,1 0 18 0,-4 0-26 16,-1-1 11-16,-1 0 63 0,-12 2-32 15,7-3-6-15,5-1-41 0,-2-1-28 0,0-1-28 16,2 2-29-16,3-2-30 0,3-1-30 16,1 0-45-16,2-1-30 0,2 0-30 0,2 0-29 15,-1 0-77-15,4-1-135 0,-3 1-98 0,3-1-396 16,3-1 115-16,2 0 38 0,-1 0 111 0,6-1 53 16,0 0 82-16</inkml:trace>
  <inkml:trace contextRef="#ctx0" brushRef="#br0" timeOffset="-186973.93">13605 8389 831 0,'-5'-1'277'16,"5"1"-14"-16,-10 0-40 0,4-1 2 16,-2 0-25-16,-2 1-18 0,0 1-16 15,0 0-22-15,-5-1-6 0,-1 3 3 0,1-2-13 0,-3 2-8 16,-2 1 18-16,-1-2-30 0,1 3-6 16,-1 1-10-16,0-1 5 0,-4 0-15 0,2 2 10 15,-3-1-5-15,0 0-12 0,1 1-14 16,2-1-2-16,-3 1-5 0,8-1-16 15,-2 0 8-15,1 0-10 0,2 0 72 0,-1 1 7 32,2-1-23-32,1 1 0 0,2-1-13 0,3 2-9 0,-3-1 11 0,3 3-1 0,-1 0-9 15,-1 4-4-15,2-2-11 0,-1 2 8 16,-4 4-23-16,4 1 5 0,1 2-10 16,-5 6 15-16,5 0-35 0,-3 2 17 0,0 1 31 0,5-1-31 15,-2 4-10-15,2 3 36 0,1-2-20 0,-1 3-11 16,0 0-3-16,4 1 11 0,-4-1-3 0,2 0 24 15,2 1-24-15,1 0 11 16,-2 2-9-16,2 0-1 0,-2 3 32 0,2-2-17 16,-2 1-1-16,2-2-14 0,1 0-4 0,0-8-6 15,-1-2 11-15,0-3-12 0,1 2-10 0,0-2 23 16,2-3-3-16,0 0-7 0,0-4-11 16,0-1 16-16,0-1-31 0,0-2 26 0,0-1-6 15,2-1-35-15,-2-2 22 0,0-2 16 0,0 0-28 16,0 1 41-16,0-5-23 0,0 4-13 15,0-3 13-15,0-1 0 0,2 1-11 16,-2-1 6-16,0 0-72 0,0-3-8 0,0 3 16 16,0-1 7-16,0 0-2 0,0-5 15 15,3 6 5-15,-3-4 16 0,0 4 0 0,0-2 22 0,0-4-17 16,5 3 5-16,-3 0 0 0,-2-3 10 16,8 3-2-16,-5-3 9 0,2 4-9 15,0-3-6-15,1-1 6 0,1 2 15 16,0-2-8-16,1 2 5 0,0-1 6 0,2 0 10 0,0 0 61 15,1-1 0-15,1 1-13 0,2-1-7 0,-1-1-21 16,5 1 23-16,-1 0-7 0,1 1-16 16,3-1-13-16,2 0 39 0,0 1-51 0,2 1 40 15,1-1-30-15,2 0 18 0,-2 0-26 0,5 2-2 16,-3-1 12-16,0-1-17 0,0-1 7 16,-2 3-15-16,2-1 15 0,-2-2 0 15,-1 1-10-15,3 0-5 0,-2-1 17 16,0 0-22-16,0 3 0 0,4-6 15 0,-4 3-8 0,7 3-15 15,-2-3 13-15,0 0 15 0,0 0-46 16,2 2 16-16,0-2 14 0,0 0 14 0,-2 1-21 16,3 1 21-16,-3 0-16 0,0-1 0 0,-1-1 13 15,-1 2-30-15,-4 0 22 0,1-1-7 16,-1 0 15-16,-1 0-54 0,1-1 21 0,-2 0 38 16,3 1-51-16,0-1 15 0,-1 2-18 0,1-2 32 15,-1 0-19-15,1 1 20 0,-1 1-7 0,1-2-10 16,0 0 10-16,-3 3 8 0,2-2-18 15,1-1 20-15,0 1-8 0,-3 0 1 16,2-1 10-16,-1 0 10 0,1 0-26 0,1 0 11 16,-1 1-8-16,-1-2-3 0,1 2-14 0,-2-1 24 15,3 3-17-15,0-3 13 0,-3 0 9 16,2 0-22-16,1 0 15 0,2 1 3 0,-5-1-23 16,3 0 22-16,-3 0-2 0,3 2-2 0,-4-2-3 15,1 0 5-15,1 0-13 0,1 0 21 16,-2 1-3-16,1-1-2 0,1 2-16 15,-1-2 1-15,1 0 14 0,1 1-7 0,-1-1 11 0,-2 1-9 16,0-1 8-16,3-1-17 0,-3 2 17 0,-2-2 10 16,-3 1-17-16,2 0-8 0,-2 0-13 15,-1 0 13-15,2 1 18 0,-2-1-6 16,-1 0-9-16,1 1 12 0,0-2-18 0,0 1 19 16,-1 1 9-16,1-2-33 0,-1 1-5 0,-6 0 26 15,6-1-13-15,-4 0 2 16,1 1 3-16,0-2 13 0,-2 2-13 0,1 0 10 0,-2 0-5 15,1-1 6-15,-1 1-4 0,0 0-19 16,-2 0 40-16,2-2-23 0,-2 2-18 0,0-1 11 16,-1 1-1-16,1 0 8 0,-3-3-5 0,3 3 8 15,-8 0 20-15,10-1-31 0,-3 0-22 16,-7 1 17-16,11-5 13 0,-8 3 11 0,2-1-34 0,0 1 18 16,-2-4 0-1,1 4 18-15,-1-2 7 0,0-2-22 0,1 0 2 0,-4-1-3 16,4-4 1-16,-4 3 15 0,2-4-36 0,-2-1-3 15,0-4 9-15,0-1 1 0,0-2-1 16,2-4 7-16,-2-3-19 0,0-15 22 0,0 8 17 16,0-8-43-16,0 1 5 0,3 0 0 0,-6 5-8 15,3 5 29-15,-2-7-21 0,2 4 12 0,-2-7-14 16,-2 3 20-16,2 6 10 0,2 1-31 16,-2 1 24-16,-1 2-26 0,3-1 2 15,-3-1 6-15,3 4 17 0,-2 0-5 0,2 1-5 0,-2 2 3 16,2 2 26-16,0 0-19 0,-1-1-15 15,2 3 16-15,-2-2-34 0,1 0 41 0,1 1-21 16,-1 1 6-16,0 5-31 0,2-3 36 16,-2 3-23-16,0-2 2 0,0 2 29 0,2 1-8 0,-2 1-16 15,3 0 11-15,-3 0 10 16,0 3-5-16,0-1-3 0,0 3 16 0,0-3-26 16,0 2 8-16,0 1 7 0,-3 0 8 0,3 1-5 15,0-1 13-15,0 1-26 16,-2 0 19-16,2 1 6 0,0-1-12 0,-2-1-18 0,2 2 18 15,-1 0-7-15,1 0-11 0,-2 1 13 0,2-1 7 16,0-1-7-16,-3 0-26 0,3 4 31 0,0-3-2 16,-2 1 33-16,2 0-31 0,-1-1-6 15,-1 0-4-15,2 1 18 0,-2 0-18 16,2 4 22-16,-3-6-12 0,2 0 13 0,-1 5 13 16,0-4-13-16,-1 2-21 0,0-1 16 0,3 4 4 15,-2-6 4-15,0 1-14 16,-1 2-2-16,0-1 13 0,1 1-15 0,0-1-9 0,-1-1 27 15,0 3 12-15,1-1-8 0,2 3-20 0,-6-7 21 16,4 6-37-16,-3-4 4 0,0 4-1 16,2-2 10-16,-2-1 1 0,0 3-6 0,-1-1-10 15,-1-1 23-15,0 1-10 16,1-1 18-16,-1 2-21 0,-1-2 24 0,-2 0-16 0,2 2-11 0,-2 0 14 16,0-3 2-16,-1 4-20 15,1-2 35-15,-3-1-27 0,0 2 17 0,-2-1-26 0,2 1 6 16,-3-2 0-16,-1 2 23 0,1 0-3 0,-4-4-18 15,-1 4 42-15,1-1-40 0,-3-1 6 16,2 1-2-16,-2-1 10 0,0 1-39 16,0-1 26-16,0 0 7 0,-3-2-27 0,3 4 48 15,0-4-13-15,-5 3-13 0,0-3 19 0,2 2-6 16,-2-1-5-16,0 1-7 0,0-2-14 16,2 1 21-16,-2 1-17 0,2-2 1 0,-2 0 22 15,-1 2-11-15,2-2 0 0,-2 1 5 16,-1 1 18-16,1-1-26 0,-1 1 6 0,-1 0-6 0,-3-2 1 15,6 4 2-15,-5-1 0 0,4-3-8 16,-2 5 8-16,4-3 5 0,1 0-15 16,0 3 2-16,3-2 21 0,0 0-34 0,0 0 11 15,0 0 41-15,2 1-13 0,-1-2-11 16,1 2 11-16,-2 0-28 0,2 0 31 0,4-2-14 16,-1 3 6-16,-1 0-31 0,-1-1 31 0,0 2-3 15,1-2-12-15,-1-1 27 0,0 2-20 0,1-2-7 16,1 1 22-16,1 1-22 0,-1 0-3 15,0 0 23-15,3 0 2 0,-1-2-30 0,0 2-6 16,4-1 34-16,-3 0-18 16,1-1 0-16,2 2 0 0,-1 0 18 0,0-1 5 15,0 1-23-15,1 0-18 0,1 0 41 0,-1 0-15 16,2 0 5-16,-1 0-3 0,1 3-18 16,-3-2 26-16,5 0-30 0,-5 1 17 0,3-2-18 0,0 1 3 15,-1 2 5-15,1-2-1 0,0 0 27 16,0 3-21-1,0-3 13-15,1 1 23 0,-1 2-44 0,3-2 3 0,-1 2 25 0,-2-2-12 16,2 2 0-16,0-1-6 16,1 2 8-16,0-4 8 0,-1 4-10 0,2-4-8 0,1 3-3 0,0-1 9 15,0 0-1-15,0-1 0 0,0 1 5 0,2-1-18 16,-2-1 39-16,0 3-31 0,2-2 18 0,-1-1-21 16,1 2 19-16,3-3-14 0,-6 3-7 15,1 0 36-15,5-3-44 16,-3 2 31-16,3-2-26 0,-4 1 26 0,4-1 3 0,0 0-47 15,-6 4 26-15,6-4-15 0,0 0-13 0,0 0-26 16,-4 1 8-16,4-1-16 0,0 0 6 16,0 0-31-16,-6 4-33 0,6-4-26 15,-2 2-18-15,2-2-28 0,-3 3-23 0,-2 0-38 0,3-2-88 16,2-1-219-16,-6 5-482 0,2-2 156 16,3 2 59-16,-4-2 85 0,3 0 97 15,-1 1 46-15,-2-2 21 0</inkml:trace>
  <inkml:trace contextRef="#ctx0" brushRef="#br0" timeOffset="-183223.64">2901 2335 880 0,'0'0'328'0,"0"0"-21"0,0 0-10 15,0 0-34-15,-13-3-35 0,13 3-8 0,-7 1-35 16,7-1-9-16,-14 4-17 0,4-1-18 15,0 1-16-15,-3-2-7 0,-2 3-13 16,-3-1-16-16,2 3-12 0,-4 0 3 0,-6 0-6 16,1 0 0-16,2 2-10 0,-13 2-3 15,3 2-84-15,-1 0 11 0,6-2-6 0,4 0 23 16,2-3-10-16,-1 3 5 16,-1-2 0-16,4 2 23 0,-1-1-21 0,3 2 24 0,1-1-3 15,-1 4-10-15,2-3 20 0,2 3-12 16,0 2 4-16,4 2-2 0,-1-1 18 0,1 1-18 0,3 1-5 15,-1 0 0-15,1 2 13 16,1 0-3-16,-1 0-3 0,4 1 6 0,-3 1-8 16,4 2 5-1,0 1 1-15,-1 0-4 0,1 2 8 0,1 2 6 0,1 0-11 0,0 0-8 16,0-2 9-16,1 2 96 0,1 7-25 0,-2-4-3 16,0-3 3-16,3-2-16 0,-3 11-4 15,2 0 4-15,-2-5-2 0,0-6 5 0,0 0-20 16,1 1 7-16,0-3-5 0,0 2-18 0,1-2-25 15,-2 1 5-15,3-2 15 0,-3 1-18 0,2-1 5 16,-2-4 3 0,1 0 7-16,1 3-27 0,0-3 17 0,-2 0-18 0,1-1 6 0,-1-1-13 15,2 0 9-15,-2-1 4 0,3 0-8 0,-3-3 10 16,0-1 8-16,0-1-8 16,0 1-13-16,0 0-10 0,0-2 13 0,2-2-21 15,-2 2 33-15,0-1 1 0,1-1-11 0,-1-1-12 16,1 5 7-16,-1-6 8 0,0 1 15 15,0 2-22-15,0-3-6 0,-1 1 5 0,1-1 3 16,0 1-3-16,0-4-5 0,-1 3-5 0,1-2 5 16,0-1 0-16,0 0 21 15,-2 0-11-15,2 0-9 0,0-2-1 0,0 2 15 0,-3-2-5 16,3 1-20-16,0-2 8 0,0-3-8 0,0 7 15 16,0-4-2-16,0-3-11 0,0 6 6 15,-2-3 4-15,2-3-14 0,0 0 4 0,2 6 8 16,-2-6-28-16,0 0 21 0,0 3 7 0,0-3-15 15,0 0 4-15,3 4 4 0,-3-4 48 16,2 3-67-16,-2-3 27 0,2 3-6 16,-2-3-8-16,4 2 3 0,-4-2-3 0,0 0 16 15,2 4 2-15,-2-4-15 0,0 0 18 0,5 1 20 16,-5-1-30-16,5 3-9 0,-5-3 6 16,5 2 6-16,-5-2 1 0,8 1-2 0,-8-1 3 15,8 0 2-15,-8 0 0 0,10 0-15 16,-5 0 0-16,-5 0 13 0,13 0-18 0,-5 1 7 15,-1-2 3-15,1 1 18 0,2 0-10 16,1 0 2-16,1 0-2 0,1-1-6 0,2-1-7 16,1 0 33-16,-1 0-23 0,4-1 0 0,1 0 11 15,3 0-24-15,-3 0 3 0,1-1-3 32,4 2 26-32,-2-2-10 0,3 1-21 0,0-3 29 0,-1 3-1 0,1 0 3 0,-1-1-3 15,1-2 8-15,0 3-30 0,-2-1 19 0,-1 1-17 16,-1 0 21-16,2 1-14 0,-2-2-2 0,1 2-2 15,-2-1 17 1,2 0-23-16,-2 2 1 0,0-3 17 0,-1 3-13 16,0-2 6-16,-2 2 12 0,0-1-25 0,0 1 10 0,3-2 15 0,-1 1-15 15,0 1 5-15,1-3 11 0,-3 3-19 16,2-3 29-16,1 3-8 0,0-2-11 0,2-2 6 16,0 3-5-16,-2-1-29 0,1-2 21 15,-1 4-2-15,4-1 2 0,-4-3 20 16,2 3-17-16,-3 1 5 0,0-2 12 0,1 1-17 15,-3 2 4-15,3-3 11 0,-3 0-20 0,0 3 4 16,0-3 8-16,-1 1-89 0,1 0 13 16,0-1-6-16,3 1 21 0,-3-1-6 0,3 0 16 15,-1 2-12-15,0-3 17 0,1 3 13 16,-2-1-13-16,1-1 13 0,-2 1-18 0,-1 1-3 16,4-1 24-16,-5 2 2 0,4 0 15 0,-2-1-9 15,0 1-4-15,-3 0 19 0,3 0-3 0,-2 0-16 16,-1 1 22-16,1-1-24 15,-1 0 5-15,0 2 23 0,0-2-10 16,-2 1-2-16,1 0-16 0,-2 0 10 0,0-1 8 0,-1 0 5 16,2 0-10-16,-3 3 8 0,1-3-9 0,-1 1 6 15,2-1-15-15,-3 1 25 0,1 0-12 16,0 2-1-16,0-2 8 0,0 0-7 0,0 1 4 16,-2-1 11-16,2 1-21 0,-2 0 3 0,-1-1 5 15,1 2 0-15,2-3 5 0,-2 0-7 16,0 2 4-16,-1-1-7 0,1 0-5 0,0 2 2 15,0-3 3-15,2 1 13 0,-5 0-8 16,3 0-3-16,2 2 3 0,-2-3 3 0,0 2-3 16,-1-1 8-16,1 1-6 0,2-1 1 15,-4 0 15-15,4 0-6 0,-3-1-19 0,3 2-1 0,1 0 34 16,-4-1-34-16,3-1 3 0,0 0 13 16,1 1-26-1,-1 0 30-15,0-1-14 0,1 0 10 0,2 0 2 0,-3 1-18 0,3-2 13 16,-3 1 3-16,2 0-16 0,2 0-2 15,-2 0 15-15,1-1-5 0,-2 1 0 0,4-1 0 16,-2 0 5-16,0-3-20 0,2 3 23 16,-2-1-8-16,-1 0 0 0,2-1-8 0,-2 3 10 0,-2-3 9 15,1 0-1-15,-1 2-15 0,0-1 18 16,0-1-11-16,-2 2 1 0,0-2-11 16,-1 2 3-16,1-1 2 0,-2-1 8 0,-1 2-2 15,2-1-6-15,-2-1 16 0,0 1-2 16,1 1-4-16,-3-3-7 0,1 1-2 0,2-2 22 15,-2 4-17-15,-1-5 20 0,2 0-18 0,-2 0 13 16,2 0-11-16,-2-1-1 0,2-2 11 16,-3 1-11-16,1-1 1 0,-1-3-4 15,1 1 15-15,-1-1-18 0,1-2-3 0,-1 1 6 0,-1-5-1 16,2 0 19-16,-1-1-19 0,-2-1-2 0,0 1-2 16,2-6 9-16,-2-2-17 15,0-2 18-15,0-2-8 0,-2 0 0 0,2-9 20 0,0 6-35 16,-2-6 10-16,1 1 2 0,-1 7 1 31,1 2-19-31,1 1 26 0,-2 0-2 0,0-11-3 0,1 7 13 0,-1 6-18 0,-1 0 5 16,3-1 12-16,-2 1-19 0,-1 1 22 0,1 1-10 15,-1 0-20-15,0-1 28 0,1 1-13 16,0-1-13-16,-3 0 15 0,2 1 6 0,0 3-10 16,0-6 7-16,1 3-5 0,0 1 2 0,-1 3 9 15,0 1-14-15,1 0 8 0,-1-5-10 16,1 5 15-16,-1 1-17 0,1 2 4 0,0 2 3 15,1 1 5-15,-2 1 13 0,3 1-18 0,-3 3 8 16,1-2-1-16,0 4-4 0,2-3-13 16,-3 3 10-16,1-1 7 0,1 3 16 0,1-1-28 15,-2 0 3-15,0 1 2 0,2 2 2 16,0-2-4-16,-3 0 20 0,3 5-23 0,0-6 5 16,0 3 20-16,-3-2-23 0,3 5-7 15,0-7 18-15,0 3-16 0,0 4 29 0,-2-7-24 16,2 3-5-16,0-1 6 0,0 1-3 0,0 4 10 15,0-10 26-15,0 6-37 0,0-2 27 16,2-1-13-16,-2 1-21 0,-2 0 18 16,2-2-20-16,0 0 4 0,0 1 19 0,0-1-16 0,0 2 8 15,-2-1-2-15,1 1-3 0,-1-2-6 16,1 3 1-16,1 0-10 0,-2-1 27 0,0 2-7 16,-1-1-15-16,3 1 28 0,-3 0-23 15,-2-1 15-15,0 3-3 0,2-2-15 0,-5 1 21 16,1 1-10-16,0-1 2 0,-4 1-8 15,1 0 0-15,0 0 24 0,-3 1-32 0,2 0 3 16,-4 0 1-16,-2 1-1 0,1-2 13 0,-2 2-23 16,0-1 38-16,-5 2-20 0,-2 1-5 15,1-2 7-15,-2 0 8 0,-4 1-23 0,-1 1 13 16,-2 0 3-16,-1 0-29 0,-14 0 31 0,2 1-20 16,-1-2-21-16,2 1 20 0,0 0 3 15,5 0 13-15,7-1-8 0,-14 1-5 16,9-1 13-16,4 2-15 15,1-3 17-15,-3 2-12 0,-7 2 5 0,6-2 15 0,-6 2 2 0,-1 0-9 16,1 1-3-16,-1 1 18 16,1-2-29-16,1 2 14 0,9 0 4 0,1-3 8 0,1 2-7 15,2 0 7-15,-12 0-10 0,7 2-30 0,4-4 35 16,-1 3-21-16,0 0 16 0,1-1 3 16,-9 2-11-16,6-1 16 0,7-1-11 0,-2 1 1 15,0 0-11-15,-3 0 15 0,5-1 1 0,-2 2 10 16,0 0-8-16,0 0-26 15,3-1 32-15,4 0-27 0,0-2 4 0,-2 1 17 16,5 0-16-16,-2-1-14 0,4-2-29 0,1 1-2 16,-1 0-21-16,4-1-61 0,-1 1-26 0,3-3-56 15,2 1-95-15,-2 0-151 0,2 0-466 16,3-1 108-16,-2 1 51 0,7-1 56 0,-11-1 93 16,11 1 38-1</inkml:trace>
  <inkml:trace contextRef="#ctx0" brushRef="#br0" timeOffset="-110150.9">17999 12124 988 0,'3'-4'396'0,"-1"1"-17"0,-2 3-13 0,3-6-33 15,0 1-18-15,-1 3-3 0,-1-2-112 16,-1 4-6-16,0-7-15 0,2 4 16 0,-2 3-24 0,-2-8-14 15,2 5-4-15,-1-2-2 16,-1 2-38-16,2 3 17 0,-6-7-4 16,4 4 7-16,-3 2-38 0,0-2-1 0,5 3-7 0,-13 0-10 15,13 0 5-15,-13 4-28 0,5 0 2 16,1 2 0-16,-3 1 14 0,2 1-17 0,-2 2-14 16,0 3 9-16,1-2 11 0,0 5-41 15,3 0-8-15,-1 0 6 0,1 1 4 0,2-2-28 16,2 3 26-16,-2-4-28 0,4 0 20 15,0-1-22-15,0-2-14 0,2 1 13 16,1-3-12-16,0 2 4 0,-1-4 13 0,4 0-9 0,-1-2-6 16,0-2 25-16,0-1-15 0,3 0 0 15,-1-3 26-15,-7 1-13 0,13-5-20 16,-8 1 22-16,3-4-9 0,0 1 4 0,0-3-2 0,-4-1 0 16,2-1 20-16,2 1-12 0,-4-1-11 15,-1-3 23-15,2 2-15 0,-2 2-10 0,2-2 26 16,-2 4-4-16,-1 0-6 31,0 0 1-31,-2 3 21 0,4-1-15 0,-2 1 0 0,-2 3 0 0,0 3 5 0,2-3 7 0,-2 3-12 0,0 0 25 31,0 0-27-31,0 0 17 0,3 16-20 0,-3-8 15 0,0 0-18 0,3 3 10 16,-3 0-20-16,2 1-21 0,-2-2-12 0,2 2-6 16,1-1-20-16,0 0-17 0,-1-2-14 15,1 1-15-15,2-2-21 0,-1-2-38 0,0 1-10 16,0-2-95-16,2-1-125 15,-3-2-77-15,1-1-354 0,2 0 65 0,-6-1 66 0,10-2 80 0,-5 0 48 16</inkml:trace>
  <inkml:trace contextRef="#ctx0" brushRef="#br0" timeOffset="-109902.58">18199 11881 1151 0,'-2'-3'451'15,"2"3"-39"-15,-5-3-20 0,5 3-103 16,0 0-36-16,-5 10-17 0,5-4-14 0,0 3-22 0,-1 3-31 16,-1 4-13-16,2 0-12 0,-2 3-4 15,-1 3-1-15,3-1-27 0,-3 4-22 0,3-3-24 16,-2 4-38-16,0-3 8 0,1-1-23 15,0-2-18-15,1-1-13 0,-2 2-49 0,0-3-7 0,2-2-5 32,2-2-57-32,0 0-51 0,-1-4-86 0,0 3-53 0,-1-4-480 0,4-1 54 15,-1-1 104 1,0-3 72-16,-1-2 49 0</inkml:trace>
  <inkml:trace contextRef="#ctx0" brushRef="#br0" timeOffset="-109604.04">18345 11911 1195 0,'0'-4'455'0,"0"4"-68"0,-2-2-16 0,2 2-28 0,0 0-38 0,0 0-16 15,-5 9-20-15,5-1-21 0,0 1-18 0,-1 2-25 16,1 3-18-16,0 0-28 0,0 5 63 0,0 0 1 15,0 1-44-15,1 0 1 0,2 0-27 16,-3-1-20-16,0 0-12 0,2 0-4 16,1-1-66-16,-1-2-10 0,1-2-41 0,-1-1-18 0,-1 0-33 15,3-2 5-15,-1-3-38 0,-3 1-57 16,0-4-10-16,3 1-85 0,1-2-130 0,-1 0-112 16,-2-4-439-16,-1 0 91 0,0 0 104 15,0 0 79-15,7-8 60 0,-7 8 45 16</inkml:trace>
  <inkml:trace contextRef="#ctx0" brushRef="#br0" timeOffset="-109323.08">18315 12181 1075 0,'0'0'396'0,"-2"-2"-32"0,2 2-6 0,0 0-40 0,-3-5-39 0,3 5-23 16,0 0-21-16,7-8-46 15,-1 4-2-15,1 0-13 0,0 0-18 0,1-1-4 0,1 0-35 0,-2 0-4 16,4 0 15-16,-1 1-28 0,-3-1-3 15,1 2-23-15,0-2 18 0,-1 4 6 16,-2 0-9-16,1-1-71 0,-6 2 5 0,10 4 3 0,-6-1 17 31,0 0 8-31,0 1-25 0,-3 1 15 0,4 3-18 0,-5 0 10 0,3 1 16 16,-3 1-8-16,0-1-28 16,0 1-13-16,0-1-3 0,0-1-40 0,0 0-6 0,0 0-43 15,0 0-67-15,0-2-64 0,2 2-189 0,-2-3-473 16,2 0 37-16,1-1 121 0,-3-4 103 0,3 1 40 15,-3-1 29-15</inkml:trace>
  <inkml:trace contextRef="#ctx0" brushRef="#br0" timeOffset="-109214.92">18479 12048 673 0,'0'0'15'0,"-7"-6"-263"0</inkml:trace>
  <inkml:trace contextRef="#ctx0" brushRef="#br0" timeOffset="-108970.2">18612 11903 1602 0,'0'0'455'16,"3"7"-35"-16,-1-2-23 0,1 2-49 0,0 1-5 15,-1 3-13-15,3 1 49 0,-2 2-54 0,2 3-30 16,0 0-39-16,0 1 10 0,-2 1-38 0,2 0-52 16,-3 0-45-16,3 1-85 0,-2-1-31 15,-1 0-43-15,2-2-54 0,-2-2-10 16,0-1-44-16,1-2-43 0,-3-1-72 0,3-2-56 0,-1-2-177 16,-2 1-406-16,3-2 96 0,-3-1 54 15,2-1 123-15,-2-2 24 0,0-2 134 16</inkml:trace>
  <inkml:trace contextRef="#ctx0" brushRef="#br0" timeOffset="-108766.13">18584 12168 947 0,'-5'-1'481'0,"5"1"-41"0,-5-4-51 16,5 4-13-16,-4-3-130 0,4 3 5 0,0 0-26 15,-4-3-15 1,4 3-3-16,0 0-22 0,0 0-34 0,10-8 5 0,-4 7-20 15,-2-1-8-15,2-1-13 0,-1 3-18 0,3-4-25 0,0 2 10 16,-1 0-47-16,3-1-29 0,-3 1-45 16,1-1-63-16,0 0-44 0,-3 3-143 15,1-2-111-15,2 0-457 0,2-1 63 0,-3 2 57 0,1-2 174 16,0 1 13-16</inkml:trace>
  <inkml:trace contextRef="#ctx0" brushRef="#br0" timeOffset="-108141.04">18796 12082 1151 0,'-4'-3'433'0,"4"3"-31"0,0 0-13 0,0 0-46 15,0 0 20-15,-10 7-12 0,10-3-39 0,-3-1-22 16,2 3-47-16,1 0 0 16,0 0-36-16,0 0-25 0,1 1-13 0,2-1-26 15,-1 1-28-15,0 0-15 0,1 1-13 16,0-3-10-16,2 0-18 0,0-1 15 0,0-2-25 0,1-1 25 15,1-1-20-15,-7 0-11 0,13-2 14 16,-8-2-24-16,3 0 10 0,0 0-7 16,-4-2 13-16,2 0 5 0,-2 0-3 0,2-1-15 0,-1 2 2 31,0 0 11-31,-2 0-11 0,-1 2 1 0,1 0 4 0,1 0 6 0,-4 3-1 16,0 0 3-16,0 0-25 0,9 7 28 0,-9-3-6 15,2 3-7-15,1 1 3 16,-3 0-34-16,2 1 0 0,-1 1-20 0,-1 0-49 0,0 2-25 15,2-3-47-15,-2 1-40 0,2 1-29 0,1-3-25 16,2 0-77 0,0-2-113-16,-2-1-560 0,5 0 87 0,-3-4 112 0,3-1 42 0,2-2 68 15,0-2 105-15,0-3 55 0</inkml:trace>
  <inkml:trace contextRef="#ctx0" brushRef="#br0" timeOffset="-107610.48">19178 11903 1105 0,'1'-6'361'0,"2"3"-28"16,-3 1 0-16,0 2 56 0,0 0-15 0,0 0-8 0,-3 13-64 16,3-6-23-16,-1 3 2 0,-1 2-120 15,0 3 1-15,0 2-34 0,1 1-13 0,-2-1-18 16,3 1-12-16,0 0 20 0,3-3-24 31,0 2-19-31,-1-3-6 0,1-1 13 0,0 1-28 0,1-4-7 0,-1 0 12 0,0-1-8 16,1-1-2-16,-1-1 10 0,0-3-13 0,-3 0 6 0,2-1-19 15,-2-3 6-15,0 0-1 0,0 0-17 16,0 0-8 0,-7 3 13-16,7-3-8 0,0 0-13 0,-10-2 24 0,10 2-1 0,-11 1-2 0,3 0-24 15,2 2 1-15,-2-2 13 16,-1 3-6-16,-1 0 8 0,4 1 11 0,-3-1-6 16,2 2-23-16,-1-1 0 0,0 2 16 0,5-2-6 15,-2 1 14-15,3 0 6 0,-1-1-22 16,3-1 23-16,2 0 31 0,1-1-36 0,2-1 0 15,-5-2-24-15,15-1 6 16,-4-2 0-16,2 1-3 0,5-4 3 0,-1-1-18 0,2-1-2 16,-1 1-11-16,-3-2 8 0,5-3-1 0,-6 3 9 15,0-1-8-15,0 1 20 0,-4-1 0 16,-3 1-7-16,1 1 18 0,-2 1 30 0,-2 2-46 16,-1 1 28-16,-3 0 1 0,3 3-16 15,-3 1 13-15,0 0 15 0,0 0-13 16,0 0 24-16,0 0-22 0,-10 9 35 0,6-4-4 0,2 0 1 15,0 1-18-15,2 1 10 16,0-1 5-16,-1-1 10 0,2 1-36 0,1 1 11 0,0-2-3 16,2 0-10-16,0-1-20 0,4 0-67 0,-3-3-18 15,3 1-57-15,2 1 6 0,3-2-51 16,-3-1-160 0,-2 2-186-16,5-2-383 0,0 0 60 0,-3-2 70 0,2 2 84 0,-1 2 87 0,-1-4 51 15</inkml:trace>
  <inkml:trace contextRef="#ctx0" brushRef="#br0" timeOffset="-107018.83">19756 12088 1497 0,'0'0'399'16,"0"0"-46"-16,-3-2 19 0,3 2-47 15,0 0-36-15,0 0-20 0,-2 13-31 0,2-7-13 16,0 0-18-16,0 2-30 0,0 0-31 0,0 1 0 15,0 1-31-15,0 0-56 0,0 0-26 16,0 0-28-16,0 0-38 0,0-1-21 16,2 1-25-16,-1-1-31 0,-1-2-95 0,1 1-118 0,0-4-58 15,-1 3-494-15,2-3 132 16,-2-1 83-16,3 0 35 0,-3-3 39 0</inkml:trace>
  <inkml:trace contextRef="#ctx0" brushRef="#br0" timeOffset="-106865.77">19697 11977 747 0,'0'0'261'0,"-5"-2"-56"0,5 2-116 16,0 0-142-16,0 0-554 0,0 0 54 0</inkml:trace>
  <inkml:trace contextRef="#ctx0" brushRef="#br0" timeOffset="-106502.75">19904 12094 1210 0,'0'8'481'0,"1"-4"-25"0,-1 5-39 15,0-2-20-15,0 1-36 0,0-2-51 0,0 2 5 16,2 1-67-16,-2-2-2 0,2 0-26 0,1 0 2 15,-2-2-37-15,1 1-32 0,-2-2 26 0,2 1-15 16,3-2-28-16,-4-1-6 0,-1-2-12 16,7 0 3-16,-7 0-57 0,10-4-36 15,-4 1 31-15,2-1-6 0,-4 0-9 0,4-2-1 0,-3 1-4 16,2 1 2-16,-1 0 7 0,-1 0-2 16,2 1 75-16,-4 1-24 0,3 0-10 15,2 2-5-15,-8 0 13 0,10 3-19 0,-3 0-32 0,-2 0 51 16,0 2-60-16,1 0 9 0,-1 1-62 15,-1 0-18-15,-1 0-46 0,2 1-43 16,-2 0-39-16,-1-1-48 0,1 1-49 0,2-1-200 16,1-1-261-16,-2-1-243 0,-1 0 56 0,4-1 98 15,-1-2 122-15,-1 0 101 16,-5-1-4-16,14-4 68 0</inkml:trace>
  <inkml:trace contextRef="#ctx0" brushRef="#br0" timeOffset="-105731.96">20256 12072 1287 0,'-3'-4'374'0,"-2"2"-26"0,5 2-23 0,-8-1 56 0,8 1-43 0,-10 4-8 16,7 0-28-16,-1-1-40 16,-2 3-4-16,2 0-30 0,0 0-16 0,0 3-27 0,-2 0-9 15,3 2-40-15,-1 0 12 0,1-1-22 0,2 1-3 16,-3-1-29-16,4-1 11 0,0 1-41 15,0-2 21-15,4 0-11 0,-3 1-36 0,4-4 3 16,-2 2-15 0,4-3-6-16,1 0 3 0,0-2-12 0,-1-1-16 0,1 0 7 0,5-3-17 15,-3 0-13-15,3-3 23 16,0 0-34-16,-1 1-12 0,-1-2 25 0,-1-3-33 0,3 3 19 0,-3-3-14 16,1 0 13-16,-1 1-10 15,-3-1 20-15,1-1-2 0,0 4-6 0,0-5-4 16,-3 3 9-16,0 0 1 0,-2 2 23 0,1-2-13 15,0 2 2-15,-2 0 16 0,0 1-5 0,1-1-5 16,-2 1 20-16,0 2-18 0,0 0-7 16,-1 3 17-16,0-6-7 0,0 6-6 15,0 0 19-15,-2-3-11 0,2 3 13 0,0 0 11 0,0 0-16 16,0 0-3-16,0 0 8 16,0 0 3-16,-7 10 0 0,6-6-13 0,0 1-8 0,1-2 26 15,0-3 4-15,0 9-4 0,1-5 13 16,0 2-13-16,0 0 28 0,5-1 5 15,-4 1-18-15,2 0 3 0,-1-1 4 0,2 2-12 16,0-2-5-16,0 1 16 0,1 0-9 0,-2 0-17 16,-1-1 17-16,3 0-7 0,-2 1 8 0,2-1-8 15,1-3 10-15,-2 3-20 0,-2-2 2 16,5 0 5-16,-3 0-15 0,0-3 23 0,3 2 3 16,-1-2-23-16,-7 0 22 0,13-2-2 0,-5-1-20 15,2 0-6-15,-2 0 11 0,-1-3-21 16,3 1 21-16,0-2-6 0,-4 0 11 0,2 0-10 15,-1 0-3-15,-1 0 10 0,0 1-13 16,-2-1 11-16,-2 2 7 0,1-1 14 16,0 1-12-16,-1 0 32 0,0 3 2 0,-2 2-20 0,0-5 12 15,0 5 4-15,0 0-14 16,0 0 18-16,-7-2-18 0,7 2-12 16,0 0 7-16,0 0-2 0,-9 9-9 0,5-6 14 15,2 0 2-15,0 1-10 0,1 0 1 0,-2 0-7 0,1 2 6 16,2-2-2-16,0 1-1 0,0 0-32 15,0 0 17-15,2 0-39 0,1 0-6 16,0-1 34-16,2 0-86 0,0 0-2 0,0-1 7 0,3-1-47 16,1 0-9-16,0-1-44 15,-1 0-43-15,2-2-49 0,0 0-72 0,0 0-122 0,-2 0-85 16,2-2-282-16,0 1 49 0,1-2 64 16,-1-1 113-16,0 1 28 0</inkml:trace>
  <inkml:trace contextRef="#ctx0" brushRef="#br0" timeOffset="-105183.73">20851 12085 990 0,'0'0'366'0,"-3"-4"-31"0,3 4-15 0,-5-3-10 0,5 3-36 0,0 0-8 0,-10 0-23 15,10 0-2 1,0 0-85-16,-12 3-10 0,6 0-3 0,0 1-9 0,2 1-19 0,-2-2-10 16,3 3-13-16,-4-2-8 0,4 3 1 15,-1-1-14-15,-2-1-9 0,4 1 2 0,-1 0-23 16,0-1 5-16,1 0 20 0,0 0-27 15,2-1 12-15,0 0-23 0,0-4 3 16,-1 8-3-16,1-8-5 0,1 2-13 0,-1-2 6 0,4 3-9 16,-4-3 19-16,6 0-11 15,-6 0-7-15,10-3-3 0,-10 3 10 0,8-4-15 0,-6 1 3 16,1 1 30-16,2-1-30 0,-2 0 17 16,1 0-22-16,0 1 17 0,-4 2 13 0,4-6 3 15,0 3 76-15,-2 0 21 0,-2 3-25 16,2-3 4-16,-2 3-14 0,5-4-17 0,-5 4 9 0,0 0 20 15,0-3-41-15,0 3-11 0,0 0 4 16,0 0 25-16,0 0-59 0,0 0 33 16,0 0-5-16,0 0-12 0,0 0-11 0,3 9 8 15,-3-9-13-15,0 0 13 0,0 5-3 0,0-5 3 0,2 3-6 16,-2-3 1 0,0 0 7-16,3 4-9 0,-3-4-32 0,0 0 13 15,5 1 21-15,-5-1-8 0,0 0-26 0,11-1 14 0,-11 1 4 16,7-4-5-16,-2 3-2 15,-5 1 2-15,8-4 21 0,-6 4-34 0,4-3 19 0,-6 3-11 16,7-1 8-16,-2-2-13 0,-5 3 15 0,8 0-5 16,-8 0-5-16,5 0 24 0,-5 0-12 15,0 0 6-15,8 2-38 0,-8-2 36 16,2 5-9-16,-2-5-6 0,0 0-35 0,-2 5-35 0,2-5-51 16,-1 5-38-16,0-1-60 0,1-4-58 15,-4 4-198-15,2 0-580 0,2-4 138 16,-2 4 53-16,2-4 60 0,0 0 104 0,0 0 57 15,2 4 63-15</inkml:trace>
  <inkml:trace contextRef="#ctx0" brushRef="#br0" timeOffset="-104819.23">21023 12050 1180 0,'-3'5'353'0,"3"-5"-23"0,0 5-31 15,0-5-32-15,0 6-29 0,2-3-8 16,-1 2-12-16,1 0-29 15,-2 1-5-15,2 0-4 0,1-1-32 0,-3 2 8 0,3-1 3 16,-3 0-13-16,0-1 18 0,-3 0-19 16,3 4 6-16,-3-2 18 0,-1 0-43 0,-2 0 20 15,2 0-29-15,-2 2-19 0,-2-2-70 0,3-1-15 16,-5 0 0 0,4-1 4-16,-1-1-27 0,-3-1 0 0,3 0-18 0,0 0-44 0,0-1-30 15,2-1-57-15,0 0-33 0,0 1-120 0,5-2-118 16,-10 0-451-16,10 0 93 0,0 0 71 15,-6-3 103-15,6 3 46 0,0 0 43 16</inkml:trace>
  <inkml:trace contextRef="#ctx0" brushRef="#br0" timeOffset="-104339.56">21089 12139 1059 0,'3'-4'374'16,"-1"-1"-13"-16,0 2-41 0,-1 0-18 0,-1 3-13 16,5-7-5-16,-5 3-15 0,0 4-21 15,3-4-30-15,-3 4-13 0,0-3-11 0,0 3-27 16,0 0-16-16,0 0 5 15,0 0-26-15,0 0 6 0,0 0-16 0,-6 11-30 16,6-6 5-16,0 0-14 0,-2 0 17 0,2-1-32 16,0 1-4-16,2 0 9 0,-2 0-27 0,3-1 2 15,0-1 3-15,-1 1-11 0,3-3-15 16,0 1-3-16,1-1 9 0,-6-1 22 16,14-3-36-16,-6 2-5 0,1-1 16 0,1-1-11 0,0-1 8 15,-2 0-56-15,2 2 15 0,0-2 18 16,-3 1-7-16,4 0 22 0,-4 1-2 15,1-1 33-15,0 3-26 0,-3-2 31 0,2 2 19 0,-7 0-22 16,9 0 101-16,-9 0-19 16,9 2-38-16,-6 2 59 0,-3-1-20 0,2 1-42 15,-2 1 4-15,-2 1 12 0,0 0-59 0,-1 1 5 0,-2 0-82 16,2 0-58-16,-4 0-52 0,2 2-67 16,-1-1-122-16,-2 1-282 0,1-4-417 15,2 0 75 1,0 0 140-16,-6 1 69 0,4-1 77 0,-1-2 48 0,0-2 62 0</inkml:trace>
  <inkml:trace contextRef="#ctx0" brushRef="#br0" timeOffset="-103482.92">21540 12106 1105 0,'0'0'389'0,"-1"-4"-41"0,1 4-33 0,0 0-36 15,12-8-18-15,-5 7-17 16,3-2-22 0,2-1-22-16,0 1-16 0,2-1-20 0,-1 1-13 0,1-1-23 0,1 0-8 0,0 0-10 0,-2 1-20 15,0-1-41-15,4 2-19 0,-6 2-12 16,2-3-74-16,-3 1-31 0,0 2-72 16,1 0-99-16,-4-1-93 0,1 1-473 15,-2 1 151-15,-6-1 61 0,6 3 26 0,-6-3 40 0</inkml:trace>
  <inkml:trace contextRef="#ctx0" brushRef="#br0" timeOffset="-103201.16">21592 12175 1208 0,'0'0'412'0,"0"0"-15"16,0 0-57-16,0 0-10 0,0 0-10 0,0 0-49 15,14-9-7-15,-11 6-31 0,5 1-28 0,-2-1-21 16,4 1-12-16,-3 0-16 0,4 0 0 16,-1-1-20-16,0 0-19 0,-1 0-25 0,0 0-2 0,-1 2-23 15,2-2-37-15,-2 2-35 0,0-2-18 16,-1 1-41-16,2 2-31 0,-3-3-58 16,-1 1-103-16,3 1-125 0,-2-1-497 0,-2-1 120 15,2 0 57-15,0 0 66 0,-4 1 38 0,2-3 67 16</inkml:trace>
  <inkml:trace contextRef="#ctx0" brushRef="#br0" timeOffset="-102867.08">21745 11982 924 0,'0'0'394'0,"0"0"-26"0,0 0-55 0,0 0-9 0,0 0-43 0,13-2-20 0,-3 4-24 0,2 0-14 15,0 0-24-15,2 1-20 0,-1-1-6 16,5 0-25-16,-5 2-87 0,3-2-5 0,0 2-5 0,-2-2-13 16,-1 0 15-1,0 1-10-15,-2 2 2 0,-1-2 11 0,0 1 18 0,-5 0 2 0,1 1 95 16,1-1 8-16,-5-1-28 0,-1 4-26 0,-1-3 7 15,-3 2-17-15,-2 1 12 16,0 2-22 0,-3-1-24-16,2-1 1 0,-6 1-21 0,2 0-23 0,-2 1-47 0,-2 0-50 0,1 1-41 15,1-1-136-15,-1 1-179 0,5-3-456 16,-5 3 80-16,3-3 55 0,-3 1 55 0,3 2 64 16,-1-2 143-16</inkml:trace>
  <inkml:trace contextRef="#ctx0" brushRef="#br0" timeOffset="-101378.8">22596 11662 1261 0,'0'0'382'0,"0"0"-21"0,0 0-29 0,0 0-19 16,-2 15-24-16,2-6-38 0,0 2 13 0,-2 2-57 16,2 2-15-1,-3 4-18-15,2-1-15 0,-1 3-11 0,2 0-17 0,-2 0-9 0,-1 5-17 16,0-3 59-16,1-3-10 0,0 4-6 0,0-4-22 16,2-3-9-16,-1-2-22 0,2 0-3 15,-1-1-7-15,2-2-14 0,0 1-9 16,0-3 4-16,1-2 6 0,2 0-34 15,1-1-2-15,1-3 5 0,0 0-51 0,-1-1-10 16,1-2-44-16,1-1-21 0,0 0-33 0,0-1-53 16,-1-1-49-16,1 1-118 0,0-3-77 0,-1 3-491 15,-2-2 118 1,1 1 79-16,-4 0 110 0,1-1-23 0,-3 3 64 0</inkml:trace>
  <inkml:trace contextRef="#ctx0" brushRef="#br0" timeOffset="-101151.89">22361 12026 1003 0,'0'0'379'15,"-5"-5"-23"-15,5 5-16 0,2-4-38 0,-2 4-23 16,8-9-20-16,2 5-29 0,0-2-33 31,3 1-2-31,3-2-32 0,2 1-14 0,2 0-14 0,5-2-35 0,-1 2-25 0,-1-1-27 0,-1 1-68 16,-3 2-31-16,1-1-67 0,0 2-120 0,-9 1-126 15,5-1-409-15,-1 2 16 0,-2 1 81 0,-2 0 46 16,-2 1 110 0</inkml:trace>
  <inkml:trace contextRef="#ctx0" brushRef="#br0" timeOffset="-100309.39">22850 11980 1077 0,'5'-5'320'0,"-4"0"-15"0,1 0 4 0,-2 1-42 0,3-1 22 16,-3 5-41-16,-3-5 75 0,3 5-44 15,-2-4-52-15,2 4-4 0,-6-3-18 0,6 3-34 0,0 0-4 16,-10 3-6-16,5 0-28 15,2 0-5-15,-2 0-10 0,0 1 15 0,0-1-28 0,2 3-26 16,-2-1-7-16,3 1-5 0,-1-1 2 16,1 0-3-16,-1-1 1 0,3 3-1 15,0-2-32-15,0 1 9 0,3-1-20 0,-1 0-2 16,1 0 7-16,2-1-95 0,0 0 26 0,1-2 8 16,2 1-8-16,-4-1 10 0,4 0 8 15,-3-1-10-15,0-1 10 0,3 2 3 0,-8-2 9 16,12-2 9-16,-7 2-19 0,-5 0 6 0,10-4 7 15,-6 1 6-15,3 1-11 0,-2-3 31 16,-2 4-18-16,2-2-5 0,0-1 0 0,0 0 2 16,-2 3 13-16,-1-2-15 0,3 0 5 0,-2 0 18 15,-1 0-10-15,-2 3-6 0,6-3 6 16,-2 1-8 0,-4 2 8-16,3-3 2 0,-3 3-8 0,7-2-9 0,-7 2 27 0,4-2-12 15,-4 2 12-15,0 0-25 0,10 4 10 0,-7-3 18 16,-3-1-5-16,6 5 10 15,-5-3-7-15,4 0-11 16,0 2 0-16,-2-1 3 0,1 0 10 0,-3 0 3 0,2 0-8 0,1 0 2 0,-1 0 1 16,0-2-6-1,-3-1 11-15,3 5-3 0,-1-3-13 0,0 1 23 0,-2-3-5 0,5 3 21 16,-5-3 10-16,3 3 2 0,-3-3-12 0,4 2 5 16,-4-2-11-1,0 0 26-15,0 0-2 0,0 0-8 0,0 0-31 0,0 0 18 16,0 0-2-16,0 0-1 0,0 0-15 0,12-4 0 15,-12 4 8-15,4-5-15 0,-3 3-21 0,4 0 15 16,-3-3 11-16,-2 5-57 0,6-3 41 16,-3 1 16-16,-1-1-19 0,-2 3 14 15,8-4-8-15,-8 4 5 0,7-1 2 0,-7 1-10 16,7 0 18-16,-7 0-20 0,0 0 0 0,11 4 10 16,-11-2-5-16,5 1-3 0,-5-3 0 0,3 4-5 15,-1-1-5 1,3-1 8-16,-5-2-11 0,3 5 8 0,-1-4 13 0,-2-1-13 15,6 3 8-15,-6-3-3 0,5 3 31 0,-5-3-12 0,5 0 14 16,-5 0 11-16,0 0-26 16,8 0 0-16,-8 0 0 0,7 0 8 15,-7 0 3-15,11-1-4 0,-11 1-14 0,10 0-16 0,-10 0-15 16,7-2-24-16,-1 4-32 0,-6-2-39 16,10 0-49-16,-10 0-20 0,8 0-51 0,-8 0-51 15,7 0-185-15,-7 0-159 0,8 0-398 0,-8 0 142 16,10-3 98-16,-6 1 138 0,0-2 31 15,1 2 36-15,0-3 33 16</inkml:trace>
  <inkml:trace contextRef="#ctx0" brushRef="#br0" timeOffset="-99823.33">23330 11791 1072 0,'-3'-5'399'0,"3"5"-22"0,0 0-11 0,0 0-44 0,0 0-22 0,-4 10-24 15,4-3-10-15,1 1-12 0,0 0-32 16,-1 5 80-16,5-1-35 0,-2 6-40 0,3-2-12 16,-2 3-7-16,1-1-44 0,0 5 7 15,0 2-127-15,2 1 20 0,-4-2-13 0,3 3 5 16,-2-1 3-16,2 9-41 0,0-6-3 0,-2-6 13 16,-2 1-15-16,1-2-5 0,0-2-3 15,0-1-2 1,-2-4 22-16,0-1-17 0,1-1-6 0,1 1 14 15,-1-4 9-15,-1-1-22 0,-1-1 12 0,2 0 11 0,-2-1 12 0,2-2-7 16,-2-1 0-16,0 0 17 0,0-4-17 16,0 0 18-16,0 0 2 0,0 0 5 0,0 0-20 15,-4-13-13-15,3 3 18 0,1-3 8 16,-2-2-31-16,2-3 10 0,0-6 5 0,3-2-33 16,-1-4 23-16,3-7-13 0,3 4 18 0,1-3-12 15,-3 11 9-15,6 5-2 0,-5 2-43 0,2 5 28 16,-1 0-21-16,-1 4 3 0,3 2-1 15,-2 0 14-15,0 5 5 0,0-3 12 0,-3 5 26 16,3 0-20-16,-3 3 20 0,3-1 33 16,-3 2-5-16,-1-2-28 0,0 3 29 0,-1-2 12 15,-2 2-31-15,0 2 13 16,-2-1 77-16,0 1-23 0,-5-1-13 0,-2 3-74 0,1-3 36 16,-3 2-119-16,2-1-47 0,-3-1-52 0,-1 1-61 15,1-2-70-15,-2 1-81 0,1 1-159 16,1-1-566-16,-4-1 167 0,5 1 9 0,-3-3 180 15,2 4 31-15,-1-3 138 0,2 2 0 0,-1-2 54 16</inkml:trace>
  <inkml:trace contextRef="#ctx0" brushRef="#br0" timeOffset="-91301.03">24092 11669 867 0,'2'-4'379'0,"-2"1"-44"16,4 0-22-16,-4 3-24 0,1-4-20 0,-1 4-29 0,0 0 11 15,0 0-51-15,8 6-6 0,-6 1-9 0,1 0-32 16,-1 4-12-16,0 2-18 16,-1 0-26-16,-1 3 6 0,2 4 1 0,1 0-17 15,-2-1-20-15,-1 0-8 0,0 0 31 0,1 2-29 0,-2-1-10 16,1-5-10-16,-1 3-3 15,1-3-7-15,0-1-10 0,0-1-6 0,0-3-5 16,1 0-12-16,-1-1-1 0,0-1 8 0,1-1-2 16,0-1 17 15,-1-1-17-31,0-2 2 0,0-3-15 0,0 0-6 0,-1 5 19 0,1-5 2 0,0 0-5 0,0 0 10 0,0 0-10 0,-12-10-10 16,7 6 10-16,2 0-5 0,-3 0 8 15,0-1-6-15,0 1-2 0,-2-2-3 16,2 2-2-16,-3 3 15 15,1-1 0-15,-2 1-20 0,-2-2 43 0,2 6-41 0,-1-1 21 0,-2 0 10 16,2 2 2 0,-1-1-2-16,2 2 3 0,1 0-3 0,1 0-6 0,-1-1 6 0,4 1-2 15,2 0 12-15,-2 0-5 16,3-1 5-16,2-1-13 0,0 1 21 0,0-4-3 0,6 4-7 16,-4-2-5-16,5-1 2 0,0 1-34 0,1-2 11 15,1 1-18-15,-1-1-35 0,1-1-4 16,0 0-32-16,-1 0-26 0,1 0-31 15,1 1-16-15,-2-2-71 0,2 2-94 0,-2-1-101 16,-1 1-337-16,1 0-3 0,-1 1 95 0,0-1 84 16,-1 2 29-16</inkml:trace>
  <inkml:trace contextRef="#ctx0" brushRef="#br0" timeOffset="-91014.96">24227 11985 921 0,'5'-5'340'0,"-4"-1"26"0,-1 2-5 0,0-3-30 0,0 3-34 0,0-1-16 0,-1-1-17 15,-4 2-3-15,3 2-39 0,2 2-30 16,-6-4 8-16,6 4-44 0,-7 0 21 0,7 0-118 16,-13 4 2-16,8-2 1 0,-1 4-4 15,1 0 4-15,-2 0-21 0,4 2 2 0,-4 0 9 16,4-1-14-16,-2 1-18 0,4 0 1 15,-1-1-6-15,0 1 44 0,6-1-20 0,-3-2-24 16,4 2-30-16,-2-2-19 0,5 0-4 16,-1-1-57-16,0-1-51 15,3 0-79-15,-2-3-113 0,2 2-453 0,-1-2-18 0,1 0 108 0,0 0 92 16,0 0 41-16,0-2 45 16</inkml:trace>
  <inkml:trace contextRef="#ctx0" brushRef="#br0" timeOffset="-90426.79">24431 11954 941 0,'-6'2'323'0,"0"2"-21"0,-1-1-28 0,2 1-41 15,0 3-18-15,1-1 72 0,-2-1-49 0,0 1-8 16,2 1-18-16,-2 0-38 0,4 0-17 0,-1-1-19 16,0 1 0-16,3-1-7 0,0 0-37 15,0-1 6-15,3-2-8 0,-3-3-23 0,3 7 29 16,-1-4-32-16,0-1-4 0,3 1-1 15,-5-3-10-15,9 1-7 16,-3-1 4-16,-6 0-4 0,11-2-11 0,-4 0 11 0,1 0-3 16,-1 2 5-16,-1-5 10 0,2 4 0 0,0 1-17 15,-3 0 17-15,2-2-2 0,-1 0-8 0,-3 1-8 16,4-1 14-16,-7 2-9 0,0 0 3 16,11 0 21-16,-7 3-21 0,-4-3-5 15,6 2-72-15,-2 0 16 0,-4-2 17 0,3 1 3 16,-3-1 6-16,3 5 9 0,-3-5 8 0,4 2 41 15,-4-2 62-15,1 4-11 0,-1-4 16 16,0 0 30-16,2 3-10 0,-2-3-17 0,0 0-35 16,0 0 30-16,0 0-65 0,0 0 0 0,0 0 15 15,0 0 11-15,8-9-51 0,-6 4-24 16,1 3-35-16,0-1-19 0,2-4-48 0,-2 5-20 16,1-3-21-16,-1 0-48 0,4 2-29 0,-4-1-35 15,3 2-62-15,0 0-46 16,-2 0-100-16,1 1-159 0,-5 1-301 0,9 0 55 0,-9 0 119 15,0 0 92-15,9 4 48 0,-6-2 90 16</inkml:trace>
  <inkml:trace contextRef="#ctx0" brushRef="#br0" timeOffset="-90270.76">24624 12038 918 0,'5'2'446'0,"-5"-2"-32"0,0 0-22 0,10-3-100 16,-7 1-23-16,-3 2-24 0,7-4-4 0,-3 1-21 15,0 1-28-15,-3-2 5 0,4 1-41 16,-2 0-23-16,-1-1-2 0,3 0-8 15,-3 1-44-15,1-1-40 0,0 2-29 0,-1-3-38 0,-2 5-44 16,3-5-48-16,-1 1-108 0,1-1-123 16,-3 2-294-16,3 0-153 0,-3-2 112 0,0-1 82 15,0 2 81-15</inkml:trace>
  <inkml:trace contextRef="#ctx0" brushRef="#br0" timeOffset="-84584.38">12779 13237 66 0,'0'0'13'0,"0"0"-5"0,-5-3 17 0,5 3 14 15,0 0-1-15,0 0 18 0,0 0-56 0,0 0 10 16,0 0 3-16,0 0-8 0,0 0-17 16,0 0-6-16,0 0 59 0,0 0 12 15,0 0-40-15,0 0-46 0,0-3 58 0,0 3 4 16,0 0 19-16,0 0-4 0,0 0-3 0,0 0 23 16,0 0-18-16,0 0-8 0,0 0-22 0,0 0 9 15,0 0 42-15,0 0-19 16,0 0-19-16,0 0 9 0,0 0-18 0,0 0-4 0,0 0 27 15,0 0-15-15,0 0-7 0,0 0-1 16,0 0-2-16,0 0 3 0,0 0-26 16,0 0 5-16,0 0 20 0,0 0 6 15,11-2-3-15,-11 2-10 0,0 0-13 0,0 0-6 16,0 0 14-16,0 0-10 0,0 0-24 0,0 0 29 16,7 5-37-16,-7-5 52 0,0 0 8 0,0 0-21 15,1 3 18-15,-1-3-15 16,0 0 15-16,0 0-26 0,0 0 11 0,0 0 12 0,0 0 14 15,4 2 6-15,-4-2 27 0,0 0-6 16,0 0 9-16,0 0 9 16,0 0-15-16,0 0 5 0,0 0 15 0,0 0 6 0,0 0-3 0,0 0 0 15,0 0 0-15,0 0 3 0,0 0 2 16,0 0 5-16,3 3-7 0,-3-3 7 16,0 0-13-16,0 0 4 0,0 0-19 0,0 0-3 0,0 0 6 15,5 3 2-15,-5-3-5 16,0 0 18-16,2 2-23 0,-2-2 16 15,0 0 4-15,10 1-15 0,-10-1 0 0,6 0 5 0,-6 0-4 16,5 1-1-16,-5-1-3 16,10 0-2-16,-10 0-2 0,8 0 7 0,-8 0-100 15,10 0 34-15,-10 0-11 0,8 0 8 0,-8 0 15 16,10 2-2 0,-10-2 5-16,10 0 0 0,-7 0 2 0,-3 0 16 0,8 0 15 0,-8 0-27 15,8 1 22-15,-8-1 53 0,7-1 19 0,-7 1-21 16,11 0-7-16,-7 0-6 0,-4 0-9 15,8 0-6-15,-8 0-3 0,11 0 1 0,-7 0 10 16,-4 0-24-16,11 0 9 0,-4 0-13 0,-7 0-1 16,11-3 3-16,-6 3-12 0,-5 0-24 15,11 0 16-15,-4 0 7 0,-7 0 3 16,10-1-23-16,-2 1 0 16,-1-1-3-16,-7 1 3 0,11 0-10 0,-6-1 41 0,2 0-34 0,-7 1-15 15,11 0 8-15,-4 0-8 16,1-2 33-16,-8 2-36 0,11 0 19 0,-4 0-3 0,-2 0-11 0,-5 0-12 15,10-1 28-15,-4 1 7 0,-6 0 11 16,12 0-43-16,-6-1 24 16,-6 1 6-16,10-1-28 0,-5 1 0 0,-5 0 3 0,10 0 4 15,-4 1 11-15,-6-1-13 0,10 0 13 16,-10 0-16-16,10 0 14 0,-5 0-11 0,-5 0-11 16,8 0 14-16,-8 0 7 0,10 0-18 31,-5 0 6-31,-5 0 20 0,13 0-18 0,-13 0 5 0,10 1-13 0,-5-1 29 0,-5 0-3 0,13-1-24 15,-8 0 14-15,-5 1-3 0,10 0-15 0,-10 0 15 16,11 0 0-16,-6 0 8 0,-5 0-18 16,13 0 5-16,-8 0-5 0,-5 0 0 0,13 0 7 15,-5 0 1-15,-3 0 2 0,3 0-20 16,-1 0 38-16,3 0-21 0,-5-1-10 0,3 1-7 16,0-1 10-16,-1 0-5 0,1 1 7 15,-8 0 6-15,13-2 15 0,-6 2-13 0,3-2 8 31,-4 2-8-31,2-1-5 0,-3-1-3 0,3 2 1 0,-1-1-1 0,-7 1 21 0,11 0-15 16,-4-2-19-16,-1 2 14 0,1-1 14 0,1 0 9 16,-3 0-1-16,3 1-30 0,-1-2 8 15,-2 2 7-15,3-3 2 0,0 2-2 16,-1 0 13-16,-1 0-5 0,1 0 15 0,-2 0-104 0,5-2 9 16,-2 2-2-16,-3 1 2 0,3-1 39 15,0 0-15-15,0 1-6 0,-1-1 18 0,0-1-5 16,-1 2 26-16,2 0-20 0,-3-1 9 0,3 0 6 31,0-1 4-31,-1 1-9 0,0 1 15 0,1-1-8 0,0 1 3 0,0 0 0 16,-3-1-8-16,3 1-3 0,-1-2 26 15,0 2-20-15,1-1 23 0,-2 1-13 0,1-1 7 16,-7 1-15-16,14-1 11 0,-8 0 17 0,0 1-17 31,2-1-4-31,-3 1 4 0,-5 0-3 0,13 0 7 0,-8-1-17 0,3 1 7 0,-8 0-2 16,12 1 7-16,-6-2 3 0,1 1 8 15,1 0 5-15,0 0 13 0,-8 0-19 0,15 0 3 0,-7 1-17 16,2 0-11-16,-2-1 18 16,2 0-5-16,-2 2 10 0,-1-2-13 0,4 1 11 15,-4 0-16-15,1-1 13 0,0 1-3 0,0-1 21 16,-1 0-28-16,0 1 10 0,1-1 8 16,-8 0-8-16,13 0-8 0,-7-1 3 0,1 2 15 15,0-1-15-15,1 0 10 0,-8 0 0 0,13 0-12 16,-7 1-4-16,1 0 29 0,0-1-13 15,-1 1 18-15,-1 1-20 0,2-2-3 0,1 1-8 16,-3 0 24-16,1-1-14 0,2 1 3 16,-4 0-10-16,-4-1 5 0,13 1-13 0,-8 0 6 15,1 0 17-15,-6-1-13 0,12 1 34 16,-7-1-39 0,1 0 19-16,-2 2 2 0,4-1-13 0,-8-1-8 0,10 1 8 0,-4 0 0 0,-1 0-16 15,0 0 27-15,2-1 4 0,-7 0-20 16,11 0 0-16,-6 0-11 0,0 1 24 15,-5-1-16-15,13 1 1 0,-8-1 30 0,-5 0-31 0,13-1 8 16,-8 1 3-16,-5 0-1 16,10-1 3-16,-2 1-10 0,-3 0 10 0,-5 0 1 0,13 0-22 15,-8 0 11-15,1-1 18 0,1 0-21 16,-7 1 6-16,10 0 9 0,-10 0-17 16,10-1 18-16,-4 1-13 0,-1-1 15 0,-5 1-10 15,10-1 5-15,-10 1-23 0,11 0 0 0,-11 0 23 0,7-2-5 16,0 2 8-16,-7 0 2 15,8-2-20-15,-3 1 2 0,-5 1 11 0,6-1-3 16,-6 1-3-16,8 0 6 0,-4-2 2 0,-4 2 5 16,8 0-15-16,-8 0-3 0,5-1 6 15,-5 1-3-15,7-1 0 16,-7 1-3-16,8-3 31 0,-8 3-18 0,6 0-2 0,-6 0-11 0,7-2 3 16,-1 1-3-16,-6 1 3 0,10-2-13 15,-5 0 16-15,2 1 2 0,3 0-11 0,-2 0 1 16,1-2 10-16,1 3-5 0,0-2 10 15,0 1-8-15,2-2-2 0,-1 3-5 0,-1-3 13 16,3 2-19-16,-3 1 6 0,3-2 0 16,-2 1 15-16,-1 1-20 0,0-1-3 0,2 1 13 15,-1 0-21-15,-1-1 16 0,0 1 28 0,0 0-26 16,-1 0-2-16,-1 0 2 0,2-1 36 16,0 0-33-16,0 1 5 0,0-2-2 0,1 2-6 15,-1-1-2-15,0 0 7 0,0 1-5 0,-2-2 6 16,2 1-11-16,0 0 5 0,1-1 21 15,-4 2 13-15,4-2-8 0,-1 1-6 32,0-1-17-32,-2 2-10 0,2-2 30 0,-2 1-10 0,2 1-15 0,-2-2 20 0,2 1-15 15,0 1-5-15,-2-2 10 0,2 2 8 0,0 0-6 0,-2-2-9 16,3 1-9-16,-4 1 32 0,3-1-14 0,0 1 11 16,1-1 7-16,-4 0-17 15,1 1 0-15,2-1 2 0,-2 0-8 16,0 1 24-16,-3-1-26 0,-5 1 7 0,12-1 3 0,-6 1-2 15,-6 0-1-15,10-2 16 16,-10 2-10-16,8 0-6 0,-3-1 11 0,-5 1-15 16,0 0 17-16,10 1-12 0,-10-1 9 0,0 0-4 0,6-1-13 15,-6 1 13-15,0 0-21 0,0 0-13 16,7-1-38-16,-7 1-15 0,0 0-23 0,0 0-44 16,0 0-44-16,0 0-63 0,0 0-159 15,0 0-433-15,0 0 44 0,0 0 87 0,0 0 84 16,0 0 75-16,0 0 32 15</inkml:trace>
  <inkml:trace contextRef="#ctx0" brushRef="#br0" timeOffset="-84222.86">15023 13079 739 0,'0'0'323'0,"0"0"-26"0,0 0-21 0,0 0-25 0,0 0-46 0,0 0-3 16,0 0-7-16,15 9-1 0,-9-5-15 16,1 0-23-16,0 1-10 0,1-1-10 15,0 0 2-15,-3 1-15 0,5 1 0 0,1-1-16 16,-1 1-14 0,-2 0 9-16,2-1 11 0,0-1 66 0,0 1 15 0,0 1-45 0,1-1-26 15,-3 0 20-15,0 1-10 0,0 1 18 0,-1-3-31 16,0 1-4-16,-1 0 4 0,-1-1-18 0,0 2-4 15,-3-1 6-15,-1 1-6 16,-1 0 4-16,0 2 6 0,-1 0-39 0,-4 0 25 16,2 2-17-16,-4-1-13 15,2 0-23-15,0-1-5 0,-3 2-79 0,1-2-37 0,-1 0-73 0,3-1-62 16,-1 1-185-16,2-2-634 16,0 0 151-16,0-1 23 0,1-1 87 0,3 0 95 0,0-1 51 0,0-3 51 15</inkml:trace>
  <inkml:trace contextRef="#ctx0" brushRef="#br0" timeOffset="-83914.19">15936 13157 1226 0,'0'0'517'0,"-3"-3"-49"0,3 3-38 0,0 0-49 0,0 0-27 0,-16 9-4 0,9-3-129 0,-3 1-1 16,-1 3-36-16,-1 1-18 0,1 0-17 0,-1 2-19 16,-1 2-7-16,0-3-18 0,3 1-38 0,2 0-14 15,-2 1-22 1,-1-2-18-16,1 0-72 0,3-1-25 0,-1-2-47 0,2 0-43 0,-1 0-118 15,0-2-140-15,1-2-444 16,3 0 126-16,-1-1 62 0,0-2 76 0,0-2 90 16,4 0 20-16</inkml:trace>
  <inkml:trace contextRef="#ctx0" brushRef="#br0" timeOffset="-83669.16">15720 13197 1415 0,'8'2'479'0,"0"-1"-21"0,0 3-36 0,2 1-12 0,2 1-57 0,-1 0 21 16,4 2-59-16,-2-1-8 0,2 2-26 15,0 1-58-15,-2-3-8 0,1 2-20 16,0 0-32-16,-1 1 27 0,1-2-57 0,-2 1-10 0,1-1-26 16,0 0-18-16,-3-1-51 15,1-1 6-15,-4-1-44 0,1 0-16 0,0-1-23 16,-1 0-22-16,-2-1-4 0,3 0-50 15,-3-1-13-15,-2-1-29 0,1 1-71 0,-4-2-130 16,6 2-474-16,-6-2-42 0,0 0 60 0,0 0 100 16,0 0 23-16,0 0 107 0</inkml:trace>
  <inkml:trace contextRef="#ctx0" brushRef="#br0" timeOffset="-82309.19">12174 10294 1218 0,'0'0'440'16,"0"0"-46"-16,0 0-38 15,0 0-26-15,5 13-28 0,-2-7-41 0,0 0-12 0,2 4-32 16,-2-2-7-16,1 4-38 15,2-2-19-15,-1 0-20 0,0 1-58 0,0-1-34 16,0-1-36-16,0 1-39 0,3-3-22 0,-3-3-64 16,2 2-70-16,-1-3-73 0,2-1-49 0,-1-2-14 15,1 0-27-15,0-5 69 0,2-1 20 16,0 2 111-16,0-3 27 0,-2-2 65 0,2 1 25 16,-2-3 59-16,-3 1 49 0,3-1 35 15,-3 0 37-15,0 0 50 0,-2 2-2 16,2 2 13-16,-3-2 18 0,1 2 38 0,-3 1-44 0,0 4-9 15,0-2 2-15,0 4-29 0,0 0 9 16,0 0-26-16,0 0 30 0,-13 12-43 16,8-2 5-16,0-1 0 0,-1 3-30 0,-1 2-16 15,2 3-74-15,0 0-3 0,-3 3-18 0,0 1 6 16,0-1 12-16,1-3-35 16,0 5-1-16,1-3-30 0,1-2-24 0,-2-1-30 15,1 1-30-15,4-2-60 0,-3-3-66 0,2 1-136 16,-2-1-100-16,3-1-381 0,-2-3 62 0,4 2 58 15,-2-2 82-15,0 0 87 0</inkml:trace>
  <inkml:trace contextRef="#ctx0" brushRef="#br0" timeOffset="-81524.16">11977 11029 1272 0,'0'-3'417'0,"0"3"-33"16,2-7-33-16,-2 7-16 0,0 0-112 15,0 0-3-15,0 0-18 0,0 0-8 16,-7 16-9-16,7-8-27 0,-5 4 4 0,4 2 1 0,-3 3-27 16,1 1-18-16,0 3 0 0,1 3-6 0,0-2-32 15,2-1-1-15,-3-1-2 16,2 0-18-16,5-1-13 0,-4-1 13 0,2-1-8 16,0-3-36-16,1-2 24 0,2 2 12 0,-2-3-38 15,4-2-29-15,-2-1 21 0,1-2 3 16,2-3-18-16,-1 1-29 0,0-2-17 0,1-2 0 15,0 0-44-15,0-1-33 0,2-4-26 0,-3 3-61 16,1-3-108-16,0 0-33 0,0 1-317 16,-1 0-113-1,-1-2 92-15,-4 0 75 0,3 1 73 0</inkml:trace>
  <inkml:trace contextRef="#ctx0" brushRef="#br0" timeOffset="-81329.63">11893 11307 1397 0,'-10'0'430'0,"10"0"-41"16,0 0-30-16,-4-2-27 0,4 2-19 0,3-6-24 16,0 1-36-16,5 1-25 15,-1-5-13-15,3 3-41 0,5-4 13 0,-2-1-49 0,5 0-7 16,3 0-26-16,-1-2-34 0,-1 0-55 16,1 3-47-16,0 1-59 0,-1-2-61 0,-1 4-115 15,-3 0-82-15,0 2-530 0,-2 1 46 0,-3 1 80 16,0 2 91-1,-2 0 62-15</inkml:trace>
  <inkml:trace contextRef="#ctx0" brushRef="#br0" timeOffset="-80303.54">12207 11224 829 0,'0'0'333'15,"0"0"51"-15,0 0-8 0,0 0-41 0,6-11-30 16,-6 11-13-16,2-7-11 0,-2 4-22 0,1 0-34 15,-1 3 5-15,-1-8-76 0,1 3-16 16,0 5-10-16,0-6-5 0,-2 4-18 0,2 2 0 16,-3-3-13-1,3 3-15-15,0 0 7 0,0 0 1 0,-10 5-24 0,10 0-7 0,-3 0 0 16,1 0 28-16,0 2-57 0,1 0 1 0,-1 2-8 16,-1-3 17-16,3 3-4 0,0-3 10 15,3 2-33-15,-3-2 15 0,3 0-26 16,-3-1 8-16,2-1 13 0,3-1-18 15,-2 0 13-15,-1-2-13 0,-2-1 5 0,8 0 13 0,-8 0-2 0,10-1-11 16,-5-3 13-16,1 1 0 16,-2 1-3-16,2-2 0 0,-2 1 11 0,2 0-8 15,-1 1 7-15,-2 1-4 0,2-1 12 0,-5 2-15 16,7-2 82-16,-2 1-3 0,-5 1 0 16,8 0-10-16,-8 0-20 0,8 1-6 15,-3 1-15 1,-5-2 11-16,5 0-19 0,-5 0 24 0,8 2-29 0,-8-2 8 0,5 1-23 0,-5-1 2 31,5 0 16-31,-5 0 28 0,0 0-8 0,0 0-40 0,0 0 2 0,8-3-8 0,-8 3 23 0,5-4 13 16,-5 1-46-16,0 3-5 0,5-6 10 15,-5 6 13-15,3-3-38 0,-1 0 35 16,-2 3-28-16,2-3 8 0,-2 3-3 0,4-2 3 16,-4 2-15-16,4-2 22 0,-4 2-22 15,0 0 12-15,8-1-12 0,-8 1 17 0,8 0 6 16,-8 0-26-16,10-2 5 0,-5-1 13 15,0 2 10-15,0-2-5 0,1-1-5 0,1 2-8 16,-1-2 8-16,1-1 15 0,-2 2-18 16,1-1 1-16,-2 1 12 0,2 0-5 0,-4 0-8 0,1 0 16 15,2 1 15-15,-3-1 0 0,-2 3-28 16,6-3 15-16,-6 3-10 0,4-4 26 16,-4 4-21-1,3-1 20-15,-3 1-12 0,0 0 5 0,5-2-26 0,-5 2 6 0,0 0 9 0,3-4 6 16,-3 4 0-16,0 0-8 0,0 0 8 15,5-2-18-15,-5 2 18 16,0 0 2-16,1-3 0 0,-1 3-12 0,0 0 2 0,2-5-18 0,-2 5 36 16,0-4-18-16,0 0-25 0,0 4 28 15,0-7-8-15,0 7-13 0,2-6 31 0,-2 6-31 16,0-5 21-16,0 5-3 0,0-3-23 0,0 3-26 16,0 0 29-1,0 0 0-15,0 0-16 0,0 0 13 0,0 0 20 0,8 8 1 0,-6-2 2 31,1 1-5-31,0 3-13 0,-3 2-2 0,4 0 15 0,-3 1-5 0,4-1-46 0,-3 2 10 16,1-1-13-16,2 1-7 0,-2-2-16 16,2 1 36-16,-2-1-28 0,1-1 7 15,-1-3 11-15,0 1 20 0,-1-3-2 0,0-2 13 0,-1 1-19 16,2-3 39-16,-1 1 18 0,-2-3 15 16,0 0 19-16,0 0-1 0,8-10 20 0,-8 3-24 15,2 0 19-15,-2-1-33 0,2-3 21 0,-1 0-15 16,1-2-27-16,3 2 45 15,-2-3-14-15,-1 4-2 0,4 1 5 0,-1 1-25 16,-2 2 4-16,1 0 14 0,2 1 30 0,-4 3-41 16,1 1 23-16,-3 1 31 0,0 0-33 15,0 0-6-15,13 4 21 16,-13 2-10 0,0-1-8-16,0 1-8 0,-3 1-27 0,1 0-14 0,-1 0-69 0,0 2-10 0,-2 1-46 0,0-1-66 0,0 0-31 15,-3 1-103-15,4-4-240 0,-4 3-466 16,0 0 94-16,0 0 70 0,-3 2 105 0,1-2 97 31,0 3 17-31,0 0 96 0</inkml:trace>
  <inkml:trace contextRef="#ctx0" brushRef="#br0" timeOffset="-79443.99">12352 11519 1018 0,'0'0'315'0,"0"0"-15"16,0 0-32-16,-6 9 52 0,6-9-13 0,0 9-48 0,0-3-18 15,0 0-24-15,0 1-27 0,0 3-11 16,0-1-10-16,0 2-23 0,0 0 2 16,0 2-15-16,0 0 11 0,0 1-27 15,0 2-4-15,0 0 0 0,0 1 2 0,0 1-23 0,0 2 10 0,0 0 1 16,0 0-24-16,0 2 16 16,0-2-13-16,0 1 15 0,2 1-25 0,-2-2 15 15,0 2-6-15,0-1-6 0,0-1-19 0,0 0 5 16,0 0 11-1,1 1-13-15,2-3 0 0,-3 2-5 0,0-1-26 0,0 3 10 16,0-2 3-16,2-1 0 0,-2 0 28 0,2 0-15 0,-2 3-11 16,0-2-25-16,0 0 41 0,0-1-25 15,0 2 24-15,3 0 22 0,-3-2-39 16,0 2 18-16,0-2-24 0,3-1 32 0,-3 1-26 16,0 0 20-16,0-3-15 0,0 0 21 0,0 0-13 15,0-1-29-15,0 0-9 0,0 0-62 16,0 0 0-16,-3-1-1 0,3 0 1 0,0 0 34 15,0 0-19-15,0-1 18 0,0 1 0 0,0-2 0 16,0 2 6-16,0-2 2 0,0-1 10 0,0 0-18 16,0 1 21-16,3 0-21 0,-3 0 10 15,-3-1 3-15,3 0 5 0,0-1 1 0,0 0-6 16,0-1 15-16,0 2 26 0,0 0-8 31,0 0-33-31,-3-1 16 0,3 0-9 0,0 0 19 0,0 0 15 0,0 0-5 0,0-2-21 16,0 0 0-16,0 0-12 0,0-2 2 0,0 0 10 15,0 0 11-15,0-2 10 0,0-2 7 0,0 4-15 16,0-6 16-16,0 5-6 16,0-5-20-16,0 5 23 0,0-5-36 0,0 0-17 0,0 0 22 15,0 0-13-15,0 0-22 0,0 0-44 0,0 0-11 16,-7-11-32-16,6 6-4 0,1 5-60 16,0-5-1-16,-2 0-30 0,2 1-13 0,0-2-11 15,0 0-35-15,0 0-28 16,-2 1-65-16,2 1-73 0,0-1-19 0,0-2-427 15,2 1 82-15,-4-1 77 0,-1 1 74 0,3 1 87 16,0-1 25-16</inkml:trace>
  <inkml:trace contextRef="#ctx0" brushRef="#br0" timeOffset="-78950.74">12207 12561 1000 0,'0'0'474'16,"-2"-5"-49"-16,2 5-41 0,-5-1-16 15,5 1-50-15,0 0-80 0,0 0-16 0,0 0-1 0,0 10-4 16,3-3-48-16,-1 1-5 0,0-1-5 16,-1 4 81-16,4 1-48 0,-3 0 5 15,-1 2-2-15,4 0-36 0,-3 2 43 0,1 1-26 16,-1 1-35-16,4-2-8 0,-4 1 0 0,3-1-38 15,-2 0 23 1,-1-2 2-16,0-2-23 0,2 1-7 0,-2-3-6 0,0-1-7 0,1-1 0 16,0 0-33-16,-1-2 7 0,1-2 5 0,2 0 3 15,-3-2-13-15,1-2 10 0,2 3 13 16,-5-3-43-16,13-3 28 0,-5-1-23 16,-1-2-3-16,4 0 2 0,2-2-14 0,-1 0-3 0,1-1-16 15,5-4 23-15,0 0 14 0,0 0-44 0,0 0 35 16,3-1-2-16,-4 4-10 15,1-1-3-15,-5 0-2 0,2 3-8 0,-4 2 10 16,-1 0 0-16,0 0-35 0,0 0 48 16,-2 2-28-16,-3 0-29 0,3 1 1 0,-3-2-8 15,0 4-10-15,0-1 36 0,-2 0-57 0,2 0-10 16,-5 2-31-16,5-2-12 0,-5 2 2 0,5-1-36 16,-5 1-27-16,0 0-35 0,0 0-68 15,0 0-113-15,0 0-174 0,0 0-378 0,0 0 63 16,5 5 77-16,-5-5 72 0,0 4 91 15,0-4 68-15</inkml:trace>
  <inkml:trace contextRef="#ctx0" brushRef="#br0" timeOffset="-74017.13">12990 12874 1064 0,'0'0'420'0,"0"0"-31"15,0 0-23-15,0 0-18 0,0 13-58 0,0-5-29 0,0 0-13 16,0 0-30-16,0 2-32 0,-3 1-12 15,3 2 1-15,-2-1-12 0,2 0-68 16,-1 1-31-16,-1 1-8 0,-1-3-66 16,3 2-26-16,-2-3-33 0,0 3-84 0,2-3-98 15,0-1-97-15,-1 0-464 0,2-1 106 0,1-1 30 16,0-1 92-16,1 1 16 0</inkml:trace>
  <inkml:trace contextRef="#ctx0" brushRef="#br0" timeOffset="-73467.38">13684 12877 1118 0,'0'0'448'15,"0"0"-46"-15,0 0-34 0,0 0-50 0,3 16-21 16,-3-10-21-16,0 3-30 0,0 0-16 16,0 2-27-16,0 0-14 0,-2 1-28 0,2 2-28 15,-3 0-35-15,0 0-11 0,1 0-72 0,2 0-41 16,-1 0-27 0,1-1-57-16,-2-2-77 0,4-1-85 0,-4-1-119 0,4-1-446 15,-1-3 77-15,4 1 91 0,-2-4 96 0,2 1 43 0</inkml:trace>
  <inkml:trace contextRef="#ctx0" brushRef="#br0" timeOffset="-73113.51">14189 12906 1315 0,'0'0'361'0,"4"11"-20"0,-2-7-34 0,-2 0-18 0,2 3 46 0,1-1-25 16,-3 2-49-16,0 1 3 0,3 0-62 0,-1 0-33 15,-2-1-28-15,0 3-47 0,0-2-40 16,2 1-85-16,1 0-109 0,-3-1-206 16,3 1-534-16,1 0 150 0,-1-1 36 0,2-2 54 15,1 0 93-15</inkml:trace>
  <inkml:trace contextRef="#ctx0" brushRef="#br0" timeOffset="-72720.71">14951 12898 1571 0,'0'0'397'0,"0"0"-16"15,0 0-51-15,3 11-7 0,-3-6-21 0,0 0-25 16,0 2-55-16,2 1-4 16,-2-1-36-16,0 1-11 0,0 1-2 0,2-1-18 15,-2 1-61-15,0 1-32 0,0-1-40 0,0 1-15 16,0-1-72-16,0 1-57 0,0-1-32 0,1 0-188 16,-1-1-406-16,3 1-75 0,-3 0 87 15,2-2 103-15,0 1 22 16,1-3 52-16</inkml:trace>
  <inkml:trace contextRef="#ctx0" brushRef="#br0" timeOffset="-72431.84">15333 12900 1397 0,'8'7'533'0,"-6"-2"-39"0,-1 1-54 0,1 1-51 0,-2 2-36 0,0 2-25 15,0-1-34-15,0 4-51 31,0 0-43-31,0 1-64 0,-2 0-101 0,2 0-50 0,-3 0-85 0,0-2-238 0,0 4-555 0,-1-1 115 16,0 0 125-16,0-4 0 0,-1 1 47 0,0-2 79 16</inkml:trace>
  <inkml:trace contextRef="#ctx0" brushRef="#br0" timeOffset="-70869.52">12703 12739 970 0,'2'-3'338'15,"0"-1"-8"-15,1 0-33 0,0 1-100 0,1 0-3 16,0-2-9-16,1 1-1 0,0 0-43 0,0-1 12 16,0 0-25-16,0 2-10 0,0-1 66 15,-2 0-28-15,2 1 6 0,-2 0-9 16,1 1-22-16,-4 2-13 0,0 0-1 0,6-2-7 16,-6 2-18-16,0 0 11 0,0 0-21 0,0 0 2 15,0 0-20-15,-10 10-5 16,7-6 0-16,-2-2-8 0,2 2-7 0,-2-1 30 0,3 0-33 0,-1-1-10 15,3-2-6-15,-5 5 3 16,3-2-7-16,2-3-13 0,-1 5-6 0,1-5 36 16,0 5-22-16,0-5-3 0,3 4 17 0,-1-2-9 15,1 1-31-15,-3-3 22 16,7 3 17-16,-3 0-29 0,0-1-3 0,-1 1 34 0,0-1-13 16,-1 1 7-16,0 2-7 0,1-3 18 15,-3 2 0-15,3-1 5 0,-3 1 15 0,0-4-18 16,-3 8-45-16,1-3 71 0,1-1-51 15,-1 0 2-15,0 0-13 0,-1 3-12 0,-2-1 18 0,-1-2-49 16,2 2-15-16,-2-2-1 16,2 0-50-16,1 0-21 0,0-1-5 0,1 0-34 15,2-3-60-15,-5 4-27 0,5-4-58 0,0 0-16 16,0 0-69-16,0 0-381 0,0 0 54 16,0 0 30-16,2-13 59 0,1 7 26 15</inkml:trace>
  <inkml:trace contextRef="#ctx0" brushRef="#br0" timeOffset="-70606.21">12795 12720 637 0,'0'0'281'0,"0"0"-4"15,0 0-39-15,2 12-26 0,-2-9-17 0,3 1-8 16,-3-4-13-16,3 5 2 0,-1-2-19 0,3-1-19 0,-5-2-5 16,7 3 5-1,-3-2-10-15,-4-1 3 0,7 0-8 0,-7 0-13 0,0 0 20 16,10-1-12-16,-10 1-13 0,3-3-74 0,0 0 7 15,-3 3-2-15,4-6 0 0,-4 3-6 16,0 3-12-16,0-7 3 0,0 7 4 16,-2-6 1-16,0 4-13 0,-1-3 0 0,3 5-3 0,-3-6-3 15,-1 4-9-15,4 2-39 0,-6-3-36 16,6 3-23-16,-5-3-53 0,5 3-52 0,0 0-84 16,-5 0-6-16,5 0-86 15,0 0-328 1,0 0 84-16,0 0 121 0,0 0-26 0</inkml:trace>
  <inkml:trace contextRef="#ctx0" brushRef="#br0" timeOffset="-70251.79">12926 12713 678 0,'2'-4'233'0,"1"1"-36"0,-3 3 23 0,2-5-10 0,-2 2-10 0,0 3-3 0,0-6 69 16,0 6-8-16,1-5-17 0,-1 5 5 0,2-5-18 15,-2 5-21-15,0 0-23 0,0 0-2 0,0 0-18 16,0 0-13-16,0 0-10 16,0 0-19-16,0 0-27 0,0 0 10 0,-10 10-33 15,9-6-1-15,1 0-17 0,-2 1 10 0,2-1-15 16,0 0-1-16,0 0-25 0,0 1 0 0,0-5-20 15,2 8-11-15,-1-6-7 0,1 1-34 16,-2-3-30-16,5 4-52 0,-2-3-43 16,-3-1-79-16,8 0-62 0,-8 0-43 0,0 0-177 0,10-4-220 15,-5 3 64-15,0-4 53 16,0 2 113-16</inkml:trace>
  <inkml:trace contextRef="#ctx0" brushRef="#br0" timeOffset="-70066.61">13018 12644 693 0,'0'0'289'0,"0"-5"-22"0,0 5-29 0,0 0 64 16,-3-2-10-16,3 2-8 0,0 0-44 16,0 0-4-16,-2 11-19 0,-1-9-7 15,3 6-20-15,0-2-6 0,-2 1-7 0,1 1-37 0,-1 1 11 16,2 1-20-16,-2-2-16 16,-1 6-18-16,3-2-2 0,-3 0-13 0,1 0-28 0,0 0-29 15,-1 1-20-15,0-2-17 0,1 0-45 16,-1 0-73-16,3-1-103 0,-3-2-79 0,1-2-44 15,0 2-486-15,1-2 112 0,1-2 59 16,-2 1 85-16,-1-3 85 0</inkml:trace>
  <inkml:trace contextRef="#ctx0" brushRef="#br0" timeOffset="-69782.25">12987 12786 575 0,'3'-7'241'0,"-1"0"-36"0,1 1-29 0,-1-2-2 15,1 2-46-15,2-2 0 0,-3 1-12 0,1 0-27 32,2-1-4-32,-2 1-14 0,0 1 9 0,2-2-47 0,-3 1 28 0,3 1-12 0,-2 0 15 15,-1 1-8-15,1 1 6 16,0-1-1-16,-1 2 37 0,-2 3 9 0,5-3-7 0,-5 3 12 16,0 0 11-16,0 0-20 0,8 6-9 15,-5-2 6-15,1 2-31 0,-1-2 29 0,0 4-29 16,-1-1 2-16,1 0-14 0,-1 0-6 0,3 2-36 15,-2-2-12-15,0 2-54 0,-1-1-47 16,-1 0-73-16,1 0-80 0,-2-1-51 16,0-1-90-16,0 0-283 15,0-1 9-15,2-1 62 0</inkml:trace>
  <inkml:trace contextRef="#ctx0" brushRef="#br0" timeOffset="-69640.86">13085 12792 929 0,'0'0'332'0,"0"-4"-9"0,0 4-36 0,2-4-108 0,1 0-8 0,0 1-30 0,-1 0-13 0,3 0-10 16,-2 0-47-16,2-2-22 0,2 1-18 0,-1 1-18 16,4 0-121-16,-3-1-115 0,3 1-132 15,1-2-272-15,2 1 17 0,-1 0 55 0</inkml:trace>
  <inkml:trace contextRef="#ctx0" brushRef="#br0" timeOffset="-68133.38">13554 12641 688 0,'0'0'233'0,"0"-5"-18"0,0 5-18 0,0 0-20 15,0-5-19-15,0 5-9 0,0 0-19 0,-2-3-7 16,2 3-25-16,0 0 7 16,0 0-6-16,0-5-22 0,0 5-8 0,0 0 8 0,0 0-13 15,0 0 13-15,0 0-6 0,0 0-24 16,0-4 14-16,0 4-7 0,0 0 5 16,0 0-8-16,0 0-28 0,0 0 0 0,0 0 5 15,0 0-2-15,0 0-6 0,0 0 11 0,0 0-18 16,0 0 10-16,0 0 5 0,0 0-8 15,0 0-9-15,0 0 9 0,0 0-5 0,0 0 1 16,0 0-3-16,0 0-6 0,0 0 3 0,-4-3 24 16,4 3-47-1,0 0 18-15,0 0-8 0,0 0 3 0,0 0 8 0,0 0 15 0,0 0-15 16,0 0-16-16,0 0 8 0,0 0 16 16,0 0-11-16,0 0 7 0,0 0-14 15,0 0-6-15,0 0 6 0,0 0 7 0,0 0 2 16,0 0 1-16,0 0-13 0,0 0 10 15,0 0-5-15,0 0 3 0,0 0 7 0,0 0-23 16,0 0 5-16,0 0 1 0,0 0-1 0,0 0 6 16,0 0 2-16,0 0 2 15,0 0-2-15,0 0-8 0,0 0-7 0,0 0 13 16,0 0 17-16,0 0-13 0,0 0-2 0,0 0-12 0,0 0 9 16,0 0 13-16,0 0-12 0,0 0 12 15,0 0 0-15,0 0-5 0,0 0-2 16,0 0-6-16,0 0 14 0,0 0-4 0,0 0-2 15,0 0-12-15,0 0 2 0,0 0-6 16,0 0 6-16,0 0 13 0,0 0 7 0,0 0-7 0,0 0 7 16,0 0 1-16,0 0-6 0,0 0 3 15,0 0-11-15,0 0-2 0,0 0-2 16,0 0 12-16,0 0-2 0,0 0-8 0,0 0-3 16,0 0 21-16,0 0-10 0,0 0-6 15,0 0-20-15,0 0 18 0,0 0 0 0,0 0 3 16,-12 5-1-16,12-5 1 0,0 0-8 0,-5 0 13 15,5 0-6-15,-5 2-4 16,5-2 4-16,-5 3-15 0,5-3 6 0,-3 3 2 0,3-3 7 16,-3 5 21-16,3-5-36 0,-2 2 16 0,2-2-11 15,0 5 6-15,0-5 4 0,0 0-4 16,2 6-6-16,1-4 11 0,-3-2 4 16,5 3-12-16,-2 0 13 0,-1-1 2 0,3 0 8 15,-5-2-13-15,8 5 28 0,-5-1-17 16,-1-1 17-16,3 0-10 0,-2 2 13 0,2-1-13 15,-5 1 0-15,3 0 0 0,-1 1 5 0,-2 0-13 47,2 0 3-47,-2 0-10 0,0 2-31 0,0 0 3 0,0-1-32 0,-2 2-50 0,0-2-49 0,-1 2-74 0,3-1-75 0,-5 0-199 0,3-1-161 16,-2 0-8-16,0-2 92 0,1 0 18 16</inkml:trace>
  <inkml:trace contextRef="#ctx0" brushRef="#br0" timeOffset="-67568.02">13574 12688 637 0,'5'-2'205'0,"-5"2"5"0,0 0-3 16,0 0-18-16,0 0 1 0,11 2-24 15,-11-2-17-15,3 4 7 0,-3-4-18 16,2 4-2-16,0-3-1 0,-2-1 6 0,6 4-13 16,-2-3 0-16,-4-1-79 0,0 0-11 15,6 2 23-15,-6-2 3 0,5 1-5 0,-5-1 3 16,0 0-21-16,0 0 5 0,0 0 5 0,10-3 3 16,-10 3-6-16,3-3-7 0,-3 3 64 15,0-3-18-15,0 3-18 0,2-5-17 0,-2 5 12 16,1-5-64-16,-1 1-44 0,0 4-38 0,2-5-30 15,0 2-45-15,-2 3-35 16,5-5-5-16,-4 4-20 0,-1 1 61 0,4-6-6 16,0 4-1-16,-4 2 27 0,2-3 23 0,-2 3 6 0,5-2 43 15,-5 2 25-15,0 0 39 16,0 0-2-16,0 0 27 0,10 4 39 0,-10-4 26 0,8 2 2 16,-8-2 8-16,5 3 2 0,-2-2 6 15,-3-1 15-15,7 1 0 0,-7-1-11 16,8 0 8-16,-8 0 11 0,7 0-6 0,-7 0 14 15,8-2-22-15,-2 0-4 0,-6 2 0 0,7-2-3 16,-2 1 23-16,-4-3-10 0,3 2 5 16,-1-1 7-16,-3 3-12 0,2-3-20 0,-2 3-6 15,-2-6-20-15,2 6 33 0,-3-5-26 0,-1 3-22 16,4 2 4-16,-6-3-9 16,6 3-14-16,-7 0-10 0,7 0-94 0,0 0-24 0,-14 5-22 15,12-3-34-15,-3 2-84 0,5-4-159 0,0 7-458 16,0-1 33-16,0-2 41 15,3 2 74-15,1 0 100 0,2-2 75 0</inkml:trace>
  <inkml:trace contextRef="#ctx0" brushRef="#br0" timeOffset="-66605.01">14048 12754 107 0,'0'0'44'0,"0"0"-57"0,0 0-38 0</inkml:trace>
  <inkml:trace contextRef="#ctx0" brushRef="#br0" timeOffset="-66149.83">14052 12754 645 0,'0'0'238'15,"0"0"-23"-15,0 0-11 0,0-5 57 0,0 5-15 16,0 0-23-16,0 0 10 0,0 0-39 15,0 0-27-15,0 0-9 0,0 0 6 16,0 0 3-16,0 0-24 0,6 10-2 0,-5-6-18 16,2 0-3-16,1 2 0 0,-3 1-10 0,1-1-10 15,3 0 3-15,-3 2-32 0,1 0 11 16,0 0-20-16,-1 0-9 16,-1 0 11-16,-1 1-2 0,0-2-14 0,0 1-2 0,0 0 0 0,0 1 8 15,-1-2-28-15,-1-1 5 16,2 1-1-16,-3-2 4 0,3 0-14 0,-2-1-12 15,2 0-13-15,-1-1-1 0,1-3-1 0,0 0-3 16,-4 3-8-16,4-3 2 16,0 0 21-16,0 0-15 0,0 0-15 0,0 0 14 0,2-14 11 15,0 9-2-15,1-2-11 0,0 1 5 0,-1-3 1 16,-1 3 7-16,1-3 18 16,0 1-13-16,1-2-13 0,-2 2 11 0,-1-2 12 15,2 1-18-15,-2 1 6 0,0-1 2 0,-2 2 18 16,2 1-10-16,-1-2-3 0,-2 2-20 0,1 1 5 15,0 1 7-15,-1 1-25 0,0-1-7 16,3 4-19-16,-5-3-25 0,3 0-24 16,2 3-50-16,0 0-59 0,0 0-90 0,0 0-80 0,0 0-408 15,-8 6 24-15,8-6 98 0,0 0 85 16,0 0 25-16</inkml:trace>
  <inkml:trace contextRef="#ctx0" brushRef="#br0" timeOffset="-65854.38">14174 12805 765 0,'3'4'233'16,"-1"1"-23"-16,1-1-3 0,0 1-18 0,-1-1-30 0,3-2-5 16,-2 1-24-16,2 0-2 15,0-2-13-15,0 0-17 0,-5-1 17 0,10-1-13 0,-10 1 1 16,11-2 7-16,-6 0 18 0,0 0-8 0,-2 1 13 15,1-3-28-15,-1 2-13 16,-2-2-84-16,-1 4 20 0,0-7-7 0,2 4-9 16,-2 3 9-16,-3-9-14 0,3 7-1 0,-3-1 4 15,3 3-28-15,-4-6-18 0,1 4-41 16,3 2-53-16,-5-6-60 0,5 6-40 16,-2-2-26-16,2 2-320 0,-3-4-54 0,3 4 54 0,-3-4 52 15</inkml:trace>
  <inkml:trace contextRef="#ctx0" brushRef="#br0" timeOffset="-65590.42">14276 12809 363 0,'3'3'164'0,"0"0"-39"0,0-2 47 0,1 1-11 0,-4-2 8 0,8 3 23 0,-2-2-3 0,-6-1 16 0,0 0-26 0,12-3 3 15,-9 2 0-15,-3 1-1 0,5-3-22 0,-2-1 5 16,-1 2-5-16,3-2-6 0,-5 4-9 16,1-6 71-16,-1 3-46 0,0 3 0 15,0-6-24-15,-1 2-19 0,1 4-14 0,-5-6-19 0,3 3-6 16,2 3-23-16,-3-4-26 0,-2 2-38 16,5 2-33-16,-3-2-54 0,3 2-72 15,0 0-105-15,-8-2-99 0,8 2-472 0,0 0 103 16,0 0 85-16,0 0 45 0,0 0 75 0</inkml:trace>
  <inkml:trace contextRef="#ctx0" brushRef="#br0" timeOffset="-64930.95">14800 12691 1300 0,'0'0'397'0,"0"0"-47"16,0 0-25-16,-8 12-28 0,5-6-15 0,3 1-24 16,-2 1-40-16,2 2-31 0,-2-1-21 15,2 1-63-15,0 0-27 0,2 1-58 0,-2-1-79 16,0 3-159-16,2-3-98 0,1-1-470 15,0-1 76-15,2-1 57 0,-2 0 87 0,1-3-8 16</inkml:trace>
  <inkml:trace contextRef="#ctx0" brushRef="#br0" timeOffset="-64670">14887 12781 1005 0,'0'0'305'16,"0"0"-18"-16,0 0-44 0,0 0-15 0,0 0-34 0,0 0-15 15,5 15-20-15,-5-15-13 0,3 4-18 0,-1-1-8 16,3-1 11-16,-5-2-24 0,5 2-7 16,-5-2-5-16,8 0-85 0,-8 0 6 15,0 0 1-15,8-4 22 0,-6 1 2 0,-2 3 7 16,6-4 22-16,-6 2-19 0,2-2 66 16,-2 0-9-16,0 4-1 0,0-5-4 0,0 5-19 15,0-6-17-15,0 6-8 0,0-4-41 0,2 0-8 16,-2 4-84-16,1-4-49 0,-1 4-41 15,2-2-56-15,-2 2-92 0,0 0 7 0,0 0-317 16,10 0-77-16,-10 0 80 16,0 0 45-16,10 5 52 0</inkml:trace>
  <inkml:trace contextRef="#ctx0" brushRef="#br0" timeOffset="-64438.76">14997 12803 417 0,'3'2'141'0,"-3"-2"-21"0,5 2 8 0,0-1 7 0,-5-1-22 0,5 2 30 0,-5-2-2 0,0 0 3 15,11-2 19-15,-11 2-4 0,7-3 0 0,-5 0-1 16,-1 0 29-16,-1 3-36 0,2-7 13 0,1 3-5 16,-3 0-11-1,0 4-12-15,-3-9-16 0,3 5 1 0,-2 0 9 0,2 0-30 0,-3-1 54 16,3 5-34-16,-5-4-28 0,3 2-25 0,2 2-60 16,-3-3-45-16,3 3-111 0,0 0-114 15,0 0-551-15,0 0 74 0,0 0 172 0,-5 9-39 16,5-9 70-16</inkml:trace>
  <inkml:trace contextRef="#ctx0" brushRef="#br0" timeOffset="-64290.5">15069 12771 1059 0,'-3'-5'346'0,"3"5"38"0,0-5-8 16,0 5-46-16,-2-4-46 0,2 4-12 0,-2-4-57 15,2 4-16-15,0-4-48 0,0 4-71 0,0 0-98 16,0 0-159-16,-3-5-353 0,3 5-250 16,0 0 114-16,0 0 95 0,0 0 29 0</inkml:trace>
  <inkml:trace contextRef="#ctx0" brushRef="#br0" timeOffset="-63453.52">15385 12704 1395 0,'0'-5'414'0,"0"2"-35"0,0 3-39 0,2-4-37 16,-2 4-32-16,0 0-28 0,0 0 5 15,0 0-38-15,2 12-26 0,-2-5 1 0,3-1-37 16,-3 4-45-16,0-1-39 0,2 1-67 0,-1 1-43 16,-1-1-62-16,2 2-66 0,-2-3-89 15,3-1-39-15,0 1-502 0,1-3 54 0,-1 1 92 16,2-2 75-16,-2-1 30 0</inkml:trace>
  <inkml:trace contextRef="#ctx0" brushRef="#br0" timeOffset="-63197.89">15558 12658 732 0,'-2'-3'281'0,"0"0"-27"15,2 3-29-15,-6-2-5 0,6 2-28 16,0 0-26-16,-12 5 1 0,12-5-24 15,-3 4-10-15,-2 1 0 0,5-1 0 0,0 0-12 16,0 2-14-16,-1-1-2 0,2 0 15 0,-1 4-15 16,3 0 5-16,-3-2-7 0,0 2 73 15,2-1-30-15,-2-1 0 0,2 0 8 0,-2 3-34 0,0-1 13 16,0-1-30-16,-2 1-4 0,2-1-29 16,0-1-22-1,-2-2-17-15,2 0-44 0,0 1-18 0,0-1-38 0,0-2-74 0,0 2-141 16,0-5-108-16,0 0-465 15,0 0 89-15,0 0 97 0,0 0 64 0,0 0 75 0</inkml:trace>
  <inkml:trace contextRef="#ctx0" brushRef="#br0" timeOffset="-62958.53">15589 12775 739 0,'11'1'277'0,"-11"-1"-1"0,0 0 8 0,7-7-7 0,-4 5 63 0,0-2-15 0,-1-1 0 0,1 1 3 16,-3-1-93-16,2-1-43 0,-2 0 11 16,0 1 65-16,0-2-24 0,0 1-17 0,0-1-1 15,-2 1-37-15,-1 0-7 0,1 2-39 0,-1-1-10 16,0 0-25-16,1 0-52 0,2 3-64 16,0 2-30-16,-2-5-26 0,2 5-36 15,0 0-76-15,0 0-150 0,0 0-160 0,0 0-407 0,0 0 43 16,15 5 87-16,-10-2 95 15,3 1 51-15,-1-2 57 0</inkml:trace>
  <inkml:trace contextRef="#ctx0" brushRef="#br0" timeOffset="-62600.26">15754 12739 1062 0,'0'0'368'0,"0"0"57"0,12-4-43 0,-12 4-39 0,3-3-18 0,-3 3-10 0,3-2-16 0,-3 2-2 15,2-5-97 1,-2 5-13-16,0-4-11 0,0 4-7 0,0 0-5 0,2-5-18 0,-2 5-16 16,0 0-9-16,0 0-16 15,1-3-13-15,-1 3 5 0,0 0-25 0,0 0 4 0,0 0-6 0,2 12-9 16,1-9-23 0,-1 1-20-16,1 0-28 0,-1 0-3 0,1-1-2 0,0 0 12 15,2-1-9-15,-2 0 4 0,1 0 3 0,-4-2-11 16,8 2 9-16,-8-2 7 0,8 0 2 15,-8 0 26-15,0 0-20 0,10-4-8 0,-10 4 0 16,3-1 13-16,-3 1 15 16,2-3-23-16,-2 3-5 0,3-3 5 0,-3 3-35 0,0 0-11 15,-5-7-36-15,5 7-38 0,-3-3-16 16,3 3-40-16,-6-3-42 0,6 3-150 0,-7-3-67 0,4 1-418 16,-1 1 137-16,4 1-3 0,-6-5 66 15,2 2 95-15,1 0 39 0</inkml:trace>
  <inkml:trace contextRef="#ctx0" brushRef="#br0" timeOffset="-60943.18">12603 10654 156 0,'18'0'-39'0,"-5"0"-2"0</inkml:trace>
  <inkml:trace contextRef="#ctx0" brushRef="#br0" timeOffset="-60412.87">12364 10893 622 0,'18'3'243'0,"-13"-2"-10"0,3-1-11 15,0 1-63-15,2 1-23 16,2-2-62-16,-1 0-13 0,5 0-63 0,-1 0-70 16,3 0-48-16,-3 3-236 0,1-1-248 0,-1-1 92 15</inkml:trace>
  <inkml:trace contextRef="#ctx0" brushRef="#br0" timeOffset="-60119.89">12426 11421 839 0,'7'2'271'0,"1"0"-22"0,3-1-24 16,1 2-23-16,3-2-46 0,3 0-48 0,1-1-37 16,3 0-55-16,2 3-60 0,1-1-94 0,-2-1-39 15,0 2-306-15,-2 0-111 0,-1 2 64 0</inkml:trace>
  <inkml:trace contextRef="#ctx0" brushRef="#br0" timeOffset="-59927.42">12485 11875 642 0,'0'0'294'0,"0"0"-17"16,0 0-24-16,0 0-48 0,25-3-16 0,-12 0-38 0,2 2-23 15,1 0-58 1,2 0-37-16,0-3-130 0,0 4-124 0,2-1-35 0,-2 2-366 0,2 2 64 16,-1 0 95-16</inkml:trace>
  <inkml:trace contextRef="#ctx0" brushRef="#br0" timeOffset="-58314.05">12426 10669 460 0,'8'0'133'0,"-1"0"-30"0,4-1-42 0,-1 1-48 15,0-1-16-15,3-2-53 0,-1 1-21 16,-1 1-135-16</inkml:trace>
  <inkml:trace contextRef="#ctx0" brushRef="#br0" timeOffset="-57553.09">13266 11060 532 0,'0'0'82'0,"0"0"-46"0,0 0-57 0,0 0-56 16,-2 7-414-16</inkml:trace>
  <inkml:trace contextRef="#ctx0" brushRef="#br0" timeOffset="-57067.26">13564 11562 716 0,'5'3'228'0,"-5"-3"-13"0,5 3-64 0,-5-3-28 16,3 4-31-16,-1-1-61 15,3 0-105-15,-4 0-31 16,1 4 33-16,1-2-51 0,0 2-399 0,1 0 23 0</inkml:trace>
  <inkml:trace contextRef="#ctx0" brushRef="#br0" timeOffset="-56847.39">14054 11977 488 0,'2'3'151'16,"-2"-3"-97"-16,3 2-33 0,-3-2-85 15,5 4-451-15</inkml:trace>
  <inkml:trace contextRef="#ctx0" brushRef="#br0" timeOffset="-56686.93">14234 12120 924 0,'4'2'330'0,"-4"-2"-13"0,0 0-22 0,6 2-40 0,-6-2-34 16,0 0-29-16,0 0-41 0,4 1-82 15,-4-1-72-15,4 5-122 0,-4-5-134 0,0 6-463 16,0-3 103-16,-1 2 69 0</inkml:trace>
  <inkml:trace contextRef="#ctx0" brushRef="#br0" timeOffset="-52222.21">17320 12481 1172 0,'0'0'384'0,"0"0"-49"0,0 0-20 0,0 0-39 15,0 0-7-15,0 0 72 0,-3-12-52 0,3 8-18 16,3-2 11-16,-3 0-39 0,0-3-8 15,0 1-27-15,3-4-34 0,-1-1 51 0,-2-1-51 16,2-4-97 0,-1-2-5-16,1-1 4 0,-2-5-7 0,3-1-2 0,-1-2-26 0,-1 0 8 15,-1-12 9-15,2-1-14 0,-2 1 7 16,0-1-20-16,0 0-8 0,3 9 20 16,-3 3-27-16,0 4 7 0,0 1 15 0,0 4-10 0,0-1-25 15,0 3 15-15,2 3-3 0,-4 1 6 16,2 2 17-16,0 1-35 0,0 4 40 0,0-3-35 15,-3 4-8-15,3-2 13 16,0 2-29-16,0 3-2 0,0-1 3 0,0 0-13 0,0 5-16 16,0-6-35-16,0 6 5 15,-2-3-26-15,2 3-23 0,0 0-7 0,0 0-32 0,0 0-30 16,0 0-71-16,0 0-68 0,-8 9-52 0,8-9-42 16,0 5-428-1,0-5 111-15,0 5 33 0,0-5 123 0,0 4-3 0</inkml:trace>
  <inkml:trace contextRef="#ctx0" brushRef="#br0" timeOffset="-51974.36">17372 11693 1031 0,'0'0'292'0,"0"0"-31"0,-14 6-10 0,9-1-26 0,-2 0-7 0,2 1-16 0,-3 1-13 15,2 1-22-15,-1 0-21 0,-3 3-16 16,3-3-2-16,-4 3-28 0,1 0 2 0,0 0-2 16,2-1-21-16,-2 2-2 0,1 0-18 15,0-4-13-15,1 3-20 0,0-1-24 0,1-1 3 16,-1 0-38-16,0-1-51 0,3-2-52 0,-1 0-35 16,-1 0-44-16,4-1-75 0,-1-2-22 15,0-1-377-15,2 2 70 0,2-4 97 0,-2 3-16 16</inkml:trace>
  <inkml:trace contextRef="#ctx0" brushRef="#br0" timeOffset="-51581.41">17274 11715 865 0,'0'0'317'0,"0"0"-20"0,8 0-31 0,-8 0-12 0,0 0-14 16,13 4-9-16,-5-1-19 0,1 0-20 0,-1 3-13 15,0-1-2-15,0 0-26 0,2 1 15 16,-2 0-20-16,2 1 59 0,0-1-3 16,0 1-28-16,0-1-20 0,-1-1-1 0,-2 1 21 15,3-2-12-15,-3 2-11 0,-1-2-23 0,2-2 5 16,-3 3 5-16,0-3-120 0,0 2 13 15,0-2 15-15,-2 2 7 0,1-3 9 16,-4-1 10-16,6 4-6 0,-1-2-17 0,-5-2 7 0,3 2-5 16,-3-2-15-16,5 2 2 0,-5-2 11 15,2 2-26-15,-2-2-7 0,0 0-32 0,0 0-25 16,6 1-36-16,-6-1-38 0,0 0-51 0,2 3-18 16,-2-3-144-16,0 0-181 15,8 0-428-15,-8 0 84 0,7 4 67 0,1-4 90 0,-3 2 72 16,5-2 81-16</inkml:trace>
  <inkml:trace contextRef="#ctx0" brushRef="#br0" timeOffset="-50501.23">25029 11543 1169 0,'2'-6'369'15,"-2"3"-21"-15,0-1-20 0,1-1-37 16,-1 5-17-16,1-6-15 0,-1 6-29 0,0-6-10 16,0 6-20-16,0 0-8 0,2-2 97 15,-2 2-35-15,0 0-37 0,2 13-9 0,-2-5-19 16,0 0 13-16,0 3-20 0,0 3-41 15,3 1 12-15,-6 0-27 0,3 6-44 0,0 0 23 16,0 2 25-16,0-1-40 0,-2 0 4 16,0 5-37-16,2-1 4 0,-1 0-12 0,1 0-6 15,-1-5 42-15,1 0-37 0,0-3-9 0,-4 4-6 16,4-2-33-16,-2-5 33 0,2 1-4 16,-1-2-4-16,1-3 1 0,0 2-16 0,-1-4-25 15,1 0 12-15,0 0-10 0,0 0-5 0,0-1 6 16,0-2-24-16,-1-1-3 0,1 0-32 15,0 0-16-15,0 0-16 0,0 0-30 0,0-5-18 16,0 5-31-16,0-5-28 0,-3 2-46 16,3-2-97-16,0 0-90 0,0 0-266 0,-3 2-146 15,3-2 52-15,0 0 117 0,0 0 59 16,0 0 92-16,-14-4 43 0</inkml:trace>
  <inkml:trace contextRef="#ctx0" brushRef="#br0" timeOffset="-49974.83">24866 11946 901 0,'0'0'394'0,"0"0"-31"15,0 0-30-15,0 0-34 0,5 10-20 0,-3-5 3 16,-1 1-29-16,0 1-32 0,0-1-22 16,1 3-4-16,2-2-106 0,-3 2 11 0,0-1-10 15,1 0-1-15,2 1-2 0,-3-1-2 0,2 1-6 16,-1-1-15-16,1 1 3 0,0-2 7 16,1 1-28-16,-1-1 21 0,0 0-11 15,-1 0-2-15,1-1-8 0,-1 0-3 0,1-1-7 0,0 1 0 16,-1-4 20-16,2 3-2 0,-2-1-28 15,0-2 4-15,0 1 14 0,-2-3-13 32,6 4 2-32,-4-3-5 0,3 2 8 0,-5-3 25 0,8 2-22 0,-8-2-16 0,13-2-13 0,-8 1 10 15,3-1 11-15,-1 1-13 0,1-3-10 0,2 1 7 16,0-3-12 0,4 1 15-16,-2 2-3 0,1-2-10 0,0-1 10 0,0 1-2 15,2 1-8-15,0-4-5 0,-2 5 8 0,1-3-8 16,-2 1 5-16,0 1-5 0,-1-1 15 15,-1 2-2-15,0-3-31 0,-2 4 16 0,-3-3-19 16,3 3-12-16,0-1-5 0,-4 2-3 0,2-1 7 16,-4 0-27-1,4-1-11-15,-6 3-22 0,6-4-1 0,-6 4 13 0,4-1-38 0,-4 1-29 16,0 0-15-16,4-1-43 0,-4 1-31 16,0 0-41-16,0 0-31 0,0 0-33 15,0 0 3-15,0 0-364 0,0 0 20 16,0 0 96-16,0 0 73 0</inkml:trace>
  <inkml:trace contextRef="#ctx0" brushRef="#br0" timeOffset="-47934.34">16262 12321 1021 0,'0'0'333'0,"-4"-3"35"0,4 3-12 0,0 0-64 16,11-5-29-16,-3 2 11 16,4-1-61-16,2 1-11 0,3-3-33 0,4 0-13 0,2 1-18 15,2-1-43-15,1 0-39 0,2 1-20 0,-2-1-59 16,-1-1-64-16,-4 5-82 15,-1-2-77-15,-4 1-112 0,-1 2-433 0,-2-1 113 0,0 4 69 16,-6-2 38-16</inkml:trace>
  <inkml:trace contextRef="#ctx0" brushRef="#br0" timeOffset="-47729.5">16313 12436 941 0,'0'0'320'0,"0"0"34"0,0 0-9 16,0 0-50-16,0 0-24 0,23-6-13 0,-13 1-20 16,5 2-46-16,1-2-12 0,4 0-4 0,6-1-32 15,-3-1-37-15,0 0-40 0,3 0-42 16,-1 0-61-16,-1 0-86 0,-4 1-127 16,-5 1-132-16,5 0-413 0,-4-1 119 0,-3 2 55 15,0 0 57-15</inkml:trace>
  <inkml:trace contextRef="#ctx0" brushRef="#br0" timeOffset="-47426.71">16456 12106 1108 0,'0'0'368'0,"21"0"-55"15,-11 0-21-15,6 4-24 0,1-1-27 0,4 1-13 0,0 2-26 16,3 1-18-16,0-1-5 0,-1 2-25 16,-2 3-8-16,2-1 2 0,-5 1-12 0,0 1 10 15,-1 2-46-15,-3 2 0 0,-4-3-13 0,-3 3-5 16,-2 0 12-16,-3 1-30 0,-4 2-13 16,0 1 24-16,-6 3-42 0,0 0-10 0,-5 8-15 15,-5-3-34-15,0 0-20 0,1 0-85 16,-3 0-76-16,1-2-177 0,1 1-466 0,0-2 82 15,3-5 82-15,0-2 64 0,2-2 70 0,2 1 37 16</inkml:trace>
  <inkml:trace contextRef="#ctx0" brushRef="#br0" timeOffset="-46913.88">16397 13607 967 0,'0'0'315'0,"13"-8"-23"0,-3 5-34 16,1-1-15-16,4 0-33 15,5-2-13-15,3 1-28 0,3-3-28 0,0 1-36 0,-1 1-54 16,3-1-79-16,-5 2-118 0,1 1-89 15,-3 0-464-15,-1 2 41 0,-3-1 74 0,-1 1 55 16</inkml:trace>
  <inkml:trace contextRef="#ctx0" brushRef="#br0" timeOffset="-46690.82">16479 13771 965 0,'0'0'340'0,"0"0"-33"0,0 0 5 0,0 0-45 16,0 0-6-16,0 0-28 0,20-8-18 0,-6 4-18 0,1-1-33 15,3 0-8-15,5-2-16 16,2 0-17-16,1 0-31 0,0-3-2 0,0 3-49 16,-1-2-36-16,1 2-46 0,-1-1-79 0,-5 3-80 15,1-4-120-15,0 3-414 0,-8 3 96 16,0-1 14-16,-3 0 58 0,-2 1 87 0</inkml:trace>
  <inkml:trace contextRef="#ctx0" brushRef="#br0" timeOffset="-46364.34">16515 13412 1136 0,'5'-2'430'0,"6"-1"-51"0,-1 1-5 0,3-2-47 15,2 2-43-15,3 1-10 0,2 1-8 16,4 0-35-16,-1 0-3 0,2 3-16 0,6 1-43 16,0 0 3-16,-3 2-39 0,0 1-18 0,8 4 3 15,-3 2-11-15,-7 0-7 16,-8 1-3-16,0 2-15 0,-5 0 15 0,-3 4-38 0,-5 2-10 15,0-3 15-15,-5 3-49 0,-5 4 1 0,0 0-9 16,-5 7-27 0,-3 2-29-16,0-1 8 0,0 0-38 0,-2-1-16 0,0-1-33 15,-1 0-38-15,1 1-134 0,-1-3-76 0,4-7 7 16,1 0-460-16,-4 6 74 0,4-7 84 0,1-2 34 16,5-4 79-16</inkml:trace>
  <inkml:trace contextRef="#ctx0" brushRef="#br0" timeOffset="-41436.42">17633 13340 1095 0,'-3'8'343'0,"1"0"-46"0,2 2-41 0,0-1-8 16,0 2-48-16,0 1-3 0,0 1-33 15,0 0-8-15,0 1-59 0,0-2-23 16,2 1-38-16,-2 0-33 0,0-2-67 0,0 0-33 15,3-1-37-15,-3 0-162 0,2-2-442 0,-1 0 70 16,-1-3 67-16,2 0 73 0</inkml:trace>
  <inkml:trace contextRef="#ctx0" brushRef="#br0" timeOffset="-41241.6">17561 13210 913 0,'-3'-4'351'0,"-1"2"-49"0,3-2-38 15,1 4-44-15,0 0-18 0,-5-2-38 16,5 2-49-16,0 0-41 0,0 0-102 16,0 0-166-16,3 11-96 0,0-5-375 0,1 0 61 15,-1-1 112-15</inkml:trace>
  <inkml:trace contextRef="#ctx0" brushRef="#br0" timeOffset="-40883.52">17768 13334 916 0,'1'6'389'0,"-1"1"-51"0,0 1-18 0,0 0-23 15,0 2-41-15,0-2 0 0,0 1-39 16,3-1-27-16,-3 0-1 0,2 1-25 15,-2-3-5-15,0 0-19 0,2-1-4 0,-2 0 10 16,3 0-16-16,-3-1 9 0,0-2-11 0,0-2-18 16,0 0 0-16,0 0-13 0,13-2 18 15,-13 2-7-15,7-8 76 0,-1 3-2 16,-1 0-18-16,2-1-21 0,-1 0-20 0,-1 1-18 0,2 0 13 16,-1 1-21-16,1 1-5 15,1 1-18-15,-3 1 3 0,4 0 7 16,-9 1-27-16,14 3-16 0,-9 1 18 0,3 1 10 0,0 0-33 0,-1 2-8 15,-2 2-46-15,3 0-5 16,-3 0-49-16,2-1-25 0,-3 2-31 0,1-2-46 16,0 0-36-16,-2-2-90 0,4-1-163 0,-2 1-466 15,1-3 13 1,1 0 86-16,-2-3 98 0,-5 0 46 0,13-3 54 0,-3 2 76 0</inkml:trace>
  <inkml:trace contextRef="#ctx0" brushRef="#br0" timeOffset="-40650.76">18095 13157 980 0,'-3'-11'435'0,"0"4"-84"16,3 0-21-16,-2 4-33 0,2-2-11 15,0 5-17-15,0 0-13 0,0 0-20 16,0 0 71-16,-3 12-13 0,3-2-58 0,0 3 12 16,2 1-41-16,-2 4-10 0,1 4-25 0,4 4 2 15,-3 2-38-15,1 11 7 0,3 0-2 16,-2 2-26-16,1-2-8 0,-2-3-37 15,2-3-17-15,-2-6-19 0,-1 0-57 0,0 0-29 16,-1-3-55-16,1-3-34 0,-2-1-61 0,0-4-154 16,-2-1-112-16,4 0-500 0,-2-4 210 15,0-1 8-15,-2-2 136 0,2 0-16 0,-3-3 65 0</inkml:trace>
  <inkml:trace contextRef="#ctx0" brushRef="#br0" timeOffset="-40447.14">17979 13590 1397 0,'0'-5'438'0,"0"-1"-49"16,0 2-102-16,3-1-11 0,-1-1-51 15,1 1-12-15,2-2-11 0,2 2-20 0,1-2-3 16,2-1-33-16,1 2-29 0,2 1-40 0,2-3-8 16,3 1-38-16,0 1-108 0,0-1-74 15,0 0-138-15,2 2-105 0,0 0-400 16,-1-1 55-16,-1 2 73 0,0-1 72 0</inkml:trace>
  <inkml:trace contextRef="#ctx0" brushRef="#br0" timeOffset="-39964.46">18407 13367 1028 0,'-10'0'395'0,"10"0"-55"0,-15 4-7 16,7-2-31-16,0 1-13 0,0 0-43 0,1 2-11 15,-3 1-12-15,2-1 46 16,-2 1-29-16,4-1-22 0,-1-1-18 0,2 1-29 0,-3 1-20 16,5 0-13-16,-2-1-35 0,3 1-6 0,-1-2-43 15,3 0-8-15,0 1 15 0,2-2-32 16,-2-3-19-16,3 3 36 0,-3-3-26 16,0 0 1-16,14-3-19 0,-14 3 9 15,9-6-9-15,-6 4 11 0,2-2 15 0,0 2 16 16,-2 0-32-16,2-1-4 0,-5 3 38 0,8-1-15 15,-8 1-21-15,10 1 23 0,-10-1-22 0,7 3 17 16,-1-2-10-16,-2 1-18 0,-4-2 41 16,11 1-49-16,-6-1 0 0,3-1 24 15,-1-1-1-15,1-2-20 0,0-1-8 0,0-1 18 0,2-2 13 16,0 0-5-16,-2-2 5 0,-1 1 51 16,1-3-28-16,0-1 28 0,0 2 18 0,-4-2-15 15,-1 0 28-15,2-3-29 0,-2 3-14 16,-1 0 42-16,2 1-6 0,-2 0 11 0,-2 3 9 15,2 1-128-15,-2 0 30 0,3 3-12 16,-3 1 9-16,3 2-1 0,-3 2-4 0,0 0-14 16,0 0 17-16,4 13-2 0,-1-4-6 0,0 2-20 15,-1 3-20-15,0 2-24 0,1 2-43 16,0 0 13-16,1 2-92 0,-3 1-26 0,4-2-105 16,0 0-166-16,-2-2-77 0,0 0-348 0,4-3 43 15,-4-2 118-15,1-1 44 0,-1-2 77 16,-2-1 89-16</inkml:trace>
  <inkml:trace contextRef="#ctx0" brushRef="#br0" timeOffset="-39329.89">18205 13167 1128 0,'0'0'482'0,"0"0"-68"0,0 0-25 0,0 0-115 16,0 13-43-16,0-3-4 0,0-1-17 0,2 4-38 16,1 1-8-16,-3 1-16 0,3 3-48 15,-1 1-59-15,0 1-80 0,1 1-124 16,-3-1-193-16,8 0-466 0,-3-2 113 0,3 0 143 0,-1-3-30 15,1-1 87-15</inkml:trace>
  <inkml:trace contextRef="#ctx0" brushRef="#br0" timeOffset="-38755.18">18504 13331 908 0,'0'0'359'0,"0"0"-16"0,11-5-29 0,-11 5-42 16,10-3-19-16,-2 1-46 0,0 0-40 0,2 0-49 0,-3 1-75 16,5-1-104-16,-3-1-119 15,1 1-452-15,4-1-3 0,-2 0-4 0,0 0 75 0</inkml:trace>
  <inkml:trace contextRef="#ctx0" brushRef="#br0" timeOffset="-38618.52">18754 13285 1110 0,'0'5'369'16,"0"1"-23"-16,2-1-21 0,-2 3-34 0,0-2-12 0,2 2-53 0,-2 1-22 0,0-1 1 16,0 2-43-16,0 0-17 15,0-1-63-15,-2 1-92 0,4-1-115 0,-4 0-162 0,2-1-530 16,0 1 108-16,2-1 69 0,-2-2 70 0,3-2 68 16</inkml:trace>
  <inkml:trace contextRef="#ctx0" brushRef="#br0" timeOffset="-38488.79">18797 13236 657 0,'0'0'215'0,"0"0"-102"0,0 0-87 0,0-4-165 0,0 4-414 15</inkml:trace>
  <inkml:trace contextRef="#ctx0" brushRef="#br0" timeOffset="-37977.16">18902 13304 949 0,'-3'8'351'0,"3"1"-13"0,0 0-26 0,0 1-25 16,-2 0-8-16,2 0-28 0,0 1-36 0,0-1-11 16,0 0-30-16,2 0-15 0,1 0-21 0,2-1-5 15,0-2 1-15,-2-1-22 0,5 0 1 16,-1-3-24-16,-2 1-17 0,3-4 5 0,0 0-34 15,-1-2-15-15,1 0 11 0,0-2-6 0,2-2 0 16,-5 1-7-16,2-2-13 16,-4-1 10-16,2 2-13 0,-2-1-5 0,-3 0 18 0,0 1-15 15,0-1-6-15,-2 1 4 0,2 0-1 0,-3 2 8 16,-2-1-6-16,0 1-2 16,0 0-5-16,0 2 3 0,1 0 12 0,0-1-20 15,4 3 15-15,-6-3-17 0,6 3-1 16,-5-3 5-16,5 3 3 0,0 0-7 0,-5-1 25 15,5 1-31-15,0 0 13 0,0 0-3 16,0 0 26-16,0 0-28 0,24 4 0 0,-19-3-5 0,5 2 18 16,-3 0 7-16,2-1 0 0,-2 1-17 15,3 0 2-15,-2 0 13 0,0-1-8 0,0 2-8 16,-1-1-2-16,-2 1 0 0,3-2 7 16,-3 1-7-16,0 0 31 0,0-1 7 15,2-1 0-15,-7-1 14 0,6 4-7 0,-1-3 45 0,-3 1-8 16,-2-2 12-16,8 5-25 0,-5-3 23 15,2 0 34-15,0 1-19 0,-2 1-2 16,1-2-8-16,2 1 5 0,-3-1-15 0,2 1 0 16,-2 0-18-16,4-1-2 0,-4 1-22 15,1-1-63-15,2 0-28 0,-1-1-61 0,2 0-75 16,1-1-123-16,0-1-210 0,3 1-416 0,1-3 52 16,3 3 147-16,3-3 54 0,3 1 112 15,-1 0 8-15,4 0 94 16</inkml:trace>
  <inkml:trace contextRef="#ctx0" brushRef="#br0" timeOffset="-37622.4">19833 13570 1169 0,'-3'-6'410'0,"3"-2"-16"0,0-1-33 0,3-2-8 0,-3-1-7 16,2-2-31-16,-2 1-13 0,2-2-13 0,-1-1 74 16,-1-2-20-16,0-1-71 0,0-3-1 0,2-1-48 15,-4 1-103-15,2 0-15 0,0-1 0 16,2 4-10-16,-2 0 2 0,-2 4-23 0,4 0 8 15,-2 2-21-15,0 3-32 0,0 1 4 0,0 0-33 16,0 4-15-16,-2-1-44 16,2 2-41-16,0 4-49 0,-1-3-63 0,1 3-100 0,0 0-228 15,0 0-397-15,0 0 125 0,0 0 55 0,0 0 68 16,0 0 87-16,0 0 78 16</inkml:trace>
  <inkml:trace contextRef="#ctx0" brushRef="#br0" timeOffset="-37455.69">19913 13148 1177 0,'-19'6'435'0,"14"-1"-23"15,0-1 57-15,-1 2-73 0,-1 2-7 0,-1 1-56 0,-1 0-5 16,-5 2-47-16,4 1-37 0,-3 2-22 16,-2 0-14-16,2 1-52 0,-2 1-59 0,2 0-56 15,-2 0-85-15,4-3-165 0,3-5-214 16,2 2-470-16,0 0 25 0,0-4 141 0,4-2 74 0,0 1 88 15,2-3 63-15</inkml:trace>
  <inkml:trace contextRef="#ctx0" brushRef="#br0" timeOffset="-37233.27">19802 13169 1228 0,'0'0'425'0,"11"1"-18"16,-4 2 21-16,0 0-37 0,1 1-17 0,2 0-21 15,0 2-30-15,1 1-29 0,1 0-15 16,2 1-61-16,-1 1-42 0,2-2-9 0,-2 2-62 16,0 0-52-16,-1 0-73 0,1-2-70 0,-2 1-196 15,1 1-628-15,-2 1 49 16,-1-1 97-16,1-3 64 0,0 2 46 0,0-1 87 16</inkml:trace>
  <inkml:trace contextRef="#ctx0" brushRef="#br0" timeOffset="-36722.24">21064 13118 1272 0,'0'0'473'0,"0"0"-7"0,0 0-18 16,0 0-51-16,-6 11-62 0,9-4-25 0,-3 3-21 15,0 0-48-15,0 1-1 0,2 4-22 0,-1 0-24 16,1 0-35-16,3 2-39 0,-2 2-25 16,-3 0-67-16,4-1-25 0,-1 1-77 0,-2-1-49 15,1-1-120-15,2-2-90 0,-3-2-156 16,-1-1-353-16,3 1 41 0,-1-4 158 0,-2 0 31 16,2-2 70-16,-1 0 22 0</inkml:trace>
  <inkml:trace contextRef="#ctx0" brushRef="#br0" timeOffset="-36461.89">21047 13176 1072 0,'1'-20'422'0,"4"5"-25"0,-2 2-31 16,2 1-41-16,2 3-2 0,1 0 7 16,0 1-33-16,4 2-18 0,-1 0-79 0,-1 2-19 15,3 3 11-15,-3 1-33 0,1 0 0 16,-1 2 33-16,-3 3-23 0,1-1-31 15,-2 2-10-15,0 2 0 0,-5-1 61 0,2 4 1 16,-6 2-55-16,3 0-4 0,-5-1-24 0,-3 3-30 16,4 0-21-16,-4-1-38 0,0-2-30 15,0 2-55-15,0-2-35 0,3-3-29 0,-3 1-69 16,4-3-97-16,2 0-179 0,-2-1-448 16,2 0 18-16,2-2 195 0,0 2 14 0,2-4 111 15,3 1-5-15,-2-1 71 0</inkml:trace>
  <inkml:trace contextRef="#ctx0" brushRef="#br0" timeOffset="-36174.65">21256 13229 1156 0,'0'0'443'0,"0"0"-13"16,8 9-76-16,-8-5-37 16,0 2-35-16,0 1-14 0,2-2-12 0,-2 2-51 0,2 0-28 15,2 1-11-15,-2 0-23 0,0 0 6 16,4-2-34-16,0 1-23 0,-2-2-5 0,1-1-23 15,4-1 21-15,-2 0-24 0,1-3-7 16,-2 0 10-16,-6 0-13 0,13-3 5 0,-5 0 1 16,0-2-75-16,-3 1 5 0,2-3 13 15,-2-1 23 1,2 0-18-16,-5-1 69 0,4 0 21 0,-2 3-8 0,-2-3-18 0,1 3-7 16,-3 2-11-16,2-1-13 0,1 2 11 0,-3 3-8 15,0 0-5-15,0 0-6 0,0 0-30 0,7 8 16 16,-7-4-60-16,0 2-22 0,0 0-55 15,0 2-91-15,3-3-152 0,-3 5-562 0,1-2 22 16,0 0 195-16,0-1 26 0,4-1 56 16,-2-2 66-16,-1 2 105 0</inkml:trace>
  <inkml:trace contextRef="#ctx0" brushRef="#br0" timeOffset="-35868.86">21489 13301 1226 0,'3'-3'330'0,"-3"3"-36"0,5-6-12 0,0 5-11 0,-1-1-25 16,-4 2-18-16,7-1-13 0,-7 1-21 15,8 3 11-15,-6-1-31 16,2 3-20-16,-1-2 17 0,2 3-20 0,-1 0-10 16,-3 1-16-16,-1-1-17 0,3 2 38 0,-1-1-52 15,0-1 6-15,-1-1 15 0,-1 0-22 0,0 0-27 16,3-1-4-16,-1-2 2 0,-2-2 5 0,1 3-13 16,-1-3-10-16,0 0 5 0,0 0 3 15,0 0 87-15,9-7-18 0,-8 3-31 16,1-1 15-16,3 0 8 0,-2-1-27 0,-1-1-12 0,4 0-14 15,-4 0-26-15,3-2-26 16,0 2-28-16,0-2-28 0,3 2-51 0,-2 1-49 16,0 1-59-16,0 0-164 0,2 1-199 0,-1 1-371 15,1 0 27-15,0-1 119 0,0 3 115 0,2 0 25 16,-2-1 97-16</inkml:trace>
  <inkml:trace contextRef="#ctx0" brushRef="#br0" timeOffset="-34738.47">21847 13191 1052 0,'-10'7'442'0,"0"0"-9"0,2-2-47 16,4 2-55-16,-2 0-14 0,3 1-23 0,-1-2-20 15,1 3-48-15,0-1-32 0,1 1-17 0,2 1 4 16,0-1-19-16,2 0-29 0,-1 1-8 15,4 0-27-15,2-1-32 0,-1 0-22 0,2-3-29 16,-1-2 3-16,3 0-8 0,-2-1 13 16,0-2-43-16,2 0 2 0,0-2 13 15,0-1-3-15,0-1 0 0,1 0-5 0,-3-4 11 0,2 0-24 16,-2-2 16-16,-1 1 2 0,0-3 8 16,-1-2-10-16,-1 2 5 0,0-2 0 15,-2 0 13-15,2-1-8 0,-3 1-13 0,-1-2 0 16,1 0 18-16,2 2-2 0,-2 1 17 0,-2 0 19 15,2 4 17-15,-2-1-10 0,2 1-23 16,-2 3 15-16,2 0 6 0,-2 1 28 0,0 4-8 16,0 0 15-16,0 0-5 0,0 0 5 15,0 0-2-15,0 0 82 0,1 14-8 0,-1-7-13 16,0-1-51-16,0 3 5 0,0 1 11 0,0-1 4 16,0 1-4-16,-1-3-16 0,1 3-34 15,1-2-1-15,-1 1-17 0,0 0 14 0,0-3-5 16,0 1-3-16,0-1 15 0,0 0-7 15,3-1 7-15,-3 1 10 0,0-1-22 0,2-1 12 16,0 0-20-16,-1 1 15 0,4-1-33 0,-3 0-18 16,1 2 10-16,2-3 8 0,-2 1-20 0,1-1 7 15,0 0-33-15,3 0-39 16,-2-1-22-16,3 0-50 0,-1-1 4 16,1 0-60-16,5-2-22 0,-3 0-39 0,1 1-133 0,3-4-47 15,-3 1-63-15,-1 1-36 0,3-2-274 16,0 2 1-16,-3-2 70 0,1-1 91 15,-4 0 560-15,-2 1 135 16,-2-3 52-16,2 3 51 0,0-2 28 0,-5 3 39 0,0-2 43 0,0 3-5 16,0 2-26-16,0-6-81 0,0 6-11 0,0 0-5 15,-7-3 8-15,7 3 2 0,0 0 1 0,-11 3-11 16,11-3 0-16,-7 6-5 16,4-4-18-16,-2 0 5 0,4 3-30 0,-3 0 20 0,1-2-21 15,3 2-2-15,-2-1-18 0,2-4-3 16,2 6-20-16,-2-2 16 0,0-4-9 15,3 5-9-15,0-3 14 0,-3-2-24 16,4 4-1-16,-4-4-5 0,6 0 25 0,-6 0-43 16,0 0 3-16,0 0-3 0,10-4 16 15,-10 4-14-15,5-2 1 0,-5 2 5 0,0 0 28 0,9 0-10 16,-9 0-13-16,4-2 2 0,-4 2-2 0,5-5-16 16,-3 4-4-16,-2 1 4 15,6-3 19-15,-2 1-8 16,0 0 10-16,-2-1-21 0,3 0 19 0,-2 0-6 0,1 0 16 0,-1 2 61 0,4-2 28 15,-7 3 1-15,6-3-24 16,-3 2-13-16,-3 1-12 0,7-2 25 0,-7 2-17 31,5 0 4-31,-5 0-2 0,0 0 0 0,8 4-10 0,-4-2 12 0,-3 2 11 0,-1-4-13 16,3 8-23-16,-3-4 17 0,0 0-7 0,-3 0-12 16,3 3-21-16,-3-1 7 0,-1 0-7 0,4 1-8 15,-2-1-7-15,-2 0-9 0,2 1-32 16,2-1-1-16,-2-2 16 0,2 3-71 0,0-2 22 15,0-2 8-15,1 1-11 0,-1-4-7 16,3 5-5-16,1-4-20 0,-4-1 20 16,9-1-18-16,-1-1-11 0,2-2 22 0,-2 0-22 0,2-2-7 15,0-1 34-15,3 0-9 16,0-3 14-16,0 2-16 0,-3-1 23 0,0 0 21 16,2 1 27-16,-4 1-12 0,-1 2 51 0,-3 0-15 15,2 0 33-15,-2 2 3 0,-1 0-16 0,-3 3 31 16,2-1-15-16,-2 1 28 0,0 0 30 15,0 0-20-15,0 0-5 0,-7 11 0 0,7-6-18 16,-2-1 18-16,2 2-46 0,-1-1 2 0,-2 1-7 16,3-1 2-16,0 1-15 0,0-2 3 15,0 0-65-15,4 2-56 0,-2-2-38 0,0 1-90 16,4-4-215-16,0 3-570 0,0 0 55 16,-1 0 152-16,3-2 105 0,0 1 15 0,0-1 105 15,2-1 30-15</inkml:trace>
  <inkml:trace contextRef="#ctx0" brushRef="#br0" timeOffset="-29378.61">22732 13111 1277 0,'1'-6'435'0,"-1"2"-2"0,0-1-34 0,-1 1-15 0,1 4 59 16,0-8-65-16,0 8-6 0,-1-3-22 15,1 3-20-15,0 0-12 0,0 0-111 0,0 0-28 16,8 13-2-16,-7-5 12 0,2 4-15 16,1 1-22-16,-1 2-22 0,2 4-7 0,-2 0-5 15,2 0-11-15,-2 5-20 0,3-2-15 0,-4-2-18 16,2 4-16-16,-1-1-43 0,2-3-21 0,-3-2-17 15,-1 1-24-15,4-2-15 0,-3-2-46 16,1-2-23-16,-3-2-38 0,0-1-8 16,3-2 30-16,-1 1-48 0,-2-4-64 0,2 0-51 15,-2-1 13-15,0-4-144 0,0 4 49 0,0-4-310 16,0 0-94-16,0 0 158 16,0 0 97-16,0 0 34 0,0 0 30 0</inkml:trace>
  <inkml:trace contextRef="#ctx0" brushRef="#br0" timeOffset="-29110.41">22781 13406 522 0,'-5'-14'263'16,"2"1"1"-16,-2 1 0 0,3-1 2 15,0 0 79-15,1-1-14 0,-1-4-109 0,2 3-2 16,0-1 3 0,0 0 7-16,0 1-27 0,3 0-4 0,-1 2-7 0,4 0 11 0,-4 2-22 15,5 1 16-15,-4 1 75 0,2 2-1 16,2 2-5-16,-1 2-15 0,-1 1-28 0,3 2 15 16,-8 0-18-16,12 3-105 0,-6 1-18 15,1 3-10-15,-4 0 6 0,1 3 6 0,-4-1-40 16,0 0 8-16,0 4-11 0,-4-2-12 0,1-1-21 15,0 3-21-15,-1-3-30 0,1 0-44 16,-2-2-40-16,3 0-39 0,-2-1-28 0,4-2-24 16,-2-1-40-16,0 0-72 0,2-4-25 0,0 0-8 15,0 0-69-15,0 0-8 0,0 0-405 16,0 0 50-16,15-13 53 0,-10 7 94 31,0-1 32-31</inkml:trace>
  <inkml:trace contextRef="#ctx0" brushRef="#br0" timeOffset="-28864.07">22913 13213 629 0,'4'-1'371'0,"-4"1"-25"15,7 4-6-15,-7-4-22 0,3 7-32 16,2-1-17-16,-2 1 3 0,1-1-27 16,0 0-43-16,1 1-33 0,0 3 11 0,0-2-27 15,2 0-7-15,1-1-23 0,0-1 2 16,-1 0 11-16,1-2-36 16,0-1-11-16,0-1-14 0,-1 0 12 0,1-2-21 0,2-4 32 0,-2 1-22 15,0 0 1-15,0-2 18 16,-4 0-13-16,-1-1 18 0,1 1-85 0,-2-2 5 0,-2 0-7 15,-1 0 5-15,-4-1 26 0,3 1-42 16,-3 0 1-16,1 1 7 0,-5 0 0 0,4 2-5 16,-3 0-23-16,3-1-15 0,-3 3-23 15,0-1-18-15,1 3-16 0,2-1-53 0,5 1-31 0,-12 3-80 16,6 0-132-16,3 0-311 16,-2-1-106-16,2 2 71 0,3-4 58 0,-2 6 58 15,2-4 68-15</inkml:trace>
  <inkml:trace contextRef="#ctx0" brushRef="#br0" timeOffset="-28429.15">23104 13204 1459 0,'0'0'450'0,"0"0"-63"0,3 9-37 0,-3-5-20 0,0-4-28 16,2 6-33-16,1-2-41 0,-2 1-23 15,1-1-11-15,0 1-2 0,0 0-2 0,3 0-57 16,-2-1-15-16,2 2-1 0,-2-2-7 0,2 0-23 16,-2 0-7-16,2-3 7 0,0 2-13 15,-1-1-25-15,2-2 27 0,-6 0-27 0,10-2-13 16,-5-1-3-16,3 1 13 0,-2-1 0 16,1 1-2-16,0 0 7 0,-1-1-5 0,-3 2-87 15,4-1 0-15,-4 0 5 0,-3 2 16 16,10-2 10-16,-10 2 2 0,8-2 5 15,-8 2-7-15,7 0 8 0,-7 0 12 0,8-2 8 16,-2 2 30-16,-6 0 6 0,8-3 3 0,-4 3 17 16,1-2 38-16,-2-2 80 0,3 3-15 15,-6 1 23-15,8-5-54 0,-7 3-70 0,2-3 4 16,2 2-9-16,-3-2-9 0,1 1-1 0,0 1-30 16,-1-2 12-16,0 1-12 0,-2 1-28 15,4-2-42-15,-4 5-55 0,1-6-32 16,0 4-56-1,1-1-20-15,-2 3-61 0,5-3-60 0,-5 3-81 0,0 0-139 0,8 0-412 0,-8 0 103 16,5 4 86-16,0-1 52 0,-2 0 51 0,1 0 70 16</inkml:trace>
  <inkml:trace contextRef="#ctx0" brushRef="#br0" timeOffset="-28001.44">23491 13161 965 0,'-3'-4'401'16,"1"0"-42"-16,0 0-24 0,2 4-33 0,-3-6-33 16,3 6-8-16,-3-2-41 0,3 2-15 0,-4-2-11 15,4 2-40-15,0 0-11 0,0 0-4 0,0 0-27 16,-11 7-7-16,11-7-13 0,-2 4 6 16,2-1-14-16,0-3-25 0,4 6-16 15,-3-4 16-15,4 2 3 0,-2-2 27 0,4 3 1 16,-2-1 74-16,3 0 10 0,-3 2-26 15,5 0-2-15,-2 1 10 0,2-1 0 0,-2 1-38 16,0 0-21-16,-3 0 8 0,2-1-10 0,-4 1-5 16,3 1-6-16,-4-3 8 0,0 2-10 15,1-1-5-15,-2-2 30 0,0 1-22 0,0-1-16 16,-1-4 41-16,0 5-10 0,0-5 0 0,0 0 20 16,0 0-23-16,0 0-10 0,0 0-7 15,0 0-21-15,0 0 28 0,4-13-103 16,-1 9 1-16,0-1 2 0,-1-1 3 0,2-1-13 0,-2 0-5 15,4 2-34-15,-2-2-35 16,0 1-18-16,2 0-34 0,-1 2-32 0,2-2-52 16,1 3-46-16,-1-2-54 0,-1 1-194 0,2 0-244 15,0 0-132-15,2 0 14 16,0 1 139-16,3-1 118 0,-2 0 49 0,1-2 27 0,1 1 62 16</inkml:trace>
  <inkml:trace contextRef="#ctx0" brushRef="#br0" timeOffset="-27738.36">23927 13021 1804 0,'3'-4'512'0,"-3"4"-59"0,2-2-38 15,-2 2-34-15,0 0-10 0,0 0-30 0,0 0 2 16,0 0-28-16,0 0-13 0,8 11-28 16,-8-4-42-16,0 1 76 0,3 3-9 0,-3 1-25 15,0 1-36-15,0 2-113 0,0 4-4 0,-3 0-24 16,3 0 3-16,-3-1-41 15,1 2-16-15,0-1-30 0,0-1 2 0,-2-1-38 0,2-3-28 16,1-1-49-16,0-1-43 0,0-2-34 0,-2-1-15 16,3-1-28-16,-2-1-18 31,2-1-5-31,0 0-64 0,0-1 0 0,2 0-218 0,-2-1-443 0,0 0 152 0,0 0 45 0,0-4 42 16,3 6 97-16,-6-2 45 0</inkml:trace>
  <inkml:trace contextRef="#ctx0" brushRef="#br0" timeOffset="-27399.89">23799 13249 1254 0,'-5'-2'540'0,"5"2"-138"0,0 0-39 16,0 0-27-16,0 0-32 0,0 12-27 15,2-6-9-15,0 2 4 0,-1 1-32 16,4 1-25-16,-2 2 0 0,2 1-36 0,-1 0-7 16,2-2-1-16,-3 2-25 0,5-2-25 0,-2 0 2 15,0-1 15-15,-1-1-31 0,3-2-7 16,0-2-5-16,0-2 12 0,2-2-27 0,0-1 19 16,2-2-17-16,-1-2-2 0,3-2-3 0,0-1-21 15,-1-1-23-15,2-1-25 0,-4-1-31 16,3-1-21-16,-5-1-25 0,3 0-41 15,-1-1-20-15,-1 0-32 0,-5 3-27 0,3 1-11 0,0-1-17 16,-3 1-55-16,-3 3-163 16,2-1-67-16,-2 2-368 0,0 2 28 0,-2-1 161 0,0 4 41 15,2-3 67-15,-2 3 74 0</inkml:trace>
  <inkml:trace contextRef="#ctx0" brushRef="#br0" timeOffset="136225.17">16833 527 1167 0,'0'-9'420'0,"0"7"48"0,0 2-46 16,-3-5-43-16,3 5-21 0,0-4-43 0,0 4-15 0,0 0-24 15,0 0-25-15,0 0-3 16,0 0-79-16,0 0-28 0,5 15-3 0,-4-5 6 0,1 2-42 16,1 2 23-16,-1 2-7 0,-1 3-13 15,1 2 0-15,0 0-31 0,1 4 1 0,-3-3-11 0,0 5 15 16,2-2-13 0,-1 1-9-16,-1-6 2 0,2 1 23 0,-2 0-57 15,0-1-33-15,0-1-17 0,2 0-19 0,-2-4-9 0,0 0-57 16,0-2-11-16,0-3-25 0,0 0-33 0,3-2-36 15,-2 0-15-15,-1-2-36 0,2-3-72 16,-2 1-59-16,0-4-20 0,5 2-408 16,-5-2 9-16,0 0 115 0,0 0 68 0,7-8 70 0</inkml:trace>
  <inkml:trace contextRef="#ctx0" brushRef="#br0" timeOffset="136650.31">16766 509 1049 0,'0'-11'384'0,"3"3"-39"0,2 2-9 15,0 0-32-15,2-1-22 0,1 2 0 0,1 1-19 16,3 2-38-16,3-2 52 0,1 4-31 15,0 1-21-15,4 2-25 0,1 3-11 0,3 2-23 16,-3 2-17-16,10 8-8 0,-5 1-1 16,-3 4-32-16,0 1-13 0,-5 2-24 0,0 1-4 15,-8-1 10-15,0-4-24 0,-4 1 1 16,-4 2-16-16,0-3 16 0,-4-1 10 16,-1 3-48-16,-4 1 17 0,-1-2-13 0,0 0 1 0,-2 0-1 15,-5 5-4-15,-1-5 7 0,4-4 20 16,-4-2-25-16,1-2-13 0,2-1 8 0,-3-4 2 15,1 0 6-15,0-2-24 0,-1 0 6 0,1-2-1 16,2-1-14-16,-2-2-17 0,0-1 29 0,1-2-48 16,2 1-24-16,1-1-25 15,-1 0-29-15,2-1-4 0,0-1-54 0,2 0-85 16,0 1-82-16,0-3-99 0,3 2-469 0,3-1 120 16,-1-1 39-16,3 4 123 0,-1-6 43 15,2 2 41-15</inkml:trace>
  <inkml:trace contextRef="#ctx0" brushRef="#br0" timeOffset="137037.25">17213 810 1284 0,'0'0'510'0,"0"0"-62"16,0 0-51-16,0 0-21 0,4 9-41 16,-4-3-46-16,0 0-7 0,3 2-49 0,-3 2 15 15,0 0-125-15,0 2-49 0,-3 0-30 0,3 1-42 16,-2 1-45-16,0-1-47 0,1-1-30 16,-1 1-103-16,-1 0-107 0,-1-2-39 0,4-3-468 15,-1 2 77-15,1-4 54 0,0-1 71 16</inkml:trace>
  <inkml:trace contextRef="#ctx0" brushRef="#br0" timeOffset="137210.53">17195 722 1177 0,'-1'-3'320'0,"1"3"-62"0,0 0-68 0,0 0-101 15,0 0-160-15,5-4-600 0,-5 4 80 16,0 0 58-16</inkml:trace>
  <inkml:trace contextRef="#ctx0" brushRef="#br0" timeOffset="137497.94">17415 718 1244 0,'-8'4'396'0,"4"0"-19"0,-2 1-17 16,-2 1-42-16,5 2-37 0,-1 0-35 0,1 1 36 0,0 0-1 0,3 0-30 15,-2 2-38-15,4-1-42 0,1 1-5 0,0 1-17 16,-1-1 5-16,1-1-44 0,2 0-3 16,-2 0-2-16,-1-2-3 0,3 0-15 15,-4 0-2-15,1-2-8 0,0 2 20 0,-2-1-87 0,-2-1 13 16,0 1 3-16,-2-1 7 15,0 1-7-15,-4-1-1 0,0 1 3 0,1 0 19 16,-4-2-27-16,1 1-23 0,-3-2-17 0,2 0-11 16,-1 0-40-16,2-2-47 0,0 2-38 15,1-4-31-15,-1 3-56 0,3-1-177 0,-1-2-49 16,1 0-447-16,7 0 117 16,0 0 70-16,-9-2 66 0,9 2 105 0</inkml:trace>
  <inkml:trace contextRef="#ctx0" brushRef="#br0" timeOffset="139195.68">17661 687 1264 0,'0'0'486'0,"0"0"-53"0,-8 8-8 16,3-2-151-16,0 2 0 0,-2 3-44 0,-1 1-18 15,3 3-25-15,-1 0-10 0,-1 1-18 16,0 2-29-16,1 0 6 0,1 0-44 0,0 0-33 15,2 1-18-15,3-3-16 0,0-1-2 0,0-1 11 16,0-2-16-16,3 0-8 0,2-2 10 16,-2-3-20-16,4-1-7 0,-2-2 17 0,3-1-13 15,2-2 14-15,0-1-9 0,-2-1 1 0,3-2 2 16,-1-2 10-16,0 0 1 0,0 1-4 16,0-2 22-16,-1 0-9 0,-2 1 19 0,0 1-21 15,-1 2 13-15,-1-1 12 0,0 1-25 0,-2 0 0 16,-3 2 5-16,0 0-7 0,10 3-6 15,-8 0 3 1,1 0 0-16,-1 2-20 0,-1 0 4 0,1 0-33 0,3 1-15 0,-2-1 3 0,2-1 4 16,0 0 1-16,0-2-16 0,3 0 13 0,0-1 3 15,2-1 0-15,0-1 22 16,0-1 3-16,0-2 6 0,1 1 32 0,-1-3-2 16,-2 1 31-16,2-3-10 0,-2 2 25 0,-3-1-5 15,-3-1 20-15,1-1-15 0,-1 3-15 0,-2-4 15 16,-2 2-20-16,-3-1 15 0,0 0 7 15,-1 1-37-15,1 1 2 0,-5 0 2 16,3 3-5-16,-1 1-12 0,0 2 20 0,0 0-18 16,-2 3 10-16,3 0-20 0,-2 1 10 15,2 1-16-15,-1 1-17 0,1 0-5 0,1 0-8 0,2 1 18 16,1-1-26-16,2 0-7 0,1 0 2 16,1-2-10-16,2 2 20 0,4-3-12 15,-2 1-19 1,0-1 24-16,3-2-5 0,2 0 4 0,0-2 9 0,0 1-1 0,1 0 11 0,-1-2 2 15,-2 1 18-15,2-2-5 0,0 1 13 0,-2-1 15 16,0 1 8-16,-1 0 2 0,-1-2-9 16,2 2 6-16,-4-1 6 0,2 1 26 0,-1-1-29 15,-3 3 6-15,5-2-6 16,-6 1 19-16,-1 2-6 0,7-4-5 0,-6 2-28 0,-1 2-5 16,7-1 20-16,-7 1 3 0,0 0-11 0,5-1 11 15,-5 1 0-15,0 0-31 0,0 0 31 0,8 2-8 16,-8-2-18-16,6 2 11 15,-6-2-11-15,4 4-7 0,-1-2 17 0,-3-2-10 16,3 4 0-16,-1 0 14 0,0-2-17 0,-1 2 1 16,-1-4-3-16,5 5 5 0,-2-2 0 0,-3-1-7 15,0-2 5-15,2 5-6 0,0-3 8 16,-2-2 1-16,4 5-6 0,-4-5-3 0,2 4 14 16,-2-4-19-16,2 2 16 0,-2-2-31 0,3 4 26 15,-3-4 5-15,3 3-8 16,-3-3-8-16,2 1 16 0,-2-1-11 0,5 3 1 0,-5-3-8 15,0 0 23-15,5 1-28 0,-5-1-1 0,0 0 4 16,0 0-14-16,0 0 29 16,13-4 10-16,-10 3-18 0,-3 1 7 0,5-4 1 15,0 2 8-15,-3 0-16 0,-2 2 20 0,3-5 0 16,-1 2 6-16,-2 3 0 0,6-5-11 0,-6 1 26 16,2 2-5-16,-2 2-5 15,0-7 12-15,2 3-7 0,-2 4-8 0,0-7 3 0,2 4-18 16,-2 3 20-16,0-6-8 0,0 6-7 0,0-5 26 15,0 5-24-15,0-5 1 0,0 5 17 16,0 0-15-16,0-5-15 0,0 5 15 16,0 0-8-1,0 0-20-15,0-3 8 0,0 3 7 0,0 0 21 0,0 0-31 0,0 0-13 0,0 0 13 16,0 0 18 0,0 0-23-16,0 0 0 0,1 12 2 0,-1-9 6 0,0 3-6 0,1-3 3 15,-1 0-23-15,2 2-28 0,-2-1 20 0,2 1-30 16,1 0 30-16,-3-1 0 0,3 0-23 15,-1 0 31-15,1 0-28 0,-1-2-3 0,1 2 11 16,-3-4-1-16,3 5 9 0,-1-3 4 0,-2-2 8 16,5 3-13-16,-5-3 3 0,3 1 20 15,-3-1-5-15,0 0-5 0,0 0 20 0,0 0-4 16,15-4 14-16,-15 1 1 0,3 0 2 16,1-2-2-16,-3 1 33 0,4 0-26 0,-1-1-12 15,0 0 12-15,0 1 6 0,-1-1-6 0,2 0 6 16,0 0-1-16,1 3 8 15,-2-1-5-15,0 0 13 0,3 2 90 0,-7 1-19 0,8-1-28 16,-8 1 31-16,10 4-23 0,-3-2 8 16,-4 2-26-1,3 0 6-15,-2 1-6 0,2 1 5 0,-2 1-13 0,-1-2-25 0,2 1-5 0,-2 1 7 16,0-1-7-16,1 0-34 16,-1 0 39-16,0-2-23 0,0 0 20 0,-1 1-104 0,0-1 12 15,1-1 43-15,-3-3-14 0,3 4 35 16,-1-2-10-16,-2-2 5 0,6 2-11 0,-6-2 14 0,0 0 5 15,0 0 20-15,15-5-20 0,-13 3-3 16,4-1 33-16,-2 2-43 0,2-1 13 0,-1 0-3 16,0 1 0-16,-5 1 3 0,10 0-14 15,-5 1 29-15,2 1-33 0,-3 0 5 16,3 2-8-16,-2-1 72 0,0 2-72 0,-2-1-7 16,2 2-11-16,1-2-2 0,-4 2-13 0,3-1-54 15,-5 1-48-15,3-1-29 0,1-2-51 0,-3 0-56 16,1-1-51-16,1 2-90 15,-3-4-118-15,0 3-481 0,0-3 156 0,10 0 29 0,-10 0 97 16,8-2 120-16,-3-3 20 0,3 0 41 0</inkml:trace>
  <inkml:trace contextRef="#ctx0" brushRef="#br0" timeOffset="139466.87">18558 660 1149 0,'0'0'486'0,"-2"-3"-40"0,2 3-22 15,0 0-45-15,0 0-13 0,-10 7-28 16,7-2-31-16,1 4 8 0,-2-2-31 0,2 6-46 16,0-1-25-16,-1 4-11 0,0-1-23 0,-1 4-15 15,1 0-31-15,3 1 18 0,-5 0-110 0,5 0 0 16,-2-2-10-16,2 1 2 0,0-2-20 16,0-2-29-16,2 0-1 0,0-2-29 0,1-1-26 15,0-1 3-15,1-3-46 0,-1-1-11 0,4-2-15 16,-3 1-17-16,1-4-6 0,3-1-44 15,-1-1-83-15,-2 0-88 0,3-3-433 16,0 3-4-16,-1-4 115 0,-1 1 53 0,1-3 52 16,-2 2 48-16</inkml:trace>
  <inkml:trace contextRef="#ctx0" brushRef="#br0" timeOffset="139749.46">18413 815 1236 0,'-8'0'494'0,"8"0"-39"0,0 0-19 0,0 0-29 0,0 0-16 0,0 0-38 0,0 0-30 16,0 0-31-16,28 1-8 16,-20-2-41-16,2 1-20 0,0-1-26 0,0 1-23 0,1-3-5 15,-1 3-31-15,2-2-7 0,-1 1-14 0,-1-1-42 16,2 0-27-16,-1 0-53 0,-1 1-28 15,3-2-41-15,-2 1-42 0,-1 0-60 16,1 1-83-16,-1 0-148 0,2 1-276 0,0 0-185 0,-1 1 41 16,2 0 52-16,2 1 94 15,1 0 64-15,-1 1 131 0</inkml:trace>
  <inkml:trace contextRef="#ctx0" brushRef="#br0" timeOffset="140280.51">19389 961 834 0,'3'-4'402'0,"-3"-2"46"0,2 1-31 0,0-4-20 0,-2 0-34 0,1-2-20 16,-1-1-23-16,2-2-25 0,1-4-22 0,-1-1-11 16,-1-2-14-16,1-4-13 15,0-3-4-15,1 2-21 0,-2-2-93 0,-1 0-19 16,0-1-14-16,2 1 85 0,0 1-21 0,-2 0 9 0,3 1-32 15,-3 0-5-15,3 7-4 0,-3-2-40 16,0 0 32-16,2 2-16 16,-2 3 26-16,0 0-18 0,0 0-34 0,0 0 11 15,0 3-8-15,0-1 31 0,0 2-39 0,0 1-4 16,0-1 27-16,0 2-17 0,2 1-16 0,-2 1 18 16,2 0-26-16,-2 1-17 0,1 2 10 0,-1-1 7 15,0 2-20-15,0-1 11 0,0 0-27 16,-1 2-12-16,1 3-18 0,-2-6 36 15,2 6-21-15,-2-5 16 0,2 5-11 0,0-4-12 0,0 4-21 16,0 0-28-16,0 0-25 0,-2-3-11 0,2 3-33 16,0 0-8-16,0 0-20 0,0 0 2 15,0 0-23 1,0 0-61-16,0 0-8 0,0 0-66 0,-6 9-136 0,2-7-187 0,3 0-330 16,1-2 84-16,-5 5 113 0,5-5 64 15,-2 3 59-15,1 0 82 0</inkml:trace>
  <inkml:trace contextRef="#ctx0" brushRef="#br0" timeOffset="140565.04">19440 211 1448 0,'0'-2'420'0,"0"2"2"0,0 0-63 0,0 0-21 15,0 0-39-15,0 0-10 0,0 0-35 0,0 0-21 16,-17 11-29-16,11-6 12 0,-2 5-45 15,-2 0 3-15,0 3-10 0,-1-2-28 0,-3 5-24 16,1-2-2-16,-3 0-20 0,1 1-1 16,2 1 9-16,-2-1 4 0,-1 0-30 0,3-1-29 0,-4 0-2 15,6-1 23-15,-1-1-25 0,-2 0-1 16,4-2-15-16,0-3 0 0,3 2-31 0,-3-3 14 16,2 2-65-16,2-3-16 0,2 0-35 15,-2-1-41-15,4-1-28 0,-1-1-31 16,-2 1-43-16,5-3-62 0,0 0-112 0,-3 2-93 0,3-2-338 15,0 0 60-15,0 0 84 0,0 0 97 0,0 0 36 16</inkml:trace>
  <inkml:trace contextRef="#ctx0" brushRef="#br0" timeOffset="140975.46">19379 249 1095 0,'0'0'379'0,"0"0"-21"0,0 0 42 16,0 0 14-16,17 10-96 0,-11-6-16 0,-1 0-3 0,3 2-28 16,2 2-89-16,-2-2-23 15,4 3 5-15,-1-1 10 0,1 2-21 0,2-1-22 16,0-1-13-16,-1 0 20 0,1 1-33 0,0-2-13 15,-3 0 13-15,4 1-8 0,-4-1-28 0,-1-2 18 16,2 1-20-16,-1 0-11 0,-1-1 36 16,0 0 0-16,1 0-25 0,-3-2-6 0,1 1 39 15,0 0 49-15,-2-1-8 0,1 0-3 0,-1 0-18 16,-1-1 13-16,1 1-28 16,-1-1-18-16,1 1-13 0,-4-2 31 0,4 0-2 0,-4 1-14 15,2-1-45-15,-5-1-19 0,8 2-32 0,-3-1-16 16,-5-1-82-16,5 0-5 0,-5 0-31 15,7 3-77-15,-4-1-43 0,-3-2-87 16,0 0-218-16,0 3-465 0,0-3 84 0,4 5 107 16,-4-5 72-16,0 0 110 0,-6 5 47 0,3-4 35 15</inkml:trace>
  <inkml:trace contextRef="#ctx0" brushRef="#br0" timeOffset="141570.87">20635 263 1180 0,'0'0'496'0,"0"-5"-33"0,0 5-38 15,0 0-15-15,0 0-29 0,0 0-12 0,3 11-29 16,-1-3-22-16,1 5-57 0,-1 0-13 0,0 1-89 16,-1 5-13-16,2 3-34 15,-3 3 6-15,2 3-16 0,-2 0-17 0,1 0-6 0,-1 1-12 16,0-1-16-16,0 0 0 0,0-2-43 0,0-2-23 16,1-3-24-16,0-2-56 0,-1-3-22 15,0 0-11-15,0-2-80 0,2-2-19 0,-2-2-114 16,0-4-66-16,0 1-461 0,5-1 49 15,-4-1 74-15,1-3 77 0,-2-2 95 16,2 5 41-16</inkml:trace>
  <inkml:trace contextRef="#ctx0" brushRef="#br0" timeOffset="141931.91">20589 361 1402 0,'5'-12'369'0,"0"1"-26"0,3 2-23 16,2 1-21-16,-2 2-15 0,2 1 64 0,3-1-40 0,0 2-17 15,0 1-29-15,2 3-17 0,-5 0-25 16,5 3-97-16,-2 1 23 0,0 2-18 16,0 0-38-16,-2 1 10 0,-1 3 2 0,-2-1-18 15,-1 1 26-15,-2 2 3 0,-3-1 43 0,-1 1 13 16,-4 0-5-16,1 0-21 0,-2 1-2 15,-4 0 46-15,-1 0-72 0,-1 0-10 0,0-2 5 16,-3 0-10-16,0-1-15 0,0-2-14 0,0-1-15 16,2-1-56-16,-3-1-20 0,4-1-52 15,-1 0-40-15,1-1-44 0,2 0-49 16,0-1-56-16,4-1-64 0,1 1-126 0,3-2-89 16,-5 1-466-16,5-1 120 0,0 0 47 0,0 0 94 0,0 0 77 15,15-8 61-15</inkml:trace>
  <inkml:trace contextRef="#ctx0" brushRef="#br0" timeOffset="142445">20838 482 1310 0,'5'2'358'0,"0"2"-27"0,1 0-29 0,-2 2-16 16,1 1-12-16,-2 0-18 0,2 3-33 16,0 0 0-16,1 0-31 0,-4 2-11 15,2 1 4-15,-3 0-29 0,-1 0-28 0,3 0-3 0,-3 0-15 16,0-3-7-16,0 0-29 0,0-1 21 15,0-1-19-15,0 0-1 0,0-4 19 16,0 2-19-16,0-2-1 0,0-4 8 0,0 3 12 0,0-3-14 16,0 0 2-16,0 0 0 0,0 0-29 15,0 0-4-15,2-14-16 0,1 8 13 0,-1-1-38 16,3 0-6-16,-2-1-22 16,5-2-16-16,0 1-28 0,-1-1-25 0,3 0 9 0,1 0-48 15,1 0 21-15,-4 2-39 0,5 1 36 16,-1-1 13-16,-3 1-6 0,1 2 24 0,-2 1 20 15,-1 1-23-15,-2 0 36 0,0 3 20 0,-5 0 14 16,8 0 17-16,-8 0 20 16,5 6 19-16,-4-3-14 0,-1 3 34 0,-1 0-30 0,1 2-1 15,-2 0-5-15,2 0 13 0,0 1-23 0,0-1 5 16,0 2 13-16,3-1-26 0,-1 0 29 16,0-1-37-16,4 0 19 15,1-2 7-15,2-1 10 16,0-1-30-16,-1-2 30 0,4 0-17 0,0-2-1 0,2-2 3 0,-1 0 34 0,2-2 12 15,-4 0 30-15,4-2 17 0,-7 0 37 16,2 1 19-16,-2-2-26 0,0-1-31 0,-6 2 69 16,0 0-15-1,1-1 15-15,-3 1 26 0,-3 1-2 0,-1-2-155 0,-2 1 34 0,1 2-53 16,-3-1 32-16,-2 1-7 0,2 1 20 16,-2 0-56-16,0 2-5 0,0 0-38 0,1 1-47 15,-1 1-27-15,0 0-83 0,3 3-38 0,-1-1-59 16,0 1-41-16,3 1-33 15,0-1-128-15,0 0-97 0,5 0-405 0,0 0 74 0,0-4 98 16,5 6 84-16,0-4 52 0,3 0 114 0</inkml:trace>
  <inkml:trace contextRef="#ctx0" brushRef="#br0" timeOffset="142723.99">21402 441 1387 0,'-3'-10'522'0,"1"0"-89"0,-1 0 20 0,3 2-67 0,-5 1 11 15,4 0-51-15,-1 0 2 0,0 3-31 16,-1 0-46-16,0 0-35 0,-1 1-6 16,4 3-7-16,0 0-46 0,-13 5 2 0,8 2-39 15,-3 1 12-15,3 5-27 0,-3 4 52 16,0 3 12-16,4 3-41 0,-4 14 11 0,2 1-31 16,4 3 8-16,2-1-16 0,0 1-15 15,0 0 5-15,2-2-20 0,2 0-65 0,-2-6 19 0,3-5-42 16,-3-3-48-16,-1-3-36 0,1-2-25 15,0 0-42-15,1-2-27 0,-3-4-6 0,0-2-53 16,0-1-34-16,0-2-74 0,3-2-159 16,-6-3-509-16,3 0 64 0,0-4 87 0,0 0 95 0,0 0 122 15,0 0 3-15,0 0 110 16</inkml:trace>
  <inkml:trace contextRef="#ctx0" brushRef="#br0" timeOffset="143027.06">21140 923 1269 0,'-5'-3'341'0,"5"3"-9"0,-2-4-22 0,2 4 7 16,0 0-53-16,7-6-16 16,1 1 6-16,0-1-52 0,4 0-10 0,2-1-21 0,1-2-9 15,5-2-24-15,2-1-10 0,-3 2 66 16,11-7-12-16,-1 0-15 0,1 1 4 0,-6 1-5 16,-3 2-55-16,0 1-14 0,-1 3 44 15,-2 0-8-15,-3 2-13 0,-3 1 31 0,-1 0-23 0,-1 2-20 16,-2 1 27-16,2 2 11 15,-4 1-28-15,1-1-26 0,-7 1-15 0,10 4 20 16,-7-1-7-16,1 2-3 0,-3 1-54 0,2-1-20 16,-3 1-49-16,0 1-67 0,0 2-45 15,-3-2-67-15,2 0-51 0,1 1-80 0,-2-4-219 16,0 2-470-16,2 1 93 0,0-2 111 0,-3-1 63 16,3-4 130-16,3 3 73 0,-3-3 17 15</inkml:trace>
  <inkml:trace contextRef="#ctx0" brushRef="#br0" timeOffset="143134.79">21606 698 941 0,'-2'-4'351'0,"0"1"-44"0,2-1-35 15,0 4-80-15,-3-8-70 0,3 6-127 0,-2-3-194 16,2 5-474-16,2-7 33 16,1 1 112-16</inkml:trace>
  <inkml:trace contextRef="#ctx0" brushRef="#br0" timeOffset="143372.15">21797 410 1730 0,'0'0'576'16,"2"-2"-34"-16,-2 2-76 0,0 0-31 15,0 0-76-15,0 0-49 0,5 11-21 0,-5-4-18 0,-2 3-12 16,2 1-44-16,0 5-26 0,-3 3 21 0,3 2-26 16,-2 4-35-16,-1 1-9 15,1-1-6-15,-1 0-24 0,2 0-3 0,1-3-25 16,0-2-8-16,1 0-20 0,-1-2-13 0,3-1 8 15,1-3-42-15,-1-2-2 0,4-2-43 16,-4-1 15-16,3-2-28 0,2-1-29 0,-1-4-42 16,3 1-45-16,-3-3-15 0,2 0-33 0,1-1-28 15,-2-2-54-15,2 1-168 0,-2-3-181 16,2 0-275-16,-3-2 87 0,-2 1 109 16,0 1 42-16,-1-3 91 0,-4 2 60 0</inkml:trace>
  <inkml:trace contextRef="#ctx0" brushRef="#br0" timeOffset="143622.23">21684 638 1290 0,'0'0'491'0,"0"0"-40"0,0 0-24 0,0 0-25 0,0 0-26 0,0 0-28 16,0 0 0-16,22-5-56 15,-14 3-26-15,1 0-10 0,3 0-48 0,3-1 30 0,1 0-80 16,0 1 37-16,-2-1-44 0,2 0-26 15,-3 0-63-15,2 0-11 0,0 0-69 16,-2-1-59-16,1 0-33 0,0 0-89 0,-1 2-116 16,-5-2-207-16,5 1-456 0,2 0 110 15,-2-1 108-15,2-1 48 0,-2 0 62 0,3-2 84 16</inkml:trace>
  <inkml:trace contextRef="#ctx0" brushRef="#br0" timeOffset="143941.23">22812 237 1781 0,'1'-6'489'0,"-1"6"-46"0,0 0-16 16,0 0-58-16,0 0-3 0,0 0-31 0,2 14-40 15,0-6-1-15,-2 1-20 0,2 2-28 16,-2 2-1-16,0 3 88 0,3-1-123 0,-3 2-26 16,0 4-43-16,0 2-18 0,-3 3 10 15,1-1 0-15,0 2-33 0,-1 1-39 0,0-1-7 0,0 0-10 16,-1-1 2-16,1 0-49 16,-2-1-22-16,0-2-42 0,2-4-33 0,-2-1-46 15,0-2-33-15,3-3-41 0,0-2-23 0,-2 0 0 0,2-1-62 16,0-3-12-16,1-3-177 0,-1 2-482 15,-1-1 124-15,1-3 46 0,2 3 168 16,-3-3 1-16,3-2 81 0</inkml:trace>
  <inkml:trace contextRef="#ctx0" brushRef="#br0" timeOffset="144345.87">22672 579 1295 0,'0'0'499'0,"0"0"-23"0,1-5-5 0,-1 5-54 16,0 0-23-16,0 0-43 0,0 0 15 16,8 9-54-16,-5-2-30 0,2 0-16 0,0 4 3 15,0 2-34-15,2 2-12 0,0 1-46 0,-3 2-6 16,4-1 8-16,0 3-12 15,-1-4-29-15,1 1-7 0,0-3 7 0,1-1-113 0,-1-1-12 16,0-1 20-16,0-2-27 0,2-3 11 0,0 0 22 16,-2-3-29-16,5-2 34 15,-3-2-19-15,3-1 34 0,0-1-15 0,2-4-21 16,2 1 15-16,-2-3-7 0,3-3-3 0,-1 1-51 16,1-1 54-16,0-1-6 0,-3 0-22 0,1-1-1 15,0 3-20-15,-4 1-10 0,0-1 0 16,-2 3-41-16,-1 1-13 0,-2 0-51 0,-2 0-62 15,1 3-55-15,-4 0-37 0,2 1-100 16,-3-1-189-16,-1 4-442 0,0 0 99 0,0 0 66 16,0 0 83-16,0 0 99 0,-23 7 54 0</inkml:trace>
  <inkml:trace contextRef="#ctx0" brushRef="#br0" timeOffset="-26847.4">2516 12704 1057 0,'0'0'363'0,"0"0"-28"0,-5-3-25 16,5 3-54-16,0 0-25 0,-3-1-68 0,3 1 14 15,0 0-64-15,0 0-121 0,0 0-202 16,-7-3-23-16,7 3-496 16,0 0 48-16,-3 7 102 0,1-5 57 0</inkml:trace>
  <inkml:trace contextRef="#ctx1" brushRef="#br0">2037 6800 0,'14'0'187,"25"0"-187,93 0 16,226-13 15,-213-14-31,252-39 31,-132 13 0,-212 27-15,105-27 15,80 13 1,-118 27-17,144-67 16,1-12 16,-80-14-31,-66 27 0,-26-1 30,-80 54-30,13 12 15</inkml:trace>
  <inkml:trace contextRef="#ctx1" brushRef="#br0" timeOffset="534.91">4617 5940 0,'0'0'31,"13"-13"0,67 13-31,65 0 31,-79 0-31,212 0 32,-225 0-1,-40 0 0,14 0-15,-14 79 15,-13 146 0,0-132-15,0-14-1</inkml:trace>
  <inkml:trace contextRef="#ctx1" brushRef="#br0" timeOffset="82126.17">5345 106 0,'79'1071'250,"-79"-978"-203,0-53 0,-79-1244-47,171 2421 375,-65-1217-375,26 0 15,343 40 17,-197-27-17,396-13 48,-330 0-32,92 0 0,304 0 32,-198 0-16,-158 0-16,171 0 16,-251 0 0,0 0-1,185 0 17,-225 0-32,159 0 32,13 0-1,-264 0-31,13 0 16,145 0 31,-225-13-78,-12 13 125,-14-40-109,-14-106 15,14 67-15,0-424 31,0 133 0,0 238-16,0 65 16,0 41 0</inkml:trace>
  <inkml:trace contextRef="#ctx1" brushRef="#br0" timeOffset="130894.58">11549 8215 0,'79'0'125,"-12"0"-109,52 0-16,516 0 31,-53 0 16,-424 0 0,-144 0 0</inkml:trace>
  <inkml:trace contextRef="#ctx1" brushRef="#br0" timeOffset="132948.2">6191 13996 0,'-13'0'141,"26"0"-125,239-13 15,-107 13-31,675-13 62,-304 13 1,-503 0-32</inkml:trace>
  <inkml:trace contextRef="#ctx1" brushRef="#br0" timeOffset="134493.27">9816 13838 0,'13'0'109,"27"0"-109,53 0 16,118 0 15,-105 0-31,675 0 47,-557 0-16,-144 0-15</inkml:trace>
  <inkml:trace contextRef="#ctx1" brushRef="#br0" timeOffset="161462.87">16179 8123 0,'13'0'94,"54"0"-94,237 0 31,-198 0-16,396-238 32,-475 39 0,-146-26 0,-318 27 0,93 171 15,27 67-15,-54 238 16,318-106-16,53 53 15,93-93-15,53-13-16,171-106 16,239-13 31</inkml:trace>
</inkml:ink>
</file>

<file path=ppt/ink/ink21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5:46.270"/>
    </inkml:context>
    <inkml:brush xml:id="br0">
      <inkml:brushProperty name="width" value="0.05292" units="cm"/>
      <inkml:brushProperty name="height" value="0.05292" units="cm"/>
      <inkml:brushProperty name="color" value="#C00000"/>
    </inkml:brush>
  </inkml:definitions>
  <inkml:trace contextRef="#ctx0" brushRef="#br0">3752 5328 1538 0,'0'0'494'0,"-3"-4"-85"15,3 4-14-15,0-5-50 0,0 5-22 0,0 0-8 0,0 0 40 16,0 19-9-16,-2-7-39 0,4 4 0 16,-2 7-112-16,0 2-26 15,0 6-13-15,0 11 8 0,0-1-1 0,0 3-35 0,-3 1 3 16,3-1-16-16,-2-2-15 0,2 0-23 0,-2-8-3 15,2-5-33-15,0 1-8 16,-3-4-56-16,0 2 0 0,3-7-46 0,0-1-26 16,0-2-7-16,0-2-21 0,0-3-7 0,0-4-47 0,0 2-12 15,1-3-32-15,-1-3-37 16,2-2-60-16,1 0-81 0,-3-3-28 0,0 0-485 16,7-8 75-16,-4 1 113 0,2-2 56 0,-2 2 59 0</inkml:trace>
  <inkml:trace contextRef="#ctx0" brushRef="#br0" timeOffset="371.66">3711 5472 1144 0,'0'-19'483'0,"0"3"-55"0,5 1-29 0,-3 2-43 0,4 1-21 16,-1 2-4-16,3-2-104 0,4-1 1 15,1 3-23-15,2 4-36 0,3-1 25 16,-2 6 1-16,2 0-44 0,-1 2 0 0,4 4 0 0,0 2 0 16,2 1-15-16,-7 3-26 0,2 1 23 0,-6 1 36 15,1-1 20-15,-6 3-15 16,1-2-33-16,-6 3 15 0,-1-3-41 0,-1 1-15 0,-3 3 33 16,-5-2-38-16,1 4-18 31,-6-2 5-31,-2 2-8 15,0-2 5-15,1-2-15 0,-1-2-33 0,-2 0 10 0,3-4-26 0,-1-1-45 0,2-1 4 0,0-2-17 0,0 1-37 16,4-4-17-16,0 1-23 0,-1 0-34 0,3-3-23 0,2 1-27 16,2 1-27-16,3-2 9 15,0 0-83-15,0 0-48 0,0 0-72 0,0 0-87 0,0 0-445 16,10-6 109-16,-2 3 109 16,2 2 45-16,-2 0 108 0,4 0 7 15</inkml:trace>
  <inkml:trace contextRef="#ctx0" brushRef="#br0" timeOffset="1108.48">4370 5256 1008 0,'0'-3'466'0,"0"3"-18"0,-7-1-54 16,7 1-38-16,-10 10 10 0,4-1-10 16,1 7-54-16,-3 4 0 0,0 4-100 15,-2 10-13-15,0 3-4 0,2 5-22 0,-2 3-9 0,2 11-3 16,1 1 3-16,1-8-19 16,1 9-7-16,3-7-20 15,-1-3-1-15,3-1-25 0,0-2 3 0,5-6-32 0,-2 0-6 0,2-8 1 16,0-3 3-16,0-3 6 0,2-4-27 0,2 1-12 15,1-3-33 1,-2-5-31-16,2-1-3 0,-2-1-7 16,-1-5-6-16,3-1-14 0,-2 0-22 0,2-5-19 0,0-1-32 0,0-1-33 0,1-1-22 15,-1-3-93-15,1-1-133 0,-1 1-146 16,3-3-312-16,-1-3 112 0,-1-2 77 0,1 1 128 16,-1-1-33-16</inkml:trace>
  <inkml:trace contextRef="#ctx0" brushRef="#br0" timeOffset="1384.55">4762 5520 1461 0,'1'-5'435'0,"-1"5"-56"0,0 0-26 0,0 0 21 0,0 0-44 0,0 0-51 0,2 19 10 0,0-8-25 16,-2 3 2-16,3 4-46 15,-3 4-12-15,0-1-21 0,-3 5-3 0,1 3-23 0,2-2-23 16,-3 2-20-16,1-3-18 0,-3 3-23 0,-1-3-44 16,1 0-28-16,0-2-48 0,0-3-52 15,0-3-30-15,5-2-26 0,-3-3-24 0,1-4-11 16,2-2-40-16,2-1-137 0,1-1-72 0,0-5-433 16,4 0 18-16,-7 0 98 0,18-11 71 15,-5 3 105-15</inkml:trace>
  <inkml:trace contextRef="#ctx0" brushRef="#br0" timeOffset="1681.55">5091 5644 1023 0,'0'0'466'0,"-11"0"-54"0,11 0-7 0,-18 6-8 0,3 2-19 16,-3 4-9-16,-3 0-18 0,-10 6-8 0,1 3-44 15,1-2-7-15,-2 3-92 0,4-3-1 16,1 0-27-16,3-6 25 0,7 0 54 15,4-1 5-15,-1-3-64 0,3 2-13 0,2-1 3 0,0-2-21 16,3 2 23-16,2-2-43 0,1-1 25 16,4 1-117-16,-1-2 0 15,4 1 4-15,0 0 22 0,5-3-14 0,0 1-23 0,1 0-12 16,4-4-21-16,0 3-2 0,3-3-26 0,0 0-67 31,0-1 26-31,0 0-31 16,-2-1-43-16,2-2-10 0,0 1-32 0,-4 2-29 0,3-3-50 0,-3 0-69 0,0 1-138 0,-2-1-429 0,1 1-99 15,0 1 116-15,-3-2 47 16,3 1 142-16,-3-1 52 0,3 1 48 0</inkml:trace>
  <inkml:trace contextRef="#ctx0" brushRef="#br0" timeOffset="2465.42">5937 5538 1387 0,'-1'-3'481'0,"1"3"-120"0,0 0-38 0,0 0-11 15,-12 5-10-15,9 0-39 0,-2 2 6 0,0 4-15 0,2 1-21 16,-2 3-16-16,0 3-7 16,2 1-41-16,-1 5 18 0,0 0-34 0,2-2-14 15,0 4-14-15,2-5-12 0,2 2-11 0,-2-3-10 0,2-1-15 16,4 1-10-16,-1-4-1 0,2 0 11 15,1-1-36-15,1-4-21 0,3 0 11 16,-2-4-10-16,3-1-4 0,0-2 12 0,-3-3-29 16,5-4 20-16,-2-1 6 15,5-1 2-15,-2-2-28 0,-1-3 33 0,-2 1-30 0,-3-4 7 16,1-2 8-16,-4 0-16 0,-1-2 1 0,-4 0-3 16,0 0 0-16,-5 1-5 0,1 1 15 15,-3-3-25-15,-2 4 15 0,-1-2 2 16,0 3-15-16,-2 1-4 0,-1 3 22 0,1-1-5 0,2 2 12 15,1 2-14-15,2 0-16 0,-3 1 13 0,5 0-16 16,-2 2 11-16,1 2 10 16,4 1-2-1,0 0-3-15,0 0 7 0,0 0-7 0,0 0 15 0,0 0-15 0,22 9 15 0,-12-3-22 16,6 2 24-16,-1 2-9 16,5 1-8-16,-2 2 20 0,3 0-30 0,5 6 12 15,-1 1-10-15,-4-2 39 0,-3-2-36 0,-5 3-11 16,2 0 24-16,-5 0-11 0,-2-4 29 15,-5 4-37-15,2-2 29 0,-5-2 77 0,0 0-1 0,-3-2 19 16,1-1 15-16,-1 2 2 0,-2-6-2 0,0 2 30 16,2-2-76-1,-2-2-2-15,0-1 17 0,2-4-5 0,-1-1 28 16,4 0-18-16,0 0-15 0,-10-8-26 0,9-1-7 0,-2 1 20 16,3-3-20-16,0-2-8 0,3 0-5 0,0-4 2 15,5 1 13-15,-3 0-18 0,5-3-12 0,2 0-26 16,-1 1-13-16,2 2-18 0,0 0-46 15,2 1-5-15,-2 3-54 16,0 0-38-16,2 1-41 16,-4 3-28-16,3-3-49 0,0 3-64 0,-2 2-174 0,-2 1-561 0,1 2 95 0,-1-1 111 0,0 1 112 15,-2 1 48-15,2 0 88 0,0 2 71 16</inkml:trace>
  <inkml:trace contextRef="#ctx0" brushRef="#br0" timeOffset="3131.37">7180 5483 1218 0,'0'0'535'0,"0"0"-54"0,0 0-25 16,-13 6-19-16,9-1-50 0,-2 3-36 16,1 5-13-16,0-1-13 0,2 5-28 0,-5 7-29 0,4 1-37 15,0 1-29-15,-3 12-8 16,7-6-22-16,-3-2-34 0,6 0 8 0,-3-2-15 16,3 0-78-16,1-2-14 0,2-1 4 0,2-1-15 15,2-3-12-15,0-2 25 0,0-1-11 0,3-6 1 16,-2 0 8-16,4-4-1 15,-2-2-12-15,2-5 4 0,0-2 4 0,3-1-9 16,0-3-12-16,3-6 23 0,-3 1 2 0,2-5-17 0,-2 2 12 16,2-13-8-16,-2 0 27 0,-5-4 9 15,-3-3-48-15,-4-2 25 0,-4 1 11 16,-2 3-29 0,-4-11-12-16,-2 4-16 0,-4-1 16 0,0 4 7 0,-3 3 8 0,3 7-7 0,-1 6-8 0,1 1-6 15,0 5 6-15,0 1-8 16,-3 1-16-16,5 3 14 0,0 4 20 0,-2 1 10 15,2 3-15-15,0 2 2 0,1 3-10 0,-1 1 5 16,0 6 16-16,3 0-21 0,1 1 5 0,3 6 34 16,1 2-39-1,3 4 31-15,3 10 23 0,3 4-6 0,-1-1 9 0,5 0-8 0,0 3-18 16,2-2 40-16,0-3 29 0,1 3-28 0,2-6-5 16,-1 2-19-16,1-4-12 0,-2 0-10 15,-1-5-15-15,-2-3-16 0,-3-5 0 0,1-4 0 16,-1 0 0-16,-2-1 0 0,0-2 0 15,1-3 0-15,-3 0 0 16,1-3-47-16,-1-1-78 0,-2-2-29 16,2-2-35-16,-6 0 2 0,10-7-48 0,-5 1-6 0,0-2-46 0,0-3-33 15,0-2-53-15,1 1-147 0,-3-6-97 0,1-1-366 16,-1 0 87-16,0-6 118 16,-3 0 49-16,0-1 109 0,-3-3 70 0</inkml:trace>
  <inkml:trace contextRef="#ctx0" brushRef="#br0" timeOffset="3374.62">7546 5038 1103 0,'8'-2'560'0,"0"4"-96"0,0 2-24 0,2 4-2 0,3 5-31 16,7 11 66-16,3 5-7 0,8 7-80 15,5 8 6-15,0 3-23 0,0 4 61 16,2 4-28-16,-5 2-47 0,-2 4-22 0,-5 2-23 15,-1 1-3-15,-9-1-38 0,-3 4-77 0,-6 0-97 16,-9 0-95-16,-3 0 0 0,-8-4 0 0,-5 0 0 16,0-2 0-16,-5-4-103 0,0-6-97 15,0-2-61 1,-3-5-61-16,8-12-34 0,-2-3-36 0,-3-3-288 16,7-7-434-16,1-7 118 0,2-3 93 0,2-4 102 0,-1 0 71 0,2-5 111 15,-3-5 61-15</inkml:trace>
  <inkml:trace contextRef="#ctx0" brushRef="#br0" timeOffset="3969.1">16038 1504 1796 0,'3'-2'466'0,"-3"2"-43"0,0 0-11 0,2 14-23 0,-1-4 72 0,-1 5-39 0,0 5-30 16,2 6-34-16,0 3 10 0,1 11-53 0,-3 3-36 15,3 3-18-15,-3 0-56 0,0-2 13 16,0-1-24-16,-3 0-22 0,3-3-129 0,-3 0-25 15,3-6-23-15,-2-8-26 0,2 0-53 16,-2 0-34-16,1-5-64 16,-1-2-50-16,-1-4-22 0,1-1-58 0,1-1-64 0,-1-6-78 0,2 3-490 15,-2-3 22-15,-1-4 101 0,2 1 40 0,-1-2 105 16,2-2 49-16</inkml:trace>
  <inkml:trace contextRef="#ctx0" brushRef="#br0" timeOffset="4262.97">16076 1510 1453 0,'19'-23'512'0,"-4"5"-23"16,2 3-120-16,2 3-11 0,3 5-35 0,-3 3 9 0,1 1-24 0,0 4-27 16,1 1-4-16,3 6-16 0,-4 3-39 15,-2 0 16-15,-3 4-23 0,-2 2 80 0,-5 4-134 16,-1 2-18-16,-6 2-17 0,-2 1 20 15,-4-1-5-15,-7 9-19 0,-1-2-9 0,-3-2-28 0,-2 0-1 16,1-4-25-16,-1-7 15 0,2-1-53 16,1-4-27-16,-1-1-45 0,4-2-59 0,1-2-23 15,-1-2-26-15,4-2-45 16,0-2-55-16,0-1-76 16,4-9-203-16,1 5-506 0,0-2 112 0,3-2 72 0,5-4 131 0,-2-2 53 0,5-3 79 15,10-13 37-15</inkml:trace>
  <inkml:trace contextRef="#ctx0" brushRef="#br0" timeOffset="4547.79">16769 1140 1543 0,'-11'14'538'0,"6"-3"-39"0,-5 8-16 0,-6 10-40 0,-1 5-36 15,1 4-89-15,-4 13-19 0,2 5 1 0,0 5 32 0,0 2-12 16,5 4 11-16,1 2-60 15,4-3-13 1,0-1-27-16,6-2-26 0,2-13-6 0,2 0-114 0,3-4 2 0,3-2-5 0,3-2 2 16,1-3-22-16,4-2 4 0,1-4-12 0,-1-5-23 15,2 1 2 1,-3-8-38-16,-2-6-13 0,-3-1-31 0,0-5-7 0,1-1 2 0,-4-3-33 16,1-1-56-16,0-3-39 0,0-3-18 31,-1-1-33-31,1-1-46 0,0-2-87 0,2-6-197 0,0 0-484 0,-2-1 100 0,-3-10 97 0,3-1 106 15,2-10 83-15,0-6 75 0</inkml:trace>
  <inkml:trace contextRef="#ctx0" brushRef="#br0" timeOffset="4762.59">17038 1533 1479 0,'0'-4'517'0,"0"1"-49"0,0 3-4 0,0 0 48 0,0 0-13 0,0 0-46 0,0 0-77 16,3 18-43-16,-1-6-11 0,-2 7-22 0,2 2-47 15,-1 6 11-15,-1 4-49 16,-1 11 8-16,-1 0-19 0,-3 0-14 0,2-1-26 0,-2-1-36 16,-2-3-36-16,-1-7-87 0,4-5-18 15,-2-1-48-15,3-4-72 16,-2-1-57-16,5-2-58 0,-2-3-41 0,2-3-44 0,2-2-197 16,3-4-210-16,0-1-258 0,1-2 97 0,4-4 72 15,3-4 94-15,2-4 98 0,2-4 56 0</inkml:trace>
  <inkml:trace contextRef="#ctx0" brushRef="#br0" timeOffset="5071.29">17366 1652 1579 0,'-25'11'563'0,"4"-1"-118"15,-2 1-12-15,2 2-36 0,-1-1-21 16,3 3-38-16,1-1-21 0,0 2-17 0,6 0-8 15,1 1-19-15,1-2 119 0,5 0-59 16,-2 2-13-16,1 0-18 0,4-2-26 0,2 0-40 16,2-1-31-16,1 0-1 0,2 1-37 0,3-2 9 15,2 2-50-15,3-4 15 0,3-1-141 0,-2 0 0 16,2-4 0-16,2 0 0 0,-3 0 0 0,1-4 0 16,-1 0 0-16,-2-1 0 15,0-2 0-15,0-1 0 0,-1 0-16 0,1-2-207 16,0-1-35-16,0-1-49 15,-3 0-31-15,5-2-138 0,-4-1-159 0,2-1-463 16,4-1 105-16,-2 2 130 0,1-1 67 0,2 2 84 0,0 0 73 16,-3 1 52-1</inkml:trace>
  <inkml:trace contextRef="#ctx0" brushRef="#br0" timeOffset="5988.75">18099 1646 1105 0,'0'0'448'0,"-4"-3"-8"0,4 3-63 16,0 0-42-16,-19 7-7 0,13-3-26 0,-3 2-28 15,1 0-49-15,-2 3-2 0,2 0-21 16,-4 1-26-16,4 2-4 0,-2 0-13 0,0 1-31 16,2 1-8-16,0 0 10 0,1-1-60 0,1-2 4 15,4 0-15-15,-1-2-21 0,3 1 0 16,0-3 6-16,0 2-8 0,5-3 5 16,1-1-18-16,1-1-5 0,1-1-5 0,0-2 12 0,2-1-12 15,2-1 5-15,-1-2 15 0,4-2-20 16,-2 0 30-16,2-4-4 15,-2 0-8 1,0-3 22-16,0 0-17 0,-3 1 10 0,0-1-2 0,1-3 94 0,-1 3 3 0,-5 2 12 0,0 0-125 16,2 2 31-16,-3 2-20 0,-2 1 27 15,3-1-4-15,-2 0-19 0,-1 1-2 0,-2 3-8 16,0 2-25-16,0 0 20 0,0 0 11 0,0 0-16 16,0 0 10-16,0 0-18 0,0 0-12 15,-5 14 17-15,5-9 14 16,0-1-27-16,0 1 6 0,0-1-23 0,0 0 33 0,0 0-13 0,0 0 6 15,3-1-14-15,-3 1 1 0,2-1 25 0,1 0-8 16,-3-3-4-16,7 3-4 0,-7-3 9 16,5 1 2-16,1-1-15 0,-6 0-6 15,10 0 6-15,-2 0 12 0,-8 0-12 0,7 1-3 16,0 1-2-16,-3 0 25 0,1 2-20 0,0 0 2 16,0 1 18-1,0 1 8-15,0-2-31 0,1 3 15 0,-4-1-4 0,3 1 2 0,-2 1 5 16,-1-2-3-16,1 1-2 0,-1-1-15 0,1-1 50 15,-1-1-19-15,-1 1 76 16,1-2-31-16,0 0-7 0,1 1 38 0,-1-2 0 0,-2-2-3 16,6 2-60-16,-6-2-47 0,10-1 0 15,-10 1 0-15,13-5 0 16,-5 2 0-16,-1 1 0 0,1-1 0 0,0 2 0 0,0-2 0 16,-1 2 0-16,3 0 0 0,0 1 0 0,1 1 0 0,-1 0 0 15,-2 3 0-15,5-1 0 16,-3 2 0-16,0-1 0 0,-3 1 0 0,1-2 0 0,-2 2 0 15,1 0 0-15,-1-2 0 0,-2 0 0 16,0 1 0-16,-2-1-70 0,3-1-329 0,-2 1-167 16,-1-2-583-16,3-1 48 0,-5 0 85 15,5-5 125-15,3-1 72 0,0 0 92 0,2-5 59 16,0 0 49-16</inkml:trace>
  <inkml:trace contextRef="#ctx0" brushRef="#br0" timeOffset="6293.82">18782 1602 1208 0,'0'-2'417'0,"0"2"8"0,0 0-16 15,0 0-17-15,0 0 87 0,0 0-52 16,0 0-20-16,-6 19-41 0,4-10-28 0,2 0-18 16,-2 4-44-16,-2 0-27 0,2 0-55 15,2 0 1-15,-2 1-16 0,1-3 8 0,-1 2-54 16,-1-3-13-16,1-1 1 0,2-1-32 0,-2 0 8 16,1-1-12-16,-1-2-8 0,-1 0 2 15,-2-1-28-15,3 0-2 0,-2 0-6 16,0-2 19-16,-2 2-14 0,-1 2-19 0,2-1-6 15,0 2 25-15,-3-1-7 0,3 2-15 0,0-1 35 0,0 1-15 16,0-1 29-16,2-1 6 16,0 1-17-16,1-1-2 0,0 0-21 0,2-1 25 0,0 1-60 15,0-2-6-15,2 0 0 0,0-1 0 0,1 1 0 16,2-2 0-16,0-1 0 0,2-1-3 16,2-1-117-1,1 0-54-15,2-1-57 0,2-2-43 16,-1-1-56-16,1 2-218 0,5-4-616 0,-1 2 135 0,2-2 94 0,1-4 129 15,1 1 38-15,2-2 69 0,4-5 116 0</inkml:trace>
  <inkml:trace contextRef="#ctx0" brushRef="#br0" timeOffset="6794.54">19474 1559 1599 0,'0'0'633'0,"0"0"-55"16,0 0-94-16,0 0-46 0,0 0-19 0,0 0 22 15,-6 17-37-15,2-6-35 0,-2 4-32 0,-1 5-32 16,-1 2-39-16,-2 10-28 0,-3 0-23 0,5 1-2 16,-2-1-31-16,4-3-26 0,2-6 2 15,-1-3-37-15,2-1-9 0,3-1 4 0,-2-2-50 16,2-1-28-16,0 0 26 0,2-2-7 0,1-4-19 16,2-2 3-16,0-1-20 0,2-2 4 15,2-1-7-15,-2-4-5 0,6-2 7 0,-1-3-27 16,1-2 20-16,1-7-13 0,0-3 0 15,4-11 0-15,-5-3 0 16,0-5 0-16,-3-2 0 0,-2-3 0 0,-2 0-41 0,-2 4-8 16,0 7 16-16,-4 5 15 0,1 4 7 15,-2 3-37-15,1 4 30 0,-4 0 3 0,4 0-8 0,-2 4 10 16,0 4-3-16,-1 0-9 0,0 4 7 0,1 1 13 16,2 2 23-16,0 0-18 0,-13 13 41 0,9-1 12 15,-2 4-12-15,5 3 8 16,-4 6 30-16,5 4-27 0,4 11-52 15,0 1 0-15,4-1 0 0,-1 0 0 0,4 0 0 0,-4-4 0 0,6 0 0 16,-5-3 0 0,2-7 0-16,-3-5 0 0,-1 1 0 0,-1-4 0 0,0-1 0 15,-2-1 0-15,3-3 0 0,-4-2 0 0,0-1 0 32,2 0 0-32,-3-3-162 0,2-2-158 0,-1-1-51 0,0-2-46 0,1 0-177 0,-3-2-537 0,11-5 102 15,-6-1 94-15,3-3 119 0,-1-4 68 16,0-4 78-16,4-15 66 0</inkml:trace>
  <inkml:trace contextRef="#ctx0" brushRef="#br0" timeOffset="7010.99">19956 1185 1351 0,'2'-1'594'0,"-2"1"-69"15,10 5 30-15,-4 3 6 0,2 7-75 16,-1 0-2-16,1 9 15 0,4 10-74 15,1 5-51-15,-5 3-37 0,2 1-1 0,1 13-50 16,-6-7-40-16,0 1 48 0,-2 9-53 0,-4-7-21 16,-1-5-74-16,-5 12-20 0,-1-12-21 0,-3-4-105 15,-1-1 0-15,-4-2-82 0,-5 5-136 0,1-8-92 16,0-7-99-16,-1-1-272 16,1-3-489-1,4-7 118-15,5-7 123 0,4-4 120 0,0-3 46 0,7-5 90 0,0 0 61 16</inkml:trace>
  <inkml:trace contextRef="#ctx0" brushRef="#br0" timeOffset="7235.29">20647 1614 1456 0,'17'-4'601'0,"1"1"-37"0,-1 0-42 0,1-1-59 0,0 0-51 0,3 3-38 16,1-3-52-16,-1 2-73 0,3-2-80 16,-2 2-59-16,-1 0-92 0,-1 0-59 0,-4 1-80 15,-3 1-314-15,-5 0-56 0,-1 1-428 0,-4-1 128 0,-1 4 64 16,-2-4 67-16,-10 8 58 16</inkml:trace>
  <inkml:trace contextRef="#ctx0" brushRef="#br0" timeOffset="7429.79">20548 1787 1420 0,'3'4'599'0,"-1"1"-54"0,1 0 6 0,5 0-60 15,2-1-5-15,0 2-53 0,3-2-16 0,5 1-53 0,0-1-39 16,4 1 59-16,-1-1-57 0,2-2-32 16,1 2-19-16,1-4-71 0,1 1-72 0,-1-1-46 15,-1-1-46 1,1 1-100-16,-2-4-23 0,0 2-92 0,-3-1-92 0,-1 1-146 0,1-2-707 15,-2 0 80-15,0-1 130 0,0-1 47 0,0-1 91 16,0 0 83-16,3-2 66 16</inkml:trace>
  <inkml:trace contextRef="#ctx0" brushRef="#br0" timeOffset="8013.87">22050 1272 1510 0,'0'0'501'0,"0"0"-4"0,0 0-39 15,0 0-23-15,-15 16-35 0,7-6-22 0,-2 5-32 16,-1 5-21-16,-9 10-25 0,6 2-6 0,-3 1-33 15,1 3-25-15,0 2 4 0,2 1-56 16,-1-1 1-16,5 2-34 16,0-2-13-16,2-1-2 0,6-6-37 0,-1-6-4 15,3-2-5-15,0 0-36 0,2-3 43 0,1 0-38 0,2-2-3 16,0-1-28-16,5-3-20 0,0 1 10 0,3-5-3 16,1 0-10-16,3-2 8 0,1-3-28 15,5-1 27-15,-2-2-9 0,4-2-23 16,1 0 30-16,2-5-3 15,14-1 32-15,0-3-14 0,-5-5 22 0,1 0 4 16,-2-3-49-16,-3-2 52 0,1-4 25 0,-5-3-20 0,-3-2 21 16,-5 1-1-16,-1-3-12 0,-6 1-67 0,-6 2 0 15,-3 3 0-15,-5-3 0 0,-2 2 0 0,-4-2 0 0,-5-6 0 16,-4 3 0-16,-2 1 0 0,0 1 0 16,-7 2 0-16,3 2 0 15,-5 2 0-15,1 2 0 16,-1 1 0-16,3 6 0 0,2 3 0 0,-2 0 0 0,2 1 0 15,-1 1 0-15,-1 2 0 0,2 1 0 0,-2 2 0 0,0 0 0 16,0 1 0-16,-3 1 0 0,1 2 0 0,1 1 0 16,-1 0 0-16,2 3 0 0,0 1 0 15,0 2 0-15,5-2-146 16,2 2-231-16,1 2-50 0,5 1-180 0,2-1-245 0,5 1-182 0,2-1 66 16,3 2 100-16,5 0 83 0,4 1 91 0,4 2 59 15,5-1 59-15</inkml:trace>
  <inkml:trace contextRef="#ctx0" brushRef="#br0" timeOffset="8361.67">23033 1542 1392 0,'0'0'530'0,"0"0"-5"0,0 0-19 16,-26 16 75-16,11-3-61 0,-12 7-52 0,-5 8-104 15,-13 5-13-15,-8 7-31 0,-8 3-29 16,-19 11 55-16,-1 1-116 0,1-3-2 0,-3-2-41 16,5-1-21-16,-2 0-33 0,-3-4-46 15,-1 0-28-15,20-11-33 0,-1 0-62 0,8-2-20 16,0-3-11-16,8-3 3 0,13-7 3 15,7-2-36-15,8-6-24 0,4-1-35 0,4-2-20 16,3-3-34-16,5-2-51 0,5-2-93 0,0-1-106 0,7-8-564 16,7 5 77-16,10-4 138 0,15-3 48 15,5-3 68-15,10-6 78 0</inkml:trace>
  <inkml:trace contextRef="#ctx0" brushRef="#br0" timeOffset="8713.48">23592 1576 1272 0,'0'0'570'0,"0"0"-127"0,-19 6-10 0,3 3 38 0,-6 2-16 0,-15 9-40 0,-16 10 2 16,-8 3-43-16,-21 13-72 0,-6 2 8 0,-1 2-41 15,-3 2-36 1,-1-1-8-16,-2 0-18 0,-2 1-17 0,5-1-21 0,4-3-54 0,4-1-54 15,6 0-33-15,15-10 8 0,6-1-3 0,6-2-17 16,5-5 27-16,12-4-40 16,2-4-3-1,5-2-3-15,5-4-35 0,6-2 5 0,5-4-21 0,1 0 0 0,0-3-2 0,2 1-16 0,2-4 18 16,0 1-30-16,3 1-3 0,1-4 18 16,2-1-31-16,0 0-8 0,0 0-20 0,0 0 3 15,0 0 5-15,7 4-6 0,-7-4-7 0,0 0-10 16,10-2 12-16,-10 2 3 15,8-3-56-15,-8 3 0 0,8-2 2 0,-3 0-46 16,-5 2-59-16,7-2-32 0,-4-1-40 0,2 2 111 16,-5 1-93-16,8-5-7 0,-5 3-379 0,3 0 62 15,-2 0 43-15,1 1 79 0</inkml:trace>
  <inkml:trace contextRef="#ctx0" brushRef="#br0" timeOffset="12611.34">4757 5839 1223 0,'0'-1'389'15,"0"1"-20"-15,-4-4 2 0,4 4-133 16,-4-3-15-16,4 3-1 0,0 0-35 16,0 0 10-16,0 0-10 0,-5 7-13 0,3-2-15 0,-1 2-13 15,1 1-13-15,1 2 84 16,-3 2-17-16,1 1-26 0,-2 2-20 0,-1 3-16 0,1 0-2 15,-2 0-1-15,2 4-40 0,-3-1-16 16,0-1-22-16,0 0-62 0,1-3-11 16,2-4-43-16,2 0-61 0,-2-1-44 0,3 0-105 15,2-4-179-15,0 2-488 0,2-2 86 0,1-4 110 16,0-1 49-16,4 2 74 16,-2-5 54-16</inkml:trace>
  <inkml:trace contextRef="#ctx0" brushRef="#br0" timeOffset="13202.49">8718 5550 1766 0,'0'0'514'0,"3"-3"-17"0,-3 3-149 16,5-3-15-16,3 3-16 0,0-2-30 0,2-1-24 16,2 2-27-16,4 1-16 0,1-3-8 15,4 2-40-15,0-1 56 0,4 0-52 0,-2-2-40 16,3 3-54-16,3-3-49 0,-6 3-51 0,2 0-46 15,-4-2-53-15,-1 2-70 0,-5 1-97 0,-4 0-111 16,-1 1-559-16,0 2 45 16,-7-1 98-16,2 2 94 0,-5-1 46 0,0-3 77 15</inkml:trace>
  <inkml:trace contextRef="#ctx0" brushRef="#br0" timeOffset="13406.74">8752 5706 1031 0,'-3'2'445'15,"3"-2"-22"-15,0 0-26 0,0 0-24 0,15 4 50 16,-4-5-45-16,4-1-27 0,0 1-44 16,3-1-25-16,5-1-8 0,3 1-123 0,3-2-31 15,2 1-33-15,1-1-33 0,-1 2-36 16,2-1-57-16,-2 1-22 0,0 0-62 0,2 1-43 0,-9 1-106 16,-4-2-168-16,3 5-481 0,0-3 112 15,-5 2 59-15,-3-1 77 0,-2 2 86 16</inkml:trace>
  <inkml:trace contextRef="#ctx0" brushRef="#br0" timeOffset="30451.81">10095 6814 1318 0,'0'0'514'0,"0"0"-35"0,2 11-34 0,-2-2-40 0,1 2-26 16,1 5-31-16,-2-1-39 0,0 4-42 16,-2 5-34-16,2 1 12 0,-1 4-58 0,-1-2-13 15,0-1-15-15,2 0-18 0,-3-1-36 16,0 0-39-16,1-3-50 0,2-2-40 0,-3-1-40 15,3-5-10-15,0 1-33 0,0-2-106 16,0-4-79-16,0 2-20 0,0-6-118 0,0 1-476 16,0-2 105-16,1 0 12 0,-1-1 96 0,0-3 66 15</inkml:trace>
  <inkml:trace contextRef="#ctx0" brushRef="#br0" timeOffset="30754.43">10036 6836 1274 0,'8'-22'351'0,"2"4"5"0,0 4-31 15,3 1 46-15,0 0-33 0,3 2-21 0,2 5-7 16,2-1-26-16,1 4-13 0,1 0-114 16,-4 3-6-16,3 5-8 0,-3 2-20 0,0 0-11 15,-3-1 1-15,-2 6-16 0,-3 0 8 0,-2 0-31 16,-3 2 11-16,-5-1-21 0,0 3 33 15,-2-1-41-15,-4 2 14 0,-1-2-24 16,-1 3-5-16,-2-2 7 0,-1-2-37 16,1-2-14-16,0 0-33 0,-1 0-13 0,1-3-27 0,0-3-57 15,3-1-16-15,-1 1-61 0,0-4-41 16,3 1-86-16,5-3-99 0,-7-3-462 0,7 3 76 16,0 0 80-16,-1-6 92 0,1 6 33 0</inkml:trace>
  <inkml:trace contextRef="#ctx0" brushRef="#br0" timeOffset="31036.26">10515 6646 1400 0,'0'0'499'0,"0"0"-28"16,0 0-23-16,-10 15-121 0,3-6-14 0,-1 4-14 15,0 6-40-15,-2 3 2 0,0-1-10 0,-3 12-54 0,2 2-33 16,1 0 84-16,0 1-28 15,3 0-10-15,3-5-105 0,0-5 30 0,1 2-53 16,1-2-7-16,4-1-9 0,1-1-2 16,2-5-31-16,0 2-38 0,0-7-15 0,1 2-65 15,1-2-40-15,4-1-34 16,-4-2-28 0,0-4-35-16,4-1-52 0,-3-1-103 0,2-5-24 0,-2 0-516 0,2 0 65 0,2-1 135 0,-3-3 29 15,3-2 99-15</inkml:trace>
  <inkml:trace contextRef="#ctx0" brushRef="#br0" timeOffset="31219.81">10734 6818 1282 0,'0'-3'425'0,"0"3"-21"0,0 0 80 0,0 0-46 0,0 0-11 16,-6 18-33-16,6-8-33 0,-2 0-100 0,2 4-17 15,0 1 1-15,-3 4-32 0,1 4-24 0,-1-2 72 16,1 4-69-16,-1 0 8 15,1 1-70-15,-4-2-17 0,1-1-54 0,2-4-80 0,-1-1-43 16,1-3-2-16,3-2-62 0,0-2-64 16,0-4-44-16,5-1-130 0,-3-2-94 0,6-2-464 0,0-2 76 15,2-2 80-15,1-3 36 0,4-5 69 16,0-2 85-16</inkml:trace>
  <inkml:trace contextRef="#ctx0" brushRef="#br0" timeOffset="31635.01">11033 6890 1231 0,'-7'-2'453'16,"7"2"-18"-16,-11 0-43 0,11 0-26 0,-18 5 0 16,4 0-52-16,-2 2-17 0,-2-1-15 0,0 2-24 15,-2 3-25-15,-1-3 11 0,0 3-81 0,4-1-9 16,3-1-21-16,-1-1-13 0,3 3 6 16,-1-4 12-16,5 2-36 0,1 0-2 15,1-1-5-15,1-1-8 0,2 0 13 0,3 1-16 16,0-1-25-16,5-1 10 0,-2 0-10 15,3-3-36-15,1 2-54 0,3-1-50 0,3-2-45 16,-3-2-48-16,3 0-28 0,0 0-34 0,2-1-17 16,1 0-54-1,-1-3-16-15,3-1-27 0,0 0 9 0,0-2 44 0,2 0 34 0,-4 1 9 16,2-1 70-16,-3 1 94 0,1-1 47 16,-4 0 66-16,-1 2 69 0,-1 0 18 0,0 1 8 15,-4 0 71-15,1 4-28 0,0-1 42 0,-7 1 4 16,8 1 5-16,-2-1-4 0,-4 4-1 15,0-1-2-15,-1 3-18 0,1-2 76 0,1 4-27 16,-1-1-36-16,-2-1 27 0,1 4-73 16,1-2-3-16,-2 0-3 0,0 2-63 0,2-3-31 15,-2 0-93-15,0 3-61 0,0-3-51 16,0-2-79-16,0 2-113 0,0-3-151 0,0 1-535 0,3-2 82 16,-3-3 115-16,0 0 85 15,0 0 81-15,0 0 88 0</inkml:trace>
  <inkml:trace contextRef="#ctx0" brushRef="#br0" timeOffset="31753.55">11180 6943 967 0,'-5'-6'346'0,"2"1"-42"0,0 3-43 0,1-2-2 15,-1 2-47-15,3 2-53 16,-5-5-77-16,5 5-156 0,-5 0-149 0,5 0-481 16,0 0 36-16,0 0 54 0</inkml:trace>
  <inkml:trace contextRef="#ctx0" brushRef="#br0" timeOffset="32077.78">11287 6920 1430 0,'3'5'497'0,"-3"2"-52"0,-3-2-25 0,3 2-13 16,0 0-38-16,0-1-42 0,-2 1 1 15,2-1-44-15,0 1 90 0,0 0-54 0,2 2-5 0,-2-4-13 0,0-1-26 16,0 1-15-16,3 1-41 15,-3 0 47-15,0-4-4 0,3 3-40 0,-3-5-75 16,0 4-17-16,0-4 15 0,7 0-41 0,-7 0 2 16,0 0-15-16,11-4-2 0,-6 4-46 0,2-2-44 15,-2-1 0-15,1 1 0 16,1 1 0-16,0 0 0 0,-7 1 0 0,11-2 0 0,-11 2 0 16,10 3 0-16,-5-2 0 0,0 1 0 15,-1 1 0-15,0-1 0 0,-1 2 0 0,0-2 0 0,-1 3 0 16,0-3 0-1,-2-2 0-15,3 6-39 0,-3-1-273 16,0-5-59-16,0 6-67 0,0-6-197 0,0 0-509 0,0 3 146 0,0-3 43 0,0 0 154 16,0 0 46-16,0 0 76 0,7 2 68 15</inkml:trace>
  <inkml:trace contextRef="#ctx0" brushRef="#br0" timeOffset="32720.39">11759 6820 1561 0,'0'-6'456'0,"0"6"-32"0,0-7-42 0,0 7-44 0,-3-5-44 0,1 4-12 16,2 1 58-16,-5-6-43 0,2 5-23 15,3 1-36-15,-5-5-15 0,0 5-47 0,5 0 32 16,-13 3-55-16,5 0-17 0,-2 3-6 16,0 0-4-16,-2 4-37 0,1-1 34 15,-2 3-20-15,2-1-6 0,-1 1-2 0,2-2-19 16,0 1-4-16,2-1-18 0,3-1-13 0,-1 1 7 0,2-2 6 15,1-2-13-15,3-1-13 0,0-2-5 16,3 1 11-16,1-4-14 0,4 1-7 16,-8-1 15-16,18-2-25 0,-7-1 4 0,1 0 4 15,-1-2 4-15,1 0-15 0,1-1 8 0,0 3 12 16,-1-2-2-16,-3 4 10 16,1-3-25-16,-2 3 17 0,-1 1 19 0,0 1 7 0,-3 3-11 15,0-1 22-15,-1 3 22 0,0 3-20 0,-6 0 23 16,0 3-85-16,-1 3 14 0,-4 1-17 0,-2 3 17 15,-1 2 73 1,-7 7-20-16,-2-2-2 16,2-1-4-16,3-5 29 0,-1-3-28 0,1 0-10 15,-1-2 10-15,4-2-10 0,1-5-49 0,1 0 0 0,2-1 0 0,0-5 0 16,4 3 0-16,-2-5 0 0,6 0 0 16,0 0 0-16,0 0 0 0,-2-8 0 0,6 1 0 0,2-2 0 15,2 1 0-15,4-5 0 16,-1 1 0-16,4-1 0 0,3-3 0 0,0 2 0 15,-2-3 0-15,1 3 0 0,-1-2-251 0,-1 2-59 16,-2 0-51-16,0 0-248 0,-1 0-564 0,-4 0 96 0,0 0 140 16,0-2 115-16,-1 1 52 0,-2-4 97 15,0 2 66-15,3-5 29 0</inkml:trace>
  <inkml:trace contextRef="#ctx0" brushRef="#br0" timeOffset="32939.15">12038 6489 1484 0,'18'12'479'0,"-5"4"-49"0,0 0 72 0,0 3 2 16,5 10-26-16,0 2 14 0,-1 1-75 0,-3 4-18 15,-1 1-40-15,-5 1-37 0,1-1-73 16,-8 2-40-16,-1-6-34 0,-8 5-22 0,-3 0-45 16,-1-2-29-16,-6-1-56 0,-1-1-54 0,-1-5-56 15,0-2-69-15,1-2-54 0,2-5-92 16,6-8-228-16,-1 2-552 0,1-4 119 0,1-1 134 0,2-5 71 15,1-1 70-15,-1-6 53 0,8 3 95 16</inkml:trace>
  <inkml:trace contextRef="#ctx0" brushRef="#br0" timeOffset="33302.71">13017 6652 1405 0,'0'0'435'0,"6"7"0"0,-3-1-10 0,-3 4-62 15,5 2 39-15,-3 1-15 0,-2 1-24 16,3 4-61-16,-1 1-18 0,-2 0-38 16,0 1 18-16,0 1-41 0,0-1-70 0,-4-1 3 0,3 0-71 0,-1 0-24 15,-3-1-71-15,2-1-57 0,-2-1-63 16,4-3-37-16,-3 0-81 0,4-3-136 16,-3-2-601-16,0-2 81 0,1 0 75 0,2-1 71 15,-2-3 93-15,2-2 58 0</inkml:trace>
  <inkml:trace contextRef="#ctx0" brushRef="#br0" timeOffset="33465.79">12852 6850 1630 0,'4'-2'443'0,"2"-1"-26"0,1 2-23 0,3 1 47 15,4-2-29-15,1-1-26 0,5 2-68 16,4 0-22-16,1 0-29 0,5-2-22 0,1 1-42 0,0 1-24 15,0-3-56-15,-3 4-64 16,0-1-13-16,-2 1-72 0,-3 0-61 0,-2-1-59 16,-3 2-120-16,-8-1-218 0,5 0-501 0,1 1 89 15,-6-1 89-15,2 1 98 0,-4-1 85 0,0 3 22 16</inkml:trace>
  <inkml:trace contextRef="#ctx0" brushRef="#br0" timeOffset="33827.71">14026 6708 1538 0,'0'0'517'0,"0"0"-67"0,0 0-2 0,0 0-51 0,5 18-31 0,-3-8-5 0,1-1-118 0,-1 4-28 16,1 0-5-16,-3 5-26 0,0 2-22 0,0 1-6 0,0-1-8 16,0 1-20-16,-3 3-43 15,-1 2-31-15,1-2-54 0,0-2-49 0,0-2-41 16,1-1-25-16,0-1-51 0,-1-3-47 0,3-3-45 15,0 0-78-15,0-6-65 0,0 0-508 16,0 1 103-16,0-3 91 0,0-1 91 0,0-3 30 16</inkml:trace>
  <inkml:trace contextRef="#ctx0" brushRef="#br0" timeOffset="34095.61">14059 6740 929 0,'7'-14'506'15,"1"0"-11"-15,0 4-35 0,3 2-25 16,-1 3-104-16,2 0-9 0,1 2-22 0,0 2-37 16,-2-2 73-16,1 6-1 15,1-2-36-15,-1 5-25 0,-1 1 15 0,-1 0-40 0,-5 4-24 16,0 1-15-16,-2 0-21 0,-3 2-9 0,-5-1-14 16,0 2 5-16,-3 1-32 0,-2-1-17 15,0 0-24-15,-3 0-50 0,0-2 1 0,2-2-13 16,-1 0-54-16,4-4-54 0,-2 1-43 0,2-2-62 15,1-1-50-15,1-4-55 0,2 3-148 0,-4-3-146 16,8-1-445-16,0 0 71 0,0 0 90 16,0 0 92-16,15-16 82 15,-5 8 46-15,5-3 90 16</inkml:trace>
  <inkml:trace contextRef="#ctx0" brushRef="#br0" timeOffset="34346.03">14554 6520 1405 0,'-10'14'509'0,"4"-4"-46"0,-1-1-33 0,-4 6-10 0,1 2-54 0,0 3-20 0,-5 11-3 15,2 0 54-15,-3 1-19 0,4 1-55 16,-1 4-8-16,2-4-64 0,1 3 10 0,2-3-21 16,1-4-25-16,4-4-110 0,0-4-5 0,3 0-13 15,3 0-23-15,-2-2-20 0,3-2-42 16,2-2-20-1,-2-2-30-15,-1-1-52 0,5-1-49 0,-3-4 6 0,0-2-51 0,2 1-32 0,1-4-53 16,0-1-74-16,-1-7-179 0,4 5-482 0,-4-1 105 16,1 1 93-16,0-3 99 0,2 0 57 15,-2-1 94-15</inkml:trace>
  <inkml:trace contextRef="#ctx0" brushRef="#br0" timeOffset="35507.33">14897 6694 1538 0,'-10'8'527'15,"5"-3"-38"-15,0 1-31 0,2 5-53 0,-2-3-32 0,0 5-24 0,0 1-27 0,2 3-53 16,-2 2-8-16,0 0-28 0,2 5-23 15,-2 0-18-15,2 0 64 0,1-4-39 16,0 2-61-16,2-1-7 0,2 0-21 0,0-5-31 0,1-1-7 16,3 1-1-16,-2-6-40 0,4 1 0 0,0-4-11 15,2-2-25-15,1-3 15 16,-1 1-5-16,2-6 0 0,4 1-3 0,2-5-14 16,-3 0-4-16,3-8-2 0,-3 2 21 31,-1-3-6-31,-2-6-25 0,-1-8 10 0,-2 3 2 0,-6 2-9 0,2-5 9 15,-5 3 3-15,0-3-15 0,-2 4 28 0,-1 1-10 0,1 1-8 16,-1 5-11-16,-2 1 24 0,2 4 0 0,-2 2-33 0,0 0 53 16,0 5-49-16,2 1 32 0,-2 4 4 15,-2-1-22-15,4 3-16 0,3 0 33 16,-10 3 1-16,7 0 19 0,-2 3-12 16,3 0-2-16,-1 4-21 0,0-1 28 0,3 4 10 0,0 0 19 15,3 2-27-15,-3 3 11 16,3-2 3-16,1 2-29 0,-1 1 11 0,2 0 17 15,-2 0-14-15,2-1 14 0,0 1-17 0,0 0-3 0,0-3-18 16,1 0 5-16,-1-1 16 16,0-1-16-16,0 0 10 0,2-4 11 0,-1-1-41 15,-1 1 48-15,3-2-48 0,-3-2 28 0,2-4-3 16,1 2-12-16,0-2 17 0,-1 1-15 0,4-5 8 0,-4 1-23 16,4-1 36-16,-1-4-11 15,0 1-2-15,3-1-18 0,-5-2 10 0,2-3 5 16,0 1-10-16,0-1 15 0,1 0 24 15,-4 0-9 1,1 3 19-16,-3 0 2 0,1-2 0 0,-1 4-27 0,0 1-24 0,0 0 0 0,-2 2 0 16,-1-2 0-16,-2 5 0 15,2-1 0-15,-2 1 0 0,0 0 0 0,0 0 0 0,0 0 0 0,0 0 0 16,-5 12 0-16,3-6 0 0,-1-1 0 16,3 0 0-16,-2 2 0 0,2-3 0 15,-1 1 0-15,2 1 0 0,1-1 0 0,1 2 0 16,0-3 0-16,4 0 0 0,-2 0 0 0,3-2 0 0,2 1 0 15,-2-3 0-15,2 0 0 16,0 0 0-16,-2-3 0 0,2 2 0 0,1-1 0 16,-1-2 0-16,0 1 0 0,0-2 0 15,-2-1 0-15,0 1 0 0,2 2 0 0,-3-3 0 16,1 1 0-16,-3 0 0 0,1 2 0 16,-1 0 0-1,0-2 0-15,-1 3 0 0,0 0 0 0,-2-2 0 0,-2 4 0 0,5-1 0 0,-5 1 0 16,0 0 0-16,0 0 0 0,6 7 0 0,-6-7 0 15,0 7 0-15,2-4 0 0,-2 0 0 16,0 2 0-16,2 2 0 0,-2-1 0 0,6 0 0 0,-4 1 0 16,4-2 0-16,1 2 0 0,0 0 0 15,2-2 0-15,0 1 0 16,2-1 0-16,-1-2 0 0,3 1 0 0,0-3 0 0,-3 0 0 16,8-1 0-16,-5-1 0 0,2 0-24 15,1-3-32-15,-1 2 8 0,0-3 9 0,0-2-17 0,-4 2 2 16,4-4 26-16,-4 0 2 15,-3 2 11-15,-1 0-6 0,0-4-12 0,-1 3 5 0,-4 0 8 16,1-2-1-16,-3 4 11 16,0 0 30-16,-1 0-17 0,-1 3-11 0,0-2-10 15,-4 1 11-15,2 3-9 0,-2 0 34 0,6 1-20 16,0 0-9-16,-15 3 4 0,8 1-6 0,1 0 38 0,1 2-27 16,0 1 38-16,-2-2-21 0,3 3-10 15,2 0 29-15,0-2 4 16,2 4-28-1,0-2 11-15,0 1-11 0,2-1 3 0,3 0-3 0,-2-1-8 0,2-2 6 0,2 2-39 0,1-2 6 16,0 0-55-16,0-2-30 0,-1 1-28 16,3-3-15-16,0 1-6 0,1-2-59 0,-1 0-27 15,0-2-14-15,1 2-40 0,2-4-55 0,-1 3-163 16,-1-2-51-16,1 0-407 0,-4-2 92 16,2 3 122-16,-2-4 63 0,0 5 71 15,-1-4 76-15</inkml:trace>
  <inkml:trace contextRef="#ctx0" brushRef="#br0" timeOffset="36405.87">15946 6906 1218 0,'0'0'456'0,"0"0"-9"16,0 0-50-16,16-8-36 0,-9 5-23 0,-2-3 0 16,0 3-67-16,3-3 13 0,-3 0-5 0,0-1-94 31,1-2-16-31,-4 3-8 0,3-1-10 0,-5 0 0 0,3 2 0 0,-6-1 0 0,3 3-28 15,0-1-11-15,-3-1-25 16,-1 4-2-16,4 1 2 0,0 0-10 0,-16 4 23 16,8 1-19-16,1-2 1 0,-1 4-18 0,-2-1-25 15,0 4 7-15,2-2-5 0,3-1 0 0,-1 3-5 16,1-4-3-16,2 2-13 0,1-3 11 16,4 1-23-16,1-3-21 0,2 3 16 15,1-1-27-15,1-4-22 0,3 3 34 0,0-4-6 0,1 0 2 16,2-1-9-16,2-2-1 0,1 2 16 0,-2-4 7 15,2 3-9-15,-3-3 22 0,3 4-8 16,-4-4-9-16,1 5 32 16,-3-3 44-16,3 0-15 15,-5 3 2-15,0 0-9 0,0 3 32 0,-1-2 59 0,-2 1-20 16,0 1 17-16,-2 0-7 0,1 1 11 0,-3-1-34 0,2 2 0 16,1 0-18-16,-3-2-13 0,1 2-20 0,1 0 7 15,-1 0 11-15,0-2-6 0,-1 2-17 0,4 0-23 16,-3-2-26-16,1 2 0 0,2 1 0 15,-2-1 0-15,2 0 0 16,2-2 0-16,-1 2 0 0,2-2 0 16,-3 1 0-16,3-3-13 0,-1 3-21 0,0-3-4 0,1-1-44 0,0-2-36 0,0-1-40 15,2 1-52-15,-5-2 2 16,3 1-53-16,0-2-38 0,-4 0-75 0,4-8-222 0,-5 7-500 16,4-2 124-16,-4-3 78 0,0-2 124 15,0-1 79-15,4-3 63 0,-5-3 40 0</inkml:trace>
  <inkml:trace contextRef="#ctx0" brushRef="#br0" timeOffset="36598.33">16479 6401 1563 0,'8'4'543'0,"0"3"-13"16,0 1-8-16,2 3 64 0,4 8-33 0,5 8 18 0,-1 3-161 16,2 7 22-16,3 6-43 15,-7-5-48-15,5 7-32 0,-4-7 42 0,-4 3-13 16,-3-3-31-16,0 1-30 0,-5 0-108 0,1-3-169 15,-6-4 0-15,0-2 0 0,-8 3 0 0,-2 2 0 16,-3-4 0-16,-5-1 0 0,0-7-210 0,3-2-136 16,-5-7-125-16,1-1-228 0,-1 0-473 15,4-7 194-15,-4 0 52 16,2-2 104-16,2-1 23 0,-6-3 98 0,-9-2 104 0</inkml:trace>
  <inkml:trace contextRef="#ctx0" brushRef="#br0" timeOffset="37112.48">8747 7205 1177 0,'9'0'484'0,"2"0"-47"0,2 0-53 16,2 0-41-16,1 0-25 0,1 0-83 0,1-3-76 15,5 2-59-15,-2 1-108 0,-3 0-153 0,5-2-261 16,-7 1-413-16,2-2 118 0,-3 3 54 16,0 0 47-16</inkml:trace>
  <inkml:trace contextRef="#ctx0" brushRef="#br0" timeOffset="37281.58">8890 7321 1249 0,'0'0'473'0,"0"0"-56"0,0 0-28 0,0 0-28 16,21-2-51-16,-14 2-72 0,3-1-56 0,0 0-41 15,4 1-98-15,-2 0-138 0,4 2-122 16,1 0-620-16,2 3 77 0,1-2 25 0,0 2 108 15</inkml:trace>
  <inkml:trace contextRef="#ctx0" brushRef="#br0" timeOffset="37643.12">8936 8626 1784 0,'0'0'542'0,"8"-4"-53"16,-5 2-64-16,6-2-21 0,-1 1-66 15,3 1-66-15,1-2-19 0,2 2-51 0,1-2-74 16,1 2-66-16,-1-1-93 16,5 1-48-16,-2 0-131 0,-3-1-254 0,3 2-416 0,-4 1 97 15,-2-2 48-15,-2 1 59 0,-2 1 108 0</inkml:trace>
  <inkml:trace contextRef="#ctx0" brushRef="#br0" timeOffset="37835.96">8938 8754 1256 0,'0'0'502'15,"0"0"-77"-15,0 0-39 0,0 0-17 0,0 0 23 16,19-3-37-16,-9 3-37 0,0-2-70 0,3-1-48 31,2 1-57-31,1-1-71 0,1 1-93 0,4 1-43 0,0-3-171 0,-3 2-390 16,5 0-245-16,-2-1 66 0,-1 1 146 0,-2-3 44 0,2 3 30 15</inkml:trace>
  <inkml:trace contextRef="#ctx0" brushRef="#br0" timeOffset="40676.08">10916 8381 1471 0,'0'0'456'0,"0"0"-44"0,0 0-36 0,0 0-30 16,-19 7-18-16,9 0-21 0,0 2-49 16,-3 0 6-16,1 2-26 15,-6 3-26-15,2-1-27 0,-2-1-16 0,-2 1 7 0,2 1-25 16,0-2-20-16,0 2-29 0,0-3 16 0,5 0-18 15,3-3-18-15,0 1 5 0,0-2-16 16,4-1 6-16,1-1-10 0,0 2 17 0,2-3-2 16,3 0-49-16,3 2 21 0,2-1-8 0,3 0-5 15,2-2 21-15,3 1-4 0,2-2-27 16,3 2 0-16,5-1 0 0,-2 0-26 0,2-2 0 16,0 1-38-16,3-2-21 15,-1 0-31-15,-1 0-17 16,1 0-52-16,-2-2 1 0,0 0-29 0,-2 0-66 0,1-1-121 15,-6-1-112-15,-1 3-517 0,-1-4 156 0,-2 2 12 16,-2 0 108-16,-2-4 41 0,-3 4 62 0</inkml:trace>
  <inkml:trace contextRef="#ctx0" brushRef="#br0" timeOffset="40938.58">10980 8339 936 0,'-3'6'400'0,"1"3"-27"0,-1 1 14 16,0 5-36-16,1 1-14 0,-3 3 47 0,2 0-46 16,0 5-18-16,-1 2-15 0,1-1-21 15,-2 4-46-15,2-3 0 0,-4 10-105 0,1-6-23 16,2-7-18-16,-2 3-20 0,3-5-31 16,1-1-36-16,0-1-10 0,2-6-64 15,-3 3-26-15,2-2-20 0,-1-2 5 0,2-3-79 16,0 2-67-16,0-5-113 0,0 3-120 0,0-5-386 0,3 2 130 15,0-5 18-15,-1 2 66 0,-2-3 85 16</inkml:trace>
  <inkml:trace contextRef="#ctx0" brushRef="#br0" timeOffset="41683.22">9915 8950 1005 0,'0'0'415'0,"0"0"-21"0,0 0-33 0,0 0-10 0,34 0-41 16,-8 0-19-16,5 0-12 0,19 0-33 0,9 0-36 15,19 0-15-15,4 0 9 16,7 0-17-16,1-2-36 15,2 4 18-15,6-2 10 16,2 0-135-16,0 0 20 0,0 0 8 0,0 2-24 0,-3 2-2 0,-2-4 21 0,0 3-54 16,-8-1 17-16,-2 0 1 0,-6-2 2 0,-17 1-2 15,-3-1-16-15,-6 0-7 0,-4 0 36 0,-10-1-24 16,-11 1-12-16,-5 0-8 0,-2 0 13 16,-3 0-13-16,-4-2-8 0,-3 1-36 15,-1-2-9-15,-4 2-27 16,-2-1-17-16,-1-2-8 0,-3 4-26 0,0 0-17 0,0 0-34 0,-16-5-20 15,6 4-105 1,-2 1-82-16,-4 1-484 0,1 4 87 0,-5-5 46 0,-4 5 88 0,-3 0 42 16</inkml:trace>
  <inkml:trace contextRef="#ctx0" brushRef="#br0" timeOffset="44784.61">10787 9256 1208 0,'6'-2'340'0,"-2"-2"-43"0,2 4-18 0,-1-3-26 0,0 0-22 16,-5 3-3-16,5-4-16 0,-2 3-25 16,-3 1-3-16,0 0-12 0,0 0-6 0,0 0-35 15,0 0-14-15,0 0-9 0,-28 5 12 0,17 1-79 16,-4-1-10-16,0 0-6 15,-3 2 1-15,-1 0-8 0,1-1 0 0,1 1 5 0,-1-1 10 16,5 0-15-16,0-1-8 0,1-2-4 16,3 2 42-16,2 1-38 0,-1-4 24 15,5 3-32-15,1-2 21 0,2-3-20 0,5 6 2 0,-2-2 26 16,7 1-11-16,0 0-12 0,1 1 20 0,4 1 15 16,0 0-19-16,1 1 9 15,-1 0-2 1,1 2-16-16,-1-1 36 0,0 1 3 0,-4 0 7 0,1-1 31 0,-1 0-30 15,-4 0 86-15,-2 0 3 0,1 1 3 16,-4-1-13-16,-2-1-18 0,-2 0-13 16,-1 4-8-16,-5-2 6 0,-2 3-27 0,-3-3-11 0,0 1-30 0,-7 2-29 15,1-3-22-15,-1-1-27 0,2 0-59 16,1-1-3 0,1-2-33-16,1-1-23 0,5-3-52 15,-3 2-65-15,5-3-40 0,0-1-63 0,1-1 7 0,1-3-27 0,2-1-65 16,3-1 51-16,-1-3 98 0,2-1 43 0,2-3 39 15,3-3 51-15,1-2 35 0,6 0 1 0,4 0 61 16,4-6-10-16,3 3 46 16,5-1 38-16,-2 3 34 0,5 1 2 15,-6 7-13-15,1 2 37 0,7-3 14 0,-4 3 3 0,-6 4 8 16,0 0 20 0,-2 5 41-16,-4 0 21 0,-1 0 13 0,-1 4-8 0,0-2 20 0,-4 5-8 0,-3-1-7 15,-4 5 16-15,-1 0-9 0,0 1 83 0,-6 2-37 16,1 0-9-1,-1 3-21-15,-2 1-10 0,0-3-3 16,0 2-5-16,-1-3-21 0,-1-1 4 0,4-1-14 0,-2-1 3 0,2-3-16 16,3 2-2-16,0-2-23 0,0-1 26 15,3 0-21-15,0-2-28 0,2-1-8 0,3 0-41 16,2-1 3-16,2-1-23 0,2-2-33 0,1 0-32 0,5-3-27 16,1 0-21-16,2 0-59 15,2-5-22-15,2 1-96 16,-2 0-199-16,11-5-558 0,-3 0 138 0,0-2 108 0,-7 2 28 15,-5 0 104-15,9-7 34 0</inkml:trace>
  <inkml:trace contextRef="#ctx0" brushRef="#br0" timeOffset="45073.02">12723 8594 1561 0,'-5'13'499'0,"0"2"-38"0,-1 1-29 0,4 3-22 0,-3 0-52 15,2 6-40-15,1-1-24 0,0 5-35 0,1-1-24 16,-1 11-35-16,-1-5-57 0,3-8-58 15,0 4-70-15,3-4-46 0,-1 0-53 0,-1-4-67 16,1-1-180-16,0-2-600 0,1-2 37 16,0-2 111-16,-3-3 49 0,2-1 88 0,-2-4 58 15</inkml:trace>
  <inkml:trace contextRef="#ctx0" brushRef="#br0" timeOffset="45326.66">12359 8886 1348 0,'10'-4'454'15,"-2"3"-53"-15,0 1-19 0,7-2-34 16,0 0-51-16,8 0 0 0,1 2-67 0,6 0-17 0,1-2-24 16,2-1-28-1,3 2-46-15,-2 1-51 0,9-5-64 0,-5 3-53 0,-7 1-83 16,0-3-130-16,-7 3-633 0,0 1 101 0,-7-1 68 15,1 0 118-15,-4-2 19 0</inkml:trace>
  <inkml:trace contextRef="#ctx0" brushRef="#br0" timeOffset="48113.71">14026 8382 1082 0,'2'-1'361'0,"-2"1"-31"0,0 0-10 0,0 0-56 16,0 0-21-16,0 0-5 15,0 0-30-15,0 0-4 0,-15 7-22 0,7 0-26 16,0-2-7-16,-2 2 14 0,-3 4-19 0,-2 0-16 16,-1 1-3-16,-2 1 31 0,-2 0-130 15,2 1 12-15,-3-1-2 0,3 0-18 0,3-1 8 16,0 1-14-16,2-4 4 0,1 1 17 0,3-1-23 16,1-1-2-16,-1-1 107 15,6-1-17-15,-2-1-11 0,4 0-13 0,2-2 20 16,2 2 4-16,4-1-32 0,6-1-7 0,2 1 18 0,3-2-5 15,5-1-1-15,1 0-9 16,1 1-44-16,1-2-8 0,2 0-8 0,-3 0-9 16,2-2-37-16,3 1-7 0,-5 0-33 15,-1-1-32-15,-3-1-17 0,-1 2-2 16,0-4-32-16,-1 0-112 0,-4 1-89 0,0-2-556 16,-4 0 99-16,-1 1 55 0,0-5 84 0,-5 1 56 0</inkml:trace>
  <inkml:trace contextRef="#ctx0" brushRef="#br0" timeOffset="48329.95">14074 8419 1003 0,'-10'17'407'0,"0"2"-26"16,2-1 8-16,3-1-76 0,-3 6-29 16,1-1-21-16,-1 0-106 0,3 3 1 0,-3 0-20 15,3-1-35-15,-2 2 7 0,1-1-18 0,4-6-25 16,-1 2-34-16,-2 0-2 0,4-3-34 15,-3 0-33-15,1-3-25 0,3-2-83 0,-3-1-68 16,1 1-100-16,-3 0-244 0,2-2-199 0,-1 1 54 16,-4-3 86-16,2 2 134 0</inkml:trace>
  <inkml:trace contextRef="#ctx0" brushRef="#br0" timeOffset="48591.13">13138 9051 1284 0,'21'-3'400'0,"-5"-1"-11"0,12 1-38 0,15-3-44 16,6 1-33-16,8 0-85 0,14-3 39 16,9-2-21-16,7 4-17 0,2-1-6 0,1 1-31 0,0 0 6 15,2-2-26-15,-5 3-20 16,1-1-29-16,-4-1-15 0,-2 1 6 15,-5 1-22-15,-8 0-45 0,-12 1-33 0,-9-1-14 0,-12 4-30 16,-5-3-31-16,-8 3-46 0,-5-1-197 0,-5 1-158 16,0 1-336-16,-3-3 64 15,-4 3 87 1,-6 0 30-16,4 4 65 0</inkml:trace>
  <inkml:trace contextRef="#ctx0" brushRef="#br0" timeOffset="49210.61">13956 9376 1226 0,'0'0'358'16,"0"0"-20"-16,0 0-54 0,0 0 0 0,-15 0-41 0,5 5 0 15,-4-1-38-15,-3 1-26 0,-6 5 18 16,2-4 52-16,-4 5-34 0,1-2-36 16,2 2 3-16,-1-1-29 0,2-1-9 0,-2 3-11 0,8-5-3 15,-1 3-35-15,3-1 10 0,3-3-36 0,2 1 18 16,3-1-10-16,0 0 0 15,5 1-3-15,2-2-18 0,4 0 11 0,2 1-1 16,2-3-30-16,3 2 5 0,-1 1-10 0,6 1-3 16,-2-1-8-16,1-1 34 15,1 2-26-15,0-1-20 0,-2 0 15 0,-3 1-2 0,0-1-4 16,-3-1 32-16,-3 1 10 0,-2-1-21 0,-1 1-2 16,-4 1 23-16,-1-1-26 15,-4 1 3-15,0 0-5 0,-3 0-6 16,-2 1-12-16,-3 2-31 0,-2-3 3 0,-3 1-21 0,0 1-43 0,3-3-26 15,-3 1-46-15,-1 0-26 0,5-3-38 16,-2 1-123-16,3-6-107 0,1 5-505 16,1-3 65-16,1 0 73 0,2-1 93 0,2 0 133 0,-1-1 15 15</inkml:trace>
  <inkml:trace contextRef="#ctx0" brushRef="#br0" timeOffset="49557.79">14138 9424 913 0,'5'2'397'0,"-4"4"-28"0,1 0-29 15,-2 1-17-15,-2 4-52 0,-4 2 0 0,-1 0-7 0,-1 4-3 16,-5 2-38-16,0 0-29 0,1-1-12 15,-1 1-8-15,0-2-10 0,0-1-41 16,5-1 7-16,3-2-7 0,0-1-13 0,3-3-23 16,2-2 3-16,0 4-8 0,5-4-16 0,-2-1 3 15,4 1 3-15,4-1 64 16,-1-3-11-16,2 0-51 0,3 1-17 0,1-4-27 0,2 1-35 16,-3 1-15-16,3-4-29 0,-2 4-5 15,-1-2-27 1,1-2-32-16,-1 1-30 15,1 1-96-15,-2-3-96 0,-3 2-338 0,-1 1-233 0,3 0 97 0,-6 0 64 0,4-2 113 0,-1-2 18 0</inkml:trace>
  <inkml:trace contextRef="#ctx0" brushRef="#br0" timeOffset="50027.62">14997 8769 1441 0,'5'-2'435'0,"3"-2"-67"0,-1 4-22 15,2-2-21-15,8-2-54 0,-2 4-40 16,3-1-32-16,1 0-27 0,1 0-49 0,0 1-67 16,-1-1-33-16,-1 1-36 0,-1 1-87 15,-1 0-38-15,-3 1-90 0,-3 1-86 0,-2 0-480 16,-1 2 47-16,-6 1 76 0,-1-1 85 0</inkml:trace>
  <inkml:trace contextRef="#ctx0" brushRef="#br0" timeOffset="50224.25">14985 8978 824 0,'8'-2'322'0,"2"1"-38"0,0 1-30 16,2-1-1-16,1 1-43 0,0-1-26 15,5-1-43-15,-3 2-64 0,-2-2-62 0,0 2-94 16,0 0-67-16,-3 2-228 0,1 0-324 0,-1-1 83 16,-2 0 60-16</inkml:trace>
  <inkml:trace contextRef="#ctx0" brushRef="#br0" timeOffset="53596.07">17197 8388 1151 0,'-3'-6'402'0,"-2"3"-25"0,3 0-114 0,-3 3-12 0,-3-2-21 15,8 2 1 1,-13 0-11-16,5 2-15 0,-2-1-29 0,2 4 6 0,0-1-23 16,1 1-31-16,4 2 5 0,-2 1-10 0,0 4-11 0,3 0-4 15,2 1 2-15,0 1-10 16,5 2-31-16,-2 3-3 0,1-3 27 0,2 5-35 15,-1 1 6-15,3-3-7 0,-3 4 66 16,0-5-13-16,-3-3-21 0,1 3-2 0,-3-5-23 16,-3-1 5-16,1 1 16 0,-3 0-39 15,0-2 13-15,-3 1 5 0,0-5-13 0,1 0-15 16,-1 0 10-16,0-2-85 0,0-3-2 0,3 1 8 16,0-3 5-16,5 0 2 0,-13-5-7 0,8 0 20 15,5 0-17-15,-3-2 14 16,3-1 4-16,3 0 9 15,0-3-12-15,5-2 9 0,-1-1-4 0,6-3 13 0,0-2 20 0,-1 2 0 16,1-2 26-16,-2 0 7 16,2 0 13-16,-3 1-5 0,-5 0 28 0,0 2-20 0,-1 2-3 0,-3 0 13 15,-1 1-11-15,-5 0-9 0,3 4 4 16,-4-1-4-16,1-1-11 0,-3 3-15 16,0 2-21-16,-2-1 29 15,0 2-37-15,0 3-19 0,2-2-40 0,0 4-6 0,1 0-32 16,7 0-10-16,-13 5-20 0,6 0-49 0,1 0 0 0,1 3-41 15,5-1-20-15,-3 4-36 0,1 2-141 0,2 1-154 16,2-1-391-16,-2 4 110 0,3 0 97 0,-3 0 61 16,5 2 60-16</inkml:trace>
  <inkml:trace contextRef="#ctx0" brushRef="#br0" timeOffset="53901.77">16669 9012 1177 0,'-1'-4'481'0,"1"4"29"16,11-3-6-16,-1-1-56 0,6 1-18 0,4-1-118 15,9-2-28-15,14 0-25 0,4-1-21 0,4 0-21 16,16-2-37-16,1 0-1 0,-1 2 5 15,0-4-48-15,-1 5 30 16,-10-2-69-16,9 0 85 0,-13 1-36 0,-2-2-67 16,-6 3-30-16,-11 2-16 0,-2 0-48 0,-10-1-29 0,-1 5-12 0,-5-2-41 15,-2-1-11 1,-5 5-48-16,-1-1-8 0,-7-1-74 0,1 2-133 0,-1-2-113 16,-10 9-478-16,1-4 92 0,-1 2 122 0,-4 1 54 0,-3 1 47 15,-5 1 102 1</inkml:trace>
  <inkml:trace contextRef="#ctx0" brushRef="#br0" timeOffset="54306.43">17087 9204 1228 0,'2'-4'382'0,"-2"4"-45"0,0 0-22 0,-7-4-36 16,7 4 46-16,-13 2-17 0,5-1-40 0,-5 1 14 15,1 2-49-15,-1 1-18 0,-3-2-41 16,1 3-15-16,-1 1-16 0,1-2-15 16,2 1-13-16,1 1 0 0,3-1-23 0,2 0 6 15,2 1-22-15,0-1 6 0,2 0-28 0,3 0-8 16,0 1-56-16,3-1-13 0,4 1 13 0,1 2-8 15,3 0 5-15,1-3 16 0,2 4-14 0,-2-1 1 16,1-2 38-16,-1 3-33 16,1-3 20-1,-5-1 26-15,0 1-15 0,0-2 43 0,-3 1-13 0,-2 0 16 0,-1 1-26 0,-2-1 0 0,-2 2-20 16,-4-1 25-16,-4 4-15 16,-1 0-16-16,-3-2-32 0,0 3-40 0,-1-2-14 15,-5 2-60-15,4-3-4 0,1 3-65 0,-1-5-40 16,4 0-177-16,-1 3-538 0,3-4 64 15,2-4 154-15,0 1-2 0,3 0 73 16,-2-5 70-16</inkml:trace>
  <inkml:trace contextRef="#ctx0" brushRef="#br0" timeOffset="54584.85">17230 9264 877 0,'16'0'379'0,"-4"0"-84"0,-2 3 4 0,-4-1-10 0,-4 4-30 0,1 0 61 0,-6 1-16 0,-1 0-19 16,-4 4-9-16,-2 3-20 0,-3 4-8 16,0-2-45-16,-2 2-19 0,-1-1 23 0,3 0-51 15,1-1 6-15,1-5 7 0,3 1-13 16,1-1-21-16,2-2 4 16,2-1-40-16,1 0-1 0,2-1 1 0,2-3 9 0,3 1-36 0,0-2 25 15,3 0-38-15,4-1 5 0,-1-2-18 16,7-2-36-16,-2-1-25 0,4 0-16 15,1-3-23-15,1-3-51 0,1 2-23 16,-2-1-2-16,4-3-37 0,-4-1-89 0,8-7-181 16,-4 7-585-16,-4-1 101 0,-1 0 120 15,8-6 122-15,-5 2 19 0,-5 4 38 0</inkml:trace>
  <inkml:trace contextRef="#ctx0" brushRef="#br0" timeOffset="54859.52">18099 8596 1044 0,'0'0'381'16,"0"0"-20"-16,14-2-51 0,-7 1-29 0,3 2-37 16,3-1-40-16,2 0-71 0,3 0-69 0,1 0-43 15,-1 0-36 1,-3 0-24-16,3 2-119 0,-3 0-572 0,-2-1 18 0,-1 1 90 16,-4 1 13-16</inkml:trace>
  <inkml:trace contextRef="#ctx0" brushRef="#br0" timeOffset="55078.59">18004 8762 949 0,'-5'1'389'0,"1"0"54"0,4-1-44 0,-3 3-33 0,3-3-5 0,0 0-48 0,10 5-34 0,-10-5-6 0,15-2-47 0,-4 2-50 16,4-1-30-16,3 1-54 0,0-1-33 15,5 0-31-15,-2-2-56 0,2 2-66 0,3-1-150 16,-6-3-157-16,8 0-475 0,-3 0 108 0,-6 1 28 15,1-2 60-15,1 2 86 16</inkml:trace>
  <inkml:trace contextRef="#ctx0" brushRef="#br0" timeOffset="57642.89">19596 8317 988 0,'1'-4'422'0,"4"2"-23"0,0-3-10 0,3 1-53 0,0 3-11 0,2 1-36 0,2 0-28 0,-1 0-33 0,-1 3 15 15,2-1-41-15,-1 2-38 16,-1 0-3-16,0 3 13 0,-2 1-25 0,-2 0-29 0,-2-1 0 16,-4 4-10-16,-2-2-15 0,-1 3 5 0,-6 3-18 15,-2-1-5-15,-3 3 0 16,-3-1-1-16,1-2-7 0,-2 1 16 0,1-2-1 0,-1 0 8 16,4-4 11-16,-3 2-26 0,7-5 17 0,-3 1-17 15,5-1 13-15,1 0 2 16,-1-1-92-16,3-2 8 0,-2 1-8 0,3 0 20 15,2-2 1-15,0 0-11 0,2-2 3 0,0 0 2 0,10 5-7 16,-3-3-3-16,1 0-21 16,7-1-19-16,1-1 6 0,1 1-60 15,2-1-14-15,4 0-4 0,0-1-34 0,2 0-48 0,3-1-26 16,1 0-41-16,1 2-62 0,-1-3-148 0,-4 0-452 16,3 1 111-16,1-3-9 15,1-2 114-15,-3 1 108 0,8-5 26 0</inkml:trace>
  <inkml:trace contextRef="#ctx0" brushRef="#br0" timeOffset="57876.25">20471 8294 1284 0,'-20'16'397'0,"-4"0"3"0,-4 6 37 15,-8 10 21-15,-5 1-107 0,-2 5-34 16,-3 4-20-16,-3 1-2 0,-5 3-14 0,-14 12-58 15,0 1 7-15,-3-1-27 16,3 3-11-16,2-4-44 0,12-7-25 0,3-6-23 0,0-1-39 16,6 1-45-16,0-6-55 0,7-1-2 0,11-11-28 15,2 1-67-15,2-3-20 16,8-6-31-16,5-1-48 0,2-6-169 0,3-2-523 0,2-3 41 16,1-1 103-16,4-1 102 0,-2-4 62 0,7 3 79 15</inkml:trace>
  <inkml:trace contextRef="#ctx0" brushRef="#br0" timeOffset="58183.18">19848 9050 1059 0,'0'0'481'0,"7"13"-20"16,-7-6-46-16,0 4 71 0,0 2-51 15,-2 0-38-15,0 5-36 0,-1 1-95 0,-2-1-23 16,0 8-28-16,0-1-23 0,-3 1-18 0,0 8-33 16,-2-2-15-16,0-6-37 15,5-4-25-15,-3 0-36 0,3-3-28 0,2-4-25 0,1 0-34 16,-1-2-38-16,0-5-26 0,3 3-28 0,3-5-23 15,-3-1-95-15,5-3-192 0,1-2-476 16,1-1 123-16,0-3 18 0,2 0 121 16,1-2 68-16</inkml:trace>
  <inkml:trace contextRef="#ctx0" brushRef="#br0" timeOffset="58731.38">20082 9100 1228 0,'2'-3'387'15,"2"0"-14"-15,-4 3-22 0,8 0-23 16,-8 0 10-16,9 0-26 16,-2 3-23-16,-2 0-15 0,1 2-41 0,0-1-18 0,-2 1 20 0,0 2-55 15,-3 1 17-15,-2 1-21 16,-1-3-43-16,0 5 26 0,-2-4-44 0,-3 6-38 15,0-7 41-15,1 5-39 0,1-3-28 0,0 2 6 16,2-3-29-16,1 1 8 0,0-2 30 16,2 3-40-16,0-1 12 0,0 0 21 0,4 0-95 15,-1-1-2-15,0 1 38 0,0 0 54 0,-1 0-13 16,0 1-13-16,1-1 177 0,-2 0-21 0,-2 3-10 16,-2-4-15-16,1 4 20 0,-3 0-26 15,-1-2 9-15,-1 3-37 0,-4-3-25 16,-1 1 12-16,2-1-1 15,-3 1-50-15,0-4-48 0,0-1-18 0,1 0-47 16,-1-2-70-16,3 0-17 0,2-3-71 0,-2 0-40 0,4-3-52 16,1 1-151-16,0-4-656 0,3 0 78 0,2 1 112 0,2-4 100 15,4-1 107 1,-2-1 21-16,6-2 107 0,0 0 62 0</inkml:trace>
  <inkml:trace contextRef="#ctx0" brushRef="#br0" timeOffset="58981.59">20933 8769 1730 0,'0'0'522'0,"0"0"49"0,2 7 2 0,-7 0-58 0,0 4-14 0,-5 4-150 16,-1 5-10-16,-9 8-11 0,0 7-15 15,-9 9-54-15,-4 1-3 0,-1 1-38 0,-4 3-38 16,-3 3-3-16,-1 1-30 0,-6 1-32 15,4-1-53-15,-4 3-15 0,5-6-44 16,0 0-105-16,3-2-30 0,-1-6-88 0,10-7-35 16,6-4-36-1,4-6-98-15,6-15-163 0,5 4-472 0,5-3 129 0,2-5 33 0,3-4 107 16,0-2 96-16,0 0 47 0</inkml:trace>
  <inkml:trace contextRef="#ctx0" brushRef="#br0" timeOffset="59193.41">21213 8823 1599 0,'-7'12'546'15,"-7"7"-65"-15,-7 11-28 0,-10 11-21 0,-4 3 1 16,-2 5-85-16,-6 1 100 0,-1 1-128 16,-14 18-23-16,1-1-44 0,-2-1-33 15,-1-3-76-15,-1 0-32 0,13-15-94 16,-1 1-51-16,0-3-103 0,1-2-58 0,4 0-167 15,5-4-151-15,4-2-448 0,9-12 69 0,5-2 80 16,3-7 79-16,6-5 56 0,1-2 93 0</inkml:trace>
  <inkml:trace contextRef="#ctx0" brushRef="#br0" timeOffset="69943.28">3236 12147 1156 0,'0'0'561'0,"0"0"-44"15,-4-3-51-15,4 3-126 0,0 0 6 16,0 0-39-16,-10 5-30 0,7 2-6 0,0 3-10 15,1 3-10-15,-1 6-23 0,-2 4 2 0,0 2-5 16,2 3-53-16,-4 7 15 0,-1 3-11 16,2-3-7-16,-1 3-28 0,2-1-5 0,-3 0-39 15,5-7 10-15,-1-4-35 0,1-2 18 0,0 1-34 16,1-3-43-16,-1-3 0 0,-1 0-34 16,3-4-35-16,1 2-16 0,-2-3-46 15,2-3-10-15,-3 1-46 0,3-3-25 16,0-2-21-16,0-1-98 0,0-2-91 0,0-4-47 0,5 1-471 15,-5-1 37-15,0 0 109 0,10-8 110 16,-7 2 42-16,2-1 68 0</inkml:trace>
  <inkml:trace contextRef="#ctx0" brushRef="#br0" timeOffset="70343.25">3150 12149 1364 0,'5'-10'438'16,"0"1"-39"-16,2 2-15 0,1 0-41 15,0 2-41-15,3-1-5 0,1 0-26 16,1 3-38-16,2 0-3 0,1 3-2 0,-1 1-28 0,1 2-16 0,-2 2-2 16,2-1 7-1,-3 3-40-15,-3 4-26 0,1 0 15 0,-3 2-20 0,-4 2-8 0,-1 0 5 16,-3 1-26-16,0 1-9 0,-5 1-6 16,-3 3-5-16,0-1-10 0,-2-1-15 15,0 1-16-15,-5-3-16 16,4-1-32-16,-4 0 5 0,4-5-49 0,-1-1-16 0,1-1 4 15,1-3-47-15,-2 0-34 0,4-3-65 0,2 0-78 16,2-3-114-16,4 0-55 0,0 0-460 0,0 0 56 16,-3-8 144-16,3 8 48 0,5-10 95 0,3 5 23 15</inkml:trace>
  <inkml:trace contextRef="#ctx0" brushRef="#br0" timeOffset="70654.05">3793 11846 990 0,'-10'8'422'0,"0"5"3"0,-3 5-46 0,-5 9-10 0,0 5-1 0,-2 6 32 15,-1 11-6-15,-2 7-33 0,2 3-44 0,1 3 6 16,2 2-44-16,0-1-39 15,2 0-17-15,1 1-39 0,2-2-17 0,6-3-14 0,4-11-12 16,1-5-39 0,7-2-43-16,0-2-28 15,5-7-8-15,0-7-8 0,3-5-45 0,-2-3-52 0,2-4 0 0,1-3-54 0,2-3-20 16,-4-3-64-16,4-4-113 0,2-8-122 0,-3 4-482 16,6-5 28-16,-1-2 139 0,0-2 94 15,1-1 64-15,3-9 18 0</inkml:trace>
  <inkml:trace contextRef="#ctx0" brushRef="#br0" timeOffset="70941.48">4027 12111 1261 0,'-1'-2'451'16,"1"2"-29"-16,0 0-43 0,0 0-33 0,0 0 48 16,-4 8-10-16,4 0-46 15,0 3-11-15,-3 6-12 0,2 2-23 0,1 6-31 0,-2 2-10 16,-2 2-13-16,-2 9-36 0,3 0-15 16,-5-1-54-16,1 1 10 0,-1-2-38 0,1-3-41 15,-1-6-41-15,0-3-43 0,3-1-36 16,-2-4-31-16,4-2-72 0,0-3-54 0,3-1-76 15,0-2-154-15,0-3-248 0,3-6-263 16,1 3 63-16,2-4 146 0,-6-1 92 0,13-6 31 16,-3 0 105-16</inkml:trace>
  <inkml:trace contextRef="#ctx0" brushRef="#br0" timeOffset="71325.64">4395 12130 1325 0,'0'0'492'0,"-2"-5"-57"0,2 5-41 0,0 0-15 16,0 0-41-16,-23 9-8 0,13-2-36 15,-5 3-27-15,-4 2-19 0,-1 2-36 0,-9 6 32 0,1 1-47 16,0-1-5-16,0-2-16 0,8 0 9 16,1-6-11-16,1 2-26 0,6-3 11 0,0-1-44 15,1 0 0-15,1-2-18 0,4 1-10 0,-2-2 16 16,4 2-21-16,1-2-16 0,0 1 21 15,1-3-7-15,4 2-19 0,-2 0 36 16,6-1-30-16,-2 1 23 0,4-1-6 0,0 1-28 16,2-1 11-16,1 0-34 0,1 1 6 0,-1-1 7 15,4 1-34 1,-4-1 42-16,3-1 0 16,0 1-34-16,-2 0 14 0,1 0 9 0,0-2-12 0,0 1-39 0,-1 0 11 0,-1-1-3 0,1 0-51 15,-2 0-16-15,-2 0-40 16,1-1-24-16,-2-2-20 0,0 3-28 0,-1-3-59 0,-1-1-54 15,0 1-192-15,3-1-642 16,-8 0 120-16,10-1 51 0,-5 0 174 16,1-1 67-16,-2-1 77 0,2 0 74 0</inkml:trace>
  <inkml:trace contextRef="#ctx0" brushRef="#br0" timeOffset="72304.94">5042 12144 1049 0,'-5'-1'374'0,"5"1"-34"0,-5-4-33 0,5 4 6 0,0 0-47 0,-13 5-26 0,10-1-4 15,-2 2-11-15,0 3-33 0,0 2-5 0,-3 3 0 16,3 1-16-16,2 3-15 0,-2 1-7 16,2 0-29-16,1 0-17 0,0 2-4 15,2-2-6-15,0 0-24 0,2-1 0 0,0-1 5 0,1-1-10 16,3-3 26-16,1-1-42 16,1-1-12-16,-1-2 13 0,3-2-29 0,1-1 19 0,-1-3-6 15,3 0-28-15,0-5 10 0,0 0-4 16,2-2 4-1,0-4 11 1,-1-1-16-16,-2-2 10 0,-2-1 1 0,-2-2-19 0,-3-2 11 0,0 0-10 0,-4 0 12 0,-2 2-10 0,-1-1 72 16,-6-1-8-16,0 1 0 0,0 0 5 15,-2 2-35-15,0 0-9 0,0 1 24 0,2 2-13 16,1 2 0-16,-4 0-23 0,4 0 5 0,1 2-8 16,1 1 9-16,0 0 22 15,1 2-62-15,0 0 11 16,2 1 8-16,2 2-6 0,0 0 13 0,0 0 16 0,0 0-16 0,0 0-7 15,20 4-3-15,-10 1 15 0,0 1-23 0,4 0 3 16,-1 2 8-16,2 3-1 0,1 2 1 16,2 0 17-16,-1 1 9 0,-1 1-11 0,-1-1 2 15,0 4 18-15,-2-1-7 0,0-1-21 16,-3-2 21-16,-5 2-8 16,1 1-2-16,-2-3-6 0,-1 0 16 0,0 0 12 0,-3-1-12 15,0-3 0-15,0 1 33 0,0-2 0 16,0 0 7-16,-3-2 21 0,3 0-2 0,-2-3-3 15,1-2-5-15,1-2-23 0,-2 4 0 0,2-4 20 0,0 0-33 16,0 0-2-16,0-15-14 0,2 8 6 16,1-1-8-16,2-4 24 0,-2 1-35 0,4-2-11 15,1-3 17-15,0 1-11 0,-1 0-14 16,4 0-3-16,-1 1-18 0,0-1-18 16,3 2-18-16,-5 1-15 0,5-1-44 15,-3 0-36-15,0 2-15 0,0 0-41 0,-1 3-58 0,-2 0-65 16,3 0-176-16,-2 2-531 0,0 2 83 15,0 0 107-15,-1 2 118 16,0-1 18-16,-1 2 74 0,-1 0 90 0</inkml:trace>
  <inkml:trace contextRef="#ctx0" brushRef="#br0" timeOffset="73461.23">6239 12476 721 0,'-3'2'297'0,"3"-2"-7"0,0 0-42 0,0 0 13 16,0 0-38-16,0 0 4 0,0 0 63 16,0 0-1-16,-4 3-46 0,4-3-10 0,0 0-5 15,0 0-13-15,0 0-26 0,0 0-2 0,0 0-10 16,-11-5 7-16,11 5-20 0,-7-5-26 16,4 1 34-16,-4-1-14 0,4-2-30 15,-3 1 3-15,-2-3-1 0,1-1-12 0,-3-5-97 16,3 1 22-16,-2-7-15 0,-1 1 3 15,2-4 33-15,-6-8-15 0,3-2-16 16,1 2 74-16,5 3-27 0,2 4-11 0,1-1-8 16,2 4 16-16,2 3 5 0,0-1-21 0,-1 2 16 15,4 3-38-15,0 0-27 16,2 2 11-16,1 3 11 0,-1 1-39 16,1 2 7-16,0 2 16 0,0 3 26 0,2 0-16 15,-2 4-18-15,2-1 10 0,1 1-14 0,-1 4 4 0,0-1 15 0,0 2-22 16,-3 0-3-16,4 3 13 15,-1-1-6-15,-4 2 11 0,2-1-15 0,-1 1 10 0,-2 0-18 0,0-1 12 16,-2 0 29-16,1 0-23 16,-3-3-18-16,2 2 20 15,-1-2-23-15,0 1 19 0,1-3-14 0,-3 1 6 0,3 0 4 0,-3-2 11 16,2-1 3-16,-2-3-11 0,1 3 0 16,-1-3 13-16,4 3-30 0,-4-3 12 15,0 0 10-15,5-8-20 0,-4 4-5 0,3-2 30 0,2-3-10 16,-2 1-89-16,4-2 10 0,0-1 5 15,2-1-13-15,1 1 5 0,1 0 19 16,-1 1 14-16,4 0 19 16,-2 1-24-16,0 1 6 0,0 3 17 0,2 2-7 0,-2-1 0 0,0 4 26 15,-1 2-32-15,4 0 9 16,-3-1 2-16,-1 4 23 0,-1 1-8 0,1-1-2 0,-1 3-3 16,-1 1 21-16,-3 1 38 0,-1 2-18 0,-3 0 10 15,-1 3 19-15,-2 2 12 16,-3 2 10-16,-2 4-5 0,-2 0-2 15,-6 9-3-15,0-3-43 0,-5 3 30 0,-3-2 11 0,-2-1-11 0,3-2 8 16,-3 0-8-16,0-4-12 0,5-3-1 16,2-4-12-16,1-3 23 0,0 0-42 0,4-3 17 15,1-2-27-15,0-2 16 0,0 1-10 0,2-2-24 16,3-3-25-16,-2 2-5 0,1-1-15 16,1-2-21-1,-1 0-23-15,6-1-8 0,-7 0-38 0,7 0 3 0,-5-3-29 0,5 3-22 0,-2-7-34 16,4 3-21-16,0-2-37 15,1-1-68-15,2 1-132 0,1-3-408 16,-1-1 80-16,4-1-13 0,0-2 149 0,1 0 56 0,0-1 92 16</inkml:trace>
  <inkml:trace contextRef="#ctx0" brushRef="#br0" timeOffset="73819.94">6932 11569 1197 0,'12'6'543'0,"1"4"-36"0,7 3-110 0,11 8 25 0,0 6-56 0,2 7-2 16,-4 7-55-16,-2 0 19 0,-1 1-21 16,-8-6-31-16,-3 4-14 0,-1-1-17 0,-9 2-25 15,0 0-15-15,-8 3-23 0,0 1-28 16,-9 8-3 0,-8-4-23-16,-4 2-18 15,-4-3-13-15,-5-3-41 0,2-2-23 0,-2-3-30 0,2-3-49 0,3-6-39 0,2-4-68 0,3-3-47 16,0-1-20-16,5-9-67 0,2-2-143 15,3-5-317-15,3-2-223 0,2-4 133 0,1-1 33 16,-1-1 67-16,0-4 82 0,4 1 81 0</inkml:trace>
  <inkml:trace contextRef="#ctx0" brushRef="#br0" timeOffset="74173.78">8224 12144 1510 0,'0'0'414'0,"0"0"-32"0,12-3-42 0,-6 2-20 0,1 0-28 16,3-1-46-16,1 1-59 0,-1-1-21 0,3 0-76 15,-1 0-19-15,1-3-61 0,1 4-76 0,-2-1-85 16,-2 0-187-16,1-1-484 0,-3 3 31 15,-1 0 139-15,0 0 60 0,-7 0 22 16</inkml:trace>
  <inkml:trace contextRef="#ctx0" brushRef="#br0" timeOffset="74330.34">8239 12306 1075 0,'0'0'455'0,"0"0"-45"0,0 0-67 0,0 0-10 0,20-6-83 0,-9 5-19 16,-1-2-142-16,5-2-78 0,3 0-124 16,-7 2-181-16,14-5-449 0,1 2 4 0,-3-2 150 15,2 0 46-15</inkml:trace>
  <inkml:trace contextRef="#ctx0" brushRef="#br0" timeOffset="105664.78">9105 11881 1543 0,'0'0'494'0,"0"0"-43"16,0 0-11-16,6 7-36 0,-4-1-43 0,-2 2 0 0,0 1-49 15,1 3-30-15,1 1-34 16,0 1 6-16,-2 3-55 0,3 2-14 0,-1 1-27 0,-1-1 4 16,1 1-45-16,0-1-40 0,-2 0-44 15,0-2-22-15,0-1-37 0,0 0-59 0,0-1-45 16,0-1-116-16,-2 0 67 0,2-1-39 0,-3-1-224 16,3-1-260-16,0-3-204 0,0 1 74 0,-2-4 108 15,2 0 38-15,-3-2 66 16</inkml:trace>
  <inkml:trace contextRef="#ctx0" brushRef="#br0" timeOffset="105914.36">9203 11757 1149 0,'15'-7'394'0,"1"6"-13"0,-1 2-25 0,1-1-41 16,-1 5-3-16,2 1 39 15,-1 2-13-15,2 2 28 0,-3 3-72 0,-2-2-10 0,0 2 21 16,-5 1-16-16,-1-1-38 0,-4 0-44 16,0 0-81-16,-6 4-26 0,0-4 7 0,-4 2-30 0,-1 0 18 15,-5-1-39-15,0 2-28 16,-2-2-25-16,2-3-37 0,0-2-50 0,1 1-39 0,2-4-41 16,0 0-51-16,2-3-48 0,2-2-206 15,1 1-506-15,5-2 87 0,0 0 56 0,-5-5 138 16,5 5 36-16,3-9 57 15</inkml:trace>
  <inkml:trace contextRef="#ctx0" brushRef="#br0" timeOffset="106259.34">9580 11648 1121 0,'-3'-4'389'0,"3"4"-44"0,0 0-7 16,0-3-26-16,0 3-20 0,0 0-5 0,0 0-8 16,-8 15 74-16,6-4-23 15,-3 2-12-15,2 4-21 0,-2 5-57 0,0 3 14 0,0 2-39 16,-1 11-18-16,2-3-13 0,1-4-58 15,0-1-55-15,1-3-17 0,-1 1 43 0,3-2-10 0,0-2-10 16,0-3-26-16,1 3-7 0,1-5-29 0,3 0-25 16,0-1-21-16,1-4-28 31,-2 2-53-31,2-4 4 0,1-2-30 0,-1-2-28 0,2-2-34 0,1-2-20 16,-1-1-57-16,-1-2-119 0,-1-2-50 0,6-3-457 0,-1-3 58 0,2-3 100 15,2 1 74-15,-2-6 134 0</inkml:trace>
  <inkml:trace contextRef="#ctx0" brushRef="#br0" timeOffset="106493.27">9903 11776 944 0,'2'-7'412'0,"-2"0"44"0,1 6-3 0,1-1-31 0,-2 2 3 0,0 0-125 0,0 0-4 16,-3 17 42-16,-2-8-15 0,2 3-3 16,-4 4-21-16,2 1-25 0,0 0-41 0,-3 4-100 15,0 2-18-15,-4 8 19 0,2-6-47 16,2-2-23-1,-2-2-23-15,1 1-29 0,-1-4-50 0,3 1-57 0,2-4 1 0,-1 0-68 16,4-2-35-16,0-4-18 0,2 0-66 0,2-4-85 16,3-2-26-16,0-2-517 0,3-1 72 0,2 0 100 15,3-5 43-15,3-1 80 0</inkml:trace>
  <inkml:trace contextRef="#ctx0" brushRef="#br0" timeOffset="106807.48">10103 11877 1054 0,'-10'1'389'0,"10"-1"-25"0,-13 6 58 16,-2-2-23-16,2 5 6 0,-3-1-65 0,-4 2-81 16,1 1-31-16,2 0-1 0,-4 0 1 15,4 1 72-15,1-2-29 0,3 0-18 16,3-1-107-16,0 1-25 0,2-2-4 0,3 1 14 16,0-2-24-16,3 1-17 0,2-2-3 0,0-1-20 15,4 1-27-15,2-4-37 0,4 3-18 0,0-5-26 16,3 2-26-16,2-2 19 0,3-2-14 0,-2-1 3 15,4 0 5 1,0-2-2-16,-2-1 13 0,1 2 12 16,-2 0 36-16,-3 0-10 0,0 1 5 0,-1-1 13 0,-2 3 23 0,-4 1 38 15,1 0-3-15,0 0 1 0,0 1 5 16,-4 2 7-16,2 1-14 0,-2 0 9 0,-1 1 16 16,0-2-26-16,0 4 5 0,-1-2-23 0,-2 0-2 15,2 1-13-15,-2-1-34 16,0 1-25-16,0-2-69 0,0 1-36 0,0 0-72 0,0 0-45 0,-2-2-70 15,2 0-213-15,0 0-488 16,2-1 102-16,-2-2 80 0,0 0 104 0,0 0 73 0,0 0 145 16</inkml:trace>
  <inkml:trace contextRef="#ctx0" brushRef="#br0" timeOffset="106975.81">10241 11940 995 0,'-3'-4'464'0,"1"0"-27"0,0 1-48 16,-1 0-51-16,3 3 13 0,-7-4-95 0,4 3-44 15,-3-1-63-15,6 2-62 0,-7-1-59 0,7 1-100 16,0 0-166-16,-5 1-589 0,5-1 111 16,0 0 30-16,0 0 66 0</inkml:trace>
  <inkml:trace contextRef="#ctx0" brushRef="#br0" timeOffset="107442.58">10290 11935 952 0,'5'3'471'0,"-3"2"-75"0,-1 0 6 15,1 0 44-15,-2 1 4 0,0 0-107 0,3-1-28 16,-6 0-18-16,3 4-3 0,0-4-15 15,-2 0 21-15,1 2-26 0,1 0 33 16,0-2-41-16,0 0-141 0,0 0 91 0,0-1-53 16,0-4-40-16,0 8 18 0,3-7-23 0,-3-1 69 15,3 2-88-15,1 1 22 0,-4-3 4 0,8 0 47 16,-8 0-88-16,13-1 31 0,-7-1 8 16,1 2-10-16,-7 0-52 0,13-2 24 0,-8 2-6 15,1-1-51-15,1 1-2 0,1-4-62 0,-1 3-38 16,1 0-72-16,0-1-26 15,2-1-53-15,-2 0-41 0,-1 0-29 0,1 0 55 16,2-3-57-16,0 1-143 0,1-1 28 0,-1-1-116 16,0 1 129-16,0-1 28 0,0 1 64 15,-2 1 130-15,0 0 113 0,-3 2 72 0,1-1 58 0,-2 1 37 16,0 1 30-16,-4 2 23 0,7-1 59 16,-7 1 43-16,0 0-9 0,0 0-78 0,-3 12 118 15,-1-6-27-15,3 1-60 0,-2 1-15 0,-4 4 5 16,4 2 82-16,-4 2-3 0,-1 4-23 15,0 0-5-15,-2 1-38 0,2 0 5 0,-7 9-41 16,2-5 31-16,3-2-57 16,-1-4-53-16,1 0-90 15,0-1 0-15,3-4 0 0,-4-2 0 0,6-3 0 0,0 0 0 0,0-4 0 0,2-3 0 0,3-2 0 16,0 0 0-16,0 0 0 16,0-13 0-16,3 5 0 0,2-1 0 0,0-3 0 0,3-1 0 15,2 0 0-15,-2-1 0 0,2 0-24 16,-3 0-242-16,4 1-41 0,-4-1-26 0,1 0-79 15,0-1-110-15,-3 2-614 16,1-3 101-16,-2 0 109 0,2-2 89 0,-2-2 138 16,-1-3 21-16,0-2 86 0</inkml:trace>
  <inkml:trace contextRef="#ctx0" brushRef="#br0" timeOffset="107661.49">10695 11551 1080 0,'8'5'437'0,"2"1"-14"0,0 7 68 0,5 2 26 0,3 9-56 0,3 5-13 16,-3 2-113-16,0 0 24 0,0 6-11 0,-5-1 15 16,2 2-12-16,-5 0 17 0,-2 0-37 15,-2 1-63-15,-4-7 4 0,-5 8-37 0,-2-5-66 16,-3 3-5-16,-4-2-51 0,1-1-101 0,-7-2-42 16,3-2-70-16,-3-4-87 15,3-4-61-15,2-4-98 0,2-8-301 16,1 1-477-16,0-5 133 0,2-2 72 0,3-5 126 0,-2-2 84 15,2-2 79-15,1-2 44 0</inkml:trace>
  <inkml:trace contextRef="#ctx0" brushRef="#br0" timeOffset="107998.95">11566 11772 1369 0,'8'8'494'0,"-3"-1"-23"0,-2 2-131 0,2 4-38 0,-2 2-20 16,2 1-18-16,0 2-31 0,-5-1-13 16,3 3-26-16,-3 0-48 0,0 0-51 15,0-1-23-15,-3 0-47 0,3-1-56 0,0 0-58 16,-3-3-90-16,1-1-164 0,0-2-530 16,-1 2 49-16,-2-2 99 0,2-3 75 0,-2-1 64 15</inkml:trace>
  <inkml:trace contextRef="#ctx0" brushRef="#br0" timeOffset="108215.61">11428 12024 1003 0,'0'0'555'0,"0"0"-27"0,6-5-62 0,1 4-111 16,-2 1-4-16,5-1-54 0,0 0-49 0,3 1-15 15,3 0 51-15,2 0-35 0,5-3-32 16,-2 3-48-16,5-1-56 0,-1 0-57 15,1-1-66-15,2-1-59 0,-3 3-116 0,-9-2-240 0,7-1-509 16,3 1 74-16,-4-1 108 0,-1 1 60 0,0-2 65 16,1 1 59-16</inkml:trace>
  <inkml:trace contextRef="#ctx0" brushRef="#br0" timeOffset="108471.31">12403 11755 1482 0,'-3'5'465'0,"0"3"-47"0,1 0-24 0,0 3-54 16,2 4-17-16,-1 0-24 0,-1 0-35 0,2 1-6 15,-3-2-35-15,3 5 33 0,0 0-41 16,-2-1-61-16,2 0-62 0,0-2-56 0,0-1-77 16,0 2-67-16,-2-2-48 0,4-1-151 0,-8-1-103 15,6-2-519-15,3-1 79 16,-3-2 126-16,0-2 15 0,0 1 79 0</inkml:trace>
  <inkml:trace contextRef="#ctx0" brushRef="#br0" timeOffset="108738.13">12385 11836 893 0,'7'-23'379'0,"1"6"48"0,0 2-40 0,2 6-19 16,3 1-17-16,-3 1 12 0,5 2-45 15,-2 2-29-15,0 4 23 0,2-1-45 0,1 5-27 16,-3 2-17-16,2 2 5 0,-4 1-21 16,-1 2-5-16,-5-1-5 0,-3 1-84 0,-2 0-18 15,-2 3-21-15,-6-2 15 0,1 3-37 16,-4-2-4-16,-2-1-35 0,0-1-26 0,-2-2 6 15,2 0-42-15,0-1-25 0,3-3-36 0,0 0-67 16,4-2-35-16,-1-1-119 0,7-3-168 0,-7-6-445 16,7 4 104-16,0 2 67 15,7-8 67-15,0 1 73 0,7-3 119 0</inkml:trace>
  <inkml:trace contextRef="#ctx0" brushRef="#br0" timeOffset="108957.77">12895 11661 1502 0,'-13'19'509'0,"3"-1"-9"0,0 2-29 16,-4 10-59-16,2 1-23 16,-1 3-67-16,3 0-53 0,4-6-44 0,2-3 52 0,1 3-26 15,3-3-1-15,0 0-22 0,5-2-43 0,0 0-50 16,6-2-17-16,-1-2-62 0,3-3-46 15,2-2-53-15,-2-2-49 0,0-2-62 0,2-4-56 16,-2-3-61-16,0 2-190 16,2-5-493-16,0 0 45 0,1-3 100 0,-3-1 120 15,5-2 11-15,-4 0 66 0</inkml:trace>
  <inkml:trace contextRef="#ctx0" brushRef="#br0" timeOffset="109614.18">13407 12076 849 0,'0'0'333'0,"-7"-3"-13"0,7 3-26 0,-7-2-17 0,4-1-1 16,3 3-17-16,-8-6 61 0,3 4-8 0,0-3 41 15,0-1-48-15,0-2-29 0,2-2-2 16,-4 1-31-16,1-1-15 0,1-3 26 0,0-2-34 16,2-3-46-16,-2-1 38 0,3-2-145 0,1 2 2 15,1-1 8-15,1 1-16 0,4 2-15 16,-2 1 11-16,4 0-9 0,0 3-15 0,-1 6 14 15,2 0-4-15,2 2-17 0,-5 2 7 0,3 2-18 16,-1 2-2-16,1 2 15 0,-1 2-23 16,-1 1 21-1,-1 0-16-15,2 1-30 0,-4-1-21 0,0 2 13 0,-3 1 12 16,2-2-4-16,-2 0 25 0,0-1-33 0,0-1 25 0,-2-2 6 16,2 3 7-16,0-6 10 0,0 4 11 15,0-4-10-15,0 0 14 0,0 0 14 0,0 0-28 16,0 0 9-16,10-16 4 0,-3 8-17 0,1-1 12 15,2 0-14-15,1 1 11 16,4-1-16-16,-2 2-2 16,0 1-3-16,0 2 7 0,0 1 1 0,-3 3-5 0,2 0 5 0,-1 3-18 0,2 1 17 15,-3 2 9-15,-3 1 22 16,-1 4 37-16,-1-1 37 0,-2 0-35 0,-3 5-36 0,-3-2 18 16,-2 3 8-16,-3 1-23 0,-4 1-1 0,-2 1 4 15,-9 2-1-15,-2 2-18 16,-3-4-2-16,-1-1-16 15,6-5-30-15,0-1 2 0,2-3-46 0,4-2-36 0,2-2-40 0,2-1-73 0,3-1-68 16,-1-3-41-16,4 0-119 0,1-2-219 16,1-3-348-16,0-2 76 0,5-2 88 0,-1-2 48 15,2-3 94-15,2-4 65 16</inkml:trace>
  <inkml:trace contextRef="#ctx0" brushRef="#br0" timeOffset="109808.86">13741 11513 1154 0,'13'21'545'0,"-3"-1"52"0,5 10-27 0,1 1 6 15,-1 4-31-15,0 2-79 0,-2 1-94 16,-3 2-32-16,-2-2-28 0,-5-6-35 16,-3-5-52-16,-5 10-38 0,-5 0-62 0,-3-3-63 15,-5 0-73-15,-2-1-78 0,-4-2-65 0,-1-2-79 16,-2-2-66-16,-5-2-231 0,-1-1-494 0,-6-5 105 15,-12 3 85-15,2-9 99 0,-10 1 126 16,-10-5 7-16</inkml:trace>
  <inkml:trace contextRef="#ctx0" brushRef="#br0" timeOffset="110277.99">8775 12938 1121 0,'0'0'350'0,"0"0"-22"16,0 0-57-16,0 0-38 0,28 0-43 15,-18 0-73-15,0 1-48 0,-1-1-102 0,1 1-182 16,0 1-491-16,-3 0 61 0,-1 2 56 15</inkml:trace>
  <inkml:trace contextRef="#ctx0" brushRef="#br0" timeOffset="110436.43">8823 13071 1064 0,'-2'2'405'0,"-1"1"-24"0,3-3-30 16,-2 5-31-1,2-5-46-15,0 0-8 0,5 5-5 0,-5-5-31 16,7 1-40-16,-7-1-34 0,16-1-23 0,-6-1-82 0,1 0-30 15,4-1-103-15,6-8-215 0,-1 6-540 16,5-2 69-16,2 0 110 0,11-6 23 0,-3 0 77 16</inkml:trace>
  <inkml:trace contextRef="#ctx0" brushRef="#br0" timeOffset="110700.52">9677 12781 1430 0,'-18'10'558'0,"11"-5"-15"15,-3 1-72-15,-4 3-72 0,1-1-30 16,-5 3-52-16,1 2 8 0,-4 0-38 16,4-2-26-16,-2 2-10 0,1 0-18 0,3-3-33 15,2 0-6-15,1 0-33 0,3 1-2 0,2-3-16 16,0 1-15-16,3-1-23 0,2 1-30 0,0-3 30 16,4 2-16-16,1 0-22 0,4-2-14 15,1 1 1-15,2-1-41 0,3-1-21 0,3 0-43 16,-1-2-38-16,0-1-47 0,1 0-51 0,2-2-48 15,0 0-34-15,0-2-118 0,-3-5-150 16,1 3-467-16,-2 0 103 16,2-4 64-16,-3 0 151 15,0-1 28-15,-3-2 75 0</inkml:trace>
  <inkml:trace contextRef="#ctx0" brushRef="#br0" timeOffset="110891.87">9744 12819 947 0,'-5'-3'376'0,"2"2"10"15,3 1 88-15,0 0-18 0,-15 6-116 16,9 2 13-16,-3 0-23 0,3 1 24 0,-4 4-45 15,3 2 14 1,-4 4-39-16,1 1 10 0,0-1-53 0,0 4-18 0,-1-3-36 0,-4 11-16 16,2-2 77-16,-3 0-56 0,4-6-38 15,4-3-77-15,0-4-72 0,3-2-44 0,0-1-45 0,5-2-75 16,0-3-56-16,0-1-87 0,5-6-171 16,0 0-541-16,5-2 54 0,4-3 118 15,3-2 72-15,4-4 107 0,10-7 76 0,0-2 14 0</inkml:trace>
  <inkml:trace contextRef="#ctx0" brushRef="#br0" timeOffset="111102.98">10154 12815 1177 0,'-2'9'476'0,"-4"-2"26"0,-2 3 84 16,-2 2-59-16,-5 2-35 0,-13 10-32 0,-1 2-104 16,-9 6-10-16,-5 1-16 0,-1 2-38 0,0 2 25 15,-1 0-92-15,-4 1-33 0,5 0-18 16,-2-1-10-16,2-2-25 0,6 0-50 15,0 0-35-15,11-9-41 0,-1-2-65 0,6-1-63 16,6-6-56-16,6-4-90 0,2-1-49 0,3-5-92 0,5-3-624 16,0 1 58-1,5-3 95 1,0 0 154-16,3 0 36 0,2-2 50 0,1 2 86 0</inkml:trace>
  <inkml:trace contextRef="#ctx0" brushRef="#br0" timeOffset="111871.76">9865 13396 952 0,'-6'-2'384'0,"6"2"-64"15,0 0-3-15,0 0-10 0,-3-3-15 0,3 3 0 16,0 0-6-16,0 0-81 0,-2-4 15 16,2 4-5-16,0 0-23 0,0 0-5 0,0 0 64 15,-2-3-10-15,2 3 12 0,0 0-46 0,0 0-43 16,0 0 8-16,0 0-11 0,0 0-15 16,0 0-21-16,0 0-7 0,0 0-10 15,0 0 2-15,5-5-11 0,0 3-1 0,-5 2-19 0,7-3-5 16,-1 2 8-16,-1-1-25 0,0 0 4 15,3 0-15-15,-1-1-23 0,-2 1-2 16,3 0 20-16,-5 1-8 0,4-1-10 0,-4 0-8 16,-3 2 1-16,8-1-14 0,-8 1 31 15,0 0-10-15,0 0-15 0,0 0 7 0,0 0 14 16,0 0 6-16,-3 9-22 0,-2-6-10 0,0 2 20 16,-3-1-15-16,1 0 4 0,-1 1 4 15,3 0-14-15,-1 0-2 0,-1-1-5 16,2 1 10-16,-1-1 3 0,2 0-11 0,1 0 6 0,0-1-21 15,3 1 28-15,0-4-25 0,0 8 5 16,5-4 17-16,-2 2-7 0,3 0 8 0,1 1 2 16,3 1-5-16,-3 0 24 0,4 0-4 15,2 1 3-15,-6 0-5 0,1 0 18 0,0 1 21 16,-3-1 2-16,0 0 15 16,-2 1-76-16,-1-1 17 0,-2 0 13 0,0-1-2 0,-2 2 0 15,-1-3 7-15,-2 4 3 0,-5-3 13 16,2 0 0-16,-5 2-8 0,0-2-28 0,1-2 17 15,-4 0-40-15,1 0-18 0,2-2-23 0,-2-2-15 16,-1-1-8-16,3 1-49 0,-2 0-54 16,5-2-27-16,-1 0-39 0,1-1-23 15,3 0-46-15,1-1-31 0,-1 0-185 0,4-1-516 16,1 0 49-16,2 3 140 0,0-8 54 0,-3 3 87 0,3-1 59 16,3 0 97-16</inkml:trace>
  <inkml:trace contextRef="#ctx0" brushRef="#br0" timeOffset="112206.83">10165 13332 1435 0,'17'2'410'0,"-4"0"-18"0,-3 3 89 16,0 0-8-16,-2 1-68 0,-5 1-6 16,2 3-87-16,-5 2-35 0,0 1-11 0,-3 4-18 15,-1 2-4-15,-4 3 4 0,-3 8-46 16,-4-2-18-16,0 1-15 0,2-7-13 0,0-1-5 15,2-4-7-15,1-2-24 0,3-1-10 0,1-2-2 16,2 0-3-16,-1-2-26 0,4-1 0 16,-1-1-17-16,4-1 9 0,-2-2-12 0,3 0 8 15,4 0-13-15,1-3-11 0,0 1-20 0,-1-2-54 16,4 0 6-16,4-2-24 0,-2-1-43 16,3 0-23-16,-1-2-36 15,3-1-16 1,2-2-37-16,-2 1-19 0,0-1-36 0,0 0-14 0,0-1-32 0,-2 1-79 0,-1-2-107 15,0 1-495-15,-2-1 123 0,3-1 65 0,-4 0 76 0,1 0 87 16,3-2 103-16</inkml:trace>
  <inkml:trace contextRef="#ctx0" brushRef="#br0" timeOffset="112724.17">11244 13000 1638 0,'0'0'430'0,"0"0"-18"15,0 0-36-15,2 14-23 0,-2-6-12 16,2 0-55-16,-1 5-27 0,2-1 46 0,-1 4-44 16,0-1-13-16,1 0-41 0,0 1-45 0,-1 1-47 15,1 0-61-15,-3-2-52 0,2-1-28 16,-2 1-99-16,0-2-100 0,0-2-154 0,0 2-568 15,-2-3 31-15,2 0 137 0,-3-2 142 0,1-1 56 16,-1-1 15-16</inkml:trace>
  <inkml:trace contextRef="#ctx0" brushRef="#br0" timeOffset="112919.67">11142 13129 1377 0,'0'0'448'0,"12"1"-26"0,-4-2-38 16,5 1-16-16,2 1-53 0,6-2-15 0,2 1-37 16,2 0-22-16,1-1-21 0,7-2-33 15,-2 2-49-15,2-2-33 0,0 1-28 0,0-1-54 16,-2 2-43-16,1-2-42 0,-2 1-35 0,-7 0-75 16,0 1-109-16,-3-1-183 0,-1 2-378 15,-1 0 31-15,0 0 143 0,-3-2 64 0,1 1 18 16</inkml:trace>
  <inkml:trace contextRef="#ctx0" brushRef="#br0" timeOffset="114245.75">9967 13294 1156 0,'10'-7'308'0,"0"0"-14"0,0 0-38 0,1 1-108 0,2 0-30 0,-3 0-33 0,3 2-19 0,-1-2-53 15,-1 0-82-15,4 1-126 16,-7 0-86-16,5 3-377 0,-1-2 18 0,-3 2 49 16</inkml:trace>
  <inkml:trace contextRef="#ctx0" brushRef="#br0" timeOffset="115124.14">10003 13207 744 0,'0'0'277'0,"0"0"-21"0,0 0-16 0,0 0-19 16,0 0-24-16,0 0 7 0,0 0-45 15,0 0-21-15,0 0-12 0,0 0-1 16,0 0-2-16,0 0-23 0,0 0-16 0,-8 12-2 15,3-8 16-15,2-2-29 0,-2 2-5 16,0 1-8-16,-3-1 5 0,3 0-27 0,-2 0 12 16,2 1-21-16,-3-1 3 0,2 0-2 0,-1 1 10 15,-1-1 10-15,3 0-31 0,0-1 1 16,0 1-6-16,0-1-2 0,0 0 22 0,0 0-27 16,2 1 30-16,-2-2-17 0,2 2-4 0,1-2 11 15,-3 1 0-15,5-3-2 0,-6 3-8 16,4-2-3-16,2-1 16 0,0 0-14 15,-2 4-7-15,2-4 24 0,0 0-19 0,0 0 10 16,0 0-7-16,0 0 0 0,22-4-3 16,-14 1-7-1,0 1 7-15,2-2-18 0,0 0-17 0,3 1-32 0,0-1-7 0,-3 0-38 16,3 0-44-16,0 2-89 0,0-7-67 16,0 6-477-16,-1-1 24 0,-1 4 62 0,1-2 76 0</inkml:trace>
  <inkml:trace contextRef="#ctx0" brushRef="#br0" timeOffset="115405.36">9903 13326 453 0,'0'0'135'0,"-6"1"-4"0,6-1-83 15,0 0-7-15,-4 3-59 0,4-3-5 0,0 0-87 16,0 0-89-16</inkml:trace>
  <inkml:trace contextRef="#ctx0" brushRef="#br0" timeOffset="116152.98">12469 12712 1407 0,'0'0'405'0,"0"0"-6"0,-7 15-28 15,4-6-38-15,-2 1-16 0,3 2-38 0,-2 1-33 0,0 2 5 16,-2-1-26-16,2 4-12 0,1-2-47 0,-2 0-30 16,2 0-36-16,-2-2-6 15,2 0-68-15,-2-2-47 0,5 0-27 16,-3 1-37-16,3-4-32 0,-2 0-27 0,2 0-73 0,0-2-139 16,0 0-507-16,2-2 26 0,1-2 146 15,2 2 3-15,-2-2 94 0</inkml:trace>
  <inkml:trace contextRef="#ctx0" brushRef="#br0" timeOffset="116684.77">12625 12709 1489 0,'0'0'407'0,"11"2"-18"0,-11-2-38 0,10 3-26 0,-8 0-23 16,2 2-18-16,-2-2-28 15,-2 5-15-15,0-2-6 0,-2 1-22 0,-4 1-11 0,1-1-33 16,0 1-3-16,0 0-22 0,0-1-19 15,2-2-12-15,-2 1-1 0,5-1-12 16,0 0-10-16,0 1 2 0,3 1-5 0,2-1 26 16,2 1 22-16,-2 0-17 0,3 3-13 0,0-2 69 15,-3 1 8-15,2 0-6 0,-4-1-37 16,0 0-22-16,-3 1 6 0,0 0-10 0,-3 0-21 16,-2 0-23-16,0-1-46 0,-2 0-28 0,-1 1-31 15,-2-3-41-15,1 2-89 16,-1-1-21-16,-2-1-20 15,1 0-44-15,-2 1-54 0,0 0-161 0,-4 1-583 0,2 1 56 0,-3-1 151 16,-1 2 53-16,-3 0 108 0,-1-1 111 16,-1 0-9-16</inkml:trace>
  <inkml:trace contextRef="#ctx0" brushRef="#br0" timeOffset="116895.57">12141 13178 977 0,'-3'0'441'0,"-1"2"12"0,4-2-26 15,-1 4-15-15,1-4-79 0,0 0-11 0,0 0 73 16,13 3-6-16,-3-1-51 0,0-1-88 0,1-1 12 15,7 0-24-15,2 0-31 0,3-3 8 16,6 1-49-16,4 0 8 0,8-3-17 0,8 0-6 16,-5 1-36-16,4-1-10 0,-4 0-29 15,-3 0-29-15,-5 1-60 0,-8 0-38 0,-3 2-75 0,-2 0 11 16,1 1-39-16,-6 0-40 16,-1-1-47-16,-1 3-102 0,-1 0-120 15,-5 1-85-15,-2 0-376 0,0 2 54 16,-3 0 161-16,0 1 30 0,-3 2 60 0,-1 1 128 0</inkml:trace>
  <inkml:trace contextRef="#ctx0" brushRef="#br0" timeOffset="117341.21">12436 13465 1520 0,'-10'0'466'16,"0"1"-121"-16,-1 0-17 0,-1 4-3 0,-4-1-41 15,1 1-46-15,-3 1-10 0,0 0-46 0,2 1-16 16,3-2-5-1,3 0-22-15,0 2-42 0,5-1 8 0,0-2-31 0,4 1 5 0,2-1-9 16,-1 0-1-16,5 1 7 0,2 1 1 0,1-1-46 16,2 0 28-16,0 2 2 0,1-1-17 15,2 0 20-15,-3 1 13 0,1-1-19 16,-4 1 35-16,1 0 9 0,0-1 18 0,0 1 67 16,-4 0 23-16,1 0-38 0,-4 0-27 15,-2-1 12-15,-1 1-119 0,-3-1 13 16,2 2-15-16,-4 1-18 0,-1-2-31 15,0 1-25-15,1 1-54 0,-1-3-47 0,-2 1-53 0,2-2-33 16,0 0-46-16,0-2-95 0,5-2-144 0,-4 0-478 16,4 1 90-16,3-2 84 0,0 0 118 0,0 0 51 15,-7-4 53-15</inkml:trace>
  <inkml:trace contextRef="#ctx0" brushRef="#br0" timeOffset="117627.52">12548 13518 934 0,'14'-1'427'0,"-2"0"-102"0,-4 1 3 0,0 1-21 0,-1 1-10 0,-4 2 13 16,0 0-29-16,-3 1 70 0,0 4-26 15,-3-1-2-15,-4 3 4 0,-4 3-130 16,1 1 11-16,2-2 40 0,-2 1-46 0,0 0-10 0,0 0 8 16,2-2-16-16,3-1-46 0,-1 0 16 15,1-2-29-15,2 1-35 0,3-4 23 16,-2 1 2-16,2-2-31 0,3-1-22 0,2-1 4 0,-2 0-40 15,6-3 12-15,-1 0-45 16,0-1-45-16,5 0-12 0,0-2-38 0,3 0-36 16,1-2-31-16,4 0-39 0,-1-1-71 0,3-3-192 15,-2 3-542-15,-1-1 48 0,-2-1 166 16,3-3 3-16,-3 4 67 0,-1-5 89 0</inkml:trace>
  <inkml:trace contextRef="#ctx0" brushRef="#br0" timeOffset="118026.93">13403 13066 1443 0,'0'0'474'0,"5"-3"-60"15,2 1-30-15,1 1-36 0,2-1-33 0,1 1-18 16,4 0-41-16,-2-1-56 0,5 2-3 16,-3-1-79-16,3 0-65 0,-3-1-37 0,1 1-73 15,-1 2-150-15,-2 1-274 0,-2-1-423 0,1 0 162 16,-7-1 28-16,2 3 69 0,-3 0 87 16</inkml:trace>
  <inkml:trace contextRef="#ctx0" brushRef="#br0" timeOffset="118153.98">13523 13224 990 0,'0'0'428'0,"0"0"-32"16,8 5-35-16,-3-5-31 0,3 2-25 16,2-2-54-16,2-2-121 0,-1 2-32 0,2 0-45 15,2-1-14-15,3 0-34 0,2-1-64 0,1-2-207 16,0 4-525-16,4-3 36 0,-2 0 123 15,-2-2 68-15</inkml:trace>
  <inkml:trace contextRef="#ctx0" brushRef="#br0" timeOffset="119114.26">14997 12747 1456 0,'0'-4'425'16,"0"1"-54"-16,0 3-10 0,0-6 10 0,0 6-20 16,0 0 17-16,0 0-48 0,0 0-10 15,5 12-3-15,-4-4-30 0,1 4-11 16,-2 2-36-16,2 3-30 0,1-2-6 0,-3 5-22 15,-3-1-8-15,3 2-57 0,-4-2 16 0,1 2-51 0,0-1-52 16,-1-1-43-16,-2 3-64 0,4-3-23 16,-4-2-36-16,4 1-56 0,-1-4-21 15,1-1-145-15,-1 0-298 0,3-3-296 16,-3-1 81-16,3-3 149 0,0 1 44 0,0-4 81 16,3 0 87-16</inkml:trace>
  <inkml:trace contextRef="#ctx0" brushRef="#br0" timeOffset="119340.2">15241 12786 862 0,'15'-6'374'0,"-2"1"-31"0,-5 3-8 0,2 2-12 0,0 2-19 16,-2 2-14-16,0 1 93 0,-1 3-42 16,0 2-26-16,-1 0-26 0,-1 3-25 15,0 0-24-15,-2 4-30 0,-1 0 5 0,-2-3 8 16,3 2-57-16,-3-1-40 0,-3 0-24 0,3 0-28 15,0-2-17-15,0 1-70 0,-2-2-64 16,2 0-15-16,-2-3-87 0,2 0-167 0,-1-1-634 16,-1 0 107-16,-1 0 33 0,1-3 88 0,-1-1 53 15,1-1 92-15</inkml:trace>
  <inkml:trace contextRef="#ctx0" brushRef="#br0" timeOffset="119532.5">15251 12999 1348 0,'-7'-3'372'0,"7"3"-27"0,0 0-4 0,0 0-39 0,0 0 2 0,10-4-45 16,-2 3-8-16,2-1 53 0,2 0-35 0,4 0-34 15,-1 0-22-15,6-1-36 0,4 1-14 16,-1-1-53-16,4 1-12 0,5 0-42 0,-2 0-56 16,-1 1-38-1,1 1-49-15,-7 0-72 0,-1 0-166 0,-5 1-622 0,-1 1 133 0,-4 0 46 16,-2 0 49-16,-4 3 71 0,-2-1 75 15</inkml:trace>
  <inkml:trace contextRef="#ctx0" brushRef="#br0" timeOffset="119829.62">14858 13275 1354 0,'-7'4'550'0,"4"0"-51"0,1-2 10 0,2-2-130 15,8 6-43-15,-4-5 17 0,4 3 67 0,3-2-19 16,4-1-116-16,3-1-4 0,5 1-50 16,2-2 9-16,6 0-22 0,0-3-3 0,15 0-31 15,-2-1-7-15,0-1-29 0,-1-1-5 16,1 0-20-16,-6-1-7 0,-7 3-29 0,-3 1-39 16,-5-2 6-16,-5 1-49 0,0 0-13 0,-2 2-33 15,-4 1-15-15,-1 0-59 0,-1 0-34 16,-2 0-37-16,-4 2-35 0,-4 0-40 0,0 0-20 15,8 3-26 1,-10 1-149-16,0 0-417 0,-6 3-43 16,0 1 51-16,-2 0 138 0,-3 3 5 0,-5 2 110 0,0 0 57 0</inkml:trace>
  <inkml:trace contextRef="#ctx0" brushRef="#br0" timeOffset="120190.36">15248 13438 1023 0,'-7'-3'407'0,"-3"2"-43"0,-3 2-31 15,2-1-11-15,-4 3-17 0,0 0 56 0,2-1-39 16,-5 3-33-16,0 0-17 0,5-1-47 16,1 1-7-16,-2 0-39 0,4 1-13 0,0-1-10 15,3 0-12-15,3 1-29 0,2-2-10 0,2 2-3 16,2-1 1-16,-1 1-4 0,6 1-7 15,1 0-20-15,0 1 10 0,3-2-10 0,1 2-11 16,-2-1 34-16,0 1-21 0,3 1-12 0,-3-2 22 16,0 0-74-16,-2 1 11 0,0-1-8 15,-3 0 2-15,-2 0 8 16,-1 1 15-16,-2-1 1 0,-2 1-24 0,-3 1-2 0,0 0-8 16,-3 1-20-1,0-1-34-15,0 0-41 0,-2 0-22 0,0 1-70 0,-1 0-36 0,1-3-84 16,3-7-151-16,-1 7-535 0,1-2 87 0,1-1 100 15,3-3 72-15,3-1 109 0,-4 2 47 16</inkml:trace>
  <inkml:trace contextRef="#ctx0" brushRef="#br0" timeOffset="120439.14">15372 13500 990 0,'7'2'422'0,"-7"-2"19"0,8 2-134 0,-8 1 10 0,0-3 1 15,-2 10-24-15,-1-4 113 0,-5 3-54 0,-2 3-10 16,0 0-18-16,-1 0-53 0,-1 2-24 0,-1-3-92 16,5 0-46-16,-2 0 8 15,2 0 18-15,0-1-16 0,1-2-10 0,4 0 20 0,1-2-27 16,2 0-3-16,0-1-21 0,2-1-23 16,3 1 8-16,1-1 3 0,3-2-24 0,0 0-22 15,3-2-6-15,1 0-43 0,2 0-31 16,0-2-10-16,6 0-51 15,-3-2-52-15,3 1-15 0,-1-1-17 0,3-2-50 0,-5 1-168 0,0-1-95 16,5-2-458 0,1-1 133-16,-2 2 84 0,-1-4 59 0,-1 1 72 0</inkml:trace>
  <inkml:trace contextRef="#ctx0" brushRef="#br0" timeOffset="121346.71">15351 13541 1133 0,'0'0'382'0,"0"0"-44"16,0 0-18-16,0 0-5 0,15-5-36 0,-15 5-8 16,8-5-18-16,-6 2-86 15,1-1 7-15,-3 1 5 0,3-1-15 0,0 0-18 16,-3-1-21-16,2 1-5 0,-2 0-20 0,2-1 31 16,-2 0-29-16,0 1-7 0,0 0-8 15,-2 0-26-15,2-1 6 0,0 2-24 0,-2-1-40 16,-1 0-1-16,0 1-50 0,1 0-11 0,-1-1-18 15,3 4-23-15,-5-4-17 0,2 2-19 16,3 2-61-16,0 0-105 0,0 0-49 16,0 0-440-16,0 0-13 0,0 0 118 0,0 0 110 0,0 0 11 15</inkml:trace>
  <inkml:trace contextRef="#ctx0" brushRef="#br0" timeOffset="122661.97">16417 12996 1005 0,'0'0'405'16,"0"0"-34"-16,11-6-38 0,-3 4-18 0,0 0-34 15,2 0-25-15,5-1-38 0,-2 1-6 16,4 0-27-16,-1-2-29 0,-3 2-39 0,3-1-24 16,-2 1-65-16,0 1-23 0,-4 0-67 0,0-2-66 15,0 3-169-15,-2-2-35 0,-1 3-380 16,-1 0-12-16,-6-1 91 0,5 4 73 15,-5 0 33-15</inkml:trace>
  <inkml:trace contextRef="#ctx0" brushRef="#br0" timeOffset="122839.49">16462 13084 1133 0,'-6'2'392'0,"4"-1"-72"0,-1 1-36 16,3-2-36-16,0 0-22 0,0 0-24 0,0 0 0 15,7 5-28-15,-1-4-5 0,4-1-20 16,0 0-32-16,1 0-35 0,4-1-54 0,2-1-43 15,0 2-75-15,3-2-104 0,-2-1-98 0,3 2-491 16,1-3 48-16,-3 0 62 0,3 0 66 16</inkml:trace>
  <inkml:trace contextRef="#ctx0" brushRef="#br0" timeOffset="123142.91">17082 12821 1254 0,'7'-6'407'0,"6"2"-21"15,-4 4 52-15,-3-1-52 0,2 2-2 0,0 0-18 16,0 2-33-16,-3 1-21 0,3 2-86 15,-1 1-24-15,1 2-18 0,-3 1-15 16,0 1 0-16,0 1-15 0,-2 0-34 0,-3 1-5 0,0 1-7 16,-1-1-37-16,-1 0-40 0,-3 1-36 15,0 1-69-15,-1 2-49 0,-1 0-36 0,0 3-56 16,-2-1-82-16,0 2-166 0,1-3-459 16,0 3 39-16,0-6 136 0,1 1 81 0,1 1 52 15,-1-2 94-15</inkml:trace>
  <inkml:trace contextRef="#ctx0" brushRef="#br0" timeOffset="123306.4">17013 13373 1302 0,'0'0'507'0,"-2"2"-28"0,2-2-49 0,0 0-36 16,0 0-41-16,0 0-12 0,0 0 22 0,-12-7-58 16,12 7-26-16,-2-3-46 0,2 3-59 15,-2-5-56-15,2 5-83 0,-1-5-47 0,1 5-55 16,0-3-79-16,0 3-240 0,3-4-567 0,-3 4 58 15,6-4 145-15,-2 2 41 0,0 0 87 16,-2-1 102-16</inkml:trace>
  <inkml:trace contextRef="#ctx0" brushRef="#br0" timeOffset="124596.56">17810 12952 1382 0,'0'0'409'0,"0"0"-104"0,0 0-21 0,-5 16-43 16,4-10-26-16,0 1-3 0,-3 2-22 0,2 0-11 15,2 1-44-15,-2 0-14 16,-1 1-22-16,0-1-47 0,3 0-47 0,-2 2-38 16,1-1-55-16,-1-2-129 0,2 0-93 0,0-1-486 15,0 0 64-15,0-3 120 16,0 1 18-16</inkml:trace>
  <inkml:trace contextRef="#ctx0" brushRef="#br0" timeOffset="124794.09">17895 12862 726 0,'0'0'226'0,"0"0"-45"16,0-6-104-16,0 6-59 0,4-2-159 0,-4 2-455 15</inkml:trace>
  <inkml:trace contextRef="#ctx0" brushRef="#br0" timeOffset="125041.17">18041 12841 893 0,'0'0'363'0,"0"0"-20"0,-8 5-56 0,5-3-5 0,1 3-39 15,2-2 5-15,2 6-43 0,1-1-13 16,1 2 2-16,2 1-22 15,-1-1-1-15,3 3-35 0,0 0 5 0,0-2 0 0,-1 0-75 16,-2 1 19-16,0-2-24 16,1-1 18-16,-4 0-2 0,-2 0 20 0,0-1-22 0,-2 0 7 15,-1 1-13-15,-5-1-10 0,0-1 15 16,-2 0-13-16,-2-1-28 0,1 0-7 16,-4-1 12-16,0-2-27 0,1 0-42 15,-1-1-30-15,-1 0-42 0,2-2-50 0,3 0-68 0,-2 0-132 0,-2-2-136 16,4 0-355-1,2-2 50-15,1-2 154 0,0-1 69 0,1-2 54 16</inkml:trace>
  <inkml:trace contextRef="#ctx0" brushRef="#br0" timeOffset="125327.47">17841 12385 1336 0,'-28'25'455'0,"-9"9"-30"16,4 7-23-16,-5 5-97 0,5 9 7 16,-3 6-38-16,-5 17-26 0,7-13-10 0,0 19-2 15,6-16-47-15,5 2-5 0,5 0-17 16,3 0-19-16,5-3-4 0,7-1-29 16,6-4-10-16,5-6 18 15,5-3-26-15,7-4-23 0,5-6-25 0,4-3-42 0,-1-11-22 0,3-4-16 16,-1-3-17-16,1-7-32 0,5-2-48 15,-7-7-35-15,-1-3-68 0,-3-6-58 0,19-3-85 0,-9-4-168 16,9-6-344-16,8-8 123 0,2-5 26 0,-4-2 84 16,-3-3 47-1</inkml:trace>
  <inkml:trace contextRef="#ctx0" brushRef="#br0" timeOffset="125683.63">18962 12717 1407 0,'0'17'453'0,"0"1"-64"16,-1-1-20-16,-4 2 0 0,3 2-60 15,-4 2-1-15,-1 1-42 0,-4 10-54 0,1-1 29 16,0-1-67-16,-3 0-26 0,3-6-9 16,-3 5-65-16,1-1-64 0,1-5-53 0,3-5-29 15,0-2-72-15,3-1-104 0,0-6-143 0,3 1-518 16,-1 0 146-16,0-4 8 0,3-1 118 15,0-3 86-15</inkml:trace>
  <inkml:trace contextRef="#ctx0" brushRef="#br0" timeOffset="126118.66">19225 12668 1098 0,'0'0'396'0,"0"0"40"0,-10 15-4 15,4-6-40-15,-4 5-13 16,3 2-52-16,-6 5 6 0,-2 7-44 0,-3 0-10 0,1 1-43 16,-3-1-24-16,3 0-15 0,-1-2-23 15,0 0-28-15,5-3-66 0,-5 2-6 0,6-4-46 16,1-3 21-16,1-4-6 0,2-1-12 16,0 0 0-16,3-3-11 0,-2-1-15 0,4-2 3 0,0 0 48 15,1-2-48 1,2-4 17-16,0-1-17 0,0 0 20 0,0 0 3 0,0 0-13 15,20-7 2-15,-12 3 1 0,4 0 2 0,-3-1-8 16,1 2 8-16,0-1-36 0,0 3 36 0,-2 0 18 16,2 1-48-16,-1 0 9 0,-3 1 6 15,2 2 12-15,0 0 1 0,0-1-11 0,-1 2-10 16,1 0-2-16,-2 0 20 0,1-2-13 16,2 0-10-16,-3-1-18 0,2 1-6 0,2-1 22 15,-1 0 4-15,1-1-17 0,0 0-3 16,-3 0 15-16,3-1-15 0,0 1 10 0,-2 0 5 15,0-1-7-15,0 1-23 0,-8 0-29 0,12 0-12 16,-6 0-29-16,-1-2 6 0,-5 2-16 16,8 0-2-16,-8 0-29 0,8-1-2 0,-8 1-30 15,7-2-63-15,-7 2-86 0,7-4-56 16,-4 3-464-16,0-2 85 0,1 1 25 16,-4 2 105-16,6-4 72 0</inkml:trace>
  <inkml:trace contextRef="#ctx0" brushRef="#br0" timeOffset="126314.87">19399 12998 1325 0,'-2'4'461'0,"-3"1"-90"0,2 0-46 0,0 2-38 0,-1 0-21 0,0 0-10 16,0 3-30-16,2-3 65 0,1 3-19 15,-2-1-37-15,1 0-58 0,0-1-31 0,2 1-75 16,-1-2-27-16,1 0-44 0,-1-1-26 15,0-1-33-15,-2 0-92 0,3-1-215 0,0 0-573 16,0-4 189-16,-2 5-21 0,2-5 85 0,0 0 103 16</inkml:trace>
  <inkml:trace contextRef="#ctx0" brushRef="#br0" timeOffset="126548.5">18964 12910 906 0,'-6'-1'343'0,"6"1"-31"0,0 0-28 0,-7 3-46 15,7-3-25-15,0 0-42 0,0 0-35 0,12 9-42 16,-3-7-50 0,3 0-36-16,6 0-101 0,3 0-63 0,2-1-23 0,7-4-46 15,3 5-420-15,3-3 5 0,-2 0 95 0</inkml:trace>
  <inkml:trace contextRef="#ctx0" brushRef="#br0" timeOffset="126750.01">19576 12895 913 0,'0'0'313'0,"-5"9"14"0,5-9-2 0,-8 7-33 16,3-1-31-16,-2 1 26 0,1 1-44 0,-1 0 16 16,4 1-21-16,-2 2-18 0,0-1 59 15,3 2-39-15,0 0 6 0,-2 1 0 0,2 1-128 0,2-1 10 16,-2 0-11-16,2 1-12 15,-1-2-2-15,-2 2-14 0,1-2 3 0,-3 1-20 0,0-2-3 16,2 0-30-16,-3-1-11 0,-3 0-33 16,2-2-36-16,1 0-21 0,-2-2-45 0,4-2-42 15,-2-2-50-15,4 1-70 0,-1-2-187 16,3-1-450-16,0 0 82 0,0 0 82 0,0 0 22 16,15-12 98-16</inkml:trace>
  <inkml:trace contextRef="#ctx0" brushRef="#br0" timeOffset="127266.11">20123 12849 1057 0,'-6'16'404'16,"4"-7"-46"-16,0 4-27 0,-2 0-6 0,2 4-36 16,2-2-23-16,-3 2-33 0,-2 2 3 0,2-2-16 15,-4 5-44-15,6-3-9 0,-3-2-29 16,-1 0 16-16,2-1 50 0,1-2-12 16,-1-2-30-16,0 0 4 0,1-3 5 0,-1-1 9 0,2-2-98 15,0-1 2-15,-2-3-10 0,3-2 21 16,0 0-21-16,0 0-12 0,0 0-4 15,0 0 6-15,-2-16-2 0,4 7-29 0,2-2 18 16,0-2-33-16,1-3 13 0,3-4-39 16,2 0-15-16,0-2 8 15,0 1-23-15,4 2-3 0,-2 0-26 0,1 2-38 0,0 3-13 16,-3 2-15-16,3 1-10 0,0 1-6 0,-5 2-14 16,4 2-27-16,-2 2-4 0,1 1-14 0,-3 1-14 15,4 1 9-15,-2 2 8 16,0 1 6-16,0 1 25 15,-2 1 64-15,1 2 30 0,-2 1 42 0,-2 2 69 0,-1-1 10 0,-2 1 33 16,0 3 0-16,-2-1 0 0,0 2 3 0,-2 0 7 16,2-1 6-16,-2 1 10 0,-2 1-5 0,0-1-29 15,-2-1-10-15,1 3 3 16,0-3 13 0,0-2-3-16,-1 1-20 0,-1-1-44 0,2-1-13 0,-1 0-66 0,2-3-34 15,-2-1-94-15,3-1-171 0,-1-2-290 0,1 1-139 0,3-3 109 16,0 0 22-16,0 0 121 0</inkml:trace>
  <inkml:trace contextRef="#ctx0" brushRef="#br0" timeOffset="127388.91">20423 12951 683 0,'0'-5'230'0,"0"1"-61"16,0 4-61-16,2-6-65 16,-2 6-112-16,-2-4-95 0,2 4-414 0</inkml:trace>
  <inkml:trace contextRef="#ctx0" brushRef="#br0" timeOffset="127629.41">20568 12869 975 0,'0'0'414'0,"0"0"-1"0,0 0-63 0,-7 11-22 0,7-6-21 0,-3 0-18 0,3 2-30 16,-2 0-3-1,2 0-31-15,0 1 5 0,0 1-35 16,0 1-18-16,-1 0 12 0,0 1-92 0,0 2 16 0,-1-1 15 0,-1 3 56 0,2-1-18 15,-3 0-14-15,-2 3-32 0,-1 0 31 16,2 3-44-16,-5 0 3 0,0-1 0 0,1 0-38 16,-3-1 5-16,-1 1-31 0,0-3-38 0,3 1-24 15,0-3-25 1,2-3-33-16,-2 2-13 16,2-5-46-16,1-1-72 0,1 0-145 0,1-2-562 0,3-1-4 0,-1-3 66 0,3-1 105 0,0 0 72 15,0 0 125-15,0 0 16 0</inkml:trace>
  <inkml:trace contextRef="#ctx0" brushRef="#br0" timeOffset="128250.87">20678 12864 1441 0,'0'0'401'0,"-7"20"-32"0,2-11-11 15,0 1-45-15,0 0-47 0,0 0-38 16,-3 3 15-16,2 0-49 0,-1-3 9 0,2 1-32 15,0-1-17-15,-1 0 2 0,-1-1-33 0,5-1 12 16,-1-1-19-16,-2 1-40 0,4-3 27 16,-1 1-6-16,2-2 0 0,0 2 6 0,0-3 71 15,2 1-5-15,-1 1-11 0,1-1 4 0,1 1 1 16,0-2-12-16,-1 3-46 0,3-4-7 0,-2 2-11 16,2-1 7-16,-2 1-106 0,1-2 17 15,2-1-36-15,-1 0 3 0,-5-1-26 16,13-2-33-16,-8 0-8 0,3-2-10 0,2-1-2 15,2-1-16-15,-1-2 5 16,1-2 3-16,2-2-21 0,1-3 55 0,5-8-27 16,4-2 11-16,-4-2 0 0,1-1 4 0,-1 0 24 0,-2 0 18 15,2 1-8-15,-5 5 23 16,-4 6 49-16,-3 2-10 0,0 5 35 16,-1-1 3-16,-4 4 10 0,1 3 26 0,-3 1 0 0,-1 2 10 15,0 0-5-15,0 0-18 0,-8 19 18 0,3-7-29 16,1 4 4-16,-4-2-6 0,-1 7 13 0,1 0-3 15,1-2-30-15,-2 3-8 16,0-1-13-16,-1-2-43 0,2 1 20 0,-2 0-48 16,0-1-34-16,2-3-5 0,0 0 8 0,0-1-5 15,1-2 5-15,2-3 2 0,0 1 3 0,-1-3-2 16,2 0 22 0,3-4 16-16,-4-1 2 0,5 1 18 0,-2-2-9 0,2-2 14 0,0 4 13 15,0-4 16-15,0 0-6 0,0 0 8 16,8 1 5-16,-8-1-4 15,0 0 4-15,14-4 13 0,-8 3-23 0,4-2 10 0,-1 0 0 0,0-1-17 0,4-1-11 16,-2 0 18-16,-1 0-26 16,2-1-12-16,0-1-21 0,-4 1-33 0,1-3-11 0,1 1-68 15,-2-1-144-15,-1-2-115 0,0 2-440 16,-1-5 117-16,-1-1 36 0,2 0 149 16,-1-2 26-1</inkml:trace>
  <inkml:trace contextRef="#ctx0" brushRef="#br0" timeOffset="128482.88">21117 12430 1336 0,'8'9'414'0,"-3"4"-109"0,3 3-16 16,1 7 52-16,0 13 12 0,-1 2 51 0,0 5-17 16,0 2 12-16,-2 0-10 0,-3 3-92 0,2 0-5 15,-5-1-36-15,-2-2-16 16,-4 0-42-16,-4-1-19 0,-2-2-18 0,-12 7-46 0,1-4-46 0,-5-3-48 15,-5-5-37 1,-2-2-50-16,-4-2-62 0,8-7-38 16,-5-3-47-16,-8 5-61 15,6-9-148-15,-13 1-95 0,4-7-435 0,-12 2 58 0,6-8 167 0,-16 0 59 0,-9-6 62 16,-6-2 76 0</inkml:trace>
  <inkml:trace contextRef="#ctx0" brushRef="#br0" timeOffset="135130.99">2834 11492 1469 0,'-7'21'489'0,"1"7"-18"0,-1 11-29 16,-6 16-14-16,5 7-39 0,-2 5-20 0,0 6-60 15,2 8-17-15,-5 24-31 16,3 2-2-16,-3 3-19 0,3 0-43 0,-1 5-10 15,-1-3-41-15,2-1-33 0,1-1-31 0,-3-4-3 0,4-23-28 16,1-2-7-16,2-1-52 0,-1-5-2 16,1-4-36-16,3-5-23 0,-4-6-26 0,4-13-2 15,2-5-31-15,-3-3-44 16,1-9-35-16,-1-8-98 16,1-5-168-16,0-6-24 0,-2-2-419 0,-1-5 117 0,0-4 106 0,5 0 22 0,-17-15 80 15</inkml:trace>
  <inkml:trace contextRef="#ctx0" brushRef="#br0" timeOffset="136432.51">2667 11373 1049 0,'0'0'356'0,"3"-5"-18"0,-3 5-47 15,7 0-14-15,-7 0-6 0,16 1-53 16,-3-1-24-16,2 1-12 0,6 2-13 0,5-2 0 16,7 0-18-16,16 1 8 0,2 0-26 0,5-1-3 15,6-1-4-15,15 0 7 0,4 2-13 16,4-2-5-16,0 2 3 15,7-1 0-15,3 0-26 0,5 0-2 0,5-1 2 0,3 0 0 0,25 0-13 16,3 0 11-16,1 0-16 0,-4 0 3 16,2 0 7-16,1 0 14 0,5-2-50 0,5 3 9 15,-5 0-14 1,-2-1 3-16,7 0-5 0,0 4 15 0,3-1 26 16,2 2-25-16,3 2-1 0,-3-4-10 0,-2 3 8 0,2-2 10 0,-2 5-16 15,7-3-9-15,3-2-21 0,-8 3 15 16,0 3-7-16,6-4 17 0,0-1-25 0,-6 3 23 0,0-1 2 15,1-1-30-15,4 0 8 0,-3 1 12 16,-1-2 23 0,-4 3-33-16,4 1-74 0,1-1 8 0,-6-2-1 0,-1 1 1 0,-3-2 25 15,4 1-13-15,-2-1 28 0,-4 2-4 16,1 0-9-16,-1 1-19 0,0-2 29 0,0 1 9 16,-3 1-3-16,-4 0 10 15,-1 0-5 1,3 2 16-16,-5-2-11 0,1 0-5 0,-3 0-7 0,-1 1-1 0,-2-1 16 0,2 0 0 15,0 0 5-15,-26-2 7 0,25 0-20 0,-2 1 0 16,1 1-5-16,2-1 8 0,-26-2 15 0,24 2-23 0,-25-1 3 16,26 1-1-16,-1 1-2 0,-24-3 10 15,1 2 3-15,0-2-2 0,-1 2-1 16,29 0-10-16,-3 0 0 16,-28-1 7-16,5 0 4 0,-5-2-14 0,7 2 8 0,22-1 0 15,1 2 0-15,-24-4-12 0,-1 0 25 0,26-1-29 16,-23 1 9-16,25-1-1 0,-26-2 8 0,3 3-2 15,-1-4 0-15,26 1-24 0,1 0 24 0,-3 1 9 16,-22-2-14-16,-1 3 15 0,26-2-16 0,0 0 8 16,-1 2 0-16,-4-1 16 15,-23-1-16-15,23 2-25 0,2 1 20 0,0-1-3 16,-30 1 6-16,5-2 27 0,25 0-48 0,-23 1 21 16,21-1-16-16,-23 1 21 0,2-1-21 0,21-1 26 15,-23 4-21-15,0-2-2 0,-1-1 18 0,-4 3-14 16,1-2 17-16,-1 2-4 0,-3-2 14 15,3 1-16 1,-3-1-5-16,0-2 5 0,0 1 3 0,-6 0-11 0,1 1 24 0,-2-4-14 0,-1 4-7 16,0-2-5-16,3-2 23 15,-5 1-33-15,-1 0 20 0,-1 1-5 0,-6-1 13 0,5 0-1 16,-3-2-24-16,1 6 17 0,0-2-3 0,-3 0 3 16,0 0 1-16,0 0-6 0,-5 1 25 15,0 0-15-15,-3 0-20 16,-2 2 8-16,0-2 4 0,-13 1 1 0,-1-1 12 0,4 3-15 15,-6-3 15-15,5 2-17 0,-6-1-6 0,-1 2 1 0,4 0-19 16,-6-3 36-16,2 2-7 16,-2-1 2-16,-4 1-3 0,3-2-12 0,-2 1 20 15,-3 0-4-15,3-2-12 0,-1 0 22 16,-9-1-26-16,-2 0-1 16,-4-2 24-16,1 1-3 0,-1-1-17 0,-4-1-14 0,2 2 37 0,-3 1-42 15,-4-2 36-15,1-1 0 0,-2 1-10 0,0 1-15 16,-2-1 10-16,-3 2 2 0,-1-1 3 0,1 1 3 15,-2 1 2-15,-1-1-13 0,1 2 11 0,-1-1-13 16,-5 1 7 0,6 1 6-16,-6 0 12 0,3 2-35 0,-3 0 25 0,0 2-10 15,2-1-11-15,-4 2 26 0,0 6 8 0,0 1-15 16,-3 0 2-16,3 7-2 0,-3 2 38 0,0 3-39 16,-1 13 37-16,-2 3-11 0,2 4-16 0,-1 1 17 15,-3 3-1-15,0 12 0 0,0 3 0 16,-1 5 3-1,-3 1 25-15,2 0-25 0,-1-1 7 0,0-2-10 16,1 2 47-16,4 2-50 0,2-2 3 0,-2-1 1 0,4 1 19 16,-5-1-17-16,6-3 0 0,-4 0-11 0,3-4 13 0,-4-1 1 15,-2-10-19-15,3-2-15 16,-3 1 13-16,0-2 2 0,0 1-25 0,0-2 51 0,-3-2-39 0,3-2-2 16,0-1 13-16,0-2-15 15,0-7 17-15,-2-7 0 16,1 2 1-16,-1-3 9 0,-1 1-22 0,0-1-18 0,-1-1 45 0,0-2-40 0,-2 0 10 15,4-4-3-15,-4-2 19 0,0-1-37 16,1-2 6-16,-2-1 12 0</inkml:trace>
  <inkml:trace contextRef="#ctx0" brushRef="#br0" timeOffset="137159.7">21904 14278 7727 0,'-74'-18'33'0,"-8"0"-2"0,-2-3 20 0,-26-6-22 16,-1-1 27-16,-2 1-28 15,-8-2 28-15,-4 3-48 0,-4-2 36 0,-11 3 7 0,1-1 0 0,-7 0-25 16,-6 4-26-16,-6-1 0 0,-11 1 0 0,-6 2 0 16,-9 1 0-16,-4 3 0 0,-7 1 0 15,-7 2 0-15,-54-3 0 16,56 2 0-16,-8 1 0 0,2 3 0 0,-59-2 0 16,62 4 0-16,0 1 0 0,-5 1 0 0,6 1 0 0,0 0 0 15,9 1 0-15,4-1 0 0,4-1 0 16,11 0 0-16,12 0 0 0,3 1 0 0,5 1 0 0,11-1 0 15,4 0 0-15,6 2 0 0,25 1 0 0,-23-1 0 16,24 1 0-16,4 0 0 16,-2 0 0-16,2 0 0 0,-4-1 0 15,2 1 0-15,-24-4 0 0,27 4 0 0,4-2 0 16,1-1 0-16,0 0 0 0,0 1 0 0,1-2 0 0,6 2 0 16,1-2 0-16,5 2 0 15,4-2 0-15,6 3 0 0,1-1 0 0,15 1 0 0,1 1 0 0,1 1 0 16,2-1 0-16,0 1 0 15,3-1 0-15,2 2 0 16,1-2 0-16,9 1 0 0,8 0 0 0,-2 1 0 0,5-1 0 0,0 1 0 0,4-2 0 16,1 1 0-16,3-2 0 0,2 3 0 15,0-1 0-15,3-1 0 0,5 2 0 0,-1 0 0 0,1-3 0 16,0 3 0-16,2-1 0 0,3 0 0 16,-3-1 0-16,8 2 0 0,-8-1 0 15,8 1 0-15,-5-1 0 0,5 1 0 16,0 0 0-16,0 0 0 0,0 0 0 0,0 0 0 0,14-5 0 15,-7 4 0-15,0 0 0 0,1 1 0 0,2 0 0 16,3-1 0-16,-3 1 0 0,6 1 0 16,-3-1 0-16,5 0 0 0,-3 1 0 0,3 0 0 15,-2 0 0-15,2 0 0 0,-3-1 0 16,1 2 0-16,1-1 0 16,-7-1 0-16,5 1 0 0,-4 0 0 0,-1-1 0 0,0 0 0 0,0 2 0 0,-2-2 0 15,0 1 0-15,-3-1 0 0,-5 0 0 16,13 0 0-16,-10 1 0 0,-3-1 0 0,10 0 0 15,-10 0 0-15,8 1 0 0,-8-1 0 16,5 0 0 0,-5 0 0-16,0 0 0 0,0 0 0 0,5 2 0 0,-5-2 0 0,0 0 0 15,0 0 0-15,0 0 0 0,0 0 0 0,-18 1 0 16,10 0 0-16,-2 0-180 0,0-1-78 0,-3 3 4 16,-3-1-104-16,1 0-28 0,-3 0-9 0,2 0-211 15,1 1-457-15,-2 1 98 16,4-3 77-16,0 2 120 0,5-1 75 0,1-2 58 0,7 0 87 15</inkml:trace>
</inkml:ink>
</file>

<file path=ppt/ink/ink21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12T16:28:09.406"/>
    </inkml:context>
    <inkml:brush xml:id="br0">
      <inkml:brushProperty name="width" value="0.05292" units="cm"/>
      <inkml:brushProperty name="height" value="0.05292" units="cm"/>
      <inkml:brushProperty name="color" value="#C00000"/>
    </inkml:brush>
  </inkml:definitions>
  <inkml:trace contextRef="#ctx0" brushRef="#br0">9421 7063 1228 0,'0'6'538'0,"0"5"-31"0,2-2-54 16,-2 4-52-16,0 5-24 0,-2 1-16 0,-1 3-36 15,1 5-51-15,1 2-26 0,-3 6-28 16,1-2-51-16,-2 3-64 0,0-6-3 16,0-4-74-16,2-1-35 0,-2 0-42 0,3-4-56 15,-1-1-64-15,-2-1-82 0,2-4-38 0,0 1-192 16,1-4-425 0,2-3 112-16,-3-1 57 0,3-1 95 0,0-4 130 0</inkml:trace>
  <inkml:trace contextRef="#ctx0" brushRef="#br0" timeOffset="235.28">9587 7051 1668 0,'0'0'597'0,"0"0"-113"0,0 13-52 0,-2-7-9 0,0 5-32 0,-1 0-35 0,0 2-3 16,1 2-23-16,-1 3-48 0,-2 5-16 0,2 0-43 15,-2 4 7-15,2 0-48 0,-4 10 10 0,0-1-26 16,-1-2-33-16,2-9-15 0,2-1-59 0,1-1-51 16,-3-5-42-16,2-1-35 15,1 0-54-15,0-4-28 0,-2 0-69 0,3-6-41 16,1 2-84-16,1-2-134 0,-2-5-509 0,2 2 77 0,-2-3 69 16,2-1 84-16,0 0 82 0,0 0 87 0</inkml:trace>
  <inkml:trace contextRef="#ctx0" brushRef="#br0" timeOffset="547.58">9249 7213 1267 0,'0'-7'383'0,"3"1"-42"15,1-1-8-15,2 0-34 0,1-3-12 0,4 3-18 0,-1-4-13 0,5 3-11 16,1 2 16-16,-1-2 62 15,3 2 2-15,-5 2-31 0,3 3-4 0,-1 1-124 16,0 1 31-16,0 4-28 0,1-2 8 0,-1 2-31 16,-1 4 7-16,0 0-20 0,-1-2-20 0,-2 3-36 15,1-2 17-15,-1 5-1 0,-3-6-9 16,-1 4-25-16,0 0-3 0,-1 1-33 0,-1-3-46 16,0 2-2-16,-2 0-60 0,-1-2-48 0,1 0-15 15,0-1-32-15,-3-1-30 16,0 0-25-16,0-3-18 15,-3-1-70-15,0 2-156 0,-5-3-94 0,3-1-351 0,-5-1 77 0,0-2 115 16,-3-1 61-16,-5-3 46 0</inkml:trace>
  <inkml:trace contextRef="#ctx0" brushRef="#br0" timeOffset="1115.96">7093 7431 1520 0,'0'0'550'0,"2"-4"-48"0,-2 4-28 15,0 0-6-15,10 8-76 0,-4 0-3 16,-3-1-16-16,4 6-109 0,-2 0-16 15,3 6-17-15,-3-1-24 0,0 7-10 0,-2-2-2 0,-1 1-49 16,1 2-34-16,-3 1-22 0,0-2-16 16,0 1-38-16,-3-2-52 0,0-1-42 0,3-2-42 0,-4-2-23 15,1-2-26-15,3-4-50 0,-3 0-50 16,1-1-83-16,2-5-155 0,0 1-485 16,2-3 101-16,-2-2 93 0,0-3 54 0,0 0 115 15,0 0 28-15</inkml:trace>
  <inkml:trace contextRef="#ctx0" brushRef="#br0" timeOffset="1339.14">7334 7375 1351 0,'0'0'517'0,"0"0"-77"0,0 0-33 0,0 0-7 0,2 18-32 0,-2-9 26 0,0 2 8 15,-2 3-38-15,0 4-14 16,1 1-19-16,-1 4-42 0,-1 0 3 0,1 3-144 0,-1-1-2 0,-2 0-13 15,0 0-46-15,0-2-2 0,2 0-26 16,1-1-72-16,-4-5-44 0,4 0-32 0,-1-4-65 16,0 1-17-16,3-4-95 0,0 1-67 0,-2-4-179 15,2-3-494-15,0 0 133 0,2-4 51 0,-2 0 142 16,0 0 19-16,0 0 60 0</inkml:trace>
  <inkml:trace contextRef="#ctx0" brushRef="#br0" timeOffset="1665.09">7077 7582 977 0,'0'-6'354'16,"3"0"-17"-16,0-2-19 0,2-3 12 15,2-2-18-15,3-6 3 0,1 1-8 16,5-12-17-16,-1 2-27 0,3-2-7 0,0 5-25 0,2-2 1 15,-5 5-17-15,1 7 80 16,-1-2-34-16,-1 4-31 0,0 0 19 0,2 8 4 0,-3-1-53 16,-1 6 30-16,2 3-23 0,0 0-48 0,3 4-10 15,0 5-27-15,1 4 1 0,5 5-18 16,-8 2-33-16,-2-3-3 31,-3 1-38-31,8 8-59 0,-8-6-70 0,0-2-35 0,1 1-20 0,-3 0-65 0,0-2-43 16,-1 2-80-16,1-2-163 0,-1-2-535 0,-1-3 84 15,1 3 39-15,-1-3 127 0,1 0 96 0,-2-2 61 0,-2-1 51 16</inkml:trace>
  <inkml:trace contextRef="#ctx0" brushRef="#br0" timeOffset="4139.85">8523 5958 1256 0,'0'0'438'0,"-7"3"-39"0,7-3-99 0,-3 4-31 16,3 0-19-16,0-4 1 0,5 7-20 0,0-1-14 0,3 0-22 16,-1 1-11-16,2-1-12 0,3 1-14 15,4 1-22-15,-1 0 2 0,3-1-18 0,2-1-4 0,-1-1-14 16,1-1 6-16,3-1-37 15,0-1-2-15,-2-2 0 0,4 0-7 16,-4-1 71-16,4-4-8 0,1 0-12 0,0-2-16 0,10-5 16 16,-6 3-41-16,-4-1-19 0,8-4 39 15,-1-3-15-15,-3 4-23 0,1-1 20 16,-5-1-43-16,-6 4 25 16,-1-1-2-16,1 0-3 0,-2 1 6 0,-3-3 14 0,1 1-17 0,-1 2-5 15,-5-2 7-15,3 0 16 0,-3 1-42 0,0-2 11 16,1 0 13-16,-4 0-5 0,1 0-21 0,-3 0 13 15,0 2 23 1,1 0-11 0,-2-1-22-16,-1 1-8 0,0-1 18 0,-1 1 5 0,-2 1 23 0,0 0-5 0,0 0-15 0,0 0 2 15,0 0 18-15,-2 2-10 0,2-3-10 0,-3 1-41 16,1-1-6 0,-1 0 6-16,1 0-1 0,-3 2 4 0,2-1 22 0,0-1-10 0,0 1-20 15,-1-1 22-15,-2 2 6 0,-1-1-13 0,2-2-13 16,-1 3 23-16,-1 0 5 0,1-1 11 15,-3 0-19-15,0-2 14 0,2 6-37 16,-3-5 11-16,0 1 23 0,2 3-23 0,-2-2-5 16,0 1-8-16,2-1 0 0,-2 2 0 0,1 1 0 15,-1-3 0-15,0 3 0 0,-2-1 0 0,1 2 0 16,1-1 0-16,-3 1 0 0,3 0 0 16,-1-1 0-16,-2 2 0 0,3-1 0 0,-2 1 0 0,1 3 0 15,1-3 0-15,0 3 0 16,0-3 0-16,0 4 0 0,0-3 0 15,-1 2 0-15,1 1 0 0,0-2 0 0,-1 3 0 0,-2-3 0 16,1 3 0-16,-1 0 0 0,0-1 0 16,0 1 0-16,0 0 0 0,1 0 0 0,-4 0 0 15,1 0 0-15,-1 1 0 16,-2-1 0-16,5 1 0 0,-2 1 0 0,0-1 0 0,-1 1 0 0,3-1 0 16,1 1 0-1,-4 2 0-15,3-4 0 16,-2 2 0-16,4 2 0 0,-3-2 0 0,4 0 0 0,-3 1 0 0,2-2 0 0,1 3 0 15,0-2 0-15,-1 2 0 0,1-1 0 16,-1 1 0-16,-1 1 0 0,2-2 0 0,-1 2 0 0,1 1 0 16,0 0 0-16,-2-1 0 0,3 0 0 0,-3 3 0 15,4-2 0-15,-2 1 0 0,-1 0 0 16,2 1 0-16,0 3 0 16,-1-2 0-16,2 1 0 0,-2 1 0 15,0 1 0-15,5-2 0 0,-5 2 0 0,2 2 0 0,0-3 0 0,3 3 0 16,-3-3 0-16,3 1 0 0,0 0 0 15,0 0 0-15,2 1 0 0,-1 1 0 0,-2 1 0 16,4-2 0-16,-1 2 0 0,1-1 0 0,1 1 0 16,-1 0 0-16,2 3 0 0,0-1 0 0,0-2 0 0,0 2 0 15,0-1 0-15,0 0 0 16,2 2 0-16,-2-1 0 16,3 0 0-16,-3 0 0 0,5 0 0 0,-5 1 0 15,3-4 0-15,0-1 0 0,1 0 0 0,-1 4 0 0,2-4 0 0,0-1 0 16,0 2 0-1,0-3 0-15,1 1 0 0,-1-2 0 0,2 0 0 0,-1 2 0 16,-1-3 0-16,2 2 0 0,1-5 0 0,-3 2 0 0,1-1 0 16,-1-2 0-16,2 1 0 0,-1 0 0 15,1-2 0-15,1-2 0 16,-3 2-195-16,6-3-99 0,-1 0-42 0,2-1-63 0,-1 1-62 16,4-3-373-16,2 1-275 0,4-3 137 0,-1 2 91 15,1-3 85-15,5 0 92 0,0-2 77 0,-1 1 107 16</inkml:trace>
  <inkml:trace contextRef="#ctx0" brushRef="#br0" timeOffset="4605.64">9259 5587 1497 0,'-5'1'481'0,"5"-1"-33"0,0 0-28 0,0 0-54 0,0 0 0 0,0 0-131 0,23 3 3 15,-13-1-33-15,3-2-20 0,0 0-40 16,-2 1 4-16,4-1-8 0,2-1-36 15,-1 1-11-15,-1-2-27 0,3 1-36 0,-2-1-62 16,-1 1-23-16,1-2-28 0,-3 2-28 0,2 0-54 0,-5 0-81 16,0-3-75-16,-2 2-128 0,0 2-392 15,2-4 24-15,-2 4 104 0,-4-2 82 16,2 1 72-16</inkml:trace>
  <inkml:trace contextRef="#ctx0" brushRef="#br0" timeOffset="4883.72">9544 5476 1320 0,'0'0'441'0,"8"0"-40"0,-8 0-32 16,7 5-31-16,-1-5 100 0,1 5-57 0,-2-2-43 15,1 2-34-15,-2 2 24 0,-1 0 10 0,2 0-44 16,-2 3-4-16,-1-3-47 0,1 3-10 16,-3-1-34-16,-3 2-7 0,1-1-10 15,-1 2-41-15,-5 3-8 0,1-1-13 0,-4-2-43 0,-2 2-51 16,-4 2-57-16,1-2-56 0,-2-2-77 0,-2 1-48 16,-1-1-80-16,1-10-235 15,-3 9-518-15,-1-3 55 0,-4-1 142 0,3-1 70 16,-3-2 61-16,-3-2 95 0,0-2 88 0</inkml:trace>
  <inkml:trace contextRef="#ctx0" brushRef="#br0" timeOffset="5589.74">8295 5366 893 0,'-8'-1'371'0,"8"1"39"0,-7-3-29 16,2 2-20-16,-3-2-26 0,3 2-17 0,-2 1-45 0,1-5 12 16,-1 4-52-16,-1 0-11 0,0-2-9 15,-2 2-34-15,2-1-23 0,1-1 10 16,-4 1-20-16,1 1-23 0,0-1-13 0,-1-1-7 16,-1 1-11-16,4-1-28 0,-5 1 2 15,1 1 14-15,1-2-9 0,1 1-37 0,0 1 14 16,-1-1-22-16,1-1-8 0,0 3-21 0,0-1-15 15,2 1-36-15,-2-1-15 0,0-1-20 0,2 1-42 16,0 0-22-16,3 1-57 0,5 0-92 16,-13 0-85-1,10-2-498-15,3 2 73 0,-7 0 26 16,7 0 126-16,-5-5 51 0,5 5 51 0</inkml:trace>
  <inkml:trace contextRef="#ctx0" brushRef="#br0" timeOffset="5894.09">8139 5112 1366 0,'-3'-3'397'0,"3"3"-13"0,-10-1-61 16,2 1-14-16,-2 1-14 15,-1 2-32-15,-1-1 47 0,-3 3-36 0,-6 3-18 16,6 2-23-16,-6-1-23 0,1 3-18 0,-1 0-18 15,3 1-23-15,3 0-8 0,0-1-23 16,4 1-30-16,3-2-11 0,0 1-12 0,4 0-8 16,-1 1-3-16,4-1-17 0,1-2-24 0,0 2-15 15,3 0-39-15,2 0-9 0,1 0-44 16,4 1-26-16,0 0-31 0,3-2-19 16,2 3-65-1,0 2-77-15,1-8-110 0,2 5-496 0,0 0 130 0,0-2 13 0,-3 1 107 0,-2-3 44 16</inkml:trace>
  <inkml:trace contextRef="#ctx0" brushRef="#br0" timeOffset="11000.95">21506 12424 1259 0,'0'0'507'0,"0"0"-88"0,0 0-45 0,-12 12-28 0,4-4-19 0,-4 4-42 0,-6 3-32 0,-8 4 16 15,-5 2-42-15,-2 3-40 0,-3 0-10 0,-8 3-3 16,1-1-20-16,7-4-39 0,0-1-18 0,0-1-56 16,5 1-20-16,1-6-29 0,10-2-23 15,3-2-20-15,3-3-34 0,4-2-2 16,2-1-46-16,5-3-100 0,3-1-84 0,0-1-52 16,0 0-4-16,21-11-1 0,-1 1-389 0,15-2 62 15,2-6 17-15,12-7 116 0</inkml:trace>
  <inkml:trace contextRef="#ctx0" brushRef="#br0" timeOffset="11173.5">21717 12449 985 0,'-3'11'389'0,"-5"1"-97"0,-6 3-16 0,-10 9 37 16,-4 2-24-16,-3 0-105 0,-10 7-15 31,-2 1-28-31,-2 1 5 0,-5-1-26 0,1 3-43 0,-5-1-46 0,7 1-19 0,-3-3-127 0,2 0-136 16,1-1-84-16,9-2-435 0,5-7 89 15,2 0 66-15,5-2 42 0</inkml:trace>
  <inkml:trace contextRef="#ctx0" brushRef="#br0" timeOffset="18618.52">13397 8279 1220 0,'-4'-2'520'0,"4"2"-51"15,-6-2-32-15,6 2-32 0,0 0 35 0,-12 7 0 16,6-1-41-16,1 4-38 16,0-1-25-16,-2 4-39 0,1-1-11 0,-2 5-48 0,-2 2-2 15,5-2-29-15,-1 2-51 0,-1-3 6 0,2 2-11 16,0 1-39-16,-2 0-20 0,1-2-25 15,1-2-44-15,0 3-43 0,3-6-24 16,-1 1-48-16,3 0-49 0,-3-2-25 0,3-1-31 16,0-1-6-16,3-2-53 0,-3-1-81 0,3 0-109 0,1-2-516 15,1-1 45-15,-2-1 80 16,-3-2 77-16,10 0 64 0,-10 0 76 0</inkml:trace>
  <inkml:trace contextRef="#ctx0" brushRef="#br0" timeOffset="19127.5">13567 8347 1392 0,'15'2'435'0,"-4"-1"-25"0,-1 1-42 0,-3 3-22 0,-2 1-11 0,-2 0-20 0,2 1-33 0,-2-1 43 16,-3 4-3-16,0-1-27 16,-3 1-40-16,1-2-29 0,-2 4-6 0,0-2-38 15,1 0-3-15,0 2 8 0,1-5-39 0,0 3-28 16,2-2 1-16,-3-1-21 0,6 3-8 0,-3-2 28 16,2 0-7-16,-2 1 12 0,2-1 6 15,1 0 12-15,0 2 8 0,-3-3-87 0,0 2-26 16,0 0 39-16,0-2-26 0,-3 3 6 0,0-2-16 15,-1-1 25 1,1 3-40 0,-2-3-1-16,-3-1-32 0,3 1-37 0,-1-3-15 0,-1-1-74 0,0 4-38 0,1-3-49 0,1-1-65 15,-2 2-37-15,1 0-111 0,1-1-158 0,-2 0-453 0,2 0 89 16,-1-2 103-16,-1 2 71 16,-1-1 77-16,1 2 67 0,-1-1 102 15</inkml:trace>
  <inkml:trace contextRef="#ctx0" brushRef="#br0" timeOffset="19343.34">12954 8837 1599 0,'0'0'469'0,"0"0"71"16,0 0-51-16,0 0-100 0,0 0-56 16,25-1 15-16,-7 1-36 0,6-1-10 0,7-2-41 15,4 3 0-15,16-2-53 0,1-2-34 0,2 2 12 16,-1-3-17-16,-2 0-36 0,4 1 8 15,-6 0-49-15,-1-2-30 0,-2 3-21 16,-2-1-26-16,-8-1-63 0,-6 3-47 0,-7 2-59 16,1-3-43-16,-6 3-46 0,-5 2-33 15,-1 1-121-15,-12 1-77 0,6-2-491 0,-4 4 69 16,-2-1 110-16,-2 0 80 0,-4 3 104 0,-2-1 44 16</inkml:trace>
  <inkml:trace contextRef="#ctx0" brushRef="#br0" timeOffset="19734.74">13433 9092 1238 0,'0'0'528'0,"0"0"-47"0,0 0-49 0,-5-5-55 15,5 5-6-15,-13 3-56 0,1 1-36 16,1 2-8-16,-4-1-25 0,0 0-64 0,-1 2 10 16,1 0-26-16,-1-1-33 0,4-1 15 0,1-1-14 15,3 1-32-15,-1 0-10 16,6-3-15-16,-2 3 10 0,4-1-21 0,1-2 1 0,0-2 5 16,6 7-19-16,-1-3 1 0,2-2 49 15,1 4-14-15,0-3-79 0,2 1 16 0,1 2 25 16,-4-1-5-16,1-1 6 0,0 0 75 0,-1 2 7 15,-4 0 11-15,-1 1-9 0,1 0-28 0,-6 3-21 16,1-3-13-16,-6 4 10 16,-2 2-30-16,0 0-54 0,-6 0-54 0,-1-1-66 0,1 1-51 15,1 1-62-15,-1-3-44 0,3 1-155 16,1-4-167-16,-2 1-428 0,2-3 49 16,2-4 129-16,2 1 68 15,0-3 74-15,8 0 85 0,-10-3 67 0</inkml:trace>
  <inkml:trace contextRef="#ctx0" brushRef="#br0" timeOffset="20019.03">13403 9213 977 0,'14'-1'400'0,"-3"0"-93"0,-1 3-3 0,-4-2-37 16,1 5 83-16,-4-1-7 0,-3 0-10 0,2 1-16 16,-4 1-117-16,2 1-8 0,-2 3 5 15,-4-1-28-15,1 3 3 0,0 1 7 16,0-2-28-16,-1 0 0 0,2-2-13 0,0 1 10 15,0-1-20-15,1 0-10 0,3-2 8 0,-2 2 22 16,4-3-53-16,1 1 7 0,-1-2-15 0,4 1 0 16,-1-3-20-16,3 1-31 0,2-4 102 15,0 1-36-15,2-1-2 0,4-1-69 0,-1 0 5 16,3-5-75-16,3 3-27 16,-1-2-19-16,0-1-50 15,1-1-37-15,5-1-58 0,-3 0-162 0,-5 2-133 0,18-7-460 0,-3 1 71 0,-2-1 113 16,2-2 89-16,1-2 100 15,-1 2 11-15</inkml:trace>
  <inkml:trace contextRef="#ctx0" brushRef="#br0" timeOffset="20360.57">14789 8554 1236 0,'0'0'471'0,"0"0"-36"16,-5 14-46-16,3-7-18 15,-1 3-30-15,1 4-32 0,-1 0-25 0,3-1-25 16,-2 5-31-16,-1 1-23 0,3-1-24 0,-3 2-22 16,1-2-36-16,0 1-51 0,-2 0-57 15,2-1-43-15,2-3-62 0,0 1-35 0,0-3-57 16,0 0-156-16,0-4-66 0,2 1-454 0,-2 1 60 16,1-4 42-16,-1-1 70 0,0 0 103 15</inkml:trace>
  <inkml:trace contextRef="#ctx0" brushRef="#br0" timeOffset="20608.8">14523 8776 1254 0,'0'0'458'0,"0"0"-20"0,0 0-19 0,0 0-32 15,13-4-49-15,-3 1-16 0,3 2-22 0,5 0-31 16,0 0-39-16,5-2 72 15,7 3-49-15,-1-2-22 0,1-2-32 0,1 3-37 16,0-4-111-16,0 3-33 0,0 1-34 0,-4-3-35 16,-1 3-36-16,-5-1-59 0,0-1-33 0,-3 3-108 15,0-6-186-15,-3 6-426 0,0 0 73 0,-4 0 65 16,1-1 81-16,-2-1 58 0,1-2 87 16</inkml:trace>
  <inkml:trace contextRef="#ctx0" brushRef="#br0" timeOffset="21231.56">16079 8333 1374 0,'13'-2'504'0,"0"2"-76"0,-1 0 2 16,-1 2-33-16,-1 1 40 0,0 0-43 0,0 2-28 15,-2 1-38-15,-2 1-26 0,-2 0 0 16,-3 3-43-16,-1-2-26 0,-1 3 7 0,-3 1-37 15,-4 1-29-15,0-2 2 0,3-1-45 0,-2 0-3 16,1-2-18-16,1 3-26 0,0-3 8 16,2-2-7-16,3 1-26 0,0-2 2 0,0 1-10 15,3 1-2 1,2-1 12-16,-2-2-2 0,2 0-25 0,0 1 19 0,0 1 11 0,-2 0 16 16,1-2 17-16,-1 0 39 0,-2 4-116 15,-1-5 39-15,0 3-18 0,-4 0 5 0,0 2-2 16,-2 0-44-16,-4 1 0 0,0-2 0 15,-3 3 0-15,-2-1 0 0,-1-3 0 0,-2 3 0 0,3-1-8 16,-1-1-100-16,1-2-71 16,5-1-38-16,-3 0-42 15,5 0-53-15,1-2-52 0,-1-2-91 0,8 0-157 0,-8-1-450 0,8 1 112 16,0 0 98-16,-4-4 63 16,4 4 90-16,0 0 75 0,10-9 53 0</inkml:trace>
  <inkml:trace contextRef="#ctx0" brushRef="#br0" timeOffset="21501.83">16661 8393 1466 0,'0'0'533'0,"1"7"-24"16,-2-1-66-16,-4 1 0 0,-5 5-39 0,-3 5 16 0,-7 8-29 15,-6 2-65-15,-3 3 88 0,-6 9-140 16,-4 3-26-16,-1 1 85 0,-4 1-51 15,-2 0-24-15,-3 1-50 0,2 0-4 0,2 4-53 16,-2-6-41-16,4 0-74 16,2-4-41-16,2-1-92 0,9-13-34 0,2 2-79 0,5-3-40 0,5-5-73 15,5-3-163-15,2-5-623 0,6-2 96 16,0-3 140-16,2-1 105 0,1-3 64 0,2 1 44 16,0-3 99-16</inkml:trace>
  <inkml:trace contextRef="#ctx0" brushRef="#br0" timeOffset="21988.04">16464 8976 1359 0,'4'-1'527'0,"0"0"-51"0,-4 1-13 0,0-5-127 0,0 5-27 0,0 0-24 0,0 0-22 16,-16 2-25-16,8 1-30 0,-4-1-6 0,-1 3-31 15,0 1-12-15,-2 0-34 0,2 2-17 0,-3-3-3 16,3 3 0-16,1-2-41 0,2 1 10 16,2 1-36-16,2-2 16 0,2-1-13 15,1 2-5-15,3-2 10 0,0 0-18 0,3 2 11 16,1-1-4-16,2 1 17 0,2 2 9 0,-1-1-15 16,3-2 26-16,-2 2 17 0,0 1-17 0,0-2 64 15,2 1 69-15,-5-2-19 16,0 1-6-16,0 2-22 0,-2-1 27 0,-1-1-37 15,-4-1-74-15,-1 2-25 0,-5 2 23 0,1-2-31 16,-1 2-36-16,-4-1-44 16,-2 2-15-16,2-1-63 0,-4-1-60 0,3-2-66 0,1-1-31 15,1 0-84-15,1 0-88 0,2-5-153 0,4 2-419 16,0-5 81-16,4 2 66 0,0 0 109 0,-2-9 68 16,4 1 77-16</inkml:trace>
  <inkml:trace contextRef="#ctx0" brushRef="#br0" timeOffset="22223.96">16433 9105 829 0,'15'-11'389'0,"1"0"-15"15,-1 4-70-15,0 0-22 0,-2 1-19 0,0 4-27 16,0-2 2-16,-2 2-31 0,-1 1 100 16,0 1-30-16,-2 2 7 0,-3 3 8 15,0-2-108-15,-5 5 8 0,0 1-2 0,-5 2-34 16,-3 1 2-16,0 3-9 0,-7 3-1 0,4-1-7 0,-4-1 69 16,2 2-18-16,5-5-21 15,-2 3-63-15,3-2 10 0,2-1-39 0,0-1 16 16,1 1 5-16,2-3-26 0,2-1-5 0,0 0-13 15,3-2-22-15,2-1-14 0,0-2-23 0,5 0-25 16,3-3-61-16,0-1-65 0,7-2 3 16,1-3-64-16,0 2-69 15,7-5-92-15,8-6-177 0,-3 6-461 16,3-4 100-16,-2 1 136 0,-1-2 26 0,0-1 55 0,-2-2 86 0</inkml:trace>
  <inkml:trace contextRef="#ctx0" brushRef="#br0" timeOffset="22514.58">17861 8532 1036 0,'10'0'384'0,"-2"-2"-49"0,2-1-33 0,4 2-48 0,0 1-6 0,2 0-58 16,2 0-80-16,-3 0-39 0,1 0-96 0,-1 0-134 15,-2 4-53-15,-3-2-508 0,-2 2 4 0,-3-2 122 16</inkml:trace>
  <inkml:trace contextRef="#ctx0" brushRef="#br0" timeOffset="22692.6">17787 8734 1369 0,'0'0'463'0,"0"0"-79"0,12 1-28 15,-4-1-5-15,2-1-83 0,6-1-55 0,-1 2-49 16,3-1-52-16,3-1-63 0,2-2-121 15,4 2-150-15,-3-1-590 0,-1 2 60 0,0-3 81 0,0 2 49 16,0-3 72-16</inkml:trace>
  <inkml:trace contextRef="#ctx0" brushRef="#br0" timeOffset="23200.26">19282 8382 965 0,'0'0'424'0,"0"0"-22"0,-4 17-38 0,2-10-29 16,-2 5 57-16,-2 1-36 0,4 0 4 15,-4 6-58-15,2-2-25 0,-2 1-16 0,-2 3-26 16,1 1-83-16,-1-2-22 0,0 1-30 15,0-2-59-15,3 0-26 0,-2-2-43 0,2-4-46 16,0 1-18-16,2-2-24 0,1-1-73 16,2-3-136-16,-3-2-87 0,8-1-484 0,3-1 90 0,-1-2 102 15,3-2 89-15,4-4 29 0</inkml:trace>
  <inkml:trace contextRef="#ctx0" brushRef="#br0" timeOffset="23510.62">19666 8363 1546 0,'0'0'468'0,"-15"6"-41"0,9-1-109 16,-4 3-8-16,-2 3-37 0,2 2-40 15,-4 3 5-15,3 1-28 0,-3 4-13 16,2-1-30-16,1-1-24 0,3 1-5 0,0-2-17 0,6 0-6 16,-1-4-8-16,3-1-17 0,0 3-3 15,5-3 61-15,0-1-4 0,1-3 4 16,-1 2-2-16,0-4 3 0,0-1 7 0,-2-2 2 0,1-1-17 15,-1 0-8-15,-3-3 3 0,0 0 10 16,0 0 10-16,0 0-23 0,0 0 0 16,0 0-30-16,-20-5-19 0,12 3-22 0,-2 0-47 15,-1 2 5-15,-2-1-53 0,1 0-67 0,1 1-35 16,-1 1-68-16,1 0-37 0,1 1-90 0,2-1-200 31,0 2-548-31,1-3 70 16,4 3 160-16,3-3 63 0,0 0 63 0,0 0 84 0,0 0 52 0</inkml:trace>
  <inkml:trace contextRef="#ctx0" brushRef="#br0" timeOffset="23710.53">19902 8519 1794 0,'-10'10'517'0,"-6"4"-21"16,2 1-9-16,-13 9-24 0,-1 5 57 0,-8 4-136 15,-5 5-29-15,0 0 19 0,0 3-31 16,-2-2-33-16,0 4 7 0,-2 0-86 0,0 0-39 15,-2-1-52-15,1-2-76 16,5-2-76-16,2-2-106 0,11-8-43 0,0-3-80 0,5-1-125 0,8-5-256 16,2-6-443-16,5-1 108 0,2-5 138 15,2-1 59-15,2-3 74 16,1-1 56-16</inkml:trace>
  <inkml:trace contextRef="#ctx0" brushRef="#br0" timeOffset="24332.98">19625 9014 1154 0,'-4'-2'425'0,"-4"2"-21"0,8 0-51 0,-17 5-27 16,7-3-58-16,-2 4-9 0,1-4-16 0,1 3-41 15,0 1-5-15,4 0-20 0,-1 1-23 16,2 0-6-16,3 1-12 0,1 1-21 0,0-2 13 16,1 4-13-16,1-4-13 0,2 4 39 15,-1-3 67-15,1 3-4 0,0-3 34 16,-1 2-92-16,-2-1 41 0,2 1-10 0,-2-2-8 0,0 2 28 15,-2-1-21-15,0 0-48 0,-2 1-12 0,-2 0-22 16,0-2 24-16,-2 3-16 16,-2-3-22-16,0 1-55 0,3-2-40 0,-3 0-44 15,0-1-61-15,2-2-34 0,0 0-63 0,2-3-73 0,1 2-40 16,5-3-51-16,0 0-90 16,0 0 97-16,-2-8 21 0,4 1-67 15,3 0 67-15,3-1 64 0,0-3 76 0,4-2 72 0,2 2 70 16,3-2 63-16,-1 0 62 0,2-1 30 0,0 3 14 15,-1-2 40-15,3 2-26 0,-4 4 16 16,0 0 18-16,-1 1 5 0,-2 0 3 0,2 5-3 16,-4 1 36-16,-1 1 35 0,-2 2 4 15,-1 1-1-15,-4 2 8 16,-3 3 89-16,0 0-50 0,-5 3-68 0,4 0-12 16,-6 2-23-16,2-1-23 0,-1-1 103 0,-1 1-57 0,4-1-8 15,1 0-18-15,0-1-22 0,2-3-42 0,2 0-10 0,0 0-66 16,4-5-13-16,2 2-52 0,2-5-38 15,3 0-33-15,3-1-56 0,3-3-29 0,4 1-45 16,3-3-42 0,-2 0-22-16,-2 2-78 15,-1-2-189-15,1 3-483 0,-6 0 84 0,-1-3 130 0,-1 5 82 0,-7-1 108 0,3-2 59 0,-4 4 25 16</inkml:trace>
  <inkml:trace contextRef="#ctx0" brushRef="#br0" timeOffset="24795.38">19164 9567 1313 0,'-11'8'506'15,"1"-1"-47"-15,5-2-14 0,2 1-35 0,3-2-42 16,0-4-33-16,13 2-25 0,1-2-33 0,6-5-14 16,7 2-7-16,18-6-18 0,14-4 52 0,4-3-65 15,4-1-36-15,-1-1-35 0,3 0-34 16,-4 0-10-1,-3 1-41-15,-14 3-56 0,-5 4-15 0,-4-2-45 0,-10 2-40 0,-5 4-30 0,-7-1-16 16,-5 6-21-16,-6-4-25 16,-2 5 41-16,-4 0-57 0,0 0-5 0,0 0-7 15,-33 11-51-15,5-3-21 0,-13 5-11 0,-2 3-22 16,-9 1 10-16,-7 3 74 0,3 1 77 16,-1-1 59-16,3 1 23 0,12-5 51 0,0 2 56 15,9-2 6-15,8-3 30 0,6-4 36 16,5 1 0-16,2-3-7 0,7 0 43 0,0-2 33 0,3-3-8 31,4 2 6-31,-2-4 15 0,10 3-21 0,2-4 21 0,2-2-7 0,7 0 1 0,9-3-45 16,9-2 18-1,4 1-39-15,3-3 29 0,-2 0-21 16,2-1-23-16,-5 0-26 0,0 0-23 0,-5 2-40 0,-5-1-22 0,-8 3-45 16,-2 1-38-16,1-1-47 0,-3 1-51 15,-3 0-76-15,-2 0-129 0,-1 3-550 0,-3-2 69 0,0 0 92 16,1 0 65-16,-2 2 83 0,-5-1 78 0</inkml:trace>
  <inkml:trace contextRef="#ctx0" brushRef="#br0" timeOffset="32492.43">21230 7954 1689 0,'0'-6'624'0,"0"3"-55"0,0 3-45 0,0 0-27 0,-15 11-105 16,7 2-34-16,-5 7 100 0,-5 12 5 0,-2 16-102 15,-3 12-2-15,-1 5-37 16,1 6 34-16,-7 22-72 0,4 5-20 16,1 0-93-16,4-2-38 15,5-14 11-15,3-3-6 0,1-2-53 0,7-2-85 0,2-4 0 0,3-3 0 16,3-1 0-16,4-5 0 0,4-5 0 0,1-4 0 0,1-13 0 15,-2-4 0-15,4-5 0 0,-1-10 0 16,-2-6-26-16,0-5-164 0,1-5-27 0,0-5-44 16,5-5 5-1,2-5-23-15,11-7-28 16,0-6 66-16,-3-2-61 0,12-8-69 0,-3-9-190 0,-1 7-422 0,0-5 105 0,0 2 26 16,0-5 153-16,-2 4 44 0,-2-4 56 0</inkml:trace>
  <inkml:trace contextRef="#ctx0" brushRef="#br0" timeOffset="33303.93">21945 8207 1418 0,'0'0'465'0,"0"0"-32"15,5 10-105-15,-5-4-19 0,0 2-27 16,0-1-31-16,0 5-8 0,-2 0-5 0,1 1-26 16,1 0-2-16,-4 0-46 0,1 4 8 0,0-4-34 15,1 0-2-15,0 0-1 0,-1-3-9 0,3-1-3 16,-3 0-16-16,3-2 36 0,0 0 14 16,-2-1 11-16,2-1 7 0,0-1 6 15,2 0-25-15,-2-4-7 0,0 0-21 0,10-1-3 16,-10 1-35-16,11-9 35 0,-3 6 52 0,0-2-24 15,0 0-2-15,0-1-7 0,-2 4-1 0,2-3-23 16,0 4-22-16,-3 0 4 0,2 1-86 16,-7 0-16-16,11 2 0 0,-5 2 0 0,-2-2 0 15,1 5 0-15,0-3 0 0,0-2 0 16,-2 4 0-16,0-1 0 0,2 0-95 16,-2-2-95-16,-1 2-17 0,3-1-36 0,-2-1-41 0,4 0-6 15,-2 0 19-15,3-3-16 0,0 0-20 16,-1-3 18-16,3 0 15 0,3 1 41 15,-2-3 26-15,2-1 23 0,-1 0 58 0,-2 1 29 0,0 1 59 16,-2-1 35-16,-2 1 31 16,1-2 11-16,-1 5 17 15,-2-5 41-15,2 6-20 0,-1-1 10 0,-5 1-5 0,0 0-3 0,10 5 3 0,-7-3 0 16,1 5-13-16,-3-2-10 0,4 1-15 0,-2 1 32 16,2-1-37-16,0 0-6 0,2 1 31 15,0-1 5-15,-1-1-7 0,2 0 9 0,2-2 70 16,-2 0-3-16,-1-2 0 15,5-1-4-15,-3-1 17 16,-1-2 10-16,2 0-28 0,-2-2 20 0,0-2-1 0,-1 1 16 0,-2-2-50 16,-2-1 26-16,2 1 9 0,-3-1-38 0,0 1-7 15,-1-1-13-15,-1 1-14 0,-1 0-34 0,-3 2-47 16,-1-1 0-16,2 1 0 0,-2 0 0 16,-3 3 0-16,1-1-39 15,2 3-132-15,-3-3-60 0,3 4-20 0,5 0-30 0,-9 0-88 16,9 0-109-16,-12 0-121 0,10-1-492 0,2 1 159 15,0 0 52-15,7-9 68 0,-2 5 111 0,3-6 77 16,3 2 43-16</inkml:trace>
  <inkml:trace contextRef="#ctx0" brushRef="#br0" timeOffset="33483.71">22580 8105 1064 0,'14'-13'456'0,"-2"3"-72"0,-3 4-5 16,-1-1-49-16,-1 5 74 0,-4-1-40 0,4 2 7 0,-7 1-41 15,7 5-7-15,-4-2-103 0,2 3-10 0,-4 3-16 16,4 1-7-16,-2 4-13 0,-1 1-5 15,0 4-41-15,2 0-8 16,-2-1-25-16,0 3-41 0,2 0-39 0,-3-2-38 0,2 0-28 16,1-1-44-16,-3-3-48 0,4 3-23 0,-3-5-49 15,1 0-87-15,0-2-105 0,-6-3-34 16,6 2-455-16,-3-4 77 0,4-2 64 16,-4 1 123-16,1-5 71 0</inkml:trace>
  <inkml:trace contextRef="#ctx0" brushRef="#br0" timeOffset="33724.83">22474 8224 1474 0,'0'0'481'0,"0"0"-5"0,0 0-5 0,0 0 8 0,0 0-44 16,20-1-51-16,-7 1 61 0,3-2-15 0,1 2-48 15,6-2-34-15,0 2-125 0,6-1-3 0,3-3-51 16,-1 3-29-16,3-1 19 0,-1-1-33 15,0 2-32-15,-2-2-22 0,0-1-41 0,-3 3-26 16,-4-1-49-16,-3-1-27 0,-4 3-45 16,-4-1-60-16,1 1-9 0,-5 0-53 0,-2 1-46 0,-4-1-189 15,1 3-561-15,-3 0 87 0,-1-3 79 16,-5 7 128-16,3-1 64 0,-4 0 57 16</inkml:trace>
  <inkml:trace contextRef="#ctx0" brushRef="#br0" timeOffset="34335.23">22402 8691 1264 0,'0'0'440'0,"0"0"-35"0,0 0 66 0,0 0-41 16,0 16-34-16,-3-4-104 16,3 0-33-16,-1 1-24 0,-3 5-17 0,2 1-29 15,-2 0-25-15,0 4-13 0,0-2-41 0,-2-1-46 16,4 0-10-16,-4 0-57 0,3-4-38 0,1 1-43 15,-1-4-41-15,1 1-60 0,1-2-122 16,-4 0-97-16,8-2-500 0,-1-2 146 0,-1-2 14 16,4-1 104-16,-2-3 71 0</inkml:trace>
  <inkml:trace contextRef="#ctx0" brushRef="#br0" timeOffset="34584.14">22573 8753 1333 0,'7'-4'458'0,"-1"-1"-58"15,2 4 35-15,-3 0 0 16,-5 1-51-16,13 2-18 0,-8 0-108 0,1 3 1 16,-2 1-26-16,1 0-13 0,-2 3-13 0,2 0-17 15,-2 2-26-15,-1-1-3 0,0 2-18 16,-1 0-17-16,-1 0-19 0,0 0-30 0,0-2-62 15,-1 3-33-15,1-1-46 0,0-3-59 0,-4 4-28 16,4-2-41-16,-3-3-38 0,3 2-169 0,-3-2-569 16,1 0 88-16,0-3 76 0,2 1 92 15,0 0 90-15,-2-4 59 0</inkml:trace>
  <inkml:trace contextRef="#ctx0" brushRef="#br0" timeOffset="34760.51">22576 8930 1400 0,'-3'-5'340'0,"3"5"-33"0,0 0-5 16,0 0-41-16,3-6-23 0,2 5-20 0,0-1-34 0,3-1-51 15,2 2-33-15,1-4-43 16,4 2-27 0,-2-2-60-16,5 0-60 0,-3-1-74 0,3 0-74 0,3-1-61 0,-3 1-190 15,5-2-218-15,2-2 116 0,-2 0-29 0</inkml:trace>
  <inkml:trace contextRef="#ctx0" brushRef="#br0" timeOffset="34960.76">23033 8699 1021 0,'10'-8'450'16,"-5"3"16"-16,0 1-41 0,-1 0-92 16,-4 2-34-16,0 2 6 15,0 0-44-15,0 0-10 0,0 0 79 0,-17 11 21 0,10-3-111 0,-2 2 1 16,-2 2-11-16,-3 3 62 0,1 4-3 16,1 0-45-16,-5 9 19 0,-1-1-58 0,-2 4 0 15,3-1-13-15,-4 0-13 0,3 1-64 0,-2-3-23 16,2 3-46-16,-1-3-66 0,-1-1-54 15,7-6-49-15,-2-3-56 16,4 1-19-16,3-3-70 16,-4-3-93-16,8-4-123 0,-2 2-550 0,2-4 110 0,3-1 38 0,-2-2 90 0,6-1 67 15,-2 1 107-15,3-2 35 0</inkml:trace>
  <inkml:trace contextRef="#ctx0" brushRef="#br0" timeOffset="35256.29">23132 8985 1410 0,'-8'2'425'0,"-1"-1"-44"16,0 3-7-16,1-1-31 0,1 2-54 16,-3-1-25-16,5 0-21 0,1 2 3 0,-2-1-118 15,4 1 5-15,-1 1-5 0,3 2 18 0,0-1 5 16,0 0-11-16,4-2-1 0,-3 5-11 15,4-4 82-15,-2 4-11 0,1-3 16 0,-1 1 28 16,-3 0-25-16,3-2-18 0,-3 3-44 0,0-3-8 16,0 2 11-16,-3-3-16 0,-2 2-45 0,2 0-45 15,-4-1-48-15,2-2-25 16,-3-1-65-16,0 1-53 0,2 0-54 0,0-1-61 0,-2-2-157 16,2-1-137-16,2 0-485 0,4-1 67 0,0 0 133 15,-6-8 82-15,6 3 67 16,3-1 63-16,0-5 70 0</inkml:trace>
  <inkml:trace contextRef="#ctx0" brushRef="#br0" timeOffset="35511.22">23174 9031 1118 0,'12'-2'305'0,"-2"-2"-3"0,-1 4 118 0,-2-2-49 0,-2 2-28 16,-5 0 38-16,6 2-122 0,-4 2 17 0,-2-4-38 0,0 6-13 0,0 0-2 16,-2 1-13-16,-2 0-18 0,2 1-36 0,0-1-5 15,-1 4 13-15,0-5 38 0,3 4-7 16,0-1-16-16,0-1 3 0,3 2-31 0,0-4-6 15,1 1-17-15,4-2-51 0,0-2 23 16,0 0-13-16,2-2-31 0,3-2-71 0,2-3-13 16,3-1-44-16,-2 1-30 0,4-7 10 31,3 0-34-31,0-2-27 0,3-5-24 0,-1-1-58 0,0-1-119 0,-10 2-160 0,4-6-464 0,-5 2 57 16,-2-9 155-16,2 1 55 0,-5-4 96 0,-2 1 129 15</inkml:trace>
  <inkml:trace contextRef="#ctx0" brushRef="#br0" timeOffset="35732.8">23535 7761 1244 0,'12'11'414'16,"9"13"-30"-16,5 5 28 0,5 16-59 0,-1 4-2 0,1 6-3 0,-5 10 67 0,-1 6-3 15,-5 5-33-15,-4 1-18 16,-6 3-5-16,-7 0-26 0,-3 1-123 0,-8-1 3 0,-9 18-69 16,-9-4-6-16,-7-8-53 0,-8-9-66 0,3-15-90 15,-14 10-90-15,-7-1-79 0,-5-2-124 16,0-11-370-16,-8-4-269 16,10-12 116-16,-2-3 91 0,-3-4 75 0,-2-3 76 0,0-4 52 15</inkml:trace>
  <inkml:trace contextRef="#ctx0" brushRef="#br0" timeOffset="49793.35">16392 675 1615 0,'0'0'483'15,"0"14"-17"-15,0-4-25 0,-3 3-52 16,3 2-46-16,0 5-16 0,0 2-27 0,-2 3-31 0,-1 3-8 16,-2 9-36-16,0 1-25 0,0-1-32 0,2-1-27 15,-1-5-10-15,-2-5-34 0,3 1-41 16,-2-2-20-16,1-2-31 0,1 1-23 0,0-5-51 16,0-2-31-16,-1 1 16 0,1-4-44 0,0 0-43 15,1-2-139-15,2-6-174 0,-3 2-463 16,3-3 118-16,0-1 25 15,-3-2 131-15,3-2 71 0,0 0 34 0</inkml:trace>
  <inkml:trace contextRef="#ctx0" brushRef="#br0" timeOffset="50126.38">16336 754 1364 0,'2'-21'525'0,"3"4"-21"16,0 3-49-16,3-1-45 0,5 0-21 16,5 1-38-16,2 2-39 0,14-3-33 0,4 4 21 0,-4 5 58 15,-4 2-33-15,-4 4-54 0,4 4-10 16,-1 1-35-16,-3 3-9 0,6 6 3 0,-3 2-5 16,-9-1-46-16,-4 1-18 0,-5 0 11 0,-4 0-29 15,-2 0 25-15,-3-2-32 0,-2 2-6 0,-7 2-7 16,2-3-36-16,-6 3-77 0,-4 0 0 15,0-1 0-15,-11 3 0 16,-2-1 0-16,5-5 0 0,0-3 0 0,-1 0 0 0,2-2 0 0,1-1 0 16,3-3 0-16,0 1-52 15,3-2-129-15,2-2-52 16,3-2-57-16,0 0-22 0,0 0-28 0,4-1-106 0,1-4-132 0,2 1-467 0,3 1 70 16,0-2 97-16,3 0 92 0,0 0 42 0,4-2 86 15,0 0 120-15</inkml:trace>
  <inkml:trace contextRef="#ctx0" brushRef="#br0" timeOffset="50498.8">17313 465 1241 0,'0'0'466'15,"-11"4"-54"-15,3 2-23 0,-4 3-20 16,-4 5-21 0,-4 10-44-16,-1 2 11 0,1 5-46 0,-1 5 2 0,-2 9 1 0,0 3-111 0,-2 0 10 15,1 3-38-15,4 1 65 0,2-1-9 0,2 0-20 31,4-8-5-31,4-2 0 0,0-2-44 0,4-1-5 0,4-5-13 0,2-4 11 16,0-3-11-16,4-2-38 0,1 0-35 0,3-2-32 16,3-2-25-16,0-3 5 15,3-1-49-15,-1-2-38 16,1-5-5-16,1 0-44 0,-2-3-15 0,-2 0-33 0,0-3-18 0,4 0-147 0,-11-2-173 16,7 0-415-16,-3-1 103 15,0 0 50-15,1-1 142 0,-1 1 51 0,0-2 74 16</inkml:trace>
  <inkml:trace contextRef="#ctx0" brushRef="#br0" timeOffset="52517.1">17564 793 1443 0,'0'0'481'0,"0"0"-53"0,0 0-31 0,-3 18-29 15,3-9-17-15,0 2-18 0,0 3-31 16,-3 1-26-16,1 3-30 0,0 1-29 0,-1 5-22 0,-3 1-21 15,-1-2 3-15,2 0-16 0,0 1-10 16,-3-1-13-16,3-2-38 0,-3 1-33 0,3-5-39 16,0 0-10-16,-3-1-31 0,3 0-44 15,0-5 70-15,0 1-31 0,0-3-53 0,2-2-106 16,1 1-61-16,-1-2-69 0,0-2-67 0,1-1-435 16,2-1-107-16,0-2 166 0,0 0-15 15,0 0 91-15,0 0 106 0</inkml:trace>
  <inkml:trace contextRef="#ctx0" brushRef="#br0" timeOffset="52908.59">17884 849 1502 0,'-18'3'527'0,"8"-1"-35"0,-3 2-52 15,-5 2-130-15,0 1 7 16,-5 0-45-16,0 2-32 0,0 1-12 0,2 3-21 0,-1-3-20 0,3-1-26 16,-1 4-10-16,2-2-2 0,5-2-24 15,0 1-20-15,0-1-10 0,3 1 10 0,5-3-21 16,-3 2-17-16,4-2 17 0,1 0-12 16,2 0-26-16,2 1 21 15,2-1-19-15,1 0 11 0,6 0-10 0,1 1 5 0,2-3-24 16,0 1 24-16,5 0-16 0,-1-2 9 0,4 0-14 15,-5-1 5-15,2 0-15 0,-1-2 3 16,1 3-11-16,-2-4-7 0,-1 2 15 0,-2-1-26 16,-2 0 16-16,-1 0-5 0,0 0-1 31,-3 0-12-31,1-1-25 0,-1 1-29 0,-1 0-21 0,-6-1-19 0,10 0-22 0,-5 1-53 0,-5-1-13 16,10 0-53-16,-10 0-60 0,8-1-178 0,-5 0-490 15,2 1 64-15,-5 0 139 0,10-3 7 16,-7 2 88-16,-3 1 107 0</inkml:trace>
  <inkml:trace contextRef="#ctx0" brushRef="#br0" timeOffset="53961.05">18389 880 1604 0,'0'0'482'0,"0"0"-63"16,0 0-9-16,-15 6-44 15,9-1-95-15,-1 1-30 0,0 3-29 0,-1 1 3 16,-1 2-35-16,0 2 53 0,1 2-8 0,0 0-13 0,-2 2-45 16,2 2-1-16,1-3-15 15,4-1-26-15,-2 1-2 0,0-1-20 0,3-3-1 0,2 0-46 16,0-1 21-16,2 0 8 16,0-1-19-16,1-2-9 0,0 0-4 0,2-2-12 15,3-1 3-15,0-2-21 0,2-1 2 0,2-2-7 16,0-2 8-16,2 0-29 0,1-3 21 0,-2-1 8 15,3-2-13-15,1 0-11 0,-2-2-9 16,-4-2 22-16,2 0-18 0,-3-2 1 16,0 1 2-16,-5 0 2 15,1 1 3-15,-2 1-7 0,-3 0 15 0,-1 1-11 0,0 0-4 0,-1 1-29 16,-3 0 36-16,1 0-41 0,-2 3 23 0,-1-1 13 16,-1 0-12-16,2 2 19 0,0-2-2 15,0 3-5-15,2 0-17 0,-2 0-22 0,4-1 31 16,-3 2-9-16,4 2-22 0,-5-4 3 0,5 4 16 15,0 0-11-15,0 0 13 0,0 0-15 16,0 0 20 0,13 0 39-16,-13 0-29 0,13 3 6 0,-6 0-3 0,2 3 5 0,0-3 23 15,-1 5-5-15,2 1 23 0,3-2-18 0,-3 3 6 16,0 1 12-16,3-1 0 0,-3 0-18 16,-2-1 3-16,-3 2-3 0,1 0 10 15,-2-1-25 1,-1 0 13-16,0 1 4 0,-1-3 19 0,-2 2-34 0,-2-1 8 0,2-2-5 15,0 1 36-15,-3 0-5 0,3-3 32 16,0 1-1-16,0-2 9 0,-3 1 21 0,3-1-7 0,0-4 7 0,0 4-26 16,0-4 1-16,0 0-16 0,0 0 3 15,0 0-26-15,0 0 20 0,3-14-25 0,0 6 28 16,1 1-30-16,-1-2 9 16,3-2-42-16,-2 2-6 15,2-2-8-15,2 0-10 0,-1-1-51 0,2 2 2 0,-1 0-53 0,-2 0-8 16,4 1-49-16,-2 1-27 0,1-2-29 15,-3 4-34-15,4-1-45 0,-2 3-133 0,2-4-198 0,-1 3-419 0,-2 1 84 16,3 1 126-16,1 1 117 16,-1-1 59-16,1 3 47 0,1-1 89 15</inkml:trace>
  <inkml:trace contextRef="#ctx0" brushRef="#br0" timeOffset="54875.05">19292 1227 1205 0,'0'0'402'0,"-3"2"-67"16,3-2-4-16,0 0-99 15,0 0 4-15,0 0-19 0,0 0-9 0,0 0-16 16,-13-6-3-16,11 3-2 0,-4 0-8 0,2 2-5 15,1-2-28-15,-4-2 82 0,1 1-10 16,3-1-11-16,-4-1-30 16,2-1 15-16,1 1-6 0,-5-2-24 0,4-1-93 0,-1 0 8 0,2 0-1 15,-2-1-14-15,3-1 7 0,-4-2-15 16,4 1 2-16,-1 0 13 0,1-2-10 0,3 1-8 16,-1 0 0-16,1-1 1 0,1 2-40 15,-1 0 14-15,3 1-13 0,-1 0 12 0,1 3-7 16,2-1-10-16,0 3 28 0,0-2-6 0,-2 3 6 15,1-1-20-15,2 2-11 16,-1 1 20-16,0 2-20 0,-5 1 13 16,10 0 5-16,-5 2-20 0,3 2-11 0,-2 1 26 0,1 0 3 15,-2 3-14-15,3-1-7 16,-3 2 18-16,0-1-2 0,0 2-16 0,2 0 18 0,-4 0-6 0,0-2-12 16,2 0 26-16,-3 1-26 0,1-2 5 15,-2 1 3-15,-1 0-8 0,2-2 13 16,-2 0 7-16,0-1-10 0,2 0 26 15,-2 0-10-15,0 0 4 0,0-2-14 0,3 0 4 0,-3-3 29 0,0 6-8 16,0-6-8 0,0 0 21-16,0 4-23 0,0-4-1 0,0 0-4 0,0 0 17 15,0 0-30-15,5-13 10 0,-1 7 11 0,0-2 63 16,0-2 21-16,2 1-47 16,2-4 14-16,-1 1-49 0,1-1 30 0,0 4-12 0,2-2 18 15,0 2-37-15,-2-1 4 0,2 3-21 0,-2 0 28 16,1 1-16-16,-1 3-19 0,0-1 40 0,1 3-31 15,-2 0-14-15,0 1-6 0,-1 2 0 16,2 2 0-16,-1-1 0 0,1 4 0 0,0-2 0 16,-4 0 0-16,2 4 0 15,-1 0 0-15,-2-1 0 0,-1 1 0 0,2 0 0 16,-4 1 0-16,0 0 0 0,-4 1 0 0,0 2 0 16,-2-2 0-16,0 2 0 0,-4 1 0 0,3-1 0 0,-3 0 0 15,-4-1 0-15,4-1 0 0,-2 1 0 0,1 0 0 16,1-3 0-1,0-1 0-15,0 1 0 0,1-4 0 16,-1 1 0-16,2-2 0 0,1 0 0 0,-1-1 0 0,1-2 0 0,2 0 0 16,-3-1 0-16,8 0 0 0,-10-2-77 15,7-1-200-15,-2 0-27 0,5 3-44 0,-2-7-54 16,-1 2-149-16,3 1-526 0,0-2 63 16,0 1 105-16,0-2 60 0,3 1 127 15,-3-3 43-15,0 1 57 0</inkml:trace>
  <inkml:trace contextRef="#ctx0" brushRef="#br0" timeOffset="55141.84">19512 587 1128 0,'8'4'476'0,"2"1"-5"0,3 3-12 0,2 4-50 0,11 7 8 15,3 4-25-15,1 2-13 0,-2 1-26 0,-2 4-18 16,2 0-35-16,-7 0-8 0,1 4 51 16,-6 0-18-16,-4 3-36 0,-4-1-18 0,-7-5-25 15,-4-2-31-15,-10 7-18 0,-2 2-79 16,-13 4-41 0,-3 0-95-16,-6-3-62 0,-6-2-89 0,-3-2-107 0,-5-6-200 0,-3 5-666 0,-5 0 108 15,-2-5 149-15,-4 0 48 0,-1-5 76 0,-1-3 109 16,-2-3 19-16</inkml:trace>
  <inkml:trace contextRef="#ctx0" brushRef="#br0" timeOffset="57305.01">20089 786 908 0,'0'0'394'0,"0"0"-56"0,0 0-2 0,0 0-45 0,0 0-19 16,0 0-21-16,20-6-19 0,-9 4-50 16,-2 1-46-16,0-1 0 0,4 1-60 0,-2 0-32 0,-2-1-13 15,4 1-49-15,-3 0-62 16,0 1-37-16,-1 1-57 0,-2 2-82 0,-2-2 74 0,-3 2-10 16,1 0-41-16,-3 2-13 0,-5 0 59 15,2 1-5-15,-2-1 80 0,-3 2 37 16,1 0 47-16,-1-1 69 0,-2 2 44 15,0-2 35-15,2 0 34 0,-2 1 30 0,5-2 18 0,-3 0-2 16,0-1-8-16,3 0-10 16,0 1-1-16,1-3-7 0,-2 1-5 0,3-1-10 0,-2 1 23 15,5-3-36-15,-3 4 2 0,3-4-2 16,-2 4-23-16,2-4-8 0,0 0 23 16,5 3-30-16,-5-3-31 0,0 0 7 15,10 0-12-15,-2-1-31 0,-8 1-13 0,13-4-28 0,-5 3-10 16,1-2-70-16,0 1-63 0,1-1-116 15,-2-1-209-15,4 2-456 0,-1-4 153 0,1 1 9 16,1-1 83-16,-3 1 83 0</inkml:trace>
  <inkml:trace contextRef="#ctx0" brushRef="#br0" timeOffset="57771.45">20994 566 1420 0,'0'0'448'0,"0"0"-20"0,-5 16-37 0,5-7-40 16,-1 4-18-16,-1 2-44 0,0 2-15 16,0 2 2-16,1 1-43 0,0 1-23 0,-1 1-21 15,0 0-20-15,2 0-20 0,0-1-47 16,-2-1-61-16,2 1 5 0,0-4-71 0,-3 1-37 16,3-4-30-16,0-2-69 0,0 2-98 15,0-5-99-15,-3-1-187 0,6 0-351 0,-3-3 110 0,3-1 54 16,-3-3 115-16,0-1 0 15</inkml:trace>
  <inkml:trace contextRef="#ctx0" brushRef="#br0" timeOffset="58041.01">20976 651 1282 0,'8'-17'328'0,"-3"3"-34"15,3 4-5-15,-1 0-20 0,2 2-18 0,-1 2-16 16,1 1-25-16,-1 2 5 0,5 1-10 0,-3 2-16 0,0 0 72 15,0 3 3-15,1 2-18 16,-4 1-3-16,1 1-20 0,-2 1-13 0,-2 3-3 16,-4 0-30-16,0 2-9 0,-2 0-27 0,-4 2-10 15,-1 0-47-15,-3 1-4 0,0 1-19 16,-1-1-51-16,1-3 21 0,0 0-69 0,2-2-16 16,-2-2-23-16,2-1-46 15,3 1-35-15,-1-3-55 0,1-1-127 0,3-1-139 0,0-3-440 16,2-1 26-16,0 0 138 0,0 0 33 0,0 0 113 15,20-13 43-15</inkml:trace>
  <inkml:trace contextRef="#ctx0" brushRef="#br0" timeOffset="58263.84">21321 517 1113 0,'0'0'463'0,"0"0"-46"0,0 0-27 0,-14 8-1 0,9-2-62 16,-3 3-32-16,3 0-24 15,-2 2 0-15,-1 5-35 0,0 0-16 0,0 5-28 0,1 0-26 16,-1 1 1-16,5-3-19 0,-2 0-5 16,3 1-25-16,-1 0-15 0,3-1 27 0,3-5-27 15,-3 3-32-15,4-3-35 0,-1 0-21 0,0-1 1 16,2-3-26-16,-2 3-24 0,4-4-25 16,-2-3-17-16,0 1-58 0,1-3-29 15,1-1-109-15,0-3-158 0,-1 0-522 0,2 0 110 16,-1-3 38-16,4 1 159 0,-4-5 21 0,1 1 66 15</inkml:trace>
  <inkml:trace contextRef="#ctx0" brushRef="#br0" timeOffset="58500.02">21506 578 1108 0,'1'-2'468'0,"-1"2"-33"0,0-4-10 0,0 4-61 0,0 0-6 0,0 0-23 16,0 0-12-16,0 0-39 0,0 14-15 0,0-5-16 0,-1 1-40 15,1 1-19-15,-4 2-35 0,1 1 12 0,1 2-7 16,-1-3-54-16,-2 5-53 16,0-1-39-16,2-1-34 0,-4 1-63 0,1-3-13 15,1 1-77-15,0-2-72 0,3-2-120 0,-1-2-230 16,3-3-323-16,1-2 98 0,1 0 61 0,3-3 94 16,-5-1 26-16</inkml:trace>
  <inkml:trace contextRef="#ctx0" brushRef="#br0" timeOffset="58736.27">21715 604 1295 0,'0'0'366'0,"-13"0"2"0,3 1-53 16,0 2-38-16,-4-1-6 0,2 4-33 0,-1-2 61 16,-3 3-35-16,4-1-23 0,1 0 12 15,-1 0-46-15,2 0-15 0,1 0 8 0,0 1-31 16,3-2-20-16,1 1 4 0,0 0-20 0,4 0-5 15,-1 1-5-15,2-2-3 0,2 0-30 16,-1 1-6-16,6 0-27 0,1-1 2 0,0 0-36 16,1-2-31-16,0 0-13 0,1-1-68 0,3 0-31 15,-2-2-42-15,1 0-68 0,0 0-164 16,-3 0-149-16,3-3-383 16,1 0 96-1,-2-1 62-15,-1 0 87 0,2-1 70 0,-3-2 76 0</inkml:trace>
  <inkml:trace contextRef="#ctx0" brushRef="#br0" timeOffset="59022.86">21802 439 1028 0,'12'4'395'16,"-1"3"63"-16,4 3-18 0,-2 1-56 15,2 3-38-15,-1 2-3 0,0 0-23 16,-3 2-36-16,-1 1-21 0,-4 0 6 0,-2-1-15 16,-1 3-60-16,-3 0-2 0,-3-1-56 0,-1 4-19 15,-5-1-42-15,-6 6-47 0,0-1-67 16,-3-1-76-16,5-5-74 0,3-3-129 0,-3 0-142 16,2-4-485-16,7-3 106 0,-2-2 66 15,4-2 74-15,2-1 41 0</inkml:trace>
  <inkml:trace contextRef="#ctx0" brushRef="#br0" timeOffset="59334.26">22948 546 1164 0,'0'0'392'15,"0"0"-3"-15,-5 8-44 0,5-2-53 0,0 4 10 16,-3-1-53-16,3 3-24 0,0 2-20 15,0 0-3-15,3 1-64 0,-3 2-23 0,0-2-15 16,0-1-54-16,4 1-74 0,-4 0-51 0,0-1-95 16,0-2-108-16,0 1-547 0,1-2 104 0,-1-2 21 15,-1-2 105-15,1 0 18 16</inkml:trace>
  <inkml:trace contextRef="#ctx0" brushRef="#br0" timeOffset="59529.42">22753 691 1428 0,'5'-6'463'0,"0"6"-158"16,-2-3-34-16,5 2-5 0,-1 0-28 0,4 0-12 16,4-1-47-16,1 0-18 0,1 1-2 15,4-1-72-15,-1 2-21 0,3 0-53 16,-2 0-77-16,2-1-156 0,-5 1-136 0,6 0-463 15,-5 0 105-15,-1 1 125 0,0-1 11 0,-2 0 61 16</inkml:trace>
  <inkml:trace contextRef="#ctx0" brushRef="#br0" timeOffset="60094.74">23553 491 993 0,'-3'-4'399'0,"3"4"-10"15,0 0-31-15,0 0 34 0,0 0-23 16,0 0-39-16,3 15-18 0,-3-6-23 0,4 4-28 15,-4 0-15-15,0 3-46 0,0 2-16 0,0 2-33 16,0-1-31-16,0 2-66 0,0-1-46 16,0 1-36-16,0-2-85 0,0 0-66 15,1-2-149-15,-2-2-353 0,2 0-166 0,-1-2 41 0,0-1 120 16,0-2 38-16,3-1 113 16</inkml:trace>
  <inkml:trace contextRef="#ctx0" brushRef="#br0" timeOffset="60360.12">23548 537 939 0,'2'-18'407'0,"3"4"-44"0,1 2-15 16,-2 3-33-16,2 1-15 0,-1 2-24 16,0 2 3-16,6 0-10 0,-4 2-31 0,1 2-18 15,2 0-2-15,-2 0-39 0,0 5 92 16,-1-1-25-16,-2 1-46 0,0 0-6 0,0 3-4 15,-3 1-6-15,-2-1 3 0,0 2-54 16,-4 1-20-16,-1-1 7 0,0 3-54 0,-3-3-30 16,0 0-26-16,0-1-45 0,-2 0-32 0,0 0-20 15,3 0-31-15,-4-3-35 0,4 1-62 16,1-1-126-16,-1-1-176 0,3-2-448 0,2-1 54 16,2-2 135-16,0 0 75 0,0 0 115 0,0 0 23 15</inkml:trace>
  <inkml:trace contextRef="#ctx0" brushRef="#br0" timeOffset="60617.89">23839 349 1128 0,'0'0'443'0,"0"-2"-36"0,0 2-13 0,0 0-20 0,0 0-44 16,-12 12-102-16,10-5-8 0,0-1 5 0,-2 7-45 15,1-2-19-15,-1 3 0 0,1 0-10 0,1 3-25 16,1 2-4-16,0 0-17 0,1 0-5 15,1 1-8-15,0 0 3 0,1 0-10 0,5-2-6 16,-4 1-23-16,5-2 3 0,0 0-44 0,0-2-4 16,2-1-27-16,0-1-25 0,0-2-10 15,-1-2-36-15,-1-1-10 0,0-3-26 0,1 2-46 16,0-3-51-16,0-1-126 0,-2-1-117 16,1-2-410-1,2 1 85-15,-3 0 86 0,4-2 88 0,-3 1 48 0</inkml:trace>
  <inkml:trace contextRef="#ctx0" brushRef="#br0" timeOffset="61223.48">24272 704 1323 0,'-4'-5'445'0,"4"5"-15"0,-2-7-20 0,1 3-52 15,-1-1-12-15,-3 0-108 0,2-1-28 16,-2 0 12-16,0 0-19 0,0-3-42 0,-2 0 5 16,1-2-30-16,-2-1 79 0,3-1-3 15,0 0-20-15,1 1-105 0,1-1 26 0,-1-1-29 16,2 2-22-16,0 1-1 0,2 2-17 16,0-2 7-16,2 2-13 0,0 1-4 0,-1 1-9 0,4-1 24 15,-2 2-21-15,4 2-15 0,-2 1 7 16,0 0 1-16,-2 2-13 0,5 1 7 15,-8 0-7-15,10 3 2 0,-5-2-5 0,3 2 15 16,-3 3 1-16,0-2-26 0,-1 1-5 0,-2 1 15 16,0 1-21-16,0-2 21 0,2 2-20 0,-3-1 7 15,-1-2 3-15,0 2-8 0,0-2 21 16,0 2-13-16,0-3 10 0,-1 0 8 0,1-3-5 16,0 5 17-16,0-5-15 0,0 0 21 0,-4 3-18 15,4-3 20-15,0 0-2 0,0 0 0 16,0 0-8-16,0 0 2 0,4-14-7 0,-2 10 0 15,2-2-8-15,2 0 8 0,-2 1-5 0,3-1-13 16,-3 0 5-16,4 2-12 0,-1 0 1 16,0 0 22-16,2 1-9 0,-2 1-7 15,1 3 3-15,0 0 2 16,1 2-18-16,-3 2 26 0,2-1-5 16,0 4-8-16,-3 1 18 0,2-1 10 0,-4 3-5 0,4-1 20 0,-6 2 4 15,-1 0-12-15,0-1 19 0,0 1 0 0,-3 0-21 16,-2 1 6-16,0-1 14 0,-1 1-19 0,0-2 9 15,-2 1-10-15,0-2-17 0,0 0-24 16,0-1-38-16,1-3-28 16,-1 2-36-16,2-3-21 0,0 0-46 15,-2-2-35-15,2-1-72 0,-1 1-118 16,0-3-84-16,1 0-446 0,6 0 44 0,-7-3 89 0,3 0 103 0,0-2 46 16,2 0 94-16</inkml:trace>
  <inkml:trace contextRef="#ctx0" brushRef="#br0" timeOffset="61508.3">24343 121 1031 0,'10'1'422'15,"2"1"-2"-15,-1 4-36 0,3 3-54 0,0 2 26 16,4 4-64-16,3 7-26 0,0 5 5 15,-1 0-84-15,0 3-13 0,-5 2 8 0,5 0 5 16,-9 1-10-16,3 1-24 0,-5 0-12 16,-1 0 10-16,-5-5-43 0,-3-1 7 0,0-3-31 15,-6 1-20-15,-4 9-51 16,-1-2-34-16,-6-2-35 0,-1 0-72 0,-5-3-33 0,-2 2-62 16,-2-2-115-16,-13 3-94 0,6 3-467 15,1-7 90 1,0-3 54-16,0-5 57 0,-2 5 99 0</inkml:trace>
  <inkml:trace contextRef="#ctx0" brushRef="#br0" timeOffset="62660.46">20122 1598 1313 0,'0'0'401'16,"0"0"-45"-16,0 0-28 0,0 0-26 0,24-3-33 16,-12 3-49-16,4-1 3 0,-1 1-26 0,5 0-16 0,1-2-32 15,0 2-44-15,-1 3-54 0,1-3-28 16,-4 0-95-16,-1 3-120 0,-1-3-107 16,1 3-559-16,-4 0 96 0,0 0 73 0,-4 0 44 15,-2-1 72-15</inkml:trace>
  <inkml:trace contextRef="#ctx0" brushRef="#br0" timeOffset="62801.42">20189 1750 1356 0,'0'0'323'0,"-5"3"-52"16,5-3-18-16,-2 4-17 15,2-4-31-15,0 0-16 0,7 5-28 0,-2-3-30 16,3-1-16-16,-1 1-56 0,4-2-10 0,-1-2-57 15,3 2-102-15,2-1-174 0,-2-2-95 16,5 0-356-16,2-3 80 0,4-1 51 0,-1 0 56 16</inkml:trace>
  <inkml:trace contextRef="#ctx0" brushRef="#br0" timeOffset="66254.91">21366 1399 1328 0,'0'-3'450'15,"0"3"-27"-15,0 0-72 0,0 0-26 16,-15 7-36-16,7-2-20 0,-2 1-16 16,-2 0-125-16,-3 3 20 0,-2-1-20 0,0 3-17 0,0-1-12 15,-1 2-9-15,3-2 2 16,-1-1-18-16,2 2-7 0,2-3 5 0,0 0-3 0,5-1 0 16,-1-1-28-16,2-1 12 0,-3 0 70 15,6 1-38-15,1-2 40 0,-1 1-40 16,3-1-14-16,0-4 9 0,8 6 4 0,-3-4-15 15,5 0-5-15,0-2 8 0,1 2-11 0,4-3-2 16,2 0-38-16,0 1-21 16,3-2-21-1,-2 0-27-15,2-1-42 0,-2-1-20 0,4 1-23 0,-8 0-46 0,2 0-67 0,-1 1-112 16,-7 0-180-16,6-2-381 0,-5 0 77 0,0 2 77 16,-2-2 99-16,-3 1 80 15</inkml:trace>
  <inkml:trace contextRef="#ctx0" brushRef="#br0" timeOffset="66496.7">21389 1363 1092 0,'0'0'438'0,"0"0"-18"0,0 0-16 0,-8 10-48 0,3-4-31 0,3 2-71 16,1 1-39-16,-4 2-16 0,3 1-17 0,0 0-10 15,-1 3-32-15,0-1 68 0,1 4-27 0,-1-1-12 16,1 2-7-16,-1-3-6 16,0 2-46-1,1-2-33-15,-1-1-26 0,0 0-23 0,1-1-28 0,0-2-28 0,-1-1-31 0,3-1-56 16,-3-1-54-16,1 1-51 0,0-3-67 16,2 1-94-16,-2 0-479 0,-2 0 33 0,4-2 108 15,-2 0 79-15,-4 0 92 0</inkml:trace>
  <inkml:trace contextRef="#ctx0" brushRef="#br0" timeOffset="66891.49">20830 1825 1333 0,'-7'-2'371'0,"7"2"-15"0,0 0-46 0,0 0 23 0,0 0-52 0,14-6 49 0,-4 5 8 16,4 0-28-16,5-1-44 0,3-1-18 15,6 3-27-15,6-3-4 0,11 0-27 0,2 1-14 16,2 0-17-16,1-1-8 0,2 2-28 15,-1-2-8-15,0-1-95 0,1 2-12 16,-7-1 33 0,-8 0-54-16,-7 2-10 0,-6-1-2 0,1 2-27 0,-4-2-17 0,-3 0 28 0,-3 1-38 15,-3 1-11-15,-1-1-9 0,-1 1-32 0,-2 0-40 16,-2 0-27-16,-6 0-52 0,7 0-91 16,-7 0-74-16,0 4-475 0,0-4 94 0,0 0 74 15,-11 10 54-15,5-5 69 16</inkml:trace>
  <inkml:trace contextRef="#ctx0" brushRef="#br0" timeOffset="67799.28">21166 2029 1049 0,'7'-1'410'0,"-4"-1"-19"0,-1 0-9 0,-2 2-55 0,0 0-35 15,0 0 7-15,0 0-40 16,0 0-41-16,0 0-19 0,0 0-9 0,-20 4 4 0,13-1-107 16,-4 1-30-16,4-1-11 0,-4 0 2 0,-2 2 26 15,3-1-20-15,0-1-13 16,3 1 0-16,-4-2-10 0,6 2-11 0,-3-2-4 16,4 3 7-16,-2-3 2 0,5 2-12 0,-3-2-21 15,4-2 21-15,0 5 3 0,0-5 27 16,5 4 1-16,1-2-37 0,1 0-4 0,0-2 12 15,6 2 3-15,-5-1 5 0,5 0-7 0,0 1-6 16,-1 0 15-16,-1 0-7 16,2 0 10-16,-1-1-2 15,-3 1 2-15,1 0-12 0,-3 1 17 0,-2 1 15 0,0-2-1 0,0 1 88 0,-3 2-43 16,-2-2 18-16,0-3-25 16,-9 8 2-16,1-4-8 0,1 3-20 0,-4-1-20 15,-4 0-34-15,-1 1-21 0,3-2-43 0,0 1-33 0,-4-1-31 16,4 0-33-16,0-1-120 15,3 0-116-15,2-2-578 16,-2 1 92-16,2-2 72 0,3 0 81 0,5-1 45 0,0 0 75 0</inkml:trace>
  <inkml:trace contextRef="#ctx0" brushRef="#br0" timeOffset="68107.37">21464 1964 967 0,'10'1'323'0,"-3"0"14"0,-4 2-32 0,2-1-31 0,-2 2 20 0,-1 0-33 16,-2 1-15-16,-2 1 8 0,-1 3-50 15,-2 0 4-15,-1 1 60 0,1 0-40 16,-4 3-10-16,1-2-26 0,3-2-10 0,-3 2-31 16,4-2-13-16,-2-1-23 0,0 0 33 0,4-2-35 15,-1 1-5-15,2-1 25 16,-3-2-13-16,4 1-23 0,0 0-92 0,3-1 26 0,0-2-10 15,1 1 17-15,2-2-25 0,1 1 5 0,4-2-13 16,-4-2-33-16,7 2-16 0,-2-1-20 16,-2 0-15-1,3-2-21-15,2 1-13 0,-4-2-25 0,3 0-46 16,-3 0-82-16,2-1-116 0,-2 0-171 0,-1-2-399 0,0 0 143 0,0 1 39 16,-1-3 130-16,-3-1 51 0</inkml:trace>
  <inkml:trace contextRef="#ctx0" brushRef="#br0" timeOffset="68339.99">21878 1651 1164 0,'0'0'392'0,"0"0"5"0,0 0-65 16,-2 12-30-16,2-5 3 0,0 3-52 15,0 2-4-15,0 2-37 0,2 1-15 0,-2 2-33 16,2 2-16-16,-1 0-25 0,0 0-41 16,-1 0-54-16,2-4-43 0,-2 1-67 0,2 0-92 15,-2-1-154-15,-4 0-127 0,4-1-369 0,0-4 53 16,0-2 121-16,-2 1 38 0</inkml:trace>
  <inkml:trace contextRef="#ctx0" brushRef="#br0" timeOffset="68597.02">21702 1840 1318 0,'5'-4'394'0,"-5"4"-20"0,10-1-34 0,-4 0-23 15,6 0-55-15,1-2-40 0,3 2 6 16,1 1-33-16,1-1 2 0,2-1-57 15,1 1-32-15,-3-1-18 0,0 0-16 0,-2 1-28 16,1 0-26-16,-1-1-38 0,-2 1-2 0,-3 1-49 16,0-1-69-16,-4 0-65 0,1 1-42 0,-2 1-52 15,0 0-64-15,0-1-422 0,-6 0 81 16,5 3 83-16,-5-3 53 0</inkml:trace>
  <inkml:trace contextRef="#ctx0" brushRef="#br0" timeOffset="72712.21">22468 1431 1459 0,'0'0'437'0,"3"-2"-37"0,-3 2-52 0,0 0-5 0,0 0-57 0,0 0-25 15,0 0 3-15,2 15-34 0,-1-9-2 0,-1-1-97 0,0 4-13 16,0-1-16-16,0 4-15 0,0-3 5 0,0 4 0 16,0 1-15-16,0-4-8 15,-1 4-2-15,0-2 2 0,0 0-18 0,-2-1-18 16,1 1-7-16,2-2-29 0,-1 0-9 0,0-1-35 15,1-1-27-15,-1 0-54 0,1-3-7 16,-2 1-45-16,2 1-50 0,0-3-121 0,2 0-58 16,-1 0-423-16,1-1 74 0,-2-3 67 0,6 1 74 15,-6-1 54-15</inkml:trace>
  <inkml:trace contextRef="#ctx0" brushRef="#br0" timeOffset="73312.44">22656 1431 1039 0,'7'0'345'15,"-2"-2"-38"-15,-5 2-25 0,12 2 64 0,-6-1-26 16,0 2 7-16,1-1-50 0,-2 2-34 0,-2 0 15 16,3 1-107-16,-4-1-7 0,0 1-29 15,0 0-13-15,-2 1-12 0,0 0-8 0,0 0 15 16,0-1-20-16,0 0-11 0,0 0 21 15,0 0-33-15,0-1-13 0,3 0 28 0,-2 0-18 16,-1 1 6-16,2-1-4 0,0 0-9 0,2 1-3 16,-2-2 20-1,0 1 85-15,2 1-7 0,-3-2 17 0,2 1-10 0,-3 1-90 0,2-1-2 16,0 2 2-16,-2-2-13 0,0 1 11 16,0-1 3-16,-4-1-6 0,1 2-10 0,3-1-8 15,-5 0-38-15,1 1 0 0,-2-3-31 16,0 1-49-16,2 1-14 0,-2 1-58 0,1 0-24 15,-1-2-22-15,-3 3-70 16,1 2-104-16,1-5-53 16,-1 5-468-16,-2 1 22 0,1-1 149 0,1-1 59 0,-4 1 80 0,4-1 32 0</inkml:trace>
  <inkml:trace contextRef="#ctx0" brushRef="#br0" timeOffset="73624.31">22323 1833 1279 0,'0'0'474'0,"-8"-1"-42"0,8 1-109 0,-3-3-31 0,3 3 18 16,0 0-21-16,0 0-23 15,13-6-23-15,-3 4-15 0,5-2-8 0,1 2-33 16,4-1-10-16,3-1-32 0,8 0 24 0,-3 0-33 16,3 1-5-16,1-2-3 0,-2 2 53 15,-2 1-48-15,-2 1 16 0,4-3-54 16,-7 1-29-16,-2 3-53 0,2-1-39 0,-5-1-17 0,-1 2-24 15,-3-2-27-15,-2 2-63 0,-4 0-14 16,3 2-75-16,-4-2-46 0,-2 2-120 0,-2-2-394 16,-3 0-72 15,2 6 87-31,-2-1 108 0,0-5 89 0,-3 5 20 16</inkml:trace>
  <inkml:trace contextRef="#ctx0" brushRef="#br0" timeOffset="73982.83">22673 1936 1000 0,'3'-2'471'0,"1"-1"-41"0,-4 3-15 0,1-3-34 16,-1 3 11-16,3-4-105 0,-3 4-3 15,0 0-15-15,0 0-42 0,0 0-12 0,-18 2-7 16,18-2-44-16,-11 4-8 0,3-2-28 0,1 0-21 15,0 1-2-15,1 1-18 0,2 0 8 16,-2 1-11-16,3-2-2 0,-2 0 10 16,3 2-35-16,2 0-14 0,0-1 16 0,2 2 0 15,2 0-8-15,0 0-12 0,2 0-62 16,3-1 38-16,-1 2-5 0,0-1-23 0,0 0 29 16,1 0 2-16,-1-2 2 0,-1 1 11 15,-1 1-16-15,0-1 98 0,-2-2-13 0,-1 1-13 16,2 2-18-16,-3-2 13 0,-2 0-21 0,0 2-40 31,-4-1-3-31,1 0-67 0,-4 1-25 0,-1-1-70 0,-2 2-86 0,1 0-121 0,-8-1-196 16,9-2-429-16,-1 0 60 0,-3-1 112 0,5-1 54 15,1 0 85-15,-1-1 76 0,0-1 74 16</inkml:trace>
  <inkml:trace contextRef="#ctx0" brushRef="#br0" timeOffset="74206.87">22761 1976 1072 0,'15'-3'415'0,"-5"0"-13"0,0 3-1 0,0 0-60 16,-7 1-19-16,3 3-117 0,-2-2 8 0,0 1-19 0,-2 3-10 15,0-2-9-15,-2 3-22 16,0-1 77-16,-2 2-38 0,0-2 13 0,1 1-46 16,-2-2-11-16,3 1 1 0,-2 0-24 0,2-1-22 15,-2 0-11-15,4-1 23 0,0 0-61 0,2-1 12 16,-2 0-17-16,5 1-21 0,-2-3-25 15,1 1-44-15,-1-2-5 0,5 1-39 0,-2 2-45 16,2-3-9-16,0 2-114 0,0-2-157 0,-4 1-99 16,6 0-387-16,-2 0 44 15,-1-1 145 1,1 0 83-16,-3 1 40 0</inkml:trace>
  <inkml:trace contextRef="#ctx0" brushRef="#br0" timeOffset="82498.75">8485 6019 918 0,'-5'-3'359'0,"5"3"-39"0,-5-3 51 0,5 3-26 16,-3-2-35-16,3 2-21 0,-5-3-38 16,5 3-31-16,0 0-7 0,0 0-11 15,0 0-25-15,0 0-29 0,0 0 24 0,0 0-37 16,0 0-35-16,0 0 3 0,18 8-1 0,-13-5 3 16,6-1-33-16,-4 2 2 0,3-2 0 15,0 1-5-15,4 0-5 0,-2 0 3 16,-1-1-32-16,4 2-17 0,-5-2 21 0,5-1-34 0,-2 0 23 15,1 3-15-15,-2-3 0 16,0-1-11-16,2 1-7 0,-4-1 3 0,0 3-21 0,1-3-6 16,-4 1-4-16,3-1 33 0,-4 0-18 0,1 1-7 15,0-1 53 1,-7 0-31-16,8 0-22 0,-8 0 22 0,8 0-7 0,-8 0-16 0,0 0 16 16,0 0 5-16,0 0 20 0,0 0-15 15,0 0 3-15,0 0 20 0,-22-5-18 16,14 5 10-16,-3-1-12 0,-1 1 10 0,-2-1-16 15,-1-3 18-15,-1 3 11 0,-2 0-3 0,3 1-2 16,-2-2-6-16,1 2-2 0,3-3 23 16,-2 2-24-16,2 0 11 0,2 0-61 0,1-1 7 15,3 1-23-15,-1 1 16 16,0 0 18-16,8 0-21 0,-8 1 13 0,8-1-3 0,0 0 13 16,0 0 3-16,0 0-9 0,0 0 4 0,26 4 30 15,-15-3-23-15,4 2 3 0,1-2 3 16,2 0-11-16,0 0 2 0,-1 0 6 0,3-1 20 15,-2 0-20 1,-1 0-8-16,0 0 18 0,-2 0-10 0,-2 0-6 16,0 0 14-16,-2 0-1 0,-4 0 21 0,0 0 8 0,1-1-8 15,-8 1-8-15,8-1-10 0,-8 1 8 0,0 0 5 16,0 0 17-16,0 0-12 0,0 0-5 0,-15-6 2 16,7 5 19-16,-3 1 27 0,4-3-28 0,-3 2 6 15,0 1 2-15,2-1-13 16,-2 0 3-16,4 0-1 0,-1-2-4 15,0 3-18-15,1 0-11 0,6 0 6 0,-10-2-1 0,10 2-12 16,-8-1-13-16,8 1-23 0,-5 0 30 16,5 0-37-16,0 0-32 0,0 0-17 0,0 0-39 15,0 0-7-15,0 0-16 0,0 0-41 0,0 0-72 16,0 0-58-16,0 0-69 0,18 0-298 16,-18 0-55-16,8-4 86 15,-3 3 57-15,0 0 20 0</inkml:trace>
  <inkml:trace contextRef="#ctx0" brushRef="#br0" timeOffset="83809.78">8234 5331 831 0,'0'0'377'0,"0"0"-24"16,0 0-46-16,0 0 8 0,0 0-49 0,0 0-25 15,0 0 2-15,-6 6-15 0,6-6-16 16,0 0-2-16,-7 1-23 0,7-1-10 0,-8 0-96 16,8 0 6-16,-8 0 8 0,1 0-13 0,7 0-3 15,-13 0 1-15,8-1-3 0,-3 1 4 0,0-3 7 16,-2 2 4-16,2 1 0 16,-2-2-13-16,0-1-15 0,0 1-13 0,0 1 44 15,-1-4-8-15,-1 4-10 0,-1-4 12 0,0 4 65 16,2-4-39-16,-1 2 13 15,2-2-18-15,-3 4 13 0,3-3-33 16,2 2-6-16,-2-1 1 0,2 1-6 0,0 1-5 0,0 0-7 16,1-2-3-16,1 3-23 0,2-1 23 0,-2 0-21 15,6 1-38-15,-10-1 34 0,10 1-14 16,-8-3-45-16,8 3-6 0,-5 0-12 0,5 0-31 16,0 0-28-16,0 0-21 0,-10 0-18 0,10 0-17 15,0 0-1-15,0 0-35 0,0 0-19 0,0 0-53 16,0 0-64-16,0 0-46 0,0 0-95 15,0 0-425-15,0 0 49 0,21-6 125 0,-17 3 57 16,2-1 66-16</inkml:trace>
  <inkml:trace contextRef="#ctx0" brushRef="#br0" timeOffset="84216.17">8134 5137 1028 0,'0'0'382'0,"0"0"-39"16,-6-4-28-16,6 4-31 0,0 0-8 0,-14 4-7 15,8-1-18-15,-1 0-39 0,-1-1-9 16,0 2-24-16,-2-1-5 0,2 1-18 15,-2 2-23-15,-1-3 10 0,1 2-17 0,0 0-6 16,0-2-17-16,0 2-6 0,2 0-2 0,0 1-19 16,-2-1 24-16,5-2-105 0,-3 2 5 0,3-3-8 15,-2 1 3-15,4 3-10 0,-2-3-11 0,2 1 16 16,1 1 0-16,-1-2 5 16,0 2 12-16,3-1 1 0,0-4-3 0,3 8 3 15,-3-5-8-15,3 2 0 0,-1-1 23 0,1-2-5 16,4 3-3-16,-4-2-7 0,2 1-31 15,0 0 15-15,0-1-23 0,0 0-25 0,1-1-8 16,-2 3-15-16,2-3-29 0,-2-1-17 0,2 3-62 16,-1-1-133-16,1-3-59 15,1 3-435-15,3 0-5 0,-2 0 146 16,-1-1 53-16,2-1 75 0</inkml:trace>
  <inkml:trace contextRef="#ctx0" brushRef="#br0" timeOffset="85035.87">9298 5571 1108 0,'-5'0'450'0,"5"0"44"0,-13 0-58 0,10-2-29 16,3 2-31-16,-8 0-31 0,8 0-22 16,0 0-29-16,0 0-20 0,0 0-3 15,0 0-4-15,0 0-106 0,0 0-15 0,0 0 7 0,14 6-27 16,-7-6-6-16,3 1-25 0,3-1 10 15,-3 1-49 1,3-1 23-16,0 0-15 0,-3 0 13 0,4 0-8 0,0-1-12 0,2 0-14 16,-6 0-25-16,3-1-15 0,-3 2-6 0,0-1-25 0,0-1-3 15,1 1-15-15,-5-1-10 16,3 0-3-16,-4 1-49 16,1 0 19-16,-2-2-8 0,2 0-54 0,-4 2-31 0,1-2-10 0,-3 3-46 15,3-3-46-15,-3 3-90 0,2-5-61 16,-2 3-415-16,0 2 80 0,0 0 9 15,-2-7 73-15,2 7 71 0</inkml:trace>
  <inkml:trace contextRef="#ctx0" brushRef="#br0" timeOffset="85435.1">9416 5402 1351 0,'0'0'348'15,"-3"-2"-13"-15,3 2-9 0,-2-5-42 0,2 5-54 16,0 0-2-16,-5-2-29 0,5 2-17 0,0 0-21 16,0 0 16-16,0 0-26 0,0 0 13 15,0 0 48-15,20 2-9 0,-15 2-29 16,2-2-5-16,1-1-11 0,0 3-35 16,2-1 13-16,-2 2-36 0,2 0 23 0,-2-2-19 0,2 0-111 15,1 3 32-15,-4-4-19 16,1 2 17-16,2 3 5 0,-4-5 5 0,1 3 13 0,0 0-13 15,-1-1 3-15,-1 0 36 0,0 2-13 0,-2 0 15 16,-3-1-28-16,2 2 15 0,-2-1-2 16,-2 1 16-16,-1 1-11 0,-4 3-6 0,-1 0-9 15,0 1 18-15,-3 1-11 16,-1 2-5-16,-3 1-30 0,-1 2 7 16,1-3-3-16,-1 3-27 0,1-4-19 0,0 3-25 0,2-1-10 15,-2 0-49-15,2-1-10 0,2 1-49 16,1-4-18-16,0 0-40 0,2-3-47 0,3 1-131 0,0-1-71 15,0 1-494-15,2-4 88 0,1 1 80 0,-1-2 117 16,3 0 55-16,0-5 59 16</inkml:trace>
  <inkml:trace contextRef="#ctx0" brushRef="#br0" timeOffset="96888.02">21143 13006 1753 0,'5'5'514'0,"0"-1"-2"0,-2 3-48 0,-1 4-19 15,1 2-46-15,0 2-35 0,1 5-65 16,-1 0-40-16,-2 7 4 16,1-1-24-16,-2 3-40 0,0 1-17 0,-1 9-11 0,0-6-32 0,-3 5-22 15,0-7-65-15,1-4-24 0,0-1-54 16,1-4-17-16,0-1-50 0,-4-1-40 16,5-1-28-16,-3-4-39 0,-1 2-137 0,-8-2-209 0,9-3-452 15,0-4 118-15,1-3 81 0,-2-1 51 16,1-4 93-16,4 0 74 0</inkml:trace>
  <inkml:trace contextRef="#ctx0" brushRef="#br0" timeOffset="97147.56">21397 12893 1433 0,'0'0'522'0,"-1"11"-33"0,-1-3-18 0,-3 3-3 0,4 2-71 0,-5 3-18 0,-2 6-28 0,0 2-49 16,-2 8-8-16,1 3-30 0,-1-1-70 0,0 0 8 16,0-2-35-16,2-4-19 0,1-4-40 0,-1 0-16 15,2 0-69-15,0-1-5 0,-2-2-31 16,2-4-53-16,2-1-27 0,-2 1-32 31,3-3-13-31,-1-3-54 0,0 0-82 0,0-5-230 0,1 0-500 0,0-2 157 0,1-1 84 16,2-3 82-16,0 0 77 0,-10-3 41 0</inkml:trace>
  <inkml:trace contextRef="#ctx0" brushRef="#br0" timeOffset="97394.69">21071 12798 1261 0,'18'-27'354'0,"6"4"9"0,-2 2 39 15,-1 6-21-15,1 3-12 0,-1 3-31 0,5 3-31 16,-4 4-36-16,2 5-76 0,2 3-29 0,10 8 8 16,2 4-35-16,-3 2 4 15,-2 3-20-15,-4 2-11 0,0-1-48 0,-1 2-28 0,-5-1-5 16,2-2-41-16,-6 1-39 0,-4-4-28 16,-1-5-38-16,-5 0-28 0,0-2-26 15,-3 1-105-15,-3-5-107 0,0 0-520 0,-1-1 125 16,-2 1 18-16,0-3 95 0,-2-2 72 0</inkml:trace>
  <inkml:trace contextRef="#ctx0" brushRef="#br0" timeOffset="101706.06">20492 3288 993 0,'-18'0'412'0,"2"-4"-31"16,1 2 85-16,2 1-44 0,6-1-10 0,-2 1-97 0,2-1-33 0,2 1-13 0,5 1-21 15,-10 0-23-15,10 0-17 0,-4-1-27 0,4 1 4 16,0 0-22-16,0 0-19 0,19-4-9 16,-9 3 9-16,6-1-44 0,-1 0 10 0,5 0-54 15,1 1-18-15,2-2-17 0,-2 2-52 16,0 0-30-16,-1-1-24 0,0-1-45 0,-1 3-34 0,-2 0-15 15,-2-1-59-15,-4 2-26 16,1-1-76-16,1 2-78 0,-5-1-14 0,-1 2-431 0,-4 1 103 16,0-1 23-16,-3 1 143 0,-3 2 56 15</inkml:trace>
  <inkml:trace contextRef="#ctx0" brushRef="#br0" timeOffset="101859.24">20512 3359 898 0,'-13'5'292'0,"3"-3"110"15,3 1-54-15,1-2-23 0,1 0-31 16,0 1-12-16,3 0-26 0,2-2-13 0,0 0-33 15,0 0 2-15,2 6-27 0,-2-6-32 16,12 0-7-16,-2 1-5 0,-1-1-3 0,3 0-48 16,2-1-21-16,1 1-10 0,2 0-54 0,-1-2-31 15,1 1-51-15,-1 0-69 0,1-1-127 16,-3 0-86-16,4 0-511 0,0 0 99 0,3-1 83 16,-4 0 40-16,4-1 62 15</inkml:trace>
  <inkml:trace contextRef="#ctx0" brushRef="#br0" timeOffset="102206.2">21361 3083 1164 0,'0'0'474'16,"0"0"-57"-16,-18 5 8 0,10-2-74 15,-5 3-24-15,-2 2-102 16,-3-1-22-16,2 2-27 0,-4 1-2 0,0 0-2 0,2 1-16 0,0 0-20 16,3-2-44-16,4-2 15 0,-2 1 44 15,3-1-15-15,2-1-6 0,3 0-14 0,0 1-14 16,0-4 13-16,3 2-23 0,2 0-15 16,2 0 8-16,0-2 22 0,4 1-15 15,4-1-40-15,0 0 4 0,3-2 10 0,3 0-30 16,1-1-36-16,6 1 13 0,-2-1-41 0,2 0-36 15,3-1-33-15,-3 1-29 0,2-1-27 16,-4 0-42-16,0-2-112 0,-1 2-92 0,-5-1-510 16,-2-1 51-16,2 0 70 0,-5 2 61 0,-1-2 72 15,-1-3 56-15</inkml:trace>
  <inkml:trace contextRef="#ctx0" brushRef="#br0" timeOffset="102424.26">21399 3016 1364 0,'-10'5'471'0,"5"-1"0"16,2 0-57-16,-4 4-32 0,1 1-14 0,2 3-122 15,-2 2 8-15,-1 4 35 0,1 2-18 0,1 2-20 16,0 0-26-16,0 3-17 0,0-1-1 16,2 1-46-16,-2 1-20 0,3-2-16 0,0 1-48 15,1-3-72-15,-2-1-2 0,3-1-34 0,0 1-51 16,4-4-18-16,-3-1-28 0,0-2-51 15,1 0-113-15,-2 0-117 0,4-4-387 16,-2 0-77-16,0-2 87 0,-2 1 110 0,2-2 44 16,1 0 61-16</inkml:trace>
  <inkml:trace contextRef="#ctx0" brushRef="#br0" timeOffset="102709.21">20878 3610 1023 0,'-7'-1'433'16,"7"1"-18"-16,0 0-19 0,0 0 55 0,0 0-13 15,18-6-52-15,-8 3-15 16,5-3-53-16,1 2-14 0,5-2-9 0,4 1-4 16,4-2-37-16,13-3-6 0,-3 2-51 0,2-1-10 0,5 2-28 15,-2-3 5-15,0 2-126 0,-1 1 26 16,-2 0-56-16,-6 1-36 0,-8 1-31 15,-4 0-28-15,-2 3-34 0,0 1-35 0,-5-1-20 16,-5 2-16-16,3-1-41 0,-4 2-90 0,-3 1-107 16,0 1-253-1,-4 2-200-15,-3 0 46 0,0-1 161 0,-1 3 26 0,-3 0 79 0</inkml:trace>
  <inkml:trace contextRef="#ctx0" brushRef="#br0" timeOffset="103072.68">21168 3699 1292 0,'-20'9'399'0,"5"-4"-40"0,3 1-119 0,0 0 1 15,2 2-29-15,0-2-14 0,3 2-17 16,-1 1-30-16,5-2 8 0,-2 1 18 15,3 1-14-15,2-1-40 0,0 0 31 0,2 2-11 16,3-1 29-16,0 2-26 0,1-2 2 16,1 1 11-16,0-3-16 0,-1 3-5 0,1-2 16 15,-2 0-21-15,1-3 54 0,-3 2 20 0,-1 0-7 16,0-1-26-16,-2 1-13 0,0-1-20 16,-2 3-8-16,-1-2-25 0,-4 1 2 15,-1-1-21-15,-2 3-61 0,-1-1-53 0,-1 1-3 16,-1-2-70-16,0 2-47 0,2-4-17 0,-1 0-71 15,2-3-97-15,-1 3-138 0,3-6-70 0,1 3-422 16,2-6 85-16,5 3 71 0,-13-3 67 0,8-1 110 16,2-2 7-16</inkml:trace>
  <inkml:trace contextRef="#ctx0" brushRef="#br0" timeOffset="103356.8">21071 3806 936 0,'18'-9'387'0,"0"2"-47"0,0 1 3 16,-3 2-13-16,3-1-12 0,0 1-95 0,-2 2-6 15,-2-1-2-15,-3 2-13 0,2 1-12 16,-4 0-1-16,-1 4-15 0,-2-3 16 0,-3 4 58 16,-1 0-43-16,1 0 10 0,-3 4-16 0,-3 0-17 15,1 1-31-15,1-2-33 0,-3 2 0 16,1 0-3-16,2 0-26 0,-1-1 14 16,0 1-16-16,2-1-10 0,0 0 22 0,0-1-9 0,0-1-18 15,4 2-13-15,-3-2 15 0,2-1-8 16,1-2-20-16,2 1-2 0,-1-4-11 15,3 1-48-15,2 1 0 0,2-3-8 0,-1-2-41 16,5 1-62-16,0-3-12 0,1-2-31 16,1 1-67-16,0 2-148 0,-3-4-184 15,3-3-425-15,0 3 82 0,-3 0 112 0,1-6 67 0,-1-2 92 16,0 4 44-16</inkml:trace>
  <inkml:trace contextRef="#ctx0" brushRef="#br0" timeOffset="103579.44">21833 3269 1418 0,'0'0'524'0,"0"0"-27"0,-10 6-26 0,9-2-51 0,-2 3-11 0,1 1-20 15,2 2-56-15,-2 5-13 0,2-2-38 0,2 2-57 16,-2 4-8-16,0 0-14 0,2 1-50 0,1-1-40 15,-2 0-75-15,-1 0-28 0,2-2-56 0,-2-1-66 16,2-2-26-16,1 2-88 16,-3-3-147-16,-3 0-150 0,6-2-421 0,-3-2 53 15,0-2 131-15,0-2 74 0,0 1 92 0,-3-4 54 16</inkml:trace>
  <inkml:trace contextRef="#ctx0" brushRef="#br0" timeOffset="103833.22">21668 3477 1295 0,'-4'-4'409'0,"4"4"-15"0,0 0-33 15,4-4-28-15,1 1-13 0,2 1-28 0,1 1-41 16,3 0 18-16,5-2-49 0,-1 1-44 0,5-1-4 16,2 1-26-16,-2 0-59 15,1-2-3-15,-1 2-20 16,0-2-43-16,0 2-39 0,-4-2-62 0,4 2-27 0,-4-1-118 0,2 0-170 15,2 1-483-15,-5-1 72 0,4-1 102 16,-1 0 44-16,2 0 74 0</inkml:trace>
  <inkml:trace contextRef="#ctx0" brushRef="#br0" timeOffset="104054.37">22368 3069 1364 0,'-4'-1'478'0,"4"1"-53"0,-6 4-10 0,4 1-28 0,-1 1-32 16,3 2 78-16,-3 1-70 0,3 3-9 0,0-2-75 16,-2 4-3-16,2 1-102 0,0 0-20 15,-1 1-13-15,1-2-65 0,0 3-32 16,0-1-67-16,-2 2-28 0,2-2-39 0,0-1-66 0,0 1-77 15,0 0-110-15,2-7-120 0,-2 5-484 16,1-1 117-16,1-3 42 0,1-1 127 0,0-2 65 16</inkml:trace>
  <inkml:trace contextRef="#ctx0" brushRef="#br0" timeOffset="104435.61">22640 3121 1484 0,'13'-1'461'0,"-3"0"-3"0,-2 1-51 15,-3 1-97-15,0 1-3 0,0 1-26 0,-3 3-2 16,-1-3 54-16,-1 4-18 16,-3 3-3-16,-2 1 1 0,-2 2-75 0,-3 2-3 0,-4 1-27 15,-1 0-14-15,2 0-22 0,-2-2 7 0,6-1-62 16,-3 0 9-16,2-3-29 0,5-1 26 15,-2 0-5-15,1 0 5 0,4-3-29 0,2 0 4 16,0 0-16-16,2-2-11 0,4-1-12 0,-2 1 23 16,6-2-26-16,1-1 19 0,-1 1-42 15,6-2-5-15,1 0-8 0,-1-2-12 0,1 1-123 16,-1 0-26-16,2 0-20 0,-2-1-8 16,1 0-13-16,-2 2-25 0,-1-3-11 15,-3 3-35-15,-2 0-26 0,-1-2-36 0,2 2-20 16,-3 0-77-16,-4 2-105 0,3-2-431 0,-6 0 83 15,4 3 85-15,-4-3 53 0,0 0 89 0,0 0 85 16</inkml:trace>
  <inkml:trace contextRef="#ctx0" brushRef="#br0" timeOffset="104691.52">22130 3492 1205 0,'-5'-2'451'0,"5"2"-32"0,0 0-12 15,0 0 49-15,14-8-29 0,-5 5-45 0,4-1 2 16,6 0-31-16,3-1-43 0,6-1-13 16,15-1-16-16,1 0-50 0,3-1-14 0,2 1-2 15,-4 1-46-15,4-2 5 0,-3 3-20 0,0 0-85 16,-2-1-10-16,-1 0-31 16,-7 1 23-16,-8 2-12 0,-2 0-16 0,-3 0-41 15,-3 1-10-15,-2 1-21 0,-5 0-25 16,3 0-31-16,-6 0-18 15,0 1-26-15,-2 0-22 0,-3 1-26 0,0 1-62 0,-5-2-155 0,-2 9-121 16,-1-2-410-16,-2-1 121 0,-3 1 15 0,2 3 74 16,-6 1 103-16,0 1 28 0</inkml:trace>
  <inkml:trace contextRef="#ctx0" brushRef="#br0" timeOffset="105095.96">22722 3663 1338 0,'-5'-7'451'0,"5"7"-31"16,-11 0-3-1,1 0-74-15,-2 2-41 0,-4 3-13 0,1-3-30 0,-5 4-11 0,1 1-102 0,-3 2-36 16,1-2 13-16,3 1-23 0,2-1-1 15,1-1-12-15,5 1-15 0,0 2-11 0,2-2 16 16,3-1-18-16,2 2 8 0,1-3 20 16,2 2 7-16,4-1 11 0,0 1 3 0,2 0-13 15,2-1 2-15,0 4 18 16,1-6-18-16,1 1 93 0,0 0-26 0,0 0-16 0,1 1-5 16,-1 0 1-16,-3-4-6 0,1 3-20 0,-1-2 10 15,-1 2-26-15,-1-1 13 0,-3 2-112 16,1-3-6-16,-3 3 19 0,-3-1-1 15,0 1-20-15,-4 0-3 0,0 1-30 0,-4 1-29 0,3 1-53 16,-7-1 0-16,5-1-60 16,-3-1-42-16,0 2-62 15,0-3-42-15,3 1-160 0,-3-2-59 0,3-1-438 0,2 0 82 0,3-3 125 16,-2 0 96-16,7 0 35 0,-9-6 69 16</inkml:trace>
  <inkml:trace contextRef="#ctx0" brushRef="#br0" timeOffset="105391.98">22704 3704 895 0,'13'-2'433'0,"-3"0"-11"0,-2 2-94 0,0 1-16 0,-3 0-10 0,-5-1-7 0,5 5-4 0,-2 0 63 16,-3-2-39-16,-1 6-21 0,-4-1-18 0,2 3 6 16,-1-2-39-16,1 1-7 0,-2-1-34 15,1 0 13-15,0-2-31 16,2 1-12-16,0 0-34 0,1-2 21 15,1 0-16-15,0-1-28 0,1 0 18 0,1-3-38 0,4 2-21 0,-2-4 11 16,4 1-9-16,-1-2-81 0,4 1 5 16,0-4-41-16,1 2 3 0,3-2-24 0,1 1-7 15,1-1-30-15,1-1-12 0,0 2-34 16,-2 0-17-16,-1 0-7 0,-1 0-23 16,-3 2-25-16,0 0-37 0,1 0-73 0,-2 2-93 0,-1-6-10 15,-1 8-489-15,2-2 54 16,-2 0 169-16,-1 1 25 0,0 1 52 0,-1 0 71 15</inkml:trace>
  <inkml:trace contextRef="#ctx0" brushRef="#br0" timeOffset="106872.99">23165 3246 1305 0,'-4'-1'468'0,"4"1"-66"0,0 0-36 0,0 0-7 0,0 0-114 0,0 0-32 16,0 0-34-16,20 1-13 0,-7-1-12 0,2 0-39 16,1-2-15-16,2 2-46 0,4-3-59 15,-1 0-16-15,2 0-30 0,-1 1-54 0,-3 0-77 16,-1 2-76-16,-2 0-65 0,-2-3-63 0,-5 4-354 16,-2 1 51-16,-4-1 67 15,-1 2 72-15</inkml:trace>
  <inkml:trace contextRef="#ctx0" brushRef="#br0" timeOffset="107013.96">23258 3320 852 0,'-1'1'271'0,"1"-1"11"0,0 0-34 0,0 0-48 15,0 0-13-15,0 0-16 0,15 2-17 16,-9-3-11-16,4 1-41 16,1-1-30-16,-1 1-51 0,3 0-50 0,-2-1-88 0,1 1-63 0,-2-4-78 15,1 4-418-15,-1 0 26 0,-2 0 141 16</inkml:trace>
  <inkml:trace contextRef="#ctx0" brushRef="#br0" timeOffset="107822.38">22640 3158 913 0,'-3'-4'290'0,"3"4"-29"0,0 0-16 31,0 0-4-31,0 0-11 0,0 0-12 0,0 0-100 0,0 0-11 0,0 0 11 0,11-1 0 0,-11 1-16 16,7-1-5-16,-7 1-2 0,8-2-8 15,-6-1-20-15,1 1 22 0,2 1-7 16,-5 1-13-16,3-6 8 0,-1 4-3 0,0-3 16 16,-1 2-24-16,-1 3-14 0,0-7 24 0,0 1 65 15,-3 3-15-15,1-1-24 0,-1 0 0 16,-2 0-22-16,2-2 7 0,-4 1-36 0,2 0-41 15,-1 2-41-15,-1-1-12 0,0-1-57 16,-3 4-51-16,4 0-74 0,1 0-80 0,5 1-28 16,-13 1-265-16,8 1-204 0,3 1 155 0,-2 0 4 15,2 1 62-15</inkml:trace>
  <inkml:trace contextRef="#ctx0" brushRef="#br0" timeOffset="110035.85">21306 2778 926 0,'-12'3'310'0,"7"-2"-31"15,-2 5 5-15,1 0-43 0,-2 0-3 0,1 2-16 16,-1-1-27-16,2 3-19 0,-1-1-22 16,0 2 10-16,1 0-46 0,2-1 17 0,-2 1-35 15,3 0-5-15,1 1-24 0,-3-1 29 16,4-2-33-16,1 2-3 0,-2-3-8 0,4 1-7 16,-2 0-16-16,1-1 0 0,1-1-35 0,1 0-21 15,0 0-31-15,2-2-18 0,-2-1-48 16,1 1-64-16,2-2-72 0,1 0-33 15,-2-2-47-15,1 0-414 0,1 1 51 0,-7-2 65 16,13 0 50-16</inkml:trace>
  <inkml:trace contextRef="#ctx0" brushRef="#br0" timeOffset="110315.07">21386 2813 1141 0,'0'0'376'0,"0"0"-33"15,0 0-35-15,0 0-22 0,-4 12-14 16,2-6-42-16,0-1-23 0,0 1-33 16,0 2-7-16,0 0-34 0,-2 0-28 0,2-1-23 0,-1 2-31 15,1-1-8-15,-3-1-45 16,4 2-39-16,-1-2-62 0,0 0-42 0,2-1-50 15,-3-1-35-15,3 1-236 0,0-2-307 0,0 0 148 16,3-2 6-16,1 1 71 0</inkml:trace>
  <inkml:trace contextRef="#ctx0" brushRef="#br0" timeOffset="110589.88">21514 2838 808 0,'-8'1'261'0,"-1"1"-7"15,0-2-31-15,-3 3-26 0,2 0-10 0,0 2-6 0,1-1-17 0,-3 2 8 0,2-2-1 0,2 1-10 16,0-1-20-16,1 3-3 0,-1-4-7 16,2 2-24-16,0 1-14 0,0-1 4 0,4 0-13 15,-1 0-7-15,0 0 15 0,1-2-25 16,0 0 15-16,2 2 43 0,0-5-25 0,2 6 5 15,0-2-5-15,2-2-49 0,-4-2-49 0,6 2-2 16,-2 1-38-16,2-2-44 0,-6-1-66 0,8 1-65 16,-8-1-76-16,10-1-113 15,-4 1-394-15,-6 0 97 0,11 0 59 0,-4-1 72 0</inkml:trace>
  <inkml:trace contextRef="#ctx0" brushRef="#br0" timeOffset="111201.25">21572 2929 806 0,'0'0'233'0,"-1"-7"-3"16,1 7 3-16,0 0-3 0,-3-4-15 0,3 4 67 15,0-5-31-15,0 0-26 0,0 1-12 16,3 0-4-16,-2 1-37 0,-1 3-11 0,1-9 8 16,0 5-26-16,1-1-17 0,-2 1-19 0,4 0-4 15,-3-1 20-15,2 2-34 0,1-2-22 16,-3 3-6-16,2-1-17 0,1 1 27 0,-4 2-22 16,6-4 5-16,-6 4 5 15,0 0-21-15,7 0 24 0,-7 0-42 0,6 5 21 0,-6-5-13 16,2 4 3-16,-2-4-11 0,4 6-9 15,-3-3 14-15,-1 1 14 0,0-4-14 0,0 0-4 16,0 6 4-16,0-6-15 0,0 0 8 16,0 3 0-16,0-3-5 0,0 0-3 0,0 0 18 15,0 0 6-15,0 0-24 0,0 0 3 16,0 0-11-16,0 0-14 0,0 0 17 0,0 0 0 16,11-9-15-16,-9 6 15 0,-2 3 7 0,5-3-1 15,0 0-6-15,-5 3 5 0,8 0 13 16,-8 0-15-16,0 0-11 0,10 0 16 0,-7 3 10 15,-3-3 8-15,5 3-24 0,-3 0-14 0,-1-1 35 16,1 2-23-16,-2 0 0 0,0-4 13 16,0 8 13-16,-2-5-16 0,1 1-17 15,-4-1-4-15,3 3-4 0,-1-2-8 0,-2 2 3 16,2-3-59-16,-4 2 5 0,2-1-54 16,2-1-51-16,-2 0-87 0,5-3-154 0,-10 0-512 15,4 2 129-15,2 0 76 0,4-2 74 16,-8 0 49-16,8 0 46 0</inkml:trace>
  <inkml:trace contextRef="#ctx0" brushRef="#br0" timeOffset="111342.6">21688 2703 1057 0,'0'0'402'0,"14"4"-6"0,-7 2-37 16,1 0-21-16,2 0-31 0,0 4-49 0,1 1 14 15,-1 0-42-15,0 1-25 0,-2 1-8 16,-2-1-33-16,-2 2-31 0,-4 0-33 0,0 2-47 16,-2-1-55-16,-4 3-26 0,0 5-100 15,-2-3-154-15,-6 1-117 0,4 1-464 0,0-3 98 16,-3 2 81-16,2-3 152 0,-3 1-44 0</inkml:trace>
  <inkml:trace contextRef="#ctx0" brushRef="#br0" timeOffset="111583.75">21506 3015 394 0,'0'0'10'0,"0"0"-171"0</inkml:trace>
  <inkml:trace contextRef="#ctx0" brushRef="#br0" timeOffset="112847.11">22415 3255 1144 0,'0'0'381'15,"0"0"-28"-15,0 0-15 16,0 0-38-16,0 0-65 0,0 0 19 0,0 0-42 0,0 0-12 0,0 0-26 15,0 0-18-15,0 0 10 0,0 0-56 16,0 0 0-16,0 0-15 0,0 0 2 0,0 0-10 16,0 0-7-16,0 0-16 0,0 0-16 15,0 0-12-15,0 0 3 0,0 0-4 16,0 0-6-16,0 0 14 0,0 0-33 0,0 0 6 16,0 0-3-16,0 0-31 0,0 0 5 0,2 4-23 15,-2-4 5-15,0 0 21 0,0 0-13 16,0 0-8-16,0 0 6 0,0 0-11 0,0 0 28 15,0 0-15-15,0 0 0 0,0 0-13 16,0 0 13-16,0 0-2 0,0 0-16 16,0 0 7-16,0 0 32 0,0 0-26 0,0 0 15 0,0 0 21 15,0 0-26-15,0 0 2 0,0 0-7 16,0 0 5-16,0 0 26 0,0 0-11 0,0 0-20 16,0 0 11-16,0 0 12 15,0 0-23 1,0 0 5-16,0 0-5 0,0 0-18 0,0 0 10 0,0 0 26 0,0 0-8 0,0 0 5 15,0 0 11-15,0 0-1 0,0 0-4 0,0 0 10 16,0 0-14-16,0 0-24 0,0 0-11 0,0 0-8 16,0 0-30-16,0 0-62 0,0 0-59 15,0 0-45-15,0 0-22 0,0 0-88 16,0 0-375-16,0 0 57 0,0 0 74 0,0 0 36 16</inkml:trace>
  <inkml:trace contextRef="#ctx0" brushRef="#br0" timeOffset="113211.02">22476 3269 924 0,'0'0'353'0,"0"0"-28"0,0 0-77 0,0 0-48 16,0 0-65-16,0 0-53 0,0 0-112 0,0 0-88 15,0 0-207-15,0 0-343 16,0 0 89-16</inkml:trace>
  <inkml:trace contextRef="#ctx0" brushRef="#br0" timeOffset="113912.64">24105 2959 1126 0,'0'0'361'0,"0"0"-39"0,0 0-15 0,0 0-33 0,0 0-13 16,-6 13-28-16,6-2-15 0,-3 1-19 16,-1 3-19-16,0 1-17 0,0 2-35 15,-4 2 54-15,0 1-33 0,1 1-47 0,-1-1-76 0,0-2-57 16,-2 3-38-16,2-1-164 15,3-7-90-15,-1 2-468 0,-1-1-10 0,3-3 123 16,1 0 94-16,3-2 34 0</inkml:trace>
  <inkml:trace contextRef="#ctx0" brushRef="#br0" timeOffset="114252.68">24314 3000 1290 0,'2'-5'455'0,"-2"3"-96"0,0 2-42 0,0 0-33 16,-10 15-36-16,3-4-7 0,0 2-8 0,-3 5 36 16,-1 1-13-16,-2 2-8 0,-2 9-120 15,5-6-31-15,0-4-10 0,3 0-5 16,0-3 10-16,3 1-28 0,1-6 0 0,3 1-5 16,0 0 13-16,2-3-6 0,-1-2 1 15,1 1-8-15,-2-3 38 0,5 1-7 16,-3-3-8-16,0-2 17 0,-1 1 19 15,-1-3-21-15,0 0 6 0,0 0-11 0,0 0 10 0,0 0-7 16,5-10-13-16,-5 10-13 0,-5-7 77 0,2 4-36 16,-2 0-18-16,0 1-18 0,-1-1-35 15,0 1-52-15,-2 1-38 0,0 1-26 0,0-3-23 16,8 3-59-16,-13 2-30 0,8-1-46 0,0 0-129 16,5-1-143-16,-5 2-481 0,5-2 62 0,0 0 122 15,0 0 100-15,0 0 46 16,21-6 72-16</inkml:trace>
  <inkml:trace contextRef="#ctx0" brushRef="#br0" timeOffset="114432.41">24466 3179 1113 0,'0'0'399'0,"5"4"-10"0,-5-4-7 0,-3 7 50 16,1-1-22-16,-1 2-1 0,-3 2-145 16,-4 3-13-16,-2 5-8 0,-4 0-2 0,-4 10-44 15,-3 3 25-15,-8 10-63 0,0-4-31 0,1 1-13 16,-4-1-38-16,1 2-46 15,2-1-95-15,2 3-79 0,-3-4-111 0,9-8-209 16,-1 2-512-16,3-1 158 0,-1 0 29 0,4-5 97 16,3-4 56-16,3-3 38 0</inkml:trace>
  <inkml:trace contextRef="#ctx0" brushRef="#br0" timeOffset="114800.52">24298 3681 1126 0,'0'0'407'0,"0"0"-41"0,0 0-33 0,-12 0-19 0,12 0 22 0,-15 6-29 15,7-2-28-15,0 0-18 0,-2 1-33 16,4 2-23-16,0-2-116 0,2 2-7 0,0 2 3 15,3-3-11-15,0 3-13 0,1-1-2 0,2 0 5 16,0 3-3-16,3-1 9 0,-2 0 42 16,1 3 24-16,-3-2-31 0,2 0 15 15,1 1-2-15,-2-2-13 0,-2 2 23 0,0-2-18 0,-4 2 23 16,-1 1-38-16,0-1 12 16,-3 1-12-16,0-1-21 15,-2 0-18-15,-1-2-33 0,-1 1-30 0,-1 2-47 0,-2-3-30 16,2-3-52-16,1 3-69 0,1-4-51 0,1 2-143 15,-3-5-190-15,6 1-340 0,1-3 77 16,2-2 71-16,4 1 57 16,-8-4 84-16,8-2 56 0</inkml:trace>
  <inkml:trace contextRef="#ctx0" brushRef="#br0" timeOffset="115050.13">24292 3750 977 0,'20'-10'438'0,"-5"7"-57"0,1-1 6 0,-1 2-85 0,-1 2-10 16,-2 1 5-16,0 1 69 0,-1 3-28 0,-2 0-6 15,-2 2-99 1,-5 0-20-16,0 1-1 0,0 3 6 0,-6 0-29 0,1 1-7 0,-2 1-28 16,2-1-9-16,-4-2 19 0,5 1-38 15,-1 0-16-15,0-3-5 0,3-1 0 0,0 2-41 16,0-2 7-16,5-1-12 0,0-3-18 0,3 1-28 16,0-3-8-16,6 0-41 0,-3 2-28 0,4-3 10 15,-2 0-43-15,3 0-15 16,-3 0-37-1,-1 0-38-15,1 1-43 0,-2 2-223 0,-1 0-62 0,-3 0-452 0,-1 1 114 0,-1 1 60 16,-4 2 155-16,-2-1 47 16,-4 2 31-16</inkml:trace>
  <inkml:trace contextRef="#ctx0" brushRef="#br0" timeOffset="115503.66">23853 4265 1182 0,'0'0'492'0,"0"0"-42"0,0 0-12 0,0 0-77 16,28-8-31-16,-11 4-10 0,7-4-59 16,12-3 15-16,5 2-63 0,7-1-11 0,12-4 0 15,-9 4-38-15,14 0-13 0,-4-2-43 16,-10 5-39-16,-2 2-3 16,-6-2-43-16,-7 4-66 0,-11 0-54 15,-6 3-52-15,-4 0-86 0,-6 0-34 0,-7 0-59 0,-2 0-20 0,-14 8 2 16,-3-1 9-16,-9 3 42 15,-15 2 32-15,-16 7 9 0,-2-3 37 0,-3 3 76 0,-7 0 54 16,-3 3 77-16,-4-2 76 16,-1 2 80-16,0-2 23 0,7-2 0 0,4 1 102 15,10-4-12-15,15-4-16 0,12-3-26 0,4-1-12 0,7-2 0 16,9 0-10-16,2 0 12 0,3-5-79 0,4 0-15 16,0 0 45-16,23 2-12 15,0-4-13 1,10-2 11-16,18 1-19 0,3-1-12 15,15-2-3-15,3 1-16 0,3 1-19 0,-3 0-11 0,1-1 7 0,-13 4-12 0,-2 0 3 0,-4-3-11 16,-3 4-15-16,-12 0-42 0,-5 0-24 16,-9 4-50-16,1-4-27 0,-5 0-1 0,-1 0-35 15,-7 1-49-15,3 0-41 0,-6 3-56 0,-3-4-82 16,-2 3-131-16,-1-1-409 16,-3 0 140-16,-1-2 29 0,0 7 84 0,-3-3 67 0</inkml:trace>
</inkml:ink>
</file>

<file path=ppt/ink/ink2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8T16:15:00.807"/>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C00000"/>
    </inkml:brush>
    <inkml:brush xml:id="br2">
      <inkml:brushProperty name="width" value="0.05292" units="cm"/>
      <inkml:brushProperty name="height" value="0.05292" units="cm"/>
      <inkml:brushProperty name="color" value="#00B050"/>
    </inkml:brush>
  </inkml:definitions>
  <inkml:trace contextRef="#ctx0" brushRef="#br0">6657 2239 1354 0,'0'-3'414'0,"0"3"-30"16,-2-5-25-16,2 5-34 0,-6-3-115 16,6 3-1-16,-7 0-45 0,7 0 3 0,-16 4-21 15,8-2-11-15,-2 3-25 0,0-1-2 16,2 0-6-16,1 0-20 0,-1-1 5 0,3 1-25 15,-3-1 7-15,3 1-8 0,0 0-33 0,2-2 13 16,1 2-2-16,1-1-1 0,1-3-5 16,3 7-7-16,2-3-3 0,0 1 26 15,-1-2-32-15,3 3 12 0,0-2-17 0,3 1 11 0,1 0-5 16,-1 0-7-16,3 1-4 0,-5 1 9 16,5-2-6-16,-3 1 10 0,0 1-27 15,-2-1 30-15,2 0 25 0,-3 1-35 0,-1-1 51 16,-3 2-43-16,2 0 14 0,-3 0 12 0,-2 0-22 15,0 1 54-15,-2-3-15 0,-1 3 6 0,0-3-12 16,-2 2-4 0,0 0 5-16,-3-1 13 0,1-1-36 0,-1 0-11 0,0 0 3 15,0-4 6-15,-2 3-6 0,0-2-13 0,0 0-20 16,2-2-23-16,-2 2-23 0,0-1-1 0,2-1-35 16,-2 0-28-16,2 0-13 0,0-1-59 0,8 0-56 15,-15-1-110-15,8-1-123 0,3-1-392 0,0 1 62 16,1-2 117-1,0 1 37-15,1 0 73 0,2-4 98 0</inkml:trace>
  <inkml:trace contextRef="#ctx0" brushRef="#br0" timeOffset="425.72">6793 2142 1031 0,'0'0'440'15,"0"0"-25"-15,8 9-41 0,-6-3-31 0,1 1-18 16,-1 1-33-16,1 2-19 16,-1 2-17-16,1-1-48 0,-1 3-16 0,1 0-34 0,0 0 1 15,-1 1-13-15,-2 0-28 0,2 0-3 0,-1 0-5 16,1-1-13-16,-1 0-35 0,1-4 30 16,-2 0-5-16,0-1-33 0,0 1 38 15,2-2-28-15,-2-2 13 0,0 0 35 16,3-3-7-16,-3 1-2 0,0-4 17 0,0 0-23 0,3 2-7 15,-3-2-34-15,0 0 34 0,10-12-16 16,-8 7-13-16,3 0-12 0,-1-3-67 0,3 2 15 16,-2 1-30-16,3-2 15 0,-4 3 29 15,4 0-27-15,0 1 8 0,-3 0 29 0,3 3-13 16,0 0-19-16,0 3 50 0,-1-2-16 0,3 1-13 16,-2 2-12-16,0 0 45 15,0 0 52-15,-1 2-8 0,0 0-28 0,-1-1 5 0,-2 0-23 16,2 0-39-16,-1 0-27 0,1 1-29 15,-2-1-61-15,-1-1-3 0,4 0-59 0,-3-1-38 0,3-2-66 16,-2 0-114-16,0-1-145 16,3 0-396-16,2-1 70 15,-2-2 52-15,2 2 128 0,1-3 39 0,-1 0 109 0,2-1 24 0</inkml:trace>
  <inkml:trace contextRef="#ctx0" brushRef="#br0" timeOffset="883.23">7221 2279 980 0,'-3'-4'345'0,"1"0"68"0,-3 2-24 0,0-1-54 15,0 1-69-15,-3 0-12 0,0 2-32 16,0-1-2-16,-2 2-23 0,0 0-25 0,2 0-1 16,1 1-9-16,-3 2-32 0,2-2-2 15,2 1-30-15,-1 2 22 0,1-1-43 0,2 0-6 0,-1 0 16 16,2 0-18-16,3 1-28 0,0-2 11 16,0-3-6-16,2 8 10 0,4-4-2 15,-1-1-18-15,3 0 5 0,2 3 5 0,5-2-16 16,-5 0 39-16,5 1-43 0,1-1 28 0,2 1-29 15,0 0 21-15,-3 2 31 32,0-4-33-32,-2 3 2 0,0 1-5 0,-2-2-18 0,1 1-8 0,-2-1 34 0,-2 1-21 0,-3 0 8 0,-2 1-8 15,2-1 13-15,-5-2-16 0,0 1-14 16,0 0 2-16,0-1 4 0,-2 1-6 16,-1-2-1-16,0 0 28 0,-1 0 8 0,4-3-12 15,-6 5 42-15,1-5-40 0,5 0 10 0,0 0 0 16,-13-5-12-16,10 2 30 0,-1-1-31 31,-2-3 11-31,4 2-1 0,-1-5-5 0,1 2-4 0,-1 0-4 0,3-1-9 0,0 0 7 16,3-1 0-16,-3 1-15 0,3-1 5 15,1 2-8-15,-1-2-15 0,4 0-3 0,-1 1-33 0,2 1-5 16,-3 0-28-16,3 0-41 16,-1 2-44-16,1-2-12 0,-1 1-67 0,1 1-52 0,0-1-47 0,-1 0-124 15,-3 2 8-15,5-2-410 0,-1 1 39 16,0-1 94-16,0-1 98 0,1 1 31 0,-1 0 78 15</inkml:trace>
  <inkml:trace contextRef="#ctx0" brushRef="#br0" timeOffset="1069.76">7475 2153 685 0,'5'-5'379'0,"0"3"3"0,-3-2-73 0,1 2 109 0,-3 2-34 15,3-3-11-15,-3 3-14 0,0 0-21 16,0 0-16-16,0 0-79 0,0 0 11 0,0 0-14 0,4 10-45 16,-3-4 12-16,-1 3 8 0,3-1-25 15,-3 1-19-15,0 3 6 0,0 1-29 16,-3 2-7-16,2 0-26 0,0 4-36 0,-2 0-7 0,-2 4-39 15,0 0-33-15,-1 0-61 0,2-4-16 16,-2 3-64-16,2-7-53 0,0 3-16 16,2-6-77-16,0-1-84 0,1-2-161 0,1-3-380 15,1-1 101-15,3-2 74 0,-4-3 102 0,11-2 21 16,-4-1 69-16</inkml:trace>
  <inkml:trace contextRef="#ctx0" brushRef="#br0" timeOffset="1364.07">7695 2205 1336 0,'0'0'402'0,"0"0"-57"15,-18 4-25-15,13 0-10 0,-5 2-6 0,0-1-25 16,0 2-18-16,-4 1 13 16,2 0-20-16,1 3-26 0,-1 0-3 0,2-2 28 0,-1 1-43 0,3-1-20 15,1 0 9-15,2-1-25 16,-1 3-5-16,2-4-13 0,1 1-12 0,0-1-11 0,6 0-31 15,-3-2 11-15,3 1-18 0,-1 1-19 0,3-1 11 16,1-1-30-16,1-2 42 16,1 0-17-16,-1 2-30 0,1-3-11 0,2-1-24 0,0 2-27 15,-2-3-21 1,0 0-30-16,2 1-26 0,-2-2-41 0,2 1-36 0,0-3-35 0,-2 3-39 0,0-1-57 16,2 0-43-16,-2 0-76 0,4 1-16 15,-3-2-456-15,3 2 28 16,1 0 126-16,0 0 110 0,2 0 29 0,-2 0 45 0</inkml:trace>
  <inkml:trace contextRef="#ctx0" brushRef="#br0" timeOffset="2305.69">8290 2280 1144 0,'0'-5'494'0,"0"1"-3"0,0 4-71 0,-2-7-21 0,1 4-63 0,-3 2-1 0,4 1-10 0,-10-2-43 16,2 4-37-16,0-1-14 15,0 2-32-15,-2 2 6 0,-1 1-26 0,1-1-41 0,0 2-7 16,-1 2-3-16,-1 1 0 0,2 0-31 0,-1 1-17 15,1-1 2-15,2-1-21 0,1 2-10 16,0-3-2-16,3 1-24 0,2-1-4 0,0-1 4 16,2-2-9-16,2 1-6 0,0-4-25 15,4-1 4-15,-6-1 1 0,12 0-15 0,-4-2 4 0,2-2-2 16,1 1-8-16,-1-2 29 16,0-1 2-16,1 1 0 0,-1-3-13 0,0 1-20 0,-2 1 12 31,0-1-2-31,-1 2 18 0,-1 1 3 0,1 1-21 0,-5 0 15 0,4 3 16 0,-6 0-1 15,0 0 14-15,10 2-42 16,-10 1 21-16,3 1 0 0,-1-1 10 0,0 1-25 0,-1 0 28 16,4 1-34-16,-3 0 14 0,1 1-9 15,2-3-14-15,0 1-6 0,0-1 8 0,0-2-3 16,3 1-2-16,0-2 20 0,0-1-18 0,2-1 36 16,-3-1 13-16,4-2-5 15,-1 1 10 1,0-3 18-16,3 0 0 0,-3-2 36 0,0-1 5 0,1-1 2 0,-1-2-10 15,0-2 18-15,-2 0 3 0,0-1-33 0,-3-3 12 0,0-2-5 16,2 0-8-16,-1-2-20 0,-2 5 31 0,0-1 7 16,-2 2-15-16,0 4-5 0,1 1 18 15,0 1-33-15,-1 3 25 16,-2 0-28-16,1 4-6 0,-1 3 27 0,0 1-42 0,0 0 24 16,0 0-21-16,-6 15 115 0,4-4-41 0,-1 4 3 0,1 3-33 15,-2 3 2-15,2 3 13 0,0 2-41 16,2 1-16-16,-3-2-12 0,6 2-51 15,-3 0 22-15,2-6 1 0,1-1-26 0,2 1-10 16,0-6-18-16,0 2-13 0,0-5-15 0,3-2 35 16,0-1 6-16,0-4-3 0,-1-2-10 0,3-3 28 15,1 0 0-15,-1-2 8 0,3-2 17 16,-1-3-9-16,-1-1 7 0,4-5 18 0,-2 1-8 16,-1-4 21-16,-1-3 18 0,-1-1-1 0,0-2 4 15,-2 0 9-15,0-3-27 0,0 1 24 16,-3-1 1-16,2 1-7 0,-4 5 37 0,2 0-27 15,-2 6 12-15,-1 0 8 0,0 0 3 0,-2 5-21 16,1 0 15-16,-1 4-22 0,-1 1 2 16,1 3-8-16,0 0-10 0,-10 9 26 0,6-3-8 15,-2 5-41-15,1 1 0 0,0 4 0 0,2-1 0 16,1 2 0-16,0 0 0 0,2-2 0 0,2 1 0 16,-2-2 0-1,3 1 0-15,2 0 0 0,0-1 0 0,2-2 0 0,-2-1 0 31,1-3-26-31,-1 0-110 0,2-1-20 0,1-4-46 0,-3 0-31 0,0 0-23 0,1-2-38 0,-1-1-106 16,3-6-286-16,-4 5-335 0,-1-2 110 16,2 1 38-16,-5-3 172 0,2 2 25 0,-2-2 54 15,-4-1 105-15</inkml:trace>
  <inkml:trace contextRef="#ctx0" brushRef="#br0" timeOffset="2558.57">8334 2247 1479 0,'0'0'443'0,"0"0"-36"16,0 0 20-16,0 0-33 0,15 4 54 15,-2-5-23-15,2 1-5 0,3-3-33 0,5 1-44 0,8 0-29 16,10-4-32-16,3 1-16 0,-1 1-35 16,1-2-6-16,-3-1-61 0,-8 2 15 0,-2 2-18 15,-1-1-48-15,-9 1-11 0,3-1-40 16,-4 3-34-16,-5-3-31 0,-2 2-69 0,0 1-53 15,-3-1-23-15,-2 2-70 16,-1 0-69-16,-1-1-186 0,-4 2-579 0,0 2 169 0,-1 2 0 0,-1-5 84 16,-3 7 80-16,1 0 122 0,-1-2 16 0</inkml:trace>
  <inkml:trace contextRef="#ctx0" brushRef="#br0" timeOffset="3914.19">9023 2253 1308 0,'-2'-6'453'0,"2"6"-23"0,-5-5-41 16,2 2-41-16,3 3-33 16,-7 0-44-16,7 0-10 0,-9 0-49 0,2 2 4 0,0 1-25 15,-1 0-14-15,0 2-34 0,0-1-9 0,1 1 6 16,-1 3-24-16,0-2-22 16,0 2 16-16,1-1-25 0,0 0-3 0,4 0-29 0,-3 0 9 15,2-1-6-15,1-1-20 0,2 1-8 0,-1-1 5 16,2-1-2-16,2 0-5 15,-1-1-13-15,4-2 15 0,-5-1-23 0,8 1-3 0,-1-2 19 16,1 0-13-16,-2-2 7 0,4 1 5 16,-3-2-7-16,0 0 0 0,4-1 0 0,-5 1-23 0,1 0 4 15,0 2 4-15,1-2 15 0,-2 1-1 16,-2 2-27-16,-1-1 20 0,-3 2-2 16,8-2-3-16,-8 2 0 0,0 0-8 0,7 4-5 15,-7-4 13-15,3 4-7 0,-3 0-9 0,2-2-17 16,-2-2 20-16,3 7-12 0,-2-4-16 15,1 0 18-15,-2-3-8 0,4 5-10 0,2-3 10 16,-3 0-23-16,2-1 16 0,0 2-8 0,2-2 18 16,-2-1-3-16,1 1-18 0,2-1 32 15,-8 0-27-15,10 0 11 0,-5-1 2 0,2 1 21 16,-1-1 17-16,-1-2-9 0,2-1 4 16,-2 2-14-16,3-2 37 0,-2 0-17 0,-2-1 12 15,2-1 29-15,-1 2-23 0,0-2 10 16,0 1 4-16,0-1 14 0,-2 0-8 15,2 0 0-15,-2-1 18 0,1 1-7 0,-1 0-24 0,0 2 10 16,1-3 11-16,-3 4-18 0,1-3 10 31,1 3-20-31,-1-1 12 0,-1-1 6 0,1 4-26 0,1-4 23 0,-1 2-16 0,-2 3 11 0,1-3-18 16,-1 3 15 0,2-6-10-16,-2 6 5 0,0 0-12 0,0-2 4 0,0 2-28 0,0 0 24 15,0 0 2-15,0 0-11 16,0 0 6-16,0 0-13 0,0 0 21 0,0 0-34 0,0 0 5 0,0 0 6 15,0 0 20-15,0 0-18 0,0 0 7 16,0 0-2-16,0 12-12 0,0-12 7 0,0 0-23 16,-2 4 38-16,2-4-2 15,0 0-13-15,0 0 2 0,0 6-7 0,0-6 28 0,0 0-20 16,0 0-3-16,-1 3 10 0,1-3-5 16,0 0-7-16,0 0 14 0,0 5-9 0,0-5-18 15,0 4 20-15,0-4-10 0,-2 5-16 16,2-5 14-16,-3 5 4 0,3-1-7 0,0-1 10 0,0-3 10 15,0 7-10-15,0-4-13 16,3 1 23-16,-1-1-17 0,-2 1 7 0,3 0-23 0,-1-2 33 16,1 3-13-16,-1-3 1 0,3 2 9 0,-2-2-14 15,2 1-21-15,1-3 20 16,-1 1 3-16,-5-1-3 0,15-1 11 0,-8 1-31 0,4-3 20 16,-1-1 10-16,-2 1-4 15,2-3-6-15,0 0 18 0,0 0-33 0,-2-2 21 0,2 0-14 0,-2-3 11 31,2-1 5-31,-5-1 8 0,3-1 18 0,0-2-31 0,-3-1 30 0,0 2 14 16,-2-2-9-16,2 0 11 0,-2 6 10 0,2-2-7 16,-3 2-1-16,0 3 34 15,-1-1-20-15,1 2 4 0,1 0-23 0,-3 2 16 16,2 4 2 0,-2 1-15-16,0 0-46 0,0 0 46 0,3 11-18 0,-1-6-13 0,-2 4 39 0,3 3-46 0,0 0 22 15,-1 1-7 1,0 2-36-16,2 3-25 0,0-2-60 0,-1 2-22 0,2-1-54 15,-2 0-36-15,2-4-46 0,-3 3-41 0,-1-4-67 32,1 1 16-32,0-4-139 0,1 1-273 0,0-3-21 0,-3-2 8 0,2 0 74 0,-2-2 92 15,0-3 21-15</inkml:trace>
  <inkml:trace contextRef="#ctx0" brushRef="#br0" timeOffset="4122.66">9356 2239 852 0,'0'0'358'0,"-2"-5"1"0,2 5-29 0,2-6-10 0,-2 6 64 0,6-4-29 16,-3 2-19-16,1 0-19 0,4-1-40 0,0 1-29 0,2-1-5 15,0 0-25-15,1 1-6 16,1-1-15-16,2 1-51 0,0 0-36 0,-1-1-41 16,1 1-28-16,-2 1-48 0,1-2-29 15,0 2-79-15,-3 1-131 0,-3 0-243 0,4 0-404 16,-1 1 104-16,0-1 9 0,-2 3 96 0,0-2 75 15,2 0 61-15</inkml:trace>
  <inkml:trace contextRef="#ctx0" brushRef="#br0" timeOffset="12355.22">2781 2445 1213 0,'0'0'491'0,"0"0"-104"0,0 0-34 15,0 0-25-15,0 0-52 0,0 0-20 16,-3 19 3-16,3-11-26 0,3 1-29 0,-3 1-25 16,0 0-28-16,2 1-10 0,-2 3-15 0,0-1-21 15,0 0-41-15,2-1-49 0,-2 1-5 16,0 0-28-16,0 0-46 0,-2-2-30 0,2 0-52 16,0-1-133-16,-5 1-123 0,4-2-430 0,-1-2 115 15,2-2 13 1,-2 0 80-16,2-2 53 0</inkml:trace>
  <inkml:trace contextRef="#ctx0" brushRef="#br0" timeOffset="12513.05">2773 2394 1231 0,'-3'-5'399'0,"3"2"-61"0,-3-1-74 15,3 4-83-15,-2-4-63 0,2 4-100 0,0 0-149 0,2-4-363 16,-2 4-133-16,0 0 18 0,0 0 97 0</inkml:trace>
  <inkml:trace contextRef="#ctx0" brushRef="#br0" timeOffset="13020.98">2975 2358 1118 0,'0'0'448'0,"0"0"-38"0,-10 1-24 0,2 2-48 16,3 2-39-16,-2 0-17 0,1 4-26 0,-4 1-8 15,2 2-5-15,1 1-43 16,-3 3-18-16,2-1-21 0,0 4-10 0,1-2-23 16,1 0-5-16,-1-2-10 0,4-1-19 0,1 1 4 15,-1-1-22-15,3 0-12 0,0 1-2 16,2-1-11-16,1-2-8 0,0 0 14 0,2-4 9 15,0 3-25-15,5-5-2 0,-2 2 86 0,2-4-28 16,3-1-4-16,-3-1-19 0,3 0 10 16,0-6-81-16,2 1 30 0,1-2-30 0,1-2-1 15,-1-3 8-15,-1 1-33 0,1-2 13 0,-3-3-5 16,-1 3-8-16,-1-1 10 0,-1-2 18 16,-2 1 0-16,0 1 3 0,-1 0-6 15,-4 1 39-15,1 0-5 0,-1 4 3 16,0-1-1-16,-3 2 29 0,0 0-14 0,0 2-4 0,-3 1-11 15,3 3 3-15,-5-1 13 0,5 1-16 0,0 0-17 16,-10 6 28-16,4-2-21 0,4 2-5 16,0 0-5-16,-1 1 5 0,3 1-5 15,-3-1 0-15,3 0-1 0,0 0-11 0,3-1 1 0,-3 1 6 16,2 0-13-16,1 0 8 0,2 2-8 16,-2-3-16-16,2-1-19 0,0-1 17 0,-2 1-34 15,4-2-63-15,-2-1-15 0,1 0-11 0,2-2-72 16,-1 1-17-16,0-1-49 15,1 0-89-15,0-1-119 16,0-1 32-16,-1 0-462 0,3 0 70 0,1-1 133 0,-3 0 84 0,2 2 8 0,3 0 110 16</inkml:trace>
  <inkml:trace contextRef="#ctx0" brushRef="#br0" timeOffset="13828.15">3565 2295 1105 0,'-8'-5'446'0,"3"2"-29"0,-2 1-41 15,1 2-41-15,6 0-15 0,-10 4-35 0,5-1-27 16,-1 1-2-16,-1 1-33 0,-1 3-3 0,1 0-15 16,2 3-44-16,-3 0-15 0,2 1 18 15,-1 2-52-15,0 2 14 16,1-3-14-16,1 3-9 0,0 0-9 0,2-3-19 0,1 1-11 0,-1-1 0 16,1 0-13-16,2 2-13 0,0-2-28 15,2-5 31-15,1 3-7 0,-1-1-9 0,1-1 3 16,3 0 8-16,-2 0 5 0,2-2-38 15,1 0-1-15,-2 0 9 0,1-2-19 0,0 0-10 16,1-2 13-16,0 1-21 0,0-2-10 16,-1-2-15-16,1 1-10 0,1-1-3 0,-8 0 2 15,15-3 21-15,-9 3 3 0,1-4 10 0,-2 2 0 16,0-3 5-16,1 2 5 16,-1 0-15-16,0 1 2 0,-2-3 23 0,2 1-5 0,-2 1 6 15,1-2 7-15,-1 1 0 0,-1 0 10 16,1 0-31-16,-1-2 27 0,2 1-1 0,0 1 7 15,-2-3 4-15,1 2-24 0,2-2 11 16,-4 0 12-16,4 3 11 0,-3-2-8 16,3 1-11-16,0 2-2 0,-2-2 8 0,0 1 5 0,0 1 0 15,1 0 31-15,1 2-44 0,-5 1 8 16,11-1 7-16,-7 1 16 0,-4 0 18 0,10 4-21 16,-3-2-8-16,0 1 14 0,-2 2-3 0,0-1 61 15,0 1 8-15,-3 2-15 0,2-2-14 16,-2 2 1-16,1 0-10 0,-1-2-11 0,-2 0 11 15,3 0 12 1,-3 0-10-16,0 0-10 16,2-3-3-16,-2-2 36 0,0 7-7 0,0-7-93 0,0 3 13 0,0-3-2 0,0 0 22 15,0 0 9-15,0 0-27 0,0 0 21 0,0 0-2 0,-8-11-11 16,8 6-2-16,0 2-8 0,0-3 16 16,-2-1 7-16,4 2-8 0,-2-4-22 15,0 1 12-15,3 2-7 0,0-1-24 0,-1 1 8 16,0-1-22-16,1 1-29 0,2 1 7 0,0-1-12 15,0 3-28-15,1-2-44 0,1 3-18 16,-1-3-22-16,1 2-37 0,0 2-38 16,0-1-64-16,0 1-100 15,-2 1-53-15,2 0-426 0,-2 1 60 0,-5-1 91 0,14 2 83 0,-10 2 43 0,2-2 77 16</inkml:trace>
  <inkml:trace contextRef="#ctx0" brushRef="#br0" timeOffset="14134.52">3983 2489 1420 0,'0'-4'422'0,"2"-2"-99"0,-2 2-16 0,0-1 0 0,-2 1-15 0,2-1-36 0,0 5 26 15,-3-8-39-15,1 6 0 0,2 2-31 0,-3-4-22 16,-2 3-21-16,5 1-8 0,0 0-5 0,0 0-7 15,-13 5-3-15,9-3-16 16,0 3-17-16,-1 0-6 0,0-1-15 0,2 1 6 0,-1 4-22 16,-2-2-12-16,4 0-10 0,-1 0-10 15,0 0-16-15,1-1 3 0,2 1-21 16,0 0 15-16,2 0-14 0,-2-2-45 0,3 0-12 16,0 1 13-1,-1-2-44-15,1-2-12 0,2 1-44 0,-2 0-39 0,2-1-15 0,0-2 8 16,2 0-49-16,-7 0-122 0,16-1-93 0,-8 0-328 15,1 0-15-15,0 1 47 0,1-3 112 0,0 1 30 16,-2 0 57-16</inkml:trace>
  <inkml:trace contextRef="#ctx0" brushRef="#br0" timeOffset="15145.21">4194 2440 1282 0,'-8'-2'435'0,"8"2"0"0,-8 1-74 0,8-1-5 16,-8 5-64-16,3-4 20 15,-3 5-135-15,3-3-16 0,-2 2-8 0,1 2-7 0,1-2-2 16,0 2-16-16,0 1-31 0,-1 1-10 16,1 0 10-16,0-1-5 0,3 0-17 15,-1 0-19-15,1-2-2 0,-1 1 12 0,3-1-9 16,-2 0-19-16,2 1 11 0,2-4 2 0,-2 3 5 0,3-5-33 15,-3-1 3-15,5 5 7 0,-3-4-10 16,-2-1-2-16,8 1 7 0,-8-1-3 16,10-2-4-16,-7-1-6 15,2 1 18-15,-2-2 6 0,2-2-9 0,-1 2 22 0,-1-1 19 0,1-2-4 16,0 2 2-16,-1 0 23 0,-1-1 3 16,1 0 71-16,-3 3-38 0,2-2 18 15,-2 1-13-15,0 1-2 0,0 3-31 0,0-7 5 0,3 4 10 16,-3 3-41-16,0 0 8 0,-3-6 13 15,3 6-31-15,0 0 23 16,0 0-13-16,0 0-36 0,0 0 8 0,0 0-15 0,0 0-8 16,0 0-2-16,0 0 37 0,0 0-29 0,0 0-24 15,0 17 25-15,0-15-22 16,3 1 2-16,-3-3-7 0,3 6 15 0,-1-4-8 0,-2-2-20 16,2 5 5-16,1-3-6 0,0 1 24 0,-3-3-13 31,2 3-2-31,-2-3-1 0,3 4 26 0,-3-4-30 0,6 1-9 0,-6-1-4 0,7 0 38 15,-7 0-3-15,0 0-20 0,7-5-8 0,-7 5 18 16,8-1-7-16,-5-1-9 0,2 0 22 16,-5 2 7-16,5-3-36 15,-5 3 41-15,7-3-34 0,-4 2 34 0,-3 1-30 0,7-1 30 0,-1 0-16 16,-6 1 6-16,0 0-15 0,10-1-16 16,-10 1 43-16,8 1-30 0,-8-1 26 15,5 2 2-15,-5-2 0 0,5 1-21 0,0 2 14 16,-5-3-1-16,6 3 8 0,-2-1-92 0,-3 1 33 15,4-1-5-15,-5-2 21 0,3 3-14 16,-3-3 24-16,7 3-13 0,-7-1 16 0,0-2 7 16,5 3 0-16,-5-3 15 15,2 3 26-15,-2-3 77 0,0 0 10 0,6 2-23 0,-6-2-105 0,0 0 0 16,2 2 0-16,-2-2 0 0,0 0 0 16,0 0 0-16,0 0 0 0,0 0 0 15,0 0 0-15,11-4 0 0,-6 0 0 0,-3 2 0 0,-1-1 0 16,3 0 0-16,-1-1 0 0,0 1 0 15,2 0 0-15,-5 3 0 0,5-5 0 16,0 4 0-16,-2-2 0 0,-3 3 0 16,7-2 0-16,-7 2 0 0,6-2 0 0,-6 2 0 0,0 0 0 15,12 2 0-15,-12-2 0 0,6 2 0 0,-2 0 0 16,-4-2 0-16,6 2 0 0,-4 1 0 16,-2-3 0-16,5 3 0 0,-2-1 0 15,-3-2 0-15,5 2 0 0,-5-2 0 0,0 0 0 0,5 1 0 16,-5-1 0-16,2 4 0 0,-2-4 0 0,0 0 0 15,0 0 0 1,6 1 0-16,-6-1 0 0,0 0 0 0,0 0 0 0,10-1 0 0,-10 1 0 16,0 0 0-16,8-2 0 0,-8 2 0 15,0 0 0-15,5-2 0 0,-5 2 0 0,0 0 0 16,8-2 0-16,-8 2 0 16,4-1 0-16,-4 1 0 0,0 0 0 0,6-3 0 0,-2 3 0 15,2-2 0-15,-1-2-82 0,0 2-331 0,3 1-193 16,0-3-37-16,5 2-442 0,-1-2 84 0,4 2 105 15,1 0 80-15,4-1 125 16,-1-1 74-16,1 1 8 0,2-1 102 0</inkml:trace>
  <inkml:trace contextRef="#ctx0" brushRef="#br0" timeOffset="15554.65">4949 2545 1459 0,'3'-13'514'0,"-3"9"11"0,0-2-13 16,1-1-118-16,1 1-18 0,0-3 0 0,1 0-35 15,-3-1-21-15,2-4-21 0,-2 1-17 0,1-2 20 16,1 1-44-16,-2-5 73 0,0 1-57 16,0-1-29-16,2 0 16 0,-2-2-51 0,3 3-48 15,-3 1 1-15,0 1-1 0,0 2-32 0,0 1-20 16,0 1 16-16,0 4-67 0,0-2-59 16,0 1 0-16,0 2 0 0,0 0 0 15,0 3 0-15,0-1 0 0,0 1 0 0,0 4 0 0,3-4 0 16,-3 4 0-16,0 0 0 0,0 0 0 15,0 0-103-15,0 0-150 0,0 0-52 16,-3 13-61-16,3-13-141 0,-3 7-138 16,3-3-397-16,0 0 85 0,0 0 69 0,0-4 120 0,0 6 87 15,3-3 41-15,-3-3 67 0</inkml:trace>
  <inkml:trace contextRef="#ctx0" brushRef="#br0" timeOffset="15791.11">5019 2190 1087 0,'0'0'517'0,"0"0"-12"15,0 0-19-15,0 0-53 0,0 0-34 0,0 0-43 16,0 0-21-16,0 0-18 0,-16 5-25 31,11 0-51-31,0 0 10 0,-1 0-13 0,2 0-57 0,-2 2-19 0,-1 2-9 0,-1-1-7 16,0 3-10-16,0-3-18 0,1 3-16 0,0-3-12 16,-1 2-32-16,0-1-47 0,3-1-37 15,-3 0-28-15,1-1-40 0,4 0-29 0,-4-2-41 16,4 1-46-16,-2-2-128 0,4 0-138 0,-1-3-279 15,0 1-151-15,2-2 112 0,0 0 50 16,0 0 73-16,0 0 90 0,0 0 36 16</inkml:trace>
  <inkml:trace contextRef="#ctx0" brushRef="#br0" timeOffset="16037">4924 2197 1054 0,'5'-2'371'0,"-5"2"29"0,5-1-34 0,-5 1 5 15,10 0-5-15,-10 0-31 0,11 4-38 16,-1-1-5-16,-2 1 64 0,2 0-121 0,2 1-10 16,-1 1-25-16,1 0-3 0,2-1 72 0,-2 1-21 15,4 0-7-15,-1 1-31 0,-2-1-13 0,0-1-10 16,2 3-18 0,-2-4-26-16,0 2 3 0,-1-1-26 0,-1 0-20 0,-1 0 2 0,0 0-22 15,0 0-24-15,-2-1-15 0,-3 0-51 0,1 0-24 16,-2-1-19-16,2 0-60 0,-4 0-35 0,1 0-62 15,-3 1-103-15,0-4-191 0,0 8-530 0,-3-4 97 16,1 0 69 0,-1 1 80-16,-2-3 89 0,0 2 49 0,2 1 72 0</inkml:trace>
  <inkml:trace contextRef="#ctx0" brushRef="#br0" timeOffset="16897.25">10193 2316 1036 0,'0'0'415'0,"0"0"-11"0,0 0-43 0,0 0-46 16,0 0-18-16,0 0-82 0,0 0-15 0,-3-13 17 16,3 8-20-16,0-1 29 15,0-1-27-15,3 2 80 0,-3-5-31 0,0 1 3 16,0-1-15-16,-3-4-100 0,3 1 9 0,0-1-14 15,-3-1 17-15,1-3-38 0,-1-2 24 0,1-1-12 16,-1 0-24-16,1-5-29 0,1 2 31 0,-1 3-16 16,2-1-10-16,-3 3-5 0,3 1-12 15,-2 3 4-15,2 1-15 16,0 2 8-16,-2 2-5 0,2 0-26 0,0 1 7 0,0 3-12 16,0-2-5-16,0 2-44 0,0 2-12 0,0 4-16 15,0-6-13-15,0 6-22 0,0 0-29 0,0 0-31 16,0 0-38-16,0 0-33 15,0 0-46-15,0 0-144 0,0 0-38 0,-1 18-440 0,1-12 22 0,0-3 129 16,0 2 46-16,0 0 69 16,0-5 76-16</inkml:trace>
  <inkml:trace contextRef="#ctx0" brushRef="#br0" timeOffset="17182.09">10218 1910 1366 0,'-3'-5'512'0,"1"3"-107"0,2 2-67 16,-5-2-39-16,5 2 8 0,0 0-41 16,-8 0-45-16,8 0 1 15,-7 4-12-15,4 0-51 0,-2 0 10 0,0 2-41 0,0-2-21 0,-1 3-4 16,-1 0-3-16,-1 1 4 0,3 0-16 16,-5 1-7-16,2-1-4 0,1 1-8 15,-1-1-12-15,0 1-11 0,0-1 2 0,1 0-22 16,-1 1-6-1,0-2-25-15,0 0-5 0,3-1-23 0,-2 1-36 0,2-1-3 0,-1-1 3 16,2 0-23-16,-2 0-34 16,4-2-27-16,-4-1-32 0,4 2-50 0,-1-2-75 0,3-2-84 0,-5 4-151 15,5-4-187-15,0 0 53 0,-3 2 1 16,3-2 92-16,0 0 51 0</inkml:trace>
  <inkml:trace contextRef="#ctx0" brushRef="#br0" timeOffset="17908.82">10165 1909 1203 0,'15'0'414'0,"-8"1"-20"0,1 0-15 0,2 1-33 15,0 0-21-15,-2 2-10 0,3-1-100 0,-1 1-21 16,0 0-9-16,0 0 7 0,1 1-49 15,1 1 18-15,-4-1-5 0,4-1-15 16,-4 2-21-16,0-3-10 0,0 0 21 16,-1 2-39-16,1-1 5 0,-2-1 11 0,1-1-18 0,-2 2 12 15,0-1-23-15,1-1-10 0,-1-1 105 16,-3 3-28-16,-2-4-36 0,8 3 13 0,-5-2-10 16,-3-1-13-16,4 3 0 0,-4-3-13 15,6 2 0-15,-6-2-16 0,4 2-4 16,-4-2-3-16,0 0-26 0,4 3 8 0,-4-3 11 0,0 0-37 15,4 1 26-15,-4-1-18 32,0 0 3-32,0 0-13 0,3 3 23 0,-3-3-10 0,0 0-19 0,0 0 6 0,0 0-5 0,0 0-5 15,5 2 12-15,-5-2 11 0,0 0-5 0,0 0-21 16,0 0-3-16,0 0 34 0,0 0-13 0,0 0-31 16,0 0 24-1,0 0-29-15,0 0 23 0,0 0 16 0,0 0-24 0,0 0 16 0,0 0-15 16,0 0 7-16,3 2-15 0,-3-2-3 0,0 0 16 15,0 0 15-15,0 0-26 0,0 0 16 16,0 0-18-16,0 0 15 0,0 0 3 0,0 0-28 16,0 0-1-16,0 0 9 0,0 0 12 15,0 0-23-15,0 0 18 0,0 0-8 0,0 0 16 0,0 0-39 16,0 0 36-16,0 0-20 16,0 0-11-16,0 0 26 0,0 0-28 0,0 0-18 15,0 0 23-15,0 0-10 0,0 0 2 16,0 0 8-16,0 0-46 0,0 0 23 0,0 0 15 15,0 0-5-15,0 0-20 0,0 0 10 0,0 0-3 16,0 0-12-16,0 0 15 0,0 0-16 0,0 0 19 16,0 0-16-16,0 0-18 0,0 0 3 15,0 0 28-15,0 0-23 0,0 0-8 0,0 0 5 16,-2 6 11-16,2-6-36 0,0 0 7 0,0 0-2 16,0 0-13-16,0 0-23 0,0 0 18 0,0 0-36 15,0 0 0-15,0 0-15 0,0 0-64 16,0 0-26-16,0 0-21 0,2 3-111 15,-2-3-22-15,0 0-401 0,0 0 79 0,0 0 61 16,0 0 39-16,0 0 56 0</inkml:trace>
  <inkml:trace contextRef="#ctx0" brushRef="#br0" timeOffset="20280.45">2937 3402 1423 0,'2'-5'402'16,"1"4"-26"-16,-3 1-38 16,2-7-16-16,-2 5-4 0,0 2-19 0,0-6 77 15,0 6-43-15,-5-5-18 0,1 4-26 0,4 1-33 0,-9-2-25 16,9 2-16-16,-15 4-23 15,2 0-18-15,1 2-31 16,-4 1 13-16,3-1-33 0,-5 3-5 0,3-1 7 0,-1 0-43 0,1 1 10 16,3 0-33-16,1-2 13 0,1-1-19 15,2 1-19-15,0-1-19 0,3 0 8 0,1 1-25 16,1-2-9-16,3 0 14 0,2 2-6 0,-1-2-22 16,3 0 4-16,2 1 3 0,2 1-20 0,4-1-26 15,-2 1 49 1,0-1-21-16,3 0 8 0,-3 1 23 15,6 1-13-15,-4 0-5 0,2 0 0 0,-4-2 12 0,-2 0 27 0,1 2 25 0,-3 0-8 16,-1-1-8-16,-2 0 32 16,-1 0-39-16,-2 0 18 0,-2 3 25 0,-1-3-12 0,-2 1-6 15,-1 2 11 1,-3-1-11-16,1-2-12 0,-2 2 0 0,-3-2 12 0,2 0-7 0,-4 0-5 16,-1-1-21-16,-1 1-28 0,2-1-15 15,2-2 0-15,-3-1-34 31,4 1-25-31,1-1-10 0,-2-1-70 0,3-1 1 0,3 0-62 0,1-1-92 0,-1 0-121 0,7 0-79 0,-6-1-414 16,6 1 92-16,0 0 56 0,1-7 87 0,-1 7 87 16,7-6 100-16,0 0-3 0</inkml:trace>
  <inkml:trace contextRef="#ctx0" brushRef="#br0" timeOffset="21036.89">2998 3496 1387 0,'0'0'425'16,"0"0"-49"-16,0 0-25 0,0 0-49 16,0 0-18-16,0 0-10 0,0 0-36 0,-5 15-15 15,3-8-19-15,2 0-48 0,-3 1 3 0,1 0-21 16,1 1-28-16,1 0 21 0,0 1-21 16,-2-1-23-16,4 1 0 0,-2-1-20 15,1 0-6-15,1 0-10 0,1 0-10 0,0-1-18 0,1-3 18 16,-1 2-2-16,2-2-16 0,0 0 7 15,0-2-32-15,1-1 9 0,-2 2 27 16,2-4 12-16,-6 0-18 0,10-1 26 0,-10 1-3 16,10-6 77-16,-8 3 2 0,1-3-66 0,2 2 21 15,-2-2 20-15,-1-1-39 0,-1 1 34 16,1-2-5-16,-2 2 18 0,3 2-32 0,-3-4 4 16,0 3-6-16,2 0 77 0,-4 0-7 0,2 1 10 15,0 4 7-15,0-7-30 0,-3 5-42 16,3 2 6-16,0-5 0 0,0 5-26 0,0 0 8 15,0 0-20-15,0 0-24 0,0 0 18 0,0 0-20 16,0 0-20-16,-2 14-16 0,4-9 0 16,-2-1 0-16,0 2 0 0,3-3 0 0,-1 2 0 15,0 0-3-15,-1 1-46 0,4-3 21 16,-3 2 5-16,1-1-15 0,0-2 10 0,-1 1-13 0,1 1 12 16,-3-4 6-16,5 3 21 0,-2 0-8 15,-3-3 15-15,7 0-26 0,-7 0 26 16,0 0-5-16,11-3-12 0,-6 1 6 0,0 1 6 15,-1-1 11-15,2-3-16 0,-3 4-6 0,2 0-7 16,-1-2 3-16,-4 3 15 0,11-2-20 0,-8 2 25 31,-3 0-21-15,9 0 14-16,-9 0 7 0,11 2 13 0,-6 1-10 0,0-3-3 0,-2 2-18 0,2 3-8 0,0-3 3 0,0 1 16 16,-2 0-24-16,0 1 29 0,1-2 2 0,-1 2 3 0,0-1-11 15,-3-3 8-15,5 4-2 0,0-2 17 16,-3 1 42-16,-2-3-1 0,3 1 26 15,-3-1-59-15,0 0 26 0,0 0 15 0,0 0-53 0,13-5-16 16,-11 3 0-16,1-1 0 0,-1 0 0 16,1 0 0-16,2 1 0 0,-3 0 0 15,2-1 0-15,0 0 0 0,-1 1 0 0,-3 2 0 16,7-1 0-16,-7 1 0 0,8-1 0 16,-8 1 0-16,11 1 0 0,-6 0 0 0,0 1 0 0,0 1 0 15,0 0 0-15,0-2 0 0,-2 2 0 16,2 0-34-16,-2 0-160 0,0 0-49 0,-1-1-34 15,3 2-38-15,-5-2-53 16,5 0-152-16,-5 2-53 0,3-2-438 0,-1 1 61 0,-2-3 167 16,8 3 25-16,-3-3 75 0,-5 0 78 15,8 0 47-15</inkml:trace>
  <inkml:trace contextRef="#ctx0" brushRef="#br0" timeOffset="21421.7">3544 3574 1146 0,'-10'-3'430'0,"10"3"-18"0,-10 0-51 0,10 0-33 0,-13 1-39 16,6 1-12-16,-1-1-16 0,3 2-39 16,-3 0-17-16,2-1-23 0,2-1-16 0,-2 3-30 0,4 1 12 15,-3-2-17 1,5 2 0-16,0 0-34 0,0 2 10 0,2 1-35 0,3 1 7 0,1 1-4 15,-2 0 1-15,4 3 80 0,0-1-10 0,0 1-2 32,-1 0-80-32,1 1 25 0,0-1 19 0,-3 0-37 0,2 3 6 0,-1 1 15 0,-3-4 6 15,-1 0-6-15,-2 1-10 16,0 0 2-16,-2 2 13 0,-1 0-30 0,-3-1 5 0,-3 0-13 16,0 1 5-16,2-2-16 0,-6 0-25 0,2-2-7 15,1 0-11-15,-2-1-36 0,2 1-23 16,0-5-35-16,1 1-34 0,-1-2-46 0,3 1-23 0,-1-1-18 31,1-2-69-31,1-2-49 0,1-1-153 0,-3 2-15 0,8-3-405 0,-4-6 61 16,4 2 98-16,0-1 76 0,0-1 80 0,2-2 20 15</inkml:trace>
  <inkml:trace contextRef="#ctx0" brushRef="#br0" timeOffset="21904.33">3657 3359 1149 0,'0'-6'440'0,"0"3"-48"0,0 3-19 16,-2-4-27-16,2 4-26 0,0 0-8 0,0 0 49 16,0 0-26-16,5 17-33 0,-5-8-2 0,3 3-52 15,-3 4 3-15,2 3 0 0,0 1-23 16,1 5-46-16,0 1-16 0,-3-1-20 16,2 4-26-16,-2-2-23 0,0 2-48 0,-2 0-34 0,2-2-22 15,0 0-42-15,0-3-38 0,0-3-23 16,0-5-18-16,0 0-33 0,2-2-39 15,1-4-30-15,2 1-62 0,-2-3-107 32,2-7-60-32,2 3-357 0,-1-3 43 0,2-3 23 0,1-1 79 0,-1-1 123 0,5-2-35 0</inkml:trace>
  <inkml:trace contextRef="#ctx0" brushRef="#br0" timeOffset="22845.72">3877 3597 913 0,'0'-8'402'0,"-2"0"-95"0,0 2 13 0,-1 1-30 16,3 0 9-16,-5 3-20 0,2-2-15 15,1 3-16-15,2 1-20 0,-8-1 48 16,8 1-33-16,-10 2-5 0,2 1-2 0,1 0-36 0,1 3-24 16,1 1-4-16,-3 3-39 15,3-3-5-15,0 4-33 0,0-1-6 0,-2 0 13 16,4 1-9-16,-2-1-14 0,2 2-2 0,1-2-29 16,-1-2-12-16,3 0 10 0,0 1-58 0,0-3 14 15,3-1 6-15,1 0-11 0,-1-2 8 0,2-1 3 16,-2 1 12-16,-3-3-20 15,13-3 6-15,-6 1 4 0,-1-2 5 0,1 2 8 16,-1-5 18-16,1 2-25 0,-2-2 30 0,0 0-5 0,-2-1-16 16,2 0 37-16,-2 1-6 0,-1 0 8 15,1 1 23-15,0 1-8 0,-1-1 3 16,-2 2-13-16,2 0 21 0,1 0-26 0,-3 4-3 0,0-3-2 16,0 3-28-16,0 0 23 15,0 0-13-15,0 0-8 0,0 0 21 0,0 0-11 16,0 13-4-16,-3-10-37 0,3 2 1 15,0 4-29-15,-2-2-40 0,2 0 4 0,0-1-33 0,2 2-7 16,-2-1-23-16,0-1-14 0,3 0-12 16,0-1-7-16,-1 1 1 0,3-3-4 0,0 0 5 15,1-1-15-15,-1-2 9 0,3 0 27 0,0-3-4 16,1 0-17-16,2 1 13 16,-1-4-8-16,0 1 18 0,1-2 36 0,-1-1 12 0,0 0 47 15,-2 0 51-15,-1 1-26 0,1-1 43 16,-2 1 34-16,0-1 0 0,-3 2 11 15,0 1 22-15,-1 0 0 0,-1-1 6 0,1 1 7 16,-2 0-8-16,0 5-2 0,-3-5-13 0,3 5-10 16,-2-4-3-16,2 4-23 0,-6 0-5 0,6 0-7 15,0 0 14-15,0 0 4 0,0 0-1 16,-7 7-15-16,4-5 2 0,1 2-30 0,2 2-18 16,0-3 46-16,0 2-18 0,0 1-2 0,2 1-1 15,-2-1-12-15,0 0 22 0,0-1 6 16,0 3-28-16,-2-1 7 0,0 2 11 0,1-3-1 15,1 2-17-15,-2-1 5 0,-1-2 2 16,0 2-7-16,1-3 2 0,0 3-20 16,-1-2 30-16,2-1-37 0,-1-1-9 0,2-3-5 15,-2 6 3 1,2-6-8-16,0 0-15 0,0 2 2 0,0-2 21 0,0 0-5 0,0 0-26 0,0 0 8 16,13-14-13-16,-6 10 0 0,-2-2 13 15,3-2-34-15,2-2-4 0,-2 2 14 0,3-3-4 16,-1-1 15-16,0 2 5 0,0-2 18 15,0 0 0-15,-1 1 6 0,0 0 4 0,-1 3 18 0,-3 0 33 16,0 2 16-16,0 0 0 0,1 0 13 16,-4 1 20-16,0 3 10 0,1-2-40 15,0 1 25-15,-3 3-6 0,2-2-4 0,-2 2 23 0,0 0-31 16,0 0 0-16,3 9-2 16,-3-4 4-16,2-1-9 0,-2 2 9 0,0-1 11 15,0 0 5-15,0 2 10 0,3-1 1 16,-3 1 50-16,0 0 3 0,0-1-43 0,0 2-14 0,0 1 1 15,0-2 18-15,-3 1-29 16,3-1 11-16,-3 2-42 0,2-3 1 0,0 1-49 0,-4-1-31 16,2-1-27-16,1 1-63 0,-3-2-9 15,2 0-75-15,-1 2-132 0,0-4-234 0,0 2-386 16,1-1 30-16,3-3 167 0,-5 3 43 0,5-3 93 16,-5 0 35-16,5 0 57 15</inkml:trace>
  <inkml:trace contextRef="#ctx0" brushRef="#br0" timeOffset="23355.59">4622 3720 1126 0,'4'-11'404'0,"-1"7"-30"0,-3 0 7 16,0-1-35-16,0-2-16 0,0-1-13 0,0-2-27 15,-3-2-16-15,3-1-8 0,-2-1-26 16,-1-5-12-16,0-1 44 0,1-4-14 0,-1-1-22 15,1 0-34-15,-1 3-28 0,1 1-10 0,-1 1-21 16,1 2 8-16,-1-1-41 0,1 2 5 0,1 5-33 16,1-2-20-16,-2 2-42 15,0 2-7-15,2 2-49 0,0-1-43 0,-3 4-44 0,3-1-23 16,-1 1-31-16,1 3-43 0,0 2-102 0,0-6-126 16,0 3-405-16,0 3 4 0,0 0 60 15,0 0 52-15,6-4 92 16,-6 4 69-16,5-2 102 0</inkml:trace>
  <inkml:trace contextRef="#ctx0" brushRef="#br0" timeOffset="23577.1">4696 3241 1174 0,'0'0'407'0,"0"0"-25"16,-11 4-34-16,6-3-43 0,-2 4-26 0,1-1-13 15,-1 0-41-15,-1 4-18 0,-2 0 1 16,-3 1-14-16,2 1-22 0,-1 2-9 15,-1 2-14-15,-3 0-13 0,1 2-14 0,-2 2-9 0,4-2-21 16,-3 1-30-16,1 1-1 0,2-1-43 16,2-3-10-16,-1-2-21 0,2-1-33 15,2 0-57-15,3-1-14 0,-3-1-60 32,3-1-71-32,0-1-118 0,-1-2-126 0,2-1-299 0,1-2 46 0,3 0 95 0,0-2 108 0,0 0-16 15</inkml:trace>
  <inkml:trace contextRef="#ctx0" brushRef="#br0" timeOffset="23889.71">4501 3288 1092 0,'0'0'300'0,"0"0"2"0,10 1-28 15,-10-1-16-15,13 2 6 0,-5 2-36 16,2 1-13-16,1-2 0 0,1 2 8 0,1 1-8 15,2 1-18-15,0 1-3 0,1 0 1 16,-1-1-29-16,-1 0 3 0,3 0-18 0,-7-1 0 16,5 0-10-16,-2 0 5 0,3-1-13 0,-4 2-8 15,1-1 3-15,0-3-20 0,-2 2 2 0,1 0-38 16,-4-3-6-16,2 2-10 0,-5-2 14 16,3 2-24-16,0-2-23 0,-3 1-26 15,0-2-25-15,-2 2-46 0,2-3-24 0,-1 3-47 0,-4-3-58 16,7 3-47-16,-5-1-150 0,-2-2-58 15,2 8-417-15,1-4 58 0,-3 1 95 16,2 0 87-16,-2 0 47 0,-2 2 50 0</inkml:trace>
  <inkml:trace contextRef="#ctx0" brushRef="#br0" timeOffset="26943.95">7036 3327 1156 0,'0'0'343'16,"-8"-2"-48"-16,8 2-29 0,-7 0-30 0,7 0-24 15,-16 2-10-15,6 1-25 0,0 0-21 16,0 2-2-16,-3 1-29 0,3 0 8 0,-3 0-28 0,0 1 3 16,3-1-27-1,-1 1 1-15,1-2 3 0,0 2-14 0,0 0-17 0,5-2-8 16,-2 2-2-16,3-2-13 0,-1 0 7 0,3 0 3 0,2 1-5 16,0 0 17-1,0-1-29-15,2 1 4 0,1 1-13 0,2-2-7 0,0 2 20 16,0-1 0-16,3 1-2 0,-1 1-26 0,2 1 20 15,0-3-5 1,-1 2 1-16,0-1 9 0,-1 3 9 0,-1-3-14 0,2 2 13 0,-4-2 8 16,-3 2-10-16,4-1 10 0,-5-2 13 15,0 4 25-15,-3-2 6 0,1 0-26 0,-1 1 15 0,-2 0 10 16,-2 1-25 0,1-2-10-16,-2-1-11 0,1 0 3 0,-3 2 5 0,-1-2 13 0,1-1-23 15,0 0-18-15,-1 0 15 16,-1-3-10-16,1 1-13 0,1-1-7 0,0 0 2 0,-1-3-25 15,1 2-14-15,0-2-12 0,2 1-25 16,1 1-22-16,0-2-24 0,7 0-40 0,-11 1-32 16,11-1-52-16,0 0-32 0,-8-1-111 15,8 1 7-15,0 0-424 16,0 0 61-16,0 0 44 0,18-8 72 0,-10 5 78 0</inkml:trace>
  <inkml:trace contextRef="#ctx0" brushRef="#br0" timeOffset="27713.59">7144 3463 975 0,'0'0'435'0,"0"0"-38"0,0 0-29 16,0 0-38-16,0 0-40 0,0 0-32 0,0 0-25 16,-10 12-23-16,7-5-5 0,0-1-18 0,1 2-44 15,-3 0 16-15,5 1-24 0,-3 0-17 0,1 1-8 16,-1-1-38-16,3 1-16 0,-2-1-23 15,2 0 3-15,2 0-8 0,-1 0-17 0,1-5 4 16,3 3 8-16,-2-2-25 0,2-1 2 16,2-2 35-16,-1 1-27 0,-1-2-16 15,2-1 21-15,-7 0 5 0,16-3-5 0,-6-1-16 16,-3 1 19-16,1 0-19 0,0-4 6 0,-3 2 17 16,3-4 6-16,-3 1 10 0,2 2-13 15,-3-1 25-15,0 0-4 0,2 1 2 0,-4 0 2 16,1 1 11-16,2 0-5 0,-5 2 10 15,3 0 8-15,-1 0-34 0,-2 3-2 0,0 0 7 16,5-1-9-16,-5 1-9 0,0 0-9 16,0 0 25-16,0 10-13 0,0-5-15 0,0 0 7 0,0 2-17 15,0-2 17-15,1 2-30 0,0 0 10 16,0-1-21-16,1 2 37 0,-2 0-19 0,3-1-2 16,-1-1-5-16,-2 0 12 0,1-3-7 0,1 2 13 15,0 0-23-15,-2-2 17 16,3 0-4-16,-3-3 9 0,0 5-14 15,5-3 17-15,-5-2 5 0,5 1-5 0,-5-1-4 0,0 0-6 16,11-3 25-16,-7 0-27 0,2 1 17 0,-3 1 16 16,4-2-6-16,-2 1-22 0,0-3 25 15,0 4-23-15,1-2 21 0,-2 0-6 16,2 2 1-16,-6 1 4 0,11 0 6 16,-4 0-28-16,-7 0 14 0,10 0 12 0,-5 1-9 0,0 0 6 15,0 1 17-15,1 0-20 0,-6-2 13 16,7 2-8-16,-2 0 13 0,-5-2 59 0,5 3 20 0,-5-3 1 15,6 2-19-15,-6-2-23 16,4 3 26-16,-4-3-10 16,4 1 13-16,-4-1-34 0,4 1-77 0,-4-1 26 0,0 0 31 0,0 0-21 15,8-4 16-15,-8 4 10 0,5-3-23 0,-2-1 2 16,2 2-5-16,-5 2-7 0,5-5 10 16,0 3 2-16,-5 2-2 0,8-3-8 15,-8 3-18-15,8 0-25 0,-8 0 41 0,10 3 15 0,-6-2-47 16,2 1 27-16,2 2-11 0,-3-1 6 15,0 0-27-15,0 0-7 0,3 1-51 16,-3 0-5-16,-2 0-59 0,1-1-21 0,-1 0-40 0,2 2-31 16,-2-3-67-16,2 1-36 0,-3 0-163 15,4 0-170-15,-1-2-296 0,0 0 74 16,-5-1 82-16,13-1 107 0,-5-2 36 0,2-1 69 16,0 0 90-16</inkml:trace>
  <inkml:trace contextRef="#ctx0" brushRef="#br0" timeOffset="28179.8">7957 3290 1016 0,'-5'13'468'16,"2"-8"-63"-16,3 3-47 0,-3 1-13 0,3 3-25 0,-2 1-30 0,0 2-16 0,2 1-29 0,-3 3-17 0,3 0-15 0,0 1-29 0,-5-1-36 15,5 0 19-15,-3 0-50 16,0-1 1-16,1-3-3 0,0 0-22 16,-1-2-12-16,3-3 1 0,0-1 5 0,0-1-12 0,0-1 96 15,0-1-7-15,0-1-8 0,0-1 8 16,0-4-21-16,3 1-20 0,-3-1 18 0,0 0-44 16,8-7-7-16,-1 1 10 0,-2-1-1 0,3-4-14 15,-1 2-1 1,1-1-35-16,2-2 30 0,0 4-43 0,0-1 18 0,-1 0 0 0,1 3 2 15,0 1 3-15,-2 1 13 0,0 1-11 0,2 2-66 16,-3 2 10-16,1 1 5 0,-3 1-48 16,0 0 74-16,-2 3 5 0,0-1-29 15,-3 2 34-15,-3 0-10 0,0 3-15 0,-1-2 4 16,-2 2 1-16,-2-1 10 0,1 1-8 0,-3-2 8 16,-1 1-3-16,1-1-56 0,-3-1 5 0,2 1-25 15,1-4-29-15,0 3-15 16,-2-5-39-16,4 1-48 0,0 0-7 0,1-3-52 0,-1 3-28 15,2-2-18-15,2-1-72 0,4 0-107 0,-6-4-54 16,6 4-456-16,0 0 67 0,0-3 105 16,0 3 136-16,0 0 63 0,10-5 9 15,-6 0 68-15</inkml:trace>
  <inkml:trace contextRef="#ctx0" brushRef="#br0" timeOffset="28885.57">8201 3460 1098 0,'0'0'432'0,"0"0"-7"0,0 0-28 0,0 0-16 0,0 0-43 15,0 0-15-15,0 15-16 0,-3-8-51 16,3-1-18-16,-1 2-26 0,1 2-15 16,0-1-12-16,0 3-29 0,1-1-5 0,2-2-13 15,-3 1-5-15,2 2-30 16,0-3-9-16,4 1-12 0,-4-2-15 0,3-1-11 0,-2-1 8 15,4-1 0-15,-1 0 0 0,-1-3 3 16,2-2 58-16,1 0-5 0,0 0-25 0,2-2 15 0,-2-2 18 16,-1-1-102-16,3 1-1 0,-2-5 9 15,0 1 73-15,0 0 29 0,-1-2-13 16,1-1 5-16,-2 2 5 0,-1 2-31 0,2-3 13 0,-4 4 36 16,2-1-33-16,-3 2-11 0,1 2-25 15,0-2-25-15,-1 3 45 0,1-1-63 0,-3 3-39 16,0 0 0-16,0 0 0 0,5 10 0 0,-2-5 0 15,-3 0 0-15,2 1 0 0,0 3 0 16,-2-2 0-16,0 0 0 0,0 1 0 0,1 1 0 16,-1 0 0-16,2-3-95 0,-2 0-72 0,0 2-60 15,3-3-37 1,-3 1-28-16,0-1-66 0,2 0-31 0,-2-3-190 0,2 2 34 0,-2-4-169 16,6 0-192-16,-6 0 107 0,5-3 75 15,-5 3 74-15,10-3 468 0,-7-3 120 0,4-1 98 16,-1-3 59-16,-1 2 46 0,0-4 58 0,3 3 11 15,-4 0 85-15,2 1-6 32,2-1-61-32,-3 0 10 0,0 4 5 0,0-1-5 0,0 1 0 0,0 2-15 0,1 1 28 0,-2 0-19 0,-4 2 1 31,11 4 52-31,-4-2-17 0,1 2 1 0,-1 2-36 0,1 2-54 0,0 3 13 16,-3-3-2-16,3 5-1 0,-3-3-28 0,0 3 8 15,1-1-107-15,-4-2-32 0,0 1 11 0,1 0-18 16,0-3 3-16,-1-1 10 0,-2 2 12 15,0-2-19-15,2-4 4 0,-2 2-5 0,-2-1 23 16,2-4 13-16,0 0-10 0,0 0 12 16,0 0 1-16,0 0 10 0,0 0-16 0,0 0 3 0,0 0-2 15,-2-16-19-15,2 13-33 0,2-3 29 16,0 0-26-16,-1-1 7 0,2 0-43 0,1-1-3 16,-1 1-32-1,2 0-47 1,-2 1-23-16,2 0-49 0,0-1-51 0,1 2-53 0,0 0-39 0,2-2-74 0,0-5-147 0,0 9-470 15,2-4 75-15,-2 3 134 16,-1-3 91-16,3 1 68 0,-1 0 19 0,3-1 107 0</inkml:trace>
  <inkml:trace contextRef="#ctx0" brushRef="#br0" timeOffset="29259.82">8844 3471 1579 0,'0'4'407'0,"2"-2"5"0,-2 5-13 0,0-1-15 0,0 0-61 0,0 1-16 16,0 1 74-16,-2 0-35 0,2 1-134 0,0 1-22 0,0-1 14 15,0 1-35-15,0-2-15 16,-2 2-21-16,2-2-18 0,2-1-5 0,-2 1-23 16,-2-3 0-16,4 1 11 0,-2-1-24 0,0 0 5 15,2-3-5-15,-2-2 14 0,3 3 11 0,-3-3 17 16,0 0-14-16,0 0-15 0,13-9 49 16,-8 4-34-16,0 1-5 0,0-2-5 0,1 0 24 15,1 1-29-15,-2 0-5 0,1 0-11 0,-2 1-12 16,4 0 105-16,-5 3-36 0,4 0 10 0,-7 1-46 15,9 0-81-15,-9 0-11 0,10 1 0 16,-6 0 0-16,2 0 0 0,-2 2 0 16,-1 0 0-16,0 0 0 0,0 0 0 0,1 1 0 0,-1-2 0 15,0 2 0 1,-1 0 0-16,-2 0 0 0,3 0 0 0,0-1-162 0,-3 2-191 16,4-3-80-16,-1 3-183 0,4-6-27 0,1 5-394 15,1-3 77-15,5 0 98 0,4-1 122 16,5 0 31-16,5-2 95 0,3-1 71 0,3 2 59 15</inkml:trace>
  <inkml:trace contextRef="#ctx0" brushRef="#br0" timeOffset="29533.01">9867 3632 1261 0,'0'-13'633'0,"0"-3"-52"0,0 2-44 0,2 0-40 0,-2-2-52 16,3-2 1-16,-2-1-55 0,1 0-117 0,-2-2-23 15,2-2 2-15,-2-2-50 0,0-1-6 16,0 2-3-16,0-2-20 0,0 2-38 16,0 3-18-16,0 1 12 0,0 2-12 0,0 2-16 0,0 3-12 15,0-1-8-15,0 3-8 0,0 3-69 0,-2-2-71 16,2 3-14-16,0 1-40 0,-2 3-64 0,1 0-24 15,1 3-50-15,0 0-42 16,-5-1-119-16,5 1-214 0,0 0-314 0,0 0 62 16,0 0 122-16,0 0 67 0,0 0 53 0,0 0 80 0</inkml:trace>
  <inkml:trace contextRef="#ctx0" brushRef="#br0" timeOffset="29782">9944 3154 1535 0,'0'0'428'0,"-6"4"-21"15,-1-2-16-15,2 1 70 0,0 3-62 0,-1-3-17 16,-4 2-116-16,2 3-15 0,-2-1-21 16,0 2-20-16,0 1 13 0,-1 0-54 0,-1 1-5 15,-1 2-34-15,3-1 19 0,-6 2-16 0,4 3-18 16,-1-2-41 0,0-2-20-16,2 1-36 0,-1 0-34 0,4-2-7 0,-2-3-46 15,5 1-15-15,-1-3-59 0,2 0-19 16,-1-2 9-16,4-1-39 0,-1-1-41 0,2-3-69 0,0 0-87 15,0 0-13-15,0 0-223 0,0 0-153 0,12-7 61 16,-6 1 70-16,-3-1 71 0,4 1 97 16</inkml:trace>
  <inkml:trace contextRef="#ctx0" brushRef="#br0" timeOffset="30028.99">9882 3170 834 0,'5'-1'340'0,"-2"-2"75"0,-3 3-16 0,7-1-10 0,-7 1-56 0,11 4-54 16,-4-2 5-16,1 2-7 15,-3-2 2-15,3 4-8 0,2-1 34 0,-2 2-3 16,2 1-13-16,1-2-46 0,-1 4 21 16,0-4-52-16,0 2-20 0,0 0 3 0,-2 1-21 15,3 0-18-15,-3-1-10 0,2 0 5 0,-3 0-36 16,1 0 0-16,0 1-46 0,-1-3-20 0,-2 1-28 16,1-1-32-16,-2 0-35 0,-1 1-20 15,0-2-60-15,-1 2-30 0,-2-2-46 16,-2 2-57-16,-1 0-158 0,-2-2-223 0,0 2-366 31,0-3 136-31,-5 4 84 0,-1-4 82 0,-4 2 64 0,-3-1 62 0,-2 0 63 0</inkml:trace>
  <inkml:trace contextRef="#ctx0" brushRef="#br0" timeOffset="31996.87">2950 4934 1092 0,'0'0'402'0,"-5"-4"0"0,2 0-51 0,3 4-34 15,-8-4-22-15,1 3-27 0,1 1-40 16,-4 4-28-16,0-4-13 0,-5 5-36 0,2-1-5 16,-5 1-16-16,2 1-15 0,-1 1-12 0,1 0 12 15,1 0-28-15,-1 1-3 0,1 0-20 0,5-3 6 16,-3 2-27-16,2-1-30 0,4 2 0 15,-4 1-41-15,4-1 7 0,4-2-2 32,-1 1 0-32,1 1-10 0,3-2-3 0,0 0 31 0,2-1-34 0,0 1 9 0,1 0 7 15,5 0 10-15,-2 0 23 0,3-1-20 0,2 2-29 0,-1-3 27 16,0 1 4 0,0 1-10-16,1-1 15 0,-3 1 1 0,2-1 22 0,-3-2 26 0,-1 1-5 15,1 2 18-15,-4 0-2 0,2 0-4 16,-5-1 9-16,0 0 4 15,-3 2 1-15,1 2 15 0,-4-3-16 0,-1 1-9 0,0 1 27 16,-2-2-10-16,-1 2-10 0,0 0-18 16,-2-2 24-16,1-1-22 0,1 0-9 0,-3 0-4 15,0 0-27-15,1 1-8 0,3-4 3 0,-3-1-19 16,2 3-43-16,0-4-5 0,1 1-17 16,1-1-22-16,1 2-45 0,2-2-49 0,5 0-31 15,-10 2-41-15,10-2-89 16,0 0-21-16,0 0-82 0,0 0-340 0,0 0 123 0,0 0 27 0,20-12 32 15,-9 7 69-15</inkml:trace>
  <inkml:trace contextRef="#ctx0" brushRef="#br0" timeOffset="32392.04">2950 5071 1133 0,'0'0'448'0,"2"-2"-15"0,-2 2-31 15,0 0-59-15,0 0-21 0,0 0-22 16,0 0-31-16,0 11-29 0,0-7-27 15,0 2-26-15,0 1-26 0,0 2-13 0,0-1 1 0,0 2 9 16,1-2-48-16,-1 1-22 0,1 0 1 16,2-2-20-16,0 1-15 0,-1 1 0 0,3-2-24 15,-2-1-9-15,0-1 12 0,1-1 3 0,0 0 20 16,-2-2 1 0,3 2-34-16,0-3 33 0,-5-1-25 0,8-1 5 0,-8 1-1 15,10-6 11-15,-5 2 3 0,0 0-5 0,0 0-3 16,-2-3 25-16,2 1 3 0,-3 0-76 0,1 0-1 15,0 1 23-15,-1-1-12 16,-1 3 17-16,1-2 8 0,1 1-28 0,-1 1 11 0,-2 3-1 16,1-5-5-16,-1 5-2 0,0 0-11 0,0 0 5 15,0 0 26-15,0 0-23 16,7 11 13-16,-7-8 8 0,2 2-19 0,-1 1 3 16,1 0-33-16,-2 0 8 0,0 0-37 15,3 0-58-15,-1-1 3 0,1-2-14 16,-1 4-33-16,0-3-35 0,2 1-70 0,-2-2-125 0,3 1-100 15,-2-1-361-15,0 1 34 0,1-3 104 0,-1 0 44 16,-3-1 100-16,7 4 51 16</inkml:trace>
  <inkml:trace contextRef="#ctx0" brushRef="#br0" timeOffset="32758.85">3147 5125 1302 0,'0'-4'346'0,"0"4"-8"0,0-7-34 16,0 7-32-16,0 0-21 0,3-2-21 0,-3 2-5 16,0 0-30-1,0 0 2-15,0 0-10 0,10 9 20 0,-10-3-53 0,5-1-8 16,-3 1-1-16,1 1-14 0,0 0-26 0,1 0 13 16,-3 2-19-16,2-2-24 0,-1-1-1 15,1 2-2-15,-1-3-1 0,1 1 1 16,-1 0-5-16,-2-3 12 0,2 3 8 0,-1-3 26 0,1-1 50 15,-2-2 4-15,3 4-1 0,-3-4 0 0,0 0 14 16,7 0-52-16,-7 0 15 0,0 0-25 16,11-8-3-16,-8 7-41 0,1-2 3 0,-4 3-21 15,8-3 31-15,-5 2-7 0,-3 1-42 16,10-1 21-16,-10 1-18 0,10 1-51 16,-7 0 7-16,2 2-53 0,0-2-42 0,0 2-50 15,-2 0-23-15,2-1-52 0,-2 2-61 0,2-2-118 16,-3 2-143-16,3-1-474 15,-2-2 72-15,4 1 161 0,-7-2 36 0,11 0 105 16,-6-3 51-16,0 0 100 0</inkml:trace>
  <inkml:trace contextRef="#ctx0" brushRef="#br0" timeOffset="33173.98">3419 4990 1131 0,'0'0'450'0,"-3"-3"-35"0,3 3-23 0,0 0-1 0,0 0-63 0,0 0-29 0,3 13-12 0,-3-4-36 0,3 2-10 0,1 0-21 16,-1 2-21-16,2 4-9 0,0-1-19 0,0 2-12 15,1 0-3-15,-1 1-46 0,0-5-13 16,0 3 21-16,0-3-36 0,-2 0-10 16,1-4 28-16,-3 0-70 0,4-2 32 0,-3-2 4 0,0 0 39 15,2-2 67-15,-2 0-29 0,-1-3 8 16,-1-1-28-16,0 0 0 0,0 0 13 0,12-5-19 15,-7 1-12-15,0-2-20 0,0 2-9 0,1 1-1 16,1-3-9-16,1 2-2 0,0 3 3 16,-1-4-11-16,1 3 21 0,0 2 7 15,-3-1-4-15,2 1-96 0,-7 0 9 0,13 1 27 16,-8-1 6-16,0 2-11 0,-2 1 47 0,0-1-42 16,-3-2 44-16,0 8-56 0,0-2 33 15,-3-1-5-15,-2 1-85 0,0 0 59 0,-3 0-25 16,0 0 2-16,0 0-25 15,1-1-32-15,-3-2-19 0,0 2-60 0,2 1-45 0,0-4-31 0,0 3-67 16,3-4-44-16,0 0-73 0,0 2-175 0,2-3-368 16,3 0 20-16,-5 3 60 0,5-3 132 15,0 0 67-15,0 0 58 0,0 0 50 0</inkml:trace>
  <inkml:trace contextRef="#ctx0" brushRef="#br0" timeOffset="33821.25">3708 5119 1205 0,'0'0'422'0,"0"0"-35"0,0 0-29 16,0 0-10-16,4 7-48 0,-4-1-6 0,0-2-40 15,2 4-21-15,-2-2-29 16,2 3-14-16,0 0-8 0,1-2-21 0,0 1-18 0,-1 1-20 16,4-1-18-16,-4-1-10 0,3-2 2 0,0 1-23 0,-2-3 16 15,2 1-13-15,-2-1 7 16,2 0-10-16,-2-1-10 0,-3-2 26 0,10-1 81 15,-10 1-12-15,10-5 10 0,-7 3-87 0,2-3-5 16,-2 0 17-16,-1-1 27 0,3 3-14 0,-3-3-7 16,1 2 15-16,-1 2 0 0,1-4-17 15,-1 4-11-15,-2 2 13 0,3-5-8 0,-3 5-3 16,3-3-4-16,-3 3-37 0,0 0-7 16,0 0 28-16,7 10-38 0,-4-6-5 0,-3 0-29 15,5 0-68-15,-3 3-6 0,-1-3-28 0,1 1-39 16,3 0-81-16,-4 0-26 0,3 0-30 0,-1-1-34 15,0 0-107-15,2-3-126 0,-2 3-427 16,1-4 66-16,-4 0 110 0,10 0 80 0,-10 0 84 16,9-2 59-16,-2 5 100 0,-4-6 428 15,2-1 158-15,0-3 71 0,0 1 52 16,0 0 18-16,0 0 15 0,0 0 11 0,-2 0 66 16,2 1-3-16,-3 1-4 0,1 0-14 0,0 0-20 15,0 3 23-15,-3 1-84 0,7-2-1 0,-7 2 14 16,0 0-34-16,10 3-8 0,-7 1 29 15,2 0-34-15,-5 0 75 0,3 2-44 0,1 0-28 16,-3 1 10-16,1-1-8 0,1 3-48 0,-1-2-23 16,0 0 2-16,2-1 3 0,-2 0-28 15,-1-3 28-15,1 2-13 0,0 0-59 16,1-3-28-16,-3-2 44 0,2 3 23 0,-2-3-47 16,0 0 1-1,0 0 15-15,8-6-31 0,-6 2 5 0,1-2-2 0,-1 0-23 0,1-1-31 16,0 1 28-16,-1 0-18 0,1-2-18 0,2 2 26 15,-3-1-61-15,1 1-37 0,0-3-30 0,0 3-54 16,1 1-48-16,-1-3-64 0,2 4-37 16,-2-2-84-16,2 1-145 0,0 0-426 0,2 2 52 15,-1-2 51-15,2 1 99 0,-1 2 98 0,1-2 49 16,2 1 43-16</inkml:trace>
  <inkml:trace contextRef="#ctx0" brushRef="#br0" timeOffset="34419.46">4260 5119 1469 0,'0'5'402'0,"0"2"-36"0,0-1-13 0,0 2-54 0,0 2-35 16,0-1-21-16,0 1-12 0,2-1-22 15,-2 0-22-15,1 0-23 0,1-1-10 0,-2 1-19 0,2-2-17 16,-2-1-33-16,3 0 17 0,-3-3-69 15,3 1-17-15,1-3-11 16,-4-1 15-16,6 4 52 0,-6-4-31 0,0 0 18 0,13-7 28 16,-6 3 5-16,-2-2 8 0,0 1-3 0,0 2-5 15,1-2-10-15,2 1-8 0,-3 0 98 16,2 1-16-16,-2 1 0 0,1 1 10 16,1 1-25-16,-7 0-18 0,11 1-97 0,-7 0 7 0,2 3-2 15,-2 0-16-15,0 0-30 0,0 1-31 16,-1-2-57-16,2 2-76 0,-4 1-33 0,1-1-62 15,3-3-218-15,-2 4-94 0,1-1-369 0,-1-5 98 16,-3 0 68-16,8 2 103 16,-8-2 41-16,10-6 98 0</inkml:trace>
  <inkml:trace contextRef="#ctx0" brushRef="#br0" timeOffset="34677.21">4670 4891 1292 0,'0'0'494'0,"0"0"67"0,0 0-49 0,0 0-100 0,0 0-26 16,7 17-27-16,-4-9-24 0,0 4-30 15,-1 1 17-15,1 4-51 0,2 2 14 16,-3 1-40-16,-2 2-37 0,1-2-19 0,1 3-10 16,-2-2-20-16,-2-1-18 0,2 2-29 0,-1-3-40 15,1-3-16-15,-2 1-66 0,0-3-54 0,2 0-36 16,-4-4-76-16,3-1-55 0,0-2-45 15,1 0-149-15,-5-2-105 0,5-3-427 0,0 0 117 16,0-2 21-16,0 0 138 0,0 0 85 0,0 0 17 16,-3-16 52-16</inkml:trace>
  <inkml:trace contextRef="#ctx0" brushRef="#br0" timeOffset="34903.6">4718 4833 1466 0,'-5'0'466'0,"5"0"-51"0,0 0 81 0,-15 7-53 0,10-3-141 16,-3 2 16-16,0 1-19 0,-2 1-35 0,0 3-21 15,-2 1-28-15,-1 2-23 0,-1 3-5 0,-1 2-34 16,-1-1-14-16,2-2-14 0,-6 8-33 16,4-3-69-16,3-2-43 0,0-3-52 0,3 0-61 15,0-3-8-15,2 0-69 0,0-4-123 16,6-4-117-16,-4 1-436 0,4 1 49 0,-1-3 98 0,3 1 35 15,0-5 130-15,0 0 14 16</inkml:trace>
  <inkml:trace contextRef="#ctx0" brushRef="#br0" timeOffset="35163.67">4618 4860 1418 0,'0'0'465'0,"16"2"12"0,-8-1 34 0,2 0-45 16,3 3-36-16,0-2-92 0,4 4-5 0,-1-1-5 31,5-2-19-31,-1 2-27 0,5 2-6 0,-4-3-12 0,3 3 20 0,-2-2-15 0,-1-1-16 16,-1 1-27-16,-2 0-14 0,-2 0-38 0,1-2 16 16,-4 1-45-16,1-1-17 0,-4 0-53 15,2-2-52-15,-4 3-5 0,0-3-29 16,-1 1-30-16,-2-2-74 0,0 4-64 0,-1-4-69 0,-4 0-59 15,4 3-95-15,-8 1-223 0,4-4-440 0,-3 6 113 16,0-3 92-16,-2 1 128 0,2-3 43 16,-4 5 47-16,-1-2 99 0</inkml:trace>
  <inkml:trace contextRef="#ctx0" brushRef="#br0" timeOffset="39341.71">6939 4870 970 0,'-3'-5'460'0,"1"2"-4"16,2-2-34-16,0 1 42 0,0 4-37 16,-2-6-51-16,2 6-7 0,0 0-34 0,0 0-22 15,0 0-101-15,-6 17-2 0,4-4-51 0,-1 1 4 16,3 4-9-16,-3 3-3 0,1-1-33 15,-1 6-16-15,1 3 8 0,-1-1-15 16,-2 8 5-16,3-5-41 0,-3-4-39 0,2 1-28 0,0-2-45 16,0-2-32-16,1-4 8 0,0-1-43 0,-1 0-28 15,0 0-57-15,3-6-13 16,-2 0-30-16,2-2-62 0,-2-2-133 16,1 0 1-1,1-3-388-15,0-3 37 0,0 2 132 0,0-5 52 0,-2 4 36 0</inkml:trace>
  <inkml:trace contextRef="#ctx0" brushRef="#br0" timeOffset="39734.97">6901 4964 1195 0,'7'-15'376'0,"3"3"-51"0,0 0-2 16,1 2-11-16,2 3-23 0,-1 1 62 15,1 3-34-15,3 0 1 0,-4 1-32 0,-1 2-30 0,1 2-10 16,-1 2-28-16,-4 0-11 0,1 1-30 15,-5 4-14-15,-1-2-11 0,-2 3-17 0,-4 0 6 16,1 4-21-16,-3 2-15 0,-1 0-15 16,-6 3-21-16,0-2-8 0,1 2-12 0,-2-3-16 15,2-3 29-15,2 0-3 0,-1-1-31 16,3-4 25-16,-2 1-19 0,2-1 7 0,1-1-11 16,2-2 37 15,0-1-31-31,0 1-8 0,2-1 3 0,-2 2-16 0,2-2 16 0,3 0-11 0,-2 1-22 0,2 0 27 0,0-1-2 0,0 2-18 15,2-1 24-15,4 0-9 0,-4 1-2 0,3 0 2 16,1-1-27-16,1-1 7 0,1 2 5 16,2-1-3-16,-3 0-9 0,1 1-21 0,0-4-11 15,2 3-48-15,-2 0-38 0,-1-3-16 16,2 0-33-16,0 1-36 0,0-1-89 0,1 1-108 0,-2-5-141 16,-1 2-399-16,3-1 97 15,0-1 77-15,-2-1 95 0,2 1 56 16,0-4 61-16</inkml:trace>
  <inkml:trace contextRef="#ctx0" brushRef="#br0" timeOffset="40043.35">7203 5119 1013 0,'-6'-5'412'0,"6"5"-23"0,-4 0-20 16,4 0-16-16,-8 5-28 0,3 1-33 16,5 2-26-16,-3-1-25 15,1 3 5-15,0-2-49 0,1 2-36 0,1-1 18 0,1 2-53 0,3 0 2 16,-1-1-8-16,2 0-8 0,3 1-12 15,0-3-31-15,-1-1-5 0,6-2 34 0,-3 1-32 16,1-4-17-16,-1-2 28 0,0 1-16 16,0-2 13-16,-2-1 26 0,2-2 10 0,-4 2-56 15,1-4 0-15,-2 1-13 0,-2-1 18 0,-3-2-11 16,0 1 3-16,-5-3 1 16,2 1-11-16,-4-1-13 0,1 2-3 0,-1-1 3 15,-3 1 13-15,1 2-18 0,0 0 6 0,-2 3-37 0,3-1-23 16,-2 3 8-16,-2 1-41 0,3 0-10 15,-1 1-46-15,-2 0-19 0,2 3-40 0,1-2-33 16,2 2-49-16,-1 0-144 0,1 0-68 0,1 1-410 16,4-4 33-16,2-1 128 0,-2 5 115 15,2-5 44-15,0 0 64 0</inkml:trace>
  <inkml:trace contextRef="#ctx0" brushRef="#br0" timeOffset="40474.67">7413 4935 1336 0,'0'0'458'0,"0"0"-33"0,0 0-39 0,5 10-117 15,-2-4-13-15,-3 3-36 16,3 3-38-16,-1 2-3 0,0 3-23 0,4 0-2 0,-4 5-8 16,4 1-18-16,-2 1-13 0,2 1-10 15,-1 2-16-15,0-1-12 0,0-1-15 0,0 1-4 31,-2-6-11-31,-1-2-30 0,1 0 27 0,0-5-1 0,-3 0 34 0,2-1 0 0,0-5 5 16,-2 1-21-16,0-4 1 0,0 2 7 0,0-4 5 16,0-2-2-16,0 0 7 0,0 0 1 0,0 0 12 15,0 0-26-15,3-19-4 0,2 13 17 16,-3 0-23-16,4-1-22 0,-3 1 4 16,4-1 18-16,-2 2-15 0,1-1-15 0,1 4-13 15,-2-2-1-15,1 2 22 0,-1 2 9 16,2 0-22-16,-7 0 22 0,8 0 1 0,-3 3-21 15,-2 1 13-15,-1 1 79 0,-2-2-8 0,0 3 6 0,-2 0 2 16,-1 1-28-16,-2 3-38 16,0-1-11-16,-3 0-7 0,1-1-34 0,-3 0-35 15,2 2-31-15,-3-4-54 0,1 1-38 16,0-1-29-16,0 0-55 0,-1 0-111 16,3-5-141-16,1 2-458 0,2-5 29 0,5 2 114 0,-10-3 85 15,7-3 70-15,-2 0 55 0,5-4 67 0</inkml:trace>
  <inkml:trace contextRef="#ctx0" brushRef="#br0" timeOffset="40942.94">7567 4953 1195 0,'0'0'402'0,"0"0"-46"0,10 3-13 16,-7 0-18-16,2 2-28 0,-2 2-39 0,4 4-15 15,-4 1 3-15,4 3-16 16,-1 3-15-16,1 2-38 0,-1 4-8 0,1 0-5 15,-2 2-11-15,1 3-32 0,-1 4-19 0,0-4-23 16,-2-3-15-16,-1-6-5 0,0 3-20 0,1-4-6 16,-1-1-2-16,-2-3 4 15,3-2-6-15,-3-2 27 0,3-3 0 0,-3-2-20 0,0 1 18 0,0-3 15 16,0-4 87-16,-3 3 0 0,3-3-7 16,0 0-6-16,0 0-89 31,3-17-8-31,-3 7-15 0,2-2 15 0,1 2-23 0,2-2 13 0,-2 0 25 0,1 0 8 0,4 0-23 0,-2 1-18 31,1 3-10-31,1 1-2 0,0 1 7 0,0 0 12 0,-1 1-6 0,1 4 6 0,-1-1-6 16,1 2 32-16,0 0-15 15,-3 2-5-15,0-1-15 0,0 4 48 0,-3 1 28 0,-1 0-4 0,-2 1-14 16,-1 0-7 0,-3 4 12-16,0 1-25 0,-6-1-2 0,2 1-1 0,-2 2-22 15,1-3-27-15,0 0-9 0,-1 0-16 0,1-4-28 16,2 1 0-16,0-2-38 0,1 1-39 0,-1-3-25 15,1 1-26-15,1-3-36 0,2 1-38 0,4-3-44 16,-6 0-25-16,6 0-82 0,0 0-128 16,0 0-93-16,0-5-288 0,0 5 79 0,8-6 68 15,-3 1 63-15,0 4 68 16,1-3 65-16</inkml:trace>
  <inkml:trace contextRef="#ctx0" brushRef="#br0" timeOffset="41619.81">7918 5392 1003 0,'0'0'407'0,"0"0"-26"0,0 0-33 0,8-14-12 15,-6 11-29-15,4-3-10 0,-1-1-34 16,0 2-1-16,-2-2-22 0,2 0-27 0,0-3-16 15,-3 2-5-15,1-2-5 0,-1 2-21 0,-1 1 16 16,-1-3-3-16,0 2-41 0,-1 1 0 16,1 0 0-16,-2 1-15 0,2 0-15 0,-3 1 7 15,1 1-41-15,-1 1 1 0,3 3 4 16,-7 0-28-16,7 0-2 0,0 0-13 0,-8 6 30 16,5-3-25-16,3 2-36 0,-2 0-23 15,2 1 3-15,2 0-52 0,1 0 16 0,0-4 13 0,1 3-21 16,2 1 5-16,1-4 31 15,1 2-5-15,0-3-13 0,2 0 28 16,0 2-38-16,0-2 18 0,-1 1 25 0,1 0-20 0,-2 1 30 16,2-2-7-16,-3 2-10 0,-1-1 25 15,1 1 0-15,-2 1 1 0,1 1 24 0,-2-2-11 16,-1 1-9-16,0 1 10 0,-1-2-14 0,0 2 37 16,-2 0-14-1,3-3 27-15,-3 2 13 0,0-4-76 0,3 7-1 0,-3-7 13 16,0 2 34-16,0-2-3 0,0 0-3 0,0 0 77 15,0 0 31-15,0 0-25 0,0 0-11 0,0 0-8 0,0-14-23 16,2 7 19 0,0 1-57-16,-1 0 25 0,4-1-4 0,-3 0-21 0,1 0-11 15,2 0-25-15,-2-1-2 0,2 2-52 0,-2 3-22 16,1-3-44-16,2 2-24 0,-1 2-35 16,2-2-28-16,-4 2-39 0,5-1-76 0,-3 2-103 15,0-1-174 1,3 1-394-1,-3-1 146-15,2 0 72 0,-1 1 61 0,-1 1 61 0,2-2 103 0,-1-1 23 0</inkml:trace>
  <inkml:trace contextRef="#ctx0" brushRef="#br0" timeOffset="41910.71">8249 5256 803 0,'0'0'277'0,"0"0"-21"16,5 0-5-16,-5 0-3 0,0 0-26 0,0 0-19 0,2 5-27 0,-2-5-9 0,0 0-14 15,3 2-30-15,-3-2 8 0,0 0 63 0,0 0-27 0,0 0-27 16,13-4 6-16,-13 4-7 0,8-1-11 0,-8 1-18 15,8 0 20-15,-1 0-7 0,-4 3-92 16,2-1 30-16,-2 3-7 0,2-2 23 0,-3 6 5 16,3 1 33-16,-2 3 74 0,-1 1-7 0,1 3-28 15,-3 1 7-15,0 5 23 0,0-4-28 16,-2 3-23-16,1-1-10 16,-1 0-18-16,-3 2-13 0,2-3 11 0,1-1-16 0,-4 0-28 0,2-2-11 15,-2-2-30-15,1-2-72 0,2 2-15 0,-1-5-89 16,1 0-37-16,0-2-133 0,1 1-271 15,0-4-360-15,1-2 40 0,1 0 133 0,0-3 82 32,0 0 66-32,0 0 83 0,0 0 46 0</inkml:trace>
  <inkml:trace contextRef="#ctx0" brushRef="#br0" timeOffset="42352.93">8756 5150 1395 0,'0'0'511'0,"0"0"-37"0,0 0-18 16,0 0-49-16,-4 13-26 0,4-6-41 0,-3 4-20 15,3 0-48-15,-3 3-16 16,3 0-18-16,-2 1-51 0,0 1 17 0,-2 2-124 0,2 0-34 16,-3 0-10-16,2-1-57 0,-1-1-63 0,1-2-3 15,0 0-39-15,1-3-45 16,-1 0-98-16,1-4-120 0,-1 1-456 0,3 0 1 16,-3-5 101-16,1 2 103 0,2-5 39 0,-5 0 81 0</inkml:trace>
  <inkml:trace contextRef="#ctx0" brushRef="#br0" timeOffset="42461.14">8662 5037 970 0,'0'0'289'0,"-6"-4"-36"0,6 4-125 0,0 0-179 0,0 0-535 0,0 0-8 0</inkml:trace>
  <inkml:trace contextRef="#ctx0" brushRef="#br0" timeOffset="42817.52">8805 5111 1041 0,'3'14'507'0,"-3"-2"-41"0,3 1-13 0,-1-3-59 0,1 0-33 0,-1 3-13 0,1-2-64 0,-1 2 1 0,1-1-53 15,-1 0 9-15,1-3-8 0,0 3-131 16,-3-2 14-16,2-3-4 0,0 1 11 0,2-2 8 0,-4 1 99 16,0-2 3-16,2 0-105 0,0-4 25 0,-2-1-30 15,3 4 33-15,-3-4-22 16,0 0 11-16,7-6 14 16,-4 1 2-16,2 1-45 0,-2 0-29 0,2 0-11 0,0-1 14 0,1 2 2 15,-2-2-5-15,-1 4 0 0,2-1-23 16,1 0-10-16,-6 2-8 0,12 2-15 0,-7 1-3 15,1-1 8-15,1 2-39 0,0-2-63 16,-1 3 4-16,-3 0-22 0,4-1-52 0,-4 1-69 0,4 0-38 16,-2 1-64-1,-2 0-56-15,2-2-198 0,-2-2-473 0,2 1 100 0,0 0 43 0,2-2 164 16,-1-1-8-16,2 0 70 0,-8 0 78 16</inkml:trace>
  <inkml:trace contextRef="#ctx0" brushRef="#br0" timeOffset="44266.21">9342 4987 1379 0,'0'0'397'0,"0"0"-36"15,-11 7-21-15,6-5-15 16,0 3-41-16,0 1-7 0,0 2-11 0,-1 3 0 15,-2 1-22-15,1 1-24 0,0 4-18 0,-1-1-13 16,2 3-22-16,-1 3-14 0,-1-1 14 0,1 3-60 0,2-2-2 16,-1 1-15-16,1-5-6 0,0 1-10 15,2-2-10-15,1 0-18 0,-1-3 6 16,3-1-9-16,0-1-15 0,3-4 11 0,-1-2-6 16,1 1-20-16,2-1 5 0,0-1-23 0,3-5 10 15,0 1 2-15,-1-2 4 0,3-1-14 16,4-3-7-16,-2-1 7 15,1-1-12-15,2-4 5 16,-4 0-11-16,1-2-2 0,1-2 0 0,3-1 8 0,-6-3-11 0,2 1-5 16,-1-1 8-16,-1 1 5 0,-2 4 3 15,-3-1 0-15,2 3 15 0,-1 0-16 0,-1 1 6 0,-2 3 18 16,-1 0 0-16,0 0 2 0,-2 2 18 0,0 2-28 16,0 0 36-1,0 4-21-15,-4-3-10 0,4 3 3 0,0 0 17 0,0 0-7 0,0 0 18 16,-14 9-2-16,10-4 24 0,1 2-19 0,-2-1-3 15,2 1-6-15,1 1-7 0,-3 2 0 16,5-1 13-16,-3 1-2 0,3-3 1 16,0 4-9-16,0 0-6 0,0-2 6 0,2 2-13 0,-1-3 10 15,1 2-8-15,1-2-7 0,0-1 25 16,1 0-28-16,2 0-15 16,-2 0-3-16,2-2 3 0,-1 0-13 0,2 0-13 0,1-3-33 0,-3 2-23 15,1-3-5-15,2 1-13 16,-1-2-21-16,0 0 8 0,-7 0-36 15,14-3-30-15,-7 3 12 0,1-3-12 0,0 2-80 0,0-1 0 16,-1-2-48-16,0 1-3 0,1 0-5 0,0-2 20 16,-3 1 3-16,1-2 59 0,1 1-15 15,0-1 20-15,-1-1 53 0,2-1 55 0,-3-1 12 16,2 0 44-16,1-1 56 0,-3 2 77 0,1 0 41 16,-2-1 40-16,-1 2 4 0,2 1 32 15,-3 0-2-15,1-1 13 0,0 2-2 0,-3 2 17 16,0-2-20-16,0 5-11 15,0-5 1-15,0 5-16 0,0 0 5 0,-6-1-2 0,6 1 15 0,0 0-31 16,-7 6-25-16,2-1-11 0,3-2-9 16,-2 3-9-16,0 0 6 0,1 1-6 15,-2 0-19-15,2 2 4 0,1-2-26 0,-1-1 19 16,1 2-3-16,-1 1-33 0,1-1 12 16,2-2-12-16,0 0-3 0,0-2 18 0,0 0-20 15,2 1-16-15,1-2 5 0,-1 0-7 0,-2-3 20 16,5 2-13-16,-5-2-9 0,0 0-12 0,13-2 17 15,-10-1-4-15,2 0 9 16,0-2 9-16,0 1-17 0,-2 0-5 0,4-2-9 0,-4 1 9 16,-1 0 7-16,2-2-5 0,0 4-2 0,-1-2 20 15,0 1-28-15,-1 2 10 16,-2-3-8-16,0 5 14 0,0 0-24 0,0 0 15 16,0 0-7-16,0 0-10 0,0 0 23 0,0 0-11 15,0 0-15-15,0 0 10 0,-8 11-9 0,8-11 17 16,0 7 5-16,0-5-23 15,0-2-13-15,-2 6-2 0,2-6 12 16,0 5 1-16,0-5 15 0,0 5-18 0,0-5 5 0,5 1-5 0,-5-1 0 16,0 0 28-16,0 0-23 15,0 0 31-15,15-5 7 0,-10 3-12 0,0-1 15 0,1 2-18 16,-2-2 3-16,2 0-3 0,-6 3 28 0,10-2-10 16,-7 2 5-16,1-2 6 15,-4 2 14-15,8-3-2 0,-8 3 0 0,8 4-20 0,-8-4 33 16,3 2-18-1,-1 1-18-15,-2-3 18 0,0 5-5 0,0 0-19 0,-2-1 4 0,1-1-3 16,-3 3-5-16,1-1-1 0,0 0-9 16,1 0 7-16,0-2-15 0,-2 1-15 15,4-1-14-15,-2 1-12 0,0-1-10 0,2-3-11 0,-3 5-12 16,3-5-8-16,0 0 10 0,0 0-5 16,0 0 24-16,0 0-4 0,0 0 1 0,15-8 2 15,-12 4 28-15,2-2-23 0,3 3-2 0,-1-5 38 16,1 0-10-16,0-1 7 0,0 2 19 15,-1-3-8-15,1 2-19 16,0-3 12-16,-1 3 6 0,1 1-7 0,-3-2 24 0,-2 3 6 16,4 0-19-16,-4 2 25 0,2-1 20 0,-3 1-18 15,-1 0 39-15,-1 4-41 0,0 0 8 16,0 0-18-16,0 0-14 0,0 0 24 0,0 0 16 16,0 0-29-16,0 0 13 0,0 0 0 0,0 0 7 15,-3 13-35-15,3-13 30 0,0 3-32 16,0-3 27-16,2 4-25 15,-2-4 12-15,3 2 3 0,-3-2-20 0,10 1 18 0,-10-1 2 16,8 0 20-16,-2 1-2 0,1 1 5 0,-7-2 31 16,10 1 0-16,-4 0 0 0,-1 3 5 0,2-2 10 15,-2 3 11-15,-2-2 4 0,2 2-7 16,-5 1-10-16,0 1-18 16,0-1 7-16,-3 0-5 0,-1 5-38 0,-2-4-51 0,1 4-51 15,-3-4-57-15,0 1-97 0,1 1-141 0,2-2-581 16,0-4 69-16,0 1 80 0,-1-2 79 15,4-2 79-15,2 0 100 0,0 0 16 0</inkml:trace>
  <inkml:trace contextRef="#ctx0" brushRef="#br0" timeOffset="44382.99">10080 5144 1650 0,'2'-4'576'0,"1"1"-64"0,-1-1-46 15,1 2-36-15,0-3-97 0,-1 3-87 16,0-3-113-16,-2 2-97 0,3 0-146 15,-3 3-264-15,3-5-486 0,-3 3 87 0,2-2 79 16,-2 4 105-16,0-7 101 0</inkml:trace>
  <inkml:trace contextRef="#ctx0" brushRef="#br0" timeOffset="62997.25">3150 6494 926 0,'5'-1'294'0,"-5"1"-12"16,0 0-29-16,0 0-9 0,8-3-17 0,-8 3-1 16,0 0-14-16,4-1-38 0,-4 1-2 31,0 0 17-31,0 0-30 0,0 0-6 0,6-1 16 0,-6 1 59 0,0 0 8 0,0 0-14 0,2-2-35 15,-2 2 8-15,0 0-3 16,-2-8-26-16,2 8-89 0,-5-3 2 0,5 3-10 0,-8-4-10 16,3 3-13-16,5 1 8 0,-16 1-3 0,6-1 11 15,0 4-1-15,-3-2 11 0,-2 3-26 16,-1 0 15-16,-2 2 6 0,3 0-31 16,-3 1 2-16,0 0 0 0,-2 2 3 0,4 0 21 15,0-2-16-15,1 4-28 0,0-4 10 0,3 2 13 16,1-4 0-16,3 1-28 15,-2 0 5-15,4-2-8 0,2 1-23 0,1 1 23 0,0-2 11 16,3-2-19-16,0 2 1 0,3 0-11 16,2 0 13-16,1-3 16 0,1 3 4 0,3-2-25 15,-2 2-7-15,5-2-16 0,0 0 41 16,2 3-3 0,1-2-23-16,-1-1 13 0,1 2-10 0,1 0 18 0,-2-2-23 0,-4 2 12 0,2 0-12 0,-3-3 8 15,0 2 27 1,-3 0 3-16,-1 0 34 0,-1 1 7 0,-2-2 87 0,-1 3 26 15,-2-1-36-15,-2 0 41 0,-4 2-42 0,-2 0-9 16,-2 3-10-16,-2-2-19 0,-4 0-20 0,1 2-2 16,-3-3 4-16,0 1 8 0,-3 1-27 0,4-2-70 15,-4-2 0-15,3 1 0 16,-2-3 0-16,6 1 0 0,-3-1 0 0,4-2-90 0,1 2-69 16,3-2-66-16,-1 0-41 0,5-1-39 0,0 3-81 15,5-3-177-15,-5 1-275 0,5-1-170 16,0 0 92-16,0 0 97 0,0 0 104 15,23-5 83-15,-13 4 66 0,0-2 29 0</inkml:trace>
  <inkml:trace contextRef="#ctx0" brushRef="#br0" timeOffset="63840.64">3235 6625 1044 0,'0'0'471'0,"0"0"-41"0,-1-5-31 0,1 5-56 15,0 0-33-15,0 0-26 16,0 0-18-16,0 0-5 0,0 0-48 0,-8 12 2 0,8-7-28 16,-2 2-13-16,2 0-18 0,0 3-15 15,-2-1 5-15,1-2-21 0,1 3-10 16,0-2-2-16,1 3-19 0,1-4 1 0,-2 1-36 15,2 2 8-15,-1-3 4 0,1 0-22 0,3-1-11 16,-3-1 29-16,1 1-26 0,2-4-3 0,-2 3-2 16,2-5-13-16,-5 0 0 0,8 0 28 15,-8 0-23-15,7-5 11 0,-1 3-6 0,-2-4 29 16,2 0-21-16,-2 1 2 0,2-2 6 16,-4 0 4-16,1 0 1 0,0 0 13 0,2 1-16 15,-3 0-15-15,1 0 7 0,-2 1 37 0,1 0-19 16,0 0-10-16,-2 1 0 0,3 0 6 15,-3 4 4-15,0-6-43 16,0 6 41-16,2-2-23 16,-2 2 15-16,0 0-25 0,0 0-29 0,0 0 3 0,0 0 31 0,5 9 10 0,-5-5-34 15,0 1 22-15,0-5-42 0,1 8 36 0,-1-3-21 16,2-1-4-16,-2 0 15 0,3 1-19 16,-3 0-9-16,2-2 0 0,-1 2 10 15,1-3-16-15,0 2 19 0,1-1-14 0,-1 1 1 0,-2-4 7 16,3 2 1-16,-3-2 1 0,5 3-14 15,-5-3 25-15,0 0 0 0,0 0-30 0,15-5 32 16,-12 3 6-16,2-2-21 16,-2 3 26-16,2-3 0 0,-1 2 3 0,2-2 2 0,-1 2-10 15,1 0-21-15,1-3 8 0,-2 4 2 16,0-3 27-16,0 4-37 0,3 0 13 0,-3 0 3 16,-5 0-8-16,13 0 28 0,-5 1-10 0,-3 2-11 15,3-2 11-15,-4 1-7 0,2 1-4 0,-2-1 11 16,2 0 5-16,-1 3-15 0,0-5-11 15,-2 4-12-15,-1-3 28 0,4 0-6 16,-4 3 11 0,-2-4 5-16,6 2-15 0,-2-1 20 0,-4-1-18 0,6 3 31 0,-6-3 16 15,0 0-11 1,7-4 0-16,-1 0-87 0,-1 0-5 0,0 0 5 0,0-3-3 0,2 1 21 0,-1 1 18 0,2 2-20 16,-3-2 27-16,2 0 1 0,-2 3-21 15,3-2 20-15,0 3 16 16,-3 0 0-16,2 0 16 0,1 1-19 0,0 0-15 0,-3 1 2 15,3 0 14-15,-1 0 7 0,-2 4-18 16,3-4-43-16,-2 4-1 0,-2-3-17 0,-1 3-34 0,2-1-25 16,-3-3-54-16,1 4-28 0,2-2-41 15,-2 2-72-15,-1-3-28 0,1 2-138 16,0 1-77-16,1-3-424 0,0 0 106 0,0 1 85 0,2-1 57 16,-2 2 69-16,4-3 112 15,-3 0 41-15</inkml:trace>
  <inkml:trace contextRef="#ctx0" brushRef="#br0" timeOffset="64915.53">3877 6434 995 0,'0'0'392'0,"0"0"-16"16,10 9-51-16,-6-2-13 0,0 4-33 0,2-1-12 15,-3 5-37-15,1 0-17 0,1 4-39 0,0-1-5 16,-1 1-11-16,0 0-22 0,-1 0 0 15,0-1-26-15,-1 0-18 0,0 0-18 0,1-4 10 16,-3-2-20-16,3 1 8 0,-3-5-18 0,2 3 23 16,-1-4-26-16,0 0 46 15,-1-2-2-15,0 0-3 0,0-2 13 0,0-3 2 16,0 0 47-16,0 0-6 0,0 0-7 0,0 0-3 0,6-9-10 16,-3 2-17-16,2 0-40 0,0-1 16 15,0 1-5-15,2 0-5 0,1 1-8 16,0-2-13-16,2 3-4 0,-2-1 1 0,-1 5-9 15,2-5 17-15,0 5 1 0,-1 1-3 0,-3 0 17 16,-5 0 6-16,11 5 33 0,-6-2-89 16,-3 3 30-16,1-1 37 0,-3 1-19 0,-3 2-15 15,1-1-11-15,-3 4 1 0,-3-1 12 16,0-1-17-16,-2 3-13 0,-2-1 10 0,3-4-34 16,-3 5-30-16,4-5-15 0,-2 0-26 15,0 0-57-15,0-1-37 0,2-1-27 0,2-1-35 16,-1-2-33-1,1-1-21-15,2 1-25 0,4-2-67 0,-6 0-100 0,6 0 2 0,0 0-457 16,0-5 30-16,0 5 144 0,6-8 53 0,-4 6 77 16,3-5 82-16</inkml:trace>
  <inkml:trace contextRef="#ctx0" brushRef="#br0" timeOffset="65586.42">4165 6613 1072 0,'0'0'351'0,"0"0"-3"0,0 11-13 0,0-7-43 0,-2 1-31 0,1 0 0 16,1 2-43-16,-2-1-19 0,4 2-37 0,-2 0 7 0,1 0-13 15,1 0-39-15,0-2-4 0,1 1-13 16,0 0-21-16,1-2 21 0,2 1-21 16,-3-1-22-1,2-3 9-15,-1 3-30 0,2-5-10 0,-1 0 7 0,-5 0-10 0,12 0 0 0,-6-2-2 16,-1-1 19-16,0-1 1 15,0-1-5-15,0 0 8 0,0-1 7 0,-1 1-5 16,0-2 5-16,-1 1-10 0,-1-1 10 0,1 4 93 0,-1-3 4 16,1 2-20-16,-3 0 13 0,0 1-28 0,0 3-29 15,5-4 13-15,-5 4 3 0,0 0-38 16,0 0 25-16,0 0-21 0,3 11 6 0,-1-9 2 16,-2 3-23-16,3 1-17 0,-1 1 7 15,-1-1-11-15,4 1-2 0,-3 0-12 16,3 1-16-16,-2 0-34 0,2-1-30 0,0-1-20 15,-2 1-44-15,1-1-28 0,0 0-18 0,0 1-51 16,-1-2-42-16,2 0-22 0,-2-3-44 16,2 3 24-16,-3-5-52 0,-2 0 31 0,8 2 58 15,-8-2 21-15,0 0 39 0,8-3 86 0,-5-1 32 16,1 1 30-16,-1-2 82 0,0-1 20 0,-1 1 18 16,1-1 13-16,2 0 31 0,0-1 23 15,0 1-23-15,0 1 36 0,0 2 4 16,0-2 19-16,-2 3 10 0,4-1-33 15,-3 2-6-15,-4 1 1 0,12 0-8 0,-12 0 5 0,11 4 0 16,-4-2 69-16,1 3-28 0,-5-2 25 16,4 2-25-16,-4 1-5 0,-1 0-18 0,0 1-13 15,-1-3-8 1,-1-1-7-16,0 3-21 0,2-1 11 0,-2 0-75 0,0-2 1 0,0-3 30 16,-3 6-24-16,3-6 22 0,0 4-8 0,0-4-6 15,0 0 14-15,0 0-3 0,0 0 10 0,0 0-13 16,-4-13-25-16,4 8-18 15,0-2 25-15,0 1-33 0,2 1 0 0,-2-2 5 0,2-1-33 16,1 2-43-16,2-3-21 0,-3 2-54 0,4 1-25 16,-3 0-29-16,4 3-51 0,-4-3-43 15,2 2-100 1,2-3-131-16,-1 5-414 0,-1-2 84 16,0 4 62-16,0-2 81 0,1-2 68 0,1 3 68 0</inkml:trace>
  <inkml:trace contextRef="#ctx0" brushRef="#br0" timeOffset="66049.87">4655 6606 1180 0,'0'0'350'0,"5"-2"-4"0,-5 2-113 0,0 0-3 0,5-3-23 0,-5 3-10 16,0 0-7-16,2-1-13 0,-2 1-24 15,0 0-7 1,0 0-21-16,0 0 14 0,0 0-27 0,0 0 1 0,6-2-29 0,-6 2 14 16,0 0 1-16,0 0-17 0,4 7 26 0,-3-4 2 15,1 1-13-15,-2-2 8 0,3 3 0 16,-1 1 10-16,-1-1-20 0,1 1 7 16,1-2-9-16,-1 2-12 0,0 0 14 0,-2-1-15 0,3 2-9 15,-3 2-4-15,3-2 4 0,-3 0-22 16,2-1 12-16,-1-1-4 0,1 0 17 15,-2-1-36-15,2 1 19 0,-2-2 76 0,0 1 5 0,0-4 13 16,3 6-33-16,-3-6-8 16,0 0 0-16,0 0-8 0,0 0-10 0,0 0 13 15,0 0-58-15,11-11 17 0,-7 8 2 0,-1-1-7 16,2 4-5-16,-2-4-11 0,2 1 3 0,-1 2 8 16,2-2-8-16,-6 3 21 0,8 0-72 15,-8 0-3-15,10 0-2 0,-5 2 12 0,-5-2-30 16,10 2 13-16,-7-2 2 0,2 2-31 15,-5-2-9-15,8 3-29 0,-5-1-34 0,-3-2-27 16,7 0-59-16,-7 0-26 0,7 1-76 16,-3 2-65-16,3-3-199 0,-2 0-431 15,0 0 98-15,2-3 64 0,2 3 156 0,1 0 24 0,2-1 68 16,-1 1 46-16</inkml:trace>
  <inkml:trace contextRef="#ctx0" brushRef="#br0" timeOffset="66335.1">5201 6727 1597 0,'0'-6'463'0,"2"-3"8"16,-2-1-33-16,0-3-31 0,0 0-31 0,0-2-48 0,0-4 20 15,-2-3-64-15,4 2-13 16,-2-4-46-16,0-3 11 0,0-2-36 0,0 4-37 15,0 3-9-15,0 0-44 0,0 2 18 0,0 2-5 16,0 4-5 0,0 1-29-16,0 2-17 0,0 0-46 0,0 3-34 0,0 2-25 0,0 0-49 15,-2 2-21-15,2 1-45 0,0 3-24 16,0 0-63-16,0 0-88 0,0 0-181 0,0 0-420 0,-8 7 36 16,8-7 79-16,-5 7 90 0,4-6 43 15,1-1 123-15</inkml:trace>
  <inkml:trace contextRef="#ctx0" brushRef="#br0" timeOffset="66571.03">5226 6287 1290 0,'0'0'455'0,"0"0"-32"0,-15 8-24 0,10-2 54 0,2 1-41 15,-2 1-36-15,0 2-38 0,-3 1-90 16,0 3-38-16,-2-1-28 0,3 2-5 0,-6 0-31 15,2 3-16-15,-1 0-38 0,-1-3-38 16,5 2-18-16,-2-4-23 0,0 0-62 16,2 0-33-16,0-2-30 0,3-3-24 0,-2-2-92 0,1 1-84 15,1-2-88-15,0-1-19 0,2-2-418 0,1-2 61 16,2 0 116-16,0 0 33 16,0 0 84-16</inkml:trace>
  <inkml:trace contextRef="#ctx0" brushRef="#br0" timeOffset="66813.33">5070 6331 1162 0,'10'1'430'15,"3"1"-11"-15,-2 1-9 0,3 2-18 16,2-2 40-16,2 3-25 0,0-1-15 0,5 1-16 16,0-1-38-16,3 0-18 0,2-1-44 15,-3 1 3-15,-2-2-15 0,-2 1-34 0,2-1-40 16,-2 0-21-16,-3-3 7 0,-1 4-43 15,-1-3-12-15,-1 0-9 0,1 0-25 0,-6-1-17 16,2 1-42-16,-3 0-23 0,1-1-74 16,-3 2-57-16,1-1-50 0,-8-1-44 0,8 1-90 15,-8-1-212-15,7 1-520 0,-7 0 82 0,0-1 149 16,0 0 61-16,0 0 48 0,-10 6 98 16,5-3 54-16</inkml:trace>
  <inkml:trace contextRef="#ctx0" brushRef="#br0" timeOffset="71425.61">7783 6430 903 0,'0'0'376'0,"0"0"-51"0,0 0-17 16,0 0-11-16,4-4-16 0,-4 4-28 0,0 0 9 16,0 0-29-16,0-6-29 0,0 6 9 15,0 0-16 1,0 0-13-16,0 0-94 0,-7-3 12 0,7 3-30 0,-7-2 20 0,7 2-31 16,-9 2-12-16,9-2 23 0,-12 2-11 0,6 0 8 15,-1 2 3-15,-1-2-21 0,1 2 5 16,-1 2-2-16,0 0-21 0,-2 1 16 0,2-1-5 15,1 1-19-15,-1-1 19 0,3 3-14 0,-1-1-17 16,1-2 26-16,0-2-27 16,3 5 6-16,-3-2-2 0,4-1-14 0,-1 0 14 0,2-3-9 15,-2 3 1-15,4-1-6 0,-2 0-9 16,2-3 2 0,1 3-18-16,2 0 28 0,-2-2-13 0,4 1-2 0,1-1 2 0,0 1-7 15,-3 2-16-15,5-2 18 16,0 1 6-16,-1 0 2 0,1 1-1 0,-2 0 9 0,2 1 0 0,-3-2 12 15,3 1-15-15,-4-1 20 0,1-1 19 16,-2 1-6-16,-2 0 8 0,2 1 15 0,-3 0 8 16,1-1 18-16,-3-1-5 0,0 1 59 0,0 1-3 15,-3-2 15-15,1-1-17 0,0 3-1 16,-4-1-99-16,-1 1 2 0,1-1-12 16,-4-1 4-16,0 1 9 0,0 1-1 0,-3-1-23 15,3 2-2-15,-3-4 12 0,2 0-25 16,-1 3 26-16,1-4-26 0,1 1-24 0,2-1-14 0,1 1-26 15,-1-1-18-15,1-1-31 0,1 0-46 16,6-1-18-16,-7 3-25 0,7-3-28 0,0 0-26 16,0 0-85-16,0 0-51 15,0 0-486-15,10-10 67 0,-5 7 124 0,5-2 19 0,0-2 44 16,3-3 137-16</inkml:trace>
  <inkml:trace contextRef="#ctx0" brushRef="#br0" timeOffset="72223.78">7931 6496 1192 0,'0'0'471'0,"0"0"-33"0,0 0-34 0,0 0-30 0,0 0-31 15,0 0-23-15,-13 10 8 16,13-3-44-16,-2 0-133 0,0-1 13 0,1 2-24 16,-1 2-37-16,2-3 17 0,0 3-23 0,2-2-10 15,-2 2 1-15,1-1-27 0,1-2-2 16,3 0-8-16,-5 2-7 0,5-1 4 0,-3-3-32 15,4 2 12-15,-4-5 15 0,1 2-30 0,0 1 15 16,1-3 0-16,2 0-2 0,-6-2-13 0,10 3-1 16,-10-3-9-16,10-4 15 15,-5 2 5-15,1-3-15 0,-2 3 12 0,2-2 21 0,-2 0-18 16,0-1-5-16,0 1 10 0,-1-2-10 16,2 1 8-16,-2-1 7 0,-1 3 11 15,1-1 12-15,-3-2 0 0,3 4 77 0,-1-3-5 16,-2 5-13-16,2-5-4 0,-2 5-17 0,3-2-27 31,-3 2-13-31,0 0-21 0,0 0 26 0,0 0 0 0,0 0-39 0,0 0 18 0,0 0-2 16,0 0 3-16,3 10 20 0,-3-10-29 0,0 5-17 15,0 0 2-15,0-5-4 0,2 5-6 0,1-3 15 16,-3-2-17-16,0 6-3 0,3-3 18 16,-3-3-3-16,2 3-12 0,-2-3 12 15,2 4-20-15,-2-4 18 0,3 2 10 0,-3-2-44 0,5 4 31 16,-5-4 1-1,3 1-11-15,-3-1 28 0,0 0-15 0,5 3-6 0,-5-3 19 16,0 0-41-16,5 2 20 0,-5-2 7 0,5 1-22 16,-5-1 3-16,0 0 9 0,8 0-12 0,-8 0 23 15,0 0-3-15,8 1-13 0,-8-1 14 16,7 0 7-16,-7 0-34 0,6 1 26 0,-6-1 6 16,7 3 2-16,-4-2 5 0,-3-1 0 0,7 2-10 15,-7-2 10-15,6 4 0 0,-4-3 5 16,3 1 8-16,-2 1-8 0,-3-3 0 0,5 2 8 15,-5-2-26-15,3 4 44 0,-3-4-6 0,4 2-14 16,-4-2 50-16,3 2 8 0,-3-2-53 16,0 0 45-16,5 2-2 0,-5-2-20 15,0 0-62-15,0 0 0 0,8-7 0 0,-6 4 0 16,-1 1 0-16,1-2 0 0,1 1 0 16,0 0 0-16,-3 3 0 0,4-6 0 0,-1 5 0 15,2 0 0-15,-5 1 0 0,5-4 0 0,0 3 0 16,-5 1 0-16,6-1 0 0,-6 1 0 0,0 0 0 15,12 3 0-15,-9 0 0 0,-3-3-13 0,7 2-56 16,-4 2-26-16,2-2-2 0,-4 2-75 16,3-2-22-16,-1 3-55 0,-3-4-43 15,3 4-56-15,-1-2-48 0,1 1-165 16,2 0-481-16,-3-1 113 0,1 0 66 0,2-2 103 0,-5-1 67 16,8 1 112-16,-8-1 15 0</inkml:trace>
  <inkml:trace contextRef="#ctx0" brushRef="#br0" timeOffset="72938.89">8623 6512 1325 0,'-5'-5'438'0,"3"2"-39"0,-6 0-97 0,1 1-25 0,1-1-8 0,-2 3-34 15,-2 0-40-15,3 4-1 0,-4-3-17 16,-1 5-6-16,1 1-32 0,-2-1 76 0,3 1-29 16,-2 0 1-16,1 1-23 0,1-1-13 0,3 1-31 15,-2-1-2-15,4 0-36 0,0-1 23 16,3-1-3-16,-3 2-4 0,4-3-29 0,-1-2-10 16,2 3-26-16,0-5 23 0,5 4-7 15,-5-4-26-15,8 1 31 0,-8-1-16 0,13-1-2 16,-8-1 15-16,3 1-15 0,-1 0-23 15,0-1-6-15,1-1 11 0,0 3 0 0,0 0 3 16,2 3 15-16,-3-2-34 0,1 1 21 0,0 2 5 16,2 3-15-16,-1 0 13 0,1 1 10 15,0 3 5-15,-2 2-26 0,-1 0 49 0,-1 0-15 16,-2 4-1-16,1-4 21 0,-4 1-5 16,-1 2-18-16,0-2 0 0,-1 4-10 0,-4-1 3 0,0-2-4 15,-2 2 17-15,-1-2-55 16,3-2 11-16,-3-1 12 0,0 0-15 0,3-2-15 0,-3-2-15 15,1-1-39-15,4-1-6 0,-4-1-29 16,2-2-42-16,-1 1-20 0,2-4-29 16,-2 1-33-16,6-1-73 0,0 0-124 0,-8-3-95 15,6 0-427-15,2-3 113 0,0-1 64 0,2 1 56 16,-2-3 151-16,5-3 23 0</inkml:trace>
  <inkml:trace contextRef="#ctx0" brushRef="#br0" timeOffset="73190.27">8721 6271 880 0,'0'-2'399'0,"0"2"-22"0,0 0 76 0,0 0-26 16,7 8-53-16,-4 0 15 0,0 2-51 0,1 0-23 16,0 4-21-16,0 3-10 0,2 2-133 0,1 2-10 15,-2 4-5-15,1 0-21 0,-1 1-3 16,0 2-25-16,-2-2-10 0,-1 2-36 15,0-1-25-15,1 0-24 0,-3-4 0 0,0-2-33 0,0 1-20 16,0-2-31-16,0-5-26 16,0 1-46-16,3-3-20 0,-3 0-52 0,2-4-35 0,-2 1-123 15,2-5-13-15,-2-1-356 0,4 0 36 0,0-3 39 16,-1 2 50-16,-3-3 126 16</inkml:trace>
  <inkml:trace contextRef="#ctx0" brushRef="#br0" timeOffset="74115.55">8990 6501 1182 0,'0'-5'445'0,"-3"1"-94"0,3-1-18 0,-2 1-11 16,0 3-30-16,2 1-46 0,-6-4-16 15,6 4-22-15,0 0 7 0,-13 5-41 0,8-1-21 0,2 3-4 16,-1 0-14-16,-2-1 4 0,-1 7-11 15,4-4-44-15,-2 4 1 0,0 0-14 16,0-1-2-16,0 1-46 0,2-1 8 0,1 1-33 16,2-1-6-16,-3-3 21 0,3 1-29 0,0-2-20 15,3-1 13-15,-1-1 3 0,1 0 5 16,2-2 12-16,-2-1-5 0,4-3-12 0,-7 0 12 16,11 0-2-1,-4-5 0-15,0 3-3 0,-1-4 10 0,1 1-17 0,1-2 5 0,0-1 22 0,-3-1-4 16,3 0-8-16,-1 3 12 0,-1-3-2 15,-1 3 36-15,0-2-7 0,-3 5-6 0,1-2 18 16,-1-1-18-16,2 4-7 0,-2-2 12 16,-2 4-20-16,4-1 2 0,-4 1 3 15,0 0-21-15,0 0 16 0,4 7 10 0,-4-2-30 16,2-2-24-16,-2 2-13 0,2 1 6 0,-1-1-11 16,1-1-2-16,1 0-15 0,1 1 7 15,-3-1 5-15,4-2-2 16,-2-2-19-16,4 2-9 0,-7-2 5 0,11-1-3 0,-4 0 2 0,0-1 3 15,1-2 19-15,1-1-1 0,0-1 13 0,0-1-16 16,-2 1 26-16,1-1 13 16,1 1-2-16,-3-3-3 0,-1 0 12 0,0 2 14 0,0 0-1 15,-2 1 21-15,-3-1 13 0,3 1 22 16,-3 1-14-16,0-1 7 0,0 4-20 0,0 2 15 16,0-6-8-16,0 6-8 0,-3-5 4 15,3 5 11-15,0 0-6 0,0 0 2 0,0 0-3 16,0 0-5-16,0 0-5 0,0 0 54 15,0 14-3-15,0-9-2 0,5 1-3 0,-3 1-3 16,4-1 11-16,-4 3 0 0,3-1-16 0,-2-2 14 16,0 2-6-16,2 1-5 0,-3 0 23 0,1-2-10 15,-1 4-26-15,-4 0 0 16,2-3 3-16,-2 3 5 0,1-3-3 0,-1 0 5 0,-1 1-25 16,0-2-13-16,-2 0 23 0,5-1 0 15,-3 1-12-15,1-2 1 0,2-3-24 0,-2 1 4 16,2-3-10-16,-3 3 3 0,3-3-29 0,0 0 3 15,0 0-5-15,0 0-23 0,8-12 8 16,-3 4 0-16,0 2-14 0,3-5 11 16,-1-2-12-16,2 0-11 0,-2 0 23 0,3 0 15 15,0 0-20-15,-2-1 10 0,2 3-12 0,0-1 19 16,0 2 17-16,-2 2 4 0,0 2-7 0,0-3 27 16,-3 5 14-16,3-1-8 15,-4-1 31-15,4 5-11 0,-2-2 11 0,-2 2 17 0,-4 1 1 16,11 4-14-16,-6-3 17 0,-2 2-12 15,2 0-19-15,-3 2 22 0,1 0-17 0,-3 2 7 16,2 0 10-16,-2-1-22 0,0 2 4 0,0 2 14 16,0-1-27-16,-4 3-14 0,1-1 9 15,-2 0-7-15,-1-1-10 0,1 1-6 16,-2 0-45-16,2-3-34 0,-3 3-15 16,2-3-56-16,-1-1-37 0,4-1-37 0,-2 0-101 0,0-1-161 15,2-3-460-15,1 2 125 0,-3-3 58 0,5-1 134 16,-5 2-5-16,5-2 61 0</inkml:trace>
  <inkml:trace contextRef="#ctx0" brushRef="#br0" timeOffset="74532.78">9926 6576 1123 0,'-2'-7'425'0,"4"-1"-5"0,-4-2-31 0,2-2-20 0,0-2-29 15,-1-1-35-15,-1-5-6 16,-1-1-25-16,3-3-36 0,-3-3-18 0,1-2-33 16,2 0-26-16,-2 1-7 0,-1-3 81 0,1 5-25 15,1 2-43-15,1 3-14 0,0 1-7 16,-2 4-28-16,2 3-6 0,0 0-4 0,0 1-24 16,0 3-17-16,-3 1-44 0,3 1-15 0,0 1-39 15,0 4-30-15,0-3-52 0,0 5-61 16,0 0-28-16,0 0-136 0,0 0-126 0,0 0-483 15,0 0 72-15,0 0 81 0,0 0 167 16,0 0-2-16,0 0 53 0,13 2 74 0</inkml:trace>
  <inkml:trace contextRef="#ctx0" brushRef="#br0" timeOffset="74750.42">10031 6033 1241 0,'0'-6'440'0,"0"6"-40"0,0 0-9 0,-8 0-7 0,8 0-64 0,-12 10 5 0,1-3-25 15,-2 1-19-15,-2 3-27 16,-1 2-21-16,-4 4-24 0,-3 4-27 0,-3 4 0 0,4 0 64 16,-1 1-47-16,-1 1-35 0,1 0-33 15,3-1-26-15,1-1-59 0,5-6-34 0,0-1-14 16,4 0-60-16,0-5-25 0,5 0-23 16,-1-1-41-16,-1-2-28 0,4-2-26 0,-1-2-45 0,3 0-104 15,-1-3-127-15,2 0-379 0,0-3 38 0,0 0 93 16,0 0 122-16,0 0 29 15,0 0 68-15</inkml:trace>
  <inkml:trace contextRef="#ctx0" brushRef="#br0" timeOffset="74978.56">9897 6095 1128 0,'11'-1'438'0,"4"1"25"0,-4 0 6 0,4 0-108 0,-2 2-18 0,2 2-21 0,3 1-22 16,0-1-9-16,3 2 73 15,1 3-16-15,4-2-56 0,-3 1-5 0,3-2-21 0,-1 1-113 16,1 0 3-16,0 0-12 0,2-2-26 16,0 2-19-16,-2-1-4 0,-1-1-5 0,2 1-57 15,-5 0-43-15,-1-2-8 0,-1 0-49 0,-1 1-35 16,-1 1-47-16,-4-2-32 0,-1-2-65 16,0 5-25-16,-2-3-98 0,-4-2-89 0,-2 3-474 15,1 0 62-15,-6-2 120 0,2 2 97 0,-4-1 85 16,2-4 10-16</inkml:trace>
  <inkml:trace contextRef="#ctx0" brushRef="#br0" timeOffset="79748.69">8136 3797 381 0,'18'4'138'0,"1"1"-61"0,1-2 12 15,1 1-19-15,4-3-32 16,6 0-30-16,4 3-6 0,12-1-45 0,-2 2-124 0,5-1-373 15</inkml:trace>
  <inkml:trace contextRef="#ctx0" brushRef="#br0" timeOffset="79956.42">8087 4059 189 0,'37'-6'72'0,"-4"1"-44"0,11-2-51 16,1-1-28-16</inkml:trace>
  <inkml:trace contextRef="#ctx0" brushRef="#br0" timeOffset="89389.12">10090 4870 982 0,'0'-6'359'15,"0"6"-29"-15,0-6 67 0,0 6-13 0,0-5-31 0,0 5-2 16,-3-3-103-16,3 3-15 0,0-5-16 0,0 5 14 16,0 0-42-16,-2-2-17 15,2 2-9-15,0 0-35 0,0 0 8 0,0 0-28 16,-3 13 7-16,3-5-26 0,0 3-25 0,1 2 39 15,1 1-32-15,0 5 6 0,1 0 5 16,-3 4-31-16,3 1-2 0,-1 3 0 16,0 1-3-16,-2 0-13 0,0-1-5 0,0 1-15 0,1-3-3 15,-1-3-5-15,-1 0-7 0,2-1-16 16,-1-3-13-16,-1 1-25 0,2-3-24 0,-1-2-12 16,0-1-5-16,0-2-21 0,0-2 6 15,2 1-19-15,-2-2-5 0,0-2-12 16,0-1-47-16,0 1-43 0,0-4-23 0,0-2-77 15,0 5-12-15,3-4-339 0,-3-1-20 0,0 0 39 16,0 0 55-16,2-9 44 0</inkml:trace>
  <inkml:trace contextRef="#ctx0" brushRef="#br0" timeOffset="89676.2">10138 4794 1226 0,'-15'3'389'0,"7"1"-46"0,-2 1-16 0,0 2-32 0,0-1-14 0,-3 2 21 16,0 3-7-16,0 1-57 0,1 1-18 15,-1-1-15-15,0 1-72 0,2-1-18 0,-1 0-46 16,2 1-28-16,-1-3-44 0,3 2-53 0,-2-3-69 15,6 1-93-15,-4-1-92 0,2-2-440 0,1-2-18 16,0 1 47-16,2-3 83 0,-1 1 42 16</inkml:trace>
  <inkml:trace contextRef="#ctx0" brushRef="#br0" timeOffset="89885.92">9980 4829 1123 0,'10'-2'382'0,"-5"2"-27"16,3 4-4-16,2-3-28 0,1 3 58 16,1 0-33-16,1 0-38 0,2 2-41 0,1 1-29 15,-1 1-20-15,1 1-15 0,-1-2-10 16,1 1-37-16,-1-1-27 0,2 3-24 0,-1-3 16 16,-1 1-72-1,3 1-40-15,-3-1-19 0,1-2-35 0,-1 1-24 0,-2-2-43 0,0 1-64 0,0-1-90 16,0 0-94-16,0 0-129 15,-3 1-332-15,0-1 57 0,1 1 47 0,-2-3 86 16,-1 2 63-16</inkml:trace>
  <inkml:trace contextRef="#ctx0" brushRef="#br1" timeOffset="97167.6">3324 7264 970 0,'0'0'297'0,"2"-1"-13"0,-2 1-41 0,0 0-8 15,0 0-35-15,0 0 15 0,0 0-5 0,0 0-36 0,0 10-3 16,1-6-2-16,-1 4-5 16,0 1-38-16,0 1 30 0,0 0-41 0,0 5-2 15,0-1-1-15,2 1 21 0,-2 4 46 0,0 1-20 16,0 1-23-16,0-1 0 0,0 3-6 16,0-2-38-16,-2 5-7 0,2-2 2 0,-1 1 0 15,1 3-23-15,0-6-3 0,0-2-2 0,0 4 5 16,0-4-18-16,0 1-15 0,0-1 17 15,0-2-17-15,-2-3-5 0,2 1 20 0,2-1 10 16,-2-2-12-16,-2 0-3 0,2 2-23 0,0-5-1 16,0 1-1-16,2-2 2 0,-2 0-8 0,0-2 8 15,-2 0-26-15,4-1 16 0,-2 0 10 16,-2 0 2-16,2-1-15 0,0-1-7 0,0-1 4 16,0 3 6-16,0-6 0 15,2 7-13-15,-2-6 7 0,0 4-2 0,0-5 0 16,3 5 5-16,0-3 3 0,-1 2-5 0,1-2-3 15,2 1 0-15,3 0 28 0,-1-2 13 0,3 2-8 16,0 0 3-16,1-3 5 0,4 0-21 16,1 0 26-16,2 0-30 15,2 0 12-15,1 0 3 0,4-2-8 0,-1 0-85 0,4-1 21 0,3 1-28 16,1-2 31-16,0-1 17 16,11 2 3-16,-7-2-12 0,5-1 17 0,-5 0-5 0,5 1-18 31,-5 2 21-31,-3-2 12 0,-2 3 8 0,13-4-20 0,-11 1-3 0,-2 0 5 15,0 4 11-15,-1-4 25 0,1 1-31 0,2 1-7 16,-2 0 15-16,0-1 2 0,2-1 3 0,-2 3 0 16,0-3 6-16,2 1-14 0,0 2-5 15,-2-4 8-15,12 1 3 0,-9 3-8 16,0-2-5-16,-2 2 7 0,2 0-2 0,-3-2 2 0,12-1 19 16,-6 3-1-16,-4-2 0 0,13 2 3 0,-3-3 64 15,1 1-20-15,4-1 9 16,-1 1 4-16,2-2-19 0,2 1-2 15,0 1-19-15,0 0 27 0,3-2-36 0,-2 1 9 0,1-1-9 0,-2 2 10 16,3-2-6-16,0 1 14 0,3 0 2 16,1-1-2-16,11 0-19 15,-1 1-9-15,1-2-1 0,-2 2-7 0,2-2 7 0,-1-1-2 16,-9 6 15-16,11-7-20 0,-1 5-75 0,-2-5 3 16,-11 6 10-16,13-3 11 0,-10 2-11 15,8-3 18-15,0 0 11 0,-1 0 2 0,1 1-3 16,-10 1-10-1,12-3 21-15,0-1 7 0,0 2 8 0,-2 0-20 0,2 1 7 0,-2 0 5 16,-14-1-10-16,-1 1 8 0,2 0 5 0,-3-1-5 16,3 1 10-16,-1 0-16 0,2-1 11 0,1 3 5 15,-5 0-2-15,5-2-1 16,-5 1 8-16,1 0-7 0,-4-1-11 0,1 3 0 16,-2-1 16-16,-4-2 9 0,1 1-9 0,-10 2 7 15,-2-2-20-15,2 3-21 0,-3-2 41 0,0 2-17 0,-1-2 2 16,1 1-6-16,-3-1 1 15,0 0 18-15,-4 2-18 0,-2 2 7 0,-1-2-5 16,-3-1 6-16,-3 2 2 0,-1 0 5 0,-2 0-8 16,0 0-7-16,-3-1 8 0,1 1 19 0,-2 0-4 15,-1 1-28-15,0 0 2 16,-1-1 28-16,-1-2-15 0,-5 3 8 0,13-1 13 0,-8 1-19 16,0 0-2-16,-5 0-2 0,11-2 48 15,-7 1-26-15,2-2-10 0,-6 3-2 0,12 0-13 16,-6 0 28-16,-1-2 10 0,2 1-35 0,1-2 2 15,0 2-11-15,2 1 1 0,-3-2 15 16,4-2 3-16,-3 3-18 0,0-1 0 0,2-1 10 16,-2 1-11-16,-1 0 24 15,1-1-13-15,-1 1-2 0,1-1 2 0,-5 2 7 0,2 1 16 16,2-2 3-16,-4-2 15 0,-3 4-46 0,7-2 25 16,-4-1-2-16,0 0 46 0,-1-1-13 0,1 2 18 15,-3-3-17-15,3 0-4 0,-3-1-14 16,0 3-11-16,0-4 20 0,0 1-15 15,0-3-10-15,0 1 46 0,-3 0-20 0,3-3-21 0,-3-1-3 16,1 0 16-16,2-1-26 0,-3 1 11 16,0-1-16-16,3 1-3 0,-2-1 24 15,0 1-8 1,2 2-3-16,-3 1-10 0,3-1 21 0,-2 1-8 0,1 2 0 0,1-1-41 0,-2 2 13 16,2 0 20-16,0 0-15 0,-2 1-13 15,2 0-28-15,0-1 5 0,0 6-44 0,0-7-27 16,0 4-19-16,-3 0-35 0,3 3-29 15,-1-6-35-15,1 6-8 0,1-6-44 0,-1 6-48 0,0-3-110 16,0 3-11-16,0-3-427 0,0 3 51 16,0 0 65-16,0 0 83 0,0 0 75 15,0 0 67-15</inkml:trace>
  <inkml:trace contextRef="#ctx0" brushRef="#br1" timeOffset="98167.17">5416 8214 1146 0,'5'-1'377'0,"-5"1"-27"15,0 0-2-15,0 0-38 0,0 0 13 0,0 0-62 0,8 6-28 16,-5-1 10 0,-3 0-49-16,2 3 6 0,-2 0-21 0,2 3-25 0,-2 2-1 15,0 0-4-15,0 4-8 0,0 0-37 0,-2 2 7 16,0 2-14-16,-1-1-33 0,0 0 15 16,-1 4-20-16,0 0 15 0,0 0-10 0,-2 0-23 15,1-3-8 1,0 3 24-16,0-3-34 0,-1 1 2 0,-1-4 45 0,4-2-70 0,-2 1 25 15,3-4-7-15,-3 0-10 16,2-1 33-16,1-2-46 0,-1-1 40 0,1-2-22 0,1 3-8 16,-1-3 16-16,2-1 2 0,2-1-18 0,-2 1 5 15,1-3 26-15,4 3-31 16,-3-3 18-16,3-1-18 0,0-1-7 0,3-1 25 0,-1 0-3 16,1 0-15-16,1 0-7 0,3 0 12 0,-4-2-7 15,2-2-6-15,1 1 18 0,-1 0 3 16,0-2-33-16,2 3-11 15,-4-4-2-15,0 4-33 0,2-3-62 0,-2 0-8 0,-1 2-48 0,-1-2-110 16,2 1-90-16,-4 0-174 16,2 0-343-16,-3-1 85 0,-1 1 92 0,3 0 58 0,-3-1 67 15,-2 3 62-15</inkml:trace>
  <inkml:trace contextRef="#ctx0" brushRef="#br1" timeOffset="98469.13">5295 8601 1226 0,'0'0'437'15,"0"0"-58"-15,0 0 5 0,8-7-33 0,-8 7-29 0,13-5-7 0,-5 4-41 0,0-5-18 0,4 3-23 0,1-1-21 16,3-2-9-16,-2 0-50 0,2 1 3 0,-1-2-17 0,-1 4-24 15,-2-2 8 1,1 0-3-16,0 2-25 0,-3-1 17 0,1-1-58 0,-4 3-18 16,0-3 15-16,1 5-69 0,-3-2-56 0,1-1-8 15,-1 2-23-15,-5 1-54 16,13 0-86-16,-9 3-147 0,2 0-79 0,2 1-366 0,-3-1 28 16,0 2 100-16,2 1 44 0,1-1 35 0</inkml:trace>
  <inkml:trace contextRef="#ctx0" brushRef="#br1" timeOffset="99369.61">5724 8671 1139 0,'0'-5'353'0,"2"0"-13"0,-2-1-38 0,3-1-18 15,-3-1-5-15,0 0-30 0,0 1-19 0,0-1-30 16,0-2-6-16,0 4-20 0,-3-1 16 16,1 1-14-16,0 0 1 0,1 3-16 15,-2-1-15-15,1-1-13 0,2 5-25 0,-5-1-6 0,5 1 11 16,0 0-26-16,0 0-28 0,-10 4 10 0,7-2-18 16,0 4-8-16,1-1 24 15,0 1-21-15,-1 0-15 0,2 0 10 0,1 0-5 16,0 0 5-16,0 0-41 0,-2 1 35 0,4-3-17 15,-2 1 0-15,4 1-10 0,-4-2 35 16,2-2-35-16,1 4 5 0,-1-5-3 0,1 3 21 16,0-2-31-16,-3-2 13 0,7 3-24 15,-7-3-53-15,10-2 13 0,-10 2 21 0,8-1-11 16,-5-3 25-16,1 2-15 0,-1 0 47 0,2-3-6 16,-3 5 8-16,4-6-8 0,-4 4 0 0,1-2 3 15,2 1 18-15,-2-1-26 16,2 2 10-16,-2-1 29 0,1 0-18 0,-1 0-21 15,2 1 33-15,-5 2-28 0,6-5 21 0,-2 5-10 16,-4 0-1-16,8-2-20 0,-8 2 5 0,8 0 16 16,-8 0-11-16,7 0 13 15,-7 0-3-15,11 2-25 0,-8-2 31 0,-3 0-6 0,7 4-4 16,-2-1-4-16,-2-1 19 0,2 2-18 0,-2-1-5 16,2-1 2-16,-3 2 18 0,1-1-10 15,2-1-10-15,-5 2 2 0,5-3 8 16,-3 2-10-16,-2-3 9 0,3 4-9 0,-3-4 23 0,5 4 23 15,-5-4-37-15,6 1 91 0,-6-1 7 16,2 2 8-16,-2-2-41 0,0 0 13 16,0 0-8-16,0 0-21 15,0 0-15-15,0 0 1 0,8-5 12 0,-6 1-21 0,-2 4 1 0,3-5-14 16,-1 4-14-16,1-3 9 16,0 1 19-16,1 1-29 0,0-2 1 0,0 3-4 0,-1-3 29 15,4 3-20-15,-1-1-3 0,-2 1 7 0,4-1-20 16,-8 2 8-16,11 0-10 0,-3 0 15 15,-1 2-13-15,0-2-5 0,-1 1 10 0,-1 0 3 16,2 1-23 0,-1-2 17-16,-1 3-2 0,1-1 1 0,-2-2-24 0,2 2 46 0,-2 0-21 0,-4-2-14 15,6 3 4 1,-6-3 11-16,7 1 12 0,-4 0 11 0,-3-1 28 0,0 0-28 16,0 0-6-16,13-3 11 0,-11-1-8 0,1 2 11 15,2-3 20-15,0 1-11 0,-2-2 16 0,1 2-20 16,2-1 25-16,-4-1-38 0,4 3-31 15,-1-1 0-15,2-1 0 0,-4 4 0 0,3-3 0 16,0 2 0-16,0 2 0 0,-6 0 0 16,10-1 0-16,-10 1 0 0,10 1 0 15,-4 1 0-15,-1 0 0 0,0 0 0 0,0 2 0 16,0-2 0-16,-2 3 0 0,-1 0 0 0,1-2 0 0,0 3-218 16,1-2-92-16,-4 1-43 0,3-1-159 15,0 0-458-15,-1-2-90 0,-1 2 111 16,1-2 137-16,-2-2 29 0,7 4 76 0,-7-4 88 0,5 0 56 15</inkml:trace>
  <inkml:trace contextRef="#ctx0" brushRef="#br1" timeOffset="99859.14">6346 8314 1126 0,'0'-1'425'15,"0"1"-54"-15,0 0-31 0,0 0 3 16,0 0-20-16,6 16-21 0,-1-7-18 0,0 3-31 16,3 4-9-16,2 4 75 0,-2-1-32 15,5 11-31-15,0 1-25 0,-1 1-63 0,-2 0-14 16,0 1 2-16,-2 2-43 0,1-2-29 0,-2 2-27 16,0-6 17-16,-1-5-41 0,-2 1-18 15,-1-2 29-15,2-3-6 0,-2-1-25 16,0-2 15-16,-1-3-12 0,-2-1-19 0,2-2 16 0,1-2 25 15,-3 1 11-15,3-2 10 0,-3-4-16 0,0-2 9 16,0-2-12-16,0 0 27 0,0 0 5 16,0 0-59-16,0 0 20 0,0-14-5 15,-3 3 10-15,3-3-4 0,0-4 7 0,-2-5-6 16,1-3 11-16,1-1-7 0,0-3 53 0,0 0-33 16,3 5-10-16,0-1 17 0,2 2-15 15,0 5 18-15,0 0 13 16,1 4-25-16,1 0 48 0,-2 6 2 0,3-2-25 0,-1 5-28 0,-1 0 28 15,1 3 17-15,1-1-29 0,-3 4 24 16,0 0-9-16,-5 0-31 0,13 0-54 16,-11 4 0-16,1-1 0 0,0 1 0 0,-3 2 0 0,-3 0 0 15,-2 2 0-15,0 2 0 0,0-1 0 0,-3 4 0 16,-2-1 0-16,-3 4 0 0,0-3 0 16,1 0 0-16,1-6-546 15,-1 4-682-15,1-2 106 0,1-3 99 0,0 1 114 0,2-4 95 16,3-2 79-16,5-1 72 0,-3 0 52 0</inkml:trace>
  <inkml:trace contextRef="#ctx0" brushRef="#br1" timeOffset="99996.9">6752 8527 1469 0,'2'-1'494'0,"-1"-2"-64"16,-1 3-36-16,0 0-36 0,0-6-45 15,0 6-86-15,0 0-60 0,0 0-80 0,0 0-77 16,0 0-125-16,-13 13-238 0,10-5-454 0,-2-1 83 15,-1 3 64-15,0 0 91 0,0 6 32 0</inkml:trace>
  <inkml:trace contextRef="#ctx0" brushRef="#br1" timeOffset="102947.07">15544 1686 1052 0,'-3'-7'471'15,"3"7"-34"-15,0 0-43 0,0 0-94 0,0 0-8 16,-3 15 5-16,3-6-26 0,-2 2-15 0,-1 6-15 16,-2 6 7-16,0 2-46 15,-3 9-15-15,-2 1 30 0,0 2-60 0,-1-3-14 0,1 0-15 16,0 0-36-16,2-5 18 0,3-4-2 0,0-1-29 16,0 2-7-16,0-2 4 0,4-4-4 15,-3 1-10-15,4-2-24 0,0-5 3 16,0 2-8-16,2-2-33 0,0-2-23 0,1-2 10 15,2-1 1-15,0-1-50 0,1-2-22 0,2-1 17 16,-1-4-71-16,3 1-23 0,0-1-60 16,1-2-116-16,2-2-129 0,-3 0-443 0,3 0 59 15,-3 0 98-15,0-1 96 0,-2 0 52 0,0-3 44 16</inkml:trace>
  <inkml:trace contextRef="#ctx0" brushRef="#br1" timeOffset="103167">15262 2162 908 0,'-1'-3'407'0,"1"3"-36"16,0 0 57-16,8-8-39 0,0 4-28 0,2 1-41 16,3-2 7-16,0 0-71 0,2-1-15 15,3 0-34-15,0 0-7 0,0 1-34 0,2 0-43 16,-2 0-33-16,3-1-29 0,-4 2-51 0,4 0-81 15,-5 1-88-15,4 2-133 0,-7 1-199 16,3 0-372-16,2 0 88 0,-3 1 91 0,0 1 85 16,-2 1 31-16</inkml:trace>
  <inkml:trace contextRef="#ctx0" brushRef="#br1" timeOffset="104352.72">15769 2228 1287 0,'3'-6'458'0,"-3"-1"-69"0,2 2-10 16,-2-1-33-16,0 0-21 0,0-1-44 0,-2 2 3 15,-1 0-35-15,3 0-4 0,-3 0-19 0,1 1-98 16,0 1 18-16,2 3-41 15,-6-5-6-15,6 5-9 0,-8 0-11 0,8 0-4 16,-7 5-14-16,1-3-12 0,2 2-8 16,0 2 10-16,-3-1-26 0,4 2 9 0,1 0 7 15,-3-1-29-15,5 2 14 0,0-2-13 16,-3 0-13-16,6 1 23 0,-3-2-26 0,0-1-2 0,3 1 5 16,-1-1 13-16,1 0-11 0,-1-1 24 0,3-2-3 15,1 1-28-15,-6-2 10 0,7 0 21 16,-7 0-3-16,13-3 2 0,-6 1 11 15,-1-2-13-15,2 2 11 0,-1-2-1 0,-1 0-8 16,1 0 39-16,1 0-7 0,-3 1-27 0,3-2 19 16,-3 1-18-16,2 1 23 15,1 1-26 1,-3-1 8-16,1-1-13 0,1 3 2 0,-2-1-12 0,1 1-5 0,1 0-39 0,-7 1 28 16,13 0 39-16,-8 1 0 0,3 1-16 0,-1-1 6 15,-2 0-8-15,3 3 5 0,0-1 10 0,-3 0-10 16,2 1-12-16,-1-1 4 0,-1 1-10 15,0-1-7-15,-2 1 30 0,1 0 0 0,0 0-20 16,0-2 17-16,-1 2-12 0,0-1 25 0,-1 0-7 16,1 0-26-16,-1-1 5 0,-2-2 16 0,5 4 7 15,-5-4-2-15,3 3-8 0,-3-3 3 16,2 1-29-16,-2-1 70 0,0 0-26 16,0 0-3-16,0 0 0 0,0 0 21 0,0 0-28 15,14-4 0-15,-12 2-8 0,-2 2 0 16,5-6-13-16,0 5 8 0,0-2-10 0,-2 0-6 15,2 2 1-15,0-1 15 0,0 0-26 0,-5 2-5 16,10-1 26-16,-4-1-5 0,-6 2 7 16,10 0-15-16,-10 0 5 0,10 2 5 0,-5-2-2 15,1 1-11-15,1 1-2 0,-4-1 8 0,2 1 22 16,0 1 57-16,-3-2-13 0,4 1 8 0,-6-2-18 16,7 3-8-1,-7-3-2-15,3 1 2 0,-3-1 16 0,8 3 48 16,-8-3-36-16,4 1 1 0,-4-1 17 0,0 0-48 0,0 0-49 15,8 0 0-15,-8 0 0 0,0 0 0 0,0 0 0 16,8-1 0-16,-8 1 0 0,0 0 0 16,5-3 0-16,-5 3 0 0,6-1 0 0,-6 1 0 15,4-2 0-15,-4 2-157 0,6-1-83 0,-6 1-47 16,4-3-41-16,-4 3-71 0,6-4-123 16,-1 0-85-16,0 1-404 0,0-2 56 0,1 2 131 15,1 0 54-15,-2-3 91 0,0-1 70 16,-2 9 64-16,2-10 548 0,2 2 140 0,-1-1 67 15,-3 2 15-15,1-1 23 0,2 0 88 0,-4 3 22 16,0-1-23-16,2 0 13 0,-2 2-30 16,0-2-95-16,-2 4 2 0,6-1-36 15,-6 1-2-15,0 0 5 0,5 7-18 0,-5-3 5 16,2 5-7-16,1 0-8 0,-1 3-13 0,1 1-21 16,-1 5 8-16,1 1-33 0,0 0 0 0,-1 6-7 15,-2 1-75-15,3-1-13 0,-3-1-38 16,0-1-16-1,0-2-12-15,0-1 7 0,0 1-10 0,2-5 31 0,-4 0 13 0,2-3 35 0,0-2 29 16,0-1 35-16,-3-1-17 16,3-2 15-16,-2-1 0 0,2-3 15 0,-1 0 21 15,1-3 71-15,0 0-33 0,0 0-12 0,0 0-6 0,-7-18 0 16,9 6-5-16,1-1-7 0,0-4-37 16,5-1 9-16,-4 3-32 0,6 0 16 0,-2 1-18 15,2 0 5-15,-1 3-23 0,0 2 5 16,0 1 21-1,-2 1-3-15,1 2-13 0,-1 2 14 0,1 1-9 0,-3-2 16 0,1 4-8 16,-6 0-13-16,7 0 57 0,-7 0-26 0,3 6-28 16,-3-6 12-16,0 7-19 0,0-7-34 0,-6 6-62 15,2-1-46-15,1 0-40 0,-2 1-77 0,2-3-78 16,-2 1-96-16,4-1-284 0,-3 0-423 16,4-3 82-16,-5 1 117 0,5-1 101 0,0 0 69 15,0 0 81-15,7-11 83 0,1 5 30 16</inkml:trace>
  <inkml:trace contextRef="#ctx0" brushRef="#br1" timeOffset="104713.3">17148 2333 1538 0,'0'-5'507'0,"0"-3"-52"0,3 0 3 0,-1 0-15 0,-1-2 26 0,-1 0 4 15,2-4-50-15,-2-2-52 0,2-2-21 16,-2-3-40-16,3 1-36 0,-3-3-38 0,0-3-29 16,3-1 8-16,-1 0-38 0,1 0-16 0,0 4-26 15,-1 3 1-15,0 3-23 0,1 1-19 16,-3 3 4-16,0 1 2 0,3 1-36 15,-3 0-67-15,0 3-33 0,2 0-64 0,-2 4-17 16,0 1-52-16,0 3-23 0,0 0-57 0,-2-4-78 16,2 4-134-16,0 0-158 0,0 0-416 15,0 0 127-15,0 0 73 0,-4 11 65 0,4-11 79 0,0 0 58 16,0 0 70-16</inkml:trace>
  <inkml:trace contextRef="#ctx0" brushRef="#br1" timeOffset="104889.72">17251 1890 1279 0,'0'0'433'0,"0"0"-26"0,0 0-10 0,-16 8 61 0,9-3-49 0,-1 2-2 16,1 2-120-16,-3 2-10 0,-1 0-37 15,-2 2-12-15,0 3-26 0,0-1-7 0,-4 3-29 16,1-2 59-16,-5 7 21 0,1-5-85 0,5-2-33 16,2 0-36-16,-3-1-69 0,1 0-46 15,2-3-43-15,3-1-57 0,2-3-51 0,-2 1-72 16,5-3-184-16,0 1-517 0,2-4 51 15,1 0 126-15,2-3 30 0,0 0 103 0,0 0 38 16,0 0 43-16</inkml:trace>
  <inkml:trace contextRef="#ctx0" brushRef="#br1" timeOffset="105116.95">17092 1891 1123 0,'5'-2'604'16,"-5"2"-46"-16,13 2-107 15,-6 2-24-15,3 1-4 0,4 2-19 0,-1 1-28 0,5 3-12 16,2 0-70-16,1-1 3 0,1 3-46 0,-1-2-44 16,-1 1-15-16,3 0-10 15,-2-2-13-15,0 1-5 0,-1 0 35 0,-2-3-55 16,-2-1-29-16,-1 2-36 0,0-2-66 0,-4-1-62 16,-1 1-25-16,-2-2-44 0,-1 1-43 0,0-1-54 15,-3 1-118-15,-2 1-242 0,0-1-449 16,-2-2 110-16,0 0 74 0,-4 1 85 15,1-1 82-15,-5 1 56 0,1-1 33 0</inkml:trace>
  <inkml:trace contextRef="#ctx0" brushRef="#br1" timeOffset="107038.92">16497 2991 1039 0,'0'0'381'0,"0"0"-43"0,0 0-5 16,-10 13-24-16,5-4-17 0,0 3-38 15,-4 3 58-15,2-1-25 0,-3 2-52 0,0 3-28 16,2 1-12-16,-2 2-103 0,2-1-7 0,0-1-9 16,1-2-1-16,2-2-16 0,2 0 2 15,-2-3-15 1,5-1 5-16,-1 0-20 0,1-4 5 0,1 0-8 0,1 0-8 0,1-2 1 16,2-2 10-16,1-3-26 0,1 0 0 0,3-2 8 15,-2-2 17-15,5 0-14 0,0-2 20 0,1-2-11 16,-3 2 21-16,2-1 8 0,0 0 2 31,-3-1-10-31,0 3 34 0,-2 0-16 0,0 1-18 0,-1 0 2 0,-1 3 11 0,1 0-13 0,-7 0 11 16,8 1-11-16,-5 1 8 0,1 2-29 15,-3 1-2-15,1 0 16 0,-2 0-19 0,0 0-46 16,0 4-2-16,0-4-36 16,0 2-41-16,0 0-25 0,0 0-19 0,0-1-40 0,0-2-26 15,3 1-62-15,1-1-48 0,-1-2-43 16,2-2 79-16,-5 0-49 0,11 0 48 0,-11 0 6 15,15-5 28-15,-8 2 59 32,2-3 39-32,-1 0 73 0,2 0 39 0,-2 0 72 0,-1-1 68 0,0 1 29 0,-1 1 5 0,-1-1 41 15,0 1-15-15,-2 2 22 0,1 0-25 0,0 0 26 0,-4 3-39 16,2-3-7-16,-2 3 17 0,0 0-51 16,0 0 16-16,8 9-13 15,-8-7-16-15,2 2 3 0,3 2-20 0,-2 0 5 0,-1-2-21 0,3 1-13 16,1 1 34-16,2-1-29 0,-1 0-4 15,0-3 9-15,4-1 70 0,-1 0 28 16,0-1-18-16,0-1 15 0,1 0-58 0,2-4 25 16,-3 2 72-16,1-2 7 0,-2 0-64 15,-1 2 16-15,-3-3 33 0,1 1 11 0,-1-2-19 16,-3 2-5-16,-2-3 21 0,0 2-34 0,0 0-55 16,-2-1-6-16,-1 1 5 0,1-1-31 0,-4 2 29 15,1-1-47-15,-2 2-12 0,1 1-39 16,-1 0-25-16,-1 2-28 0,0-1-49 0,0 2-49 15,8 0-46-15,-10 0-38 0,2 1-36 0,4 0-41 16,-2 3-187-16,1-4-66 0,3 3-397 16,-1 0 112-16,3-3 80 0,-2 3 69 15,2-3 97-15,0 0 36 0</inkml:trace>
  <inkml:trace contextRef="#ctx0" brushRef="#br1" timeOffset="107252.96">17235 2957 1489 0,'3'-3'494'0,"0"1"-18"0,-3 2-51 16,4-1-18-16,-4 1-2 0,6 6-26 15,-3-1-11-15,-1 2-50 0,3 2-50 0,0 2-7 16,1 4-40-16,-2 2 6 0,2-1-37 16,-1 1-32-16,-3 4-27 0,4-2-54 0,-4 2-64 15,0-2-60-15,-2 1-78 0,3 1-49 0,-2-1-92 16,-2-1-123-16,-6 4-108 15,7-6-465-15,0-2 112 0,0-2 49 0,0 0 97 0,0-2 54 16,0-2 61-16</inkml:trace>
  <inkml:trace contextRef="#ctx0" brushRef="#br1" timeOffset="107703.97">17161 3214 1277 0,'5'-5'473'0,"-2"4"-25"0,4-1-43 0,1-1-44 0,3 0-29 15,4 0-22-15,-2 1-41 0,5 1-5 16,-3-3-75-16,5 4-20 0,-1-3-16 0,1-1-2 16,1 0-30-16,-1 0-6 0,-2-1-5 15,2 0-10-15,-2 0-26 0,-3-1 3 0,-1 2-21 0,-4-2 36 16,0 0-10-16,1-1 28 0,-4 0-18 15,-2 0-63-15,-2 0 4 0,2 2 10 16,-3 0 11-16,-2 0-21 0,0 0 31 0,0 5-15 0,-2-6-21 16,-3 4 13-16,5 2-2 15,0 0-4-15,0 0 11 0,-11 6-25 0,9 0-13 16,-3-3 4-16,2 2-4 0,-2 2 25 0,2-1-2 16,1 1-3-16,0 2-23 15,2-2-7-15,0-1 7 0,0 1-26 0,0-1-9 0,2 1 4 16,-2-1 13-16,5-1-58 0,-5 0-9 15,3 0 1-15,1 0-23 0,0-1-21 0,-2-1-26 16,3 0-32-16,-2 0-34 0,-3-3-34 16,5 1-114-16,-5-1-72 0,7 0-436 0,-7 0 24 0,0 0 125 15,9-4 82-15,-5 3 49 0,-4 1 66 16</inkml:trace>
  <inkml:trace contextRef="#ctx0" brushRef="#br1" timeOffset="108371.04">17445 3204 947 0,'0'5'279'0,"0"0"-13"0,1 0-28 0,1-2-26 15,1 3 6-15,0-2-18 0,-1 1-16 16,3-4-36-16,2 2 93 0,-1 0-16 0,2-3-28 16,-1 1 0-16,3-1-69 0,1-1-5 15,2-3 0-15,-3 1 2 0,2-3 34 0,-3 0-23 16,-2 0-3-16,4-2 28 0,-4 0-35 15,-4 1 35-15,1-4-43 0,-3 3 2 0,-1 0-7 16,-3-3-19-16,-2 0 1 0,5 2-18 0,-7-1 12 16,1 1-22-16,4 2-11 0,-4-1-30 15,1 1-6-15,0 1-27 0,2 2-27 0,-1-1-40 32,1 4-13-32,1-2-38 0,2 3-37 0,0 0-50 0,0 0-93 0,0 0-120 0,0 0-445 15,0 0 54-15,-3 10 81 0,3-10 103 0,10 3 48 16,-7 0 36-16</inkml:trace>
  <inkml:trace contextRef="#ctx0" brushRef="#br1" timeOffset="108831.3">18223 2909 1336 0,'-3'5'448'0,"3"3"-39"0,-5 1-43 0,3 0-28 15,1 1-26-15,-1 2-48 0,-1 1-16 0,3 1-7 16,0 0-59-16,-2-1 10 0,2 1-29 16,0 0-29-16,0-1 6 0,0-2-37 0,2-1 12 15,-2-1 21-15,0-1-98 16,0-2 36-16,0 1 34 0,3-3-16 0,-3-1-15 0,0-3 10 0,0 0 84 15,5 0 16-15,-5 0-56 0,10-6-3 16,-2 1-36-16,2-2 13 0,-2 1-31 0,2-2 10 16,3 2 1-16,-3 0-16 0,3 1-33 0,0 2 33 15,0-1 13-15,-1 2 0 0,-1 1-11 16,1 1 16-16,0 0-20 0,-3 1-18 16,-1 1 15-16,0 2 5 15,-1-1 41-15,-2 3 2 0,-5 0-9 0,0 4-11 0,-2-2 13 0,-4 1-18 16,-1 1-15-16,-3 0 12 0,-2 3-63 0,-4-4-47 15,0 4-25-15,1-2-54 0,-3 1-10 16,2-5-31-16,3 0-39 0,1 0-32 0,-1-2-37 16,3 0-27-16,-1 0-39 0,1 1-90 0,5-4-125 15,0-1 69-15,2 2-499 0,1-2 85 16,2-1 76-16,0 0 95 0,0 0 69 0,0 0 54 16</inkml:trace>
  <inkml:trace contextRef="#ctx0" brushRef="#br1" timeOffset="109451.92">18538 3150 1082 0,'15'-10'384'0,"-4"1"-23"0,-3 2 23 15,-1-2-31-15,0 3 47 0,-4-2-1 0,3 2-41 16,-4-1-22-16,4 0-16 0,-4-2 2 16,-2 5-38-16,0-1-25 0,0 0 4 0,0 1-42 15,0 4-50-15,-6-4 8 0,2 4-28 0,4 0 31 16,0 0-69-16,-13 6 22 0,7-3-22 15,1 2-6-15,-2 1-102 0,1 1 24 0,2 0-9 16,1 3-17-16,-2-3 7 0,5 1-25 0,0 0-8 16,0 0-6-16,2-2-42 0,4 2-70 0,-2-2 8 15,6 1-31-15,-2-3-20 0,3 2-16 16,1-3-33-16,1 1-36 16,-2-4-15-16,3 1-41 0,-5-1-43 0,7-1-34 0,-4-2 15 15,3 0 65-15,0-1 30 0,-2-2 36 0,3 0-56 16,-3 0 150-16,-1-1 83 15,2-1 59-15,-7 1 86 16,3 0 36-16,-2-1 39 0,-3 1 23 0,0 1 15 0,-2-1 13 0,0 1-5 16,-3 3 0-16,0-3 0 0,0 3 7 0,0 3-22 15,-3-5 2-15,3 5-13 0,-6-2-10 0,6 2-5 16,0 0 13-16,-15 5-39 0,10 0 5 16,-1-2-4-16,0 3-24 0,0 0-10 0,1 0 18 15,-2 0-38-15,1 2-3 0,3 0 20 16,-1-1-28-16,0 0-15 0,2 0 18 0,0-1-33 15,2-1-1-15,0 1-2 0,0-2 3 16,2 0-16-16,0 0-10 0,-2-4 3 0,6 2 10 16,-6-2 12-16,10 1-27 0,-10-1 2 0,11-3 25 15,-7-2-12-15,2 1 15 0,-1 1 13 0,3-3-33 16,-3 1 17-16,0 0 22 16,0 0-7-16,0 1-19 0,0 0 81 0,-2 2-56 0,-1-2-30 15,1 1 20-15,-3 3 30 0,5-3-35 0,-5 3-13 16,0 0 12-16,0 0-14 0,8 6 20 15,-6-4-21-15,-2 2-5 32,3 0-84-32,-3-1 2 0,3 2-38 0,-3 0 3 0,4 1 12 0,-3 0-18 0,4 0-55 0,-2-2 1 0,1 1-66 15,2 1-125-15,-2-5-144 0,2 3-424 16,-1 0 40-16,0-1 131 0,3-1 107 0,-3 0 39 16,3-2 105-16</inkml:trace>
  <inkml:trace contextRef="#ctx0" brushRef="#br1" timeOffset="110205.19">19066 3028 1200 0,'-12'6'356'0,"1"-2"-11"0,1 2 29 0,2 0-18 15,0 0-44-15,-2-1 0 0,2 3-33 16,1 0-10-16,1 0-113 15,-1 2 0-15,0-3-15 0,1 4-26 0,1 0-28 0,0-2 29 16,0 2-37-16,2-1-15 0,1 2-3 16,1-3 1-16,1-1-24 0,1-1 34 0,1 2-23 15,3-2-6-15,-2 0-22 0,5-2-9 16,0-1-14-16,-1 0-31 0,1-1-1 0,2 1-43 16,0 0 16-16,0-3-6 0,0-1-14 0,0 0-6 15,-1 0-11-15,1-1 19 0,2-1-29 16,-1-1 32-16,-1 2-1 0,0-4 3 0,0 1 12 15,1 0 21-15,-1-1-7 0,-2-2 25 16,2 1 7-16,-2-2 11 0,-1 0 10 0,1 0 11 16,-3-2-4-16,1 1 16 0,-1-1 3 0,2-1-5 15,-2 0-8-15,0-2 18 0,-2 1 5 16,2 0 7-16,-2 0-15 0,2 0 16 0,-2 4-5 16,-1-1 12-16,0 2 13 15,1 1 10-15,-3 0-20 0,3 0-8 0,-3 3 8 0,2 0-2 0,-2 3 7 16,0 0 35-16,0 0-29 15,0 0 1-15,0 0 3 0,0 0-2 0,3 12-13 0,-3-8-3 16,2 1 6-16,-2-2 2 0,0 4-21 0,0-1-2 16,0 0 5-16,3 1-20 15,-3-1-13-15,2 1 22 0,-1 2-4 0,1-2 8 16,1-1-21-16,2 2 10 0,-3 0-16 16,4 0 14-16,-2-2 18 0,2 2 48 0,2 0 0 15,-3-1 102-15,4 2-4 0,-1-1-42 16,0-2 1-16,0 2 2 0,1-3 5 0,-3 1-18 0,2-1-15 15,0 0-10-15,-1-3-26 0,1 1-44 0,-2-1 3 16,0-1-69-16,0-1-33 16,-1 1-52-16,-5-1-48 0,8 0-54 0,-8 0-40 15,7 0-55-15,-7 0-138 16,0 0-120-16,0 0-430 0,0 0 56 0,0 0 120 0,-17 4 75 16,9-4 64-16,-3-1 74 0,-3-1 82 0</inkml:trace>
  <inkml:trace contextRef="#ctx0" brushRef="#br1" timeOffset="110725.79">16092 2873 1351 0,'0'0'425'0,"-3"26"-36"0,3-11-18 0,-2 8-28 0,0 5-64 0,1 11 0 15,-4 4-43-15,3 1-29 0,-3 3-48 16,-5 9-29-16,2 1-61 0,2-8-64 0,-1-4-58 16,2-1-88-1,0-4-89-15,1 0-72 0,0-14-39 0,1-2-414 0,3-5 48 16,0-5 62-16,0-1 41 0</inkml:trace>
  <inkml:trace contextRef="#ctx0" brushRef="#br1" timeOffset="111954">16077 2841 1008 0,'12'-3'330'0,"4"-2"-28"0,-1 0-48 0,6 2-88 0,4-2-15 0,4-1-23 0,14-1 21 0,6 0-32 16,17-4-12-16,-2 1 8 0,6 1-11 15,1 0-20-15,6-1 87 0,5-1-33 16,6 0-24-16,6-2-19 0,2 4-4 0,1 2 13 0,3-4-17 15,23 0-8-15,-2 0-3 0,1-2-13 16,-22 4 3-16,21-5 13 0,2 2-31 0,0 2 13 16,-2-2 5-16,-21 5 0 0,0 1 15 15,0-2-17-15,2 2-6 0,1 0-10 16,0 2 41-16,-1 0-30 0,-7 0-6 0,0 2 8 16,-6-1-31-16,-1 2 8 0,-4-1-11 0,-4-1 6 15,-3 1 0-15,-4 1 5 0,-13 1-13 0,-3-4 23 16,-4 3-10-16,-4-1-21 15,-8 2 13-15,-8-2-13 0,1 1 3 0,-4 1 5 0,-4 0-5 16,-3-2 0-16,0 2-5 0,-7 0 10 16,1 0 26-16,-1-3-14 0,-4 3 6 15,-1 0 16-15,-1-1 17 16,-2 1 5-16,0 0 6 0,-1 0-21 0,-7 0-16 0,13 0 6 0,-13 0-3 16,8 0-12-16,-4 1-6 0,-4-1-5 0,1 5 23 15,1-1 16-15,1 2-29 0,-3 1 6 16,0 4 4-16,2 3-17 15,-1 3 8-15,-1 4-6 0,4 4 13 0,-1 4-33 0,0 10 15 16,2 2 0-16,-3 2-13 0,1 0 16 16,1 4-10-16,-3-3 17 0,4 0-43 0,-2-1-44 0,-1 1-4 15,1-3 14-15,-1-1 6 0,1 0 5 16,0-2-11-16,-1-3-2 0,0 2-12 16,-1-5 27-16,-1-5-15 0,0 1-5 0,0-2 0 0,0-5 18 15,-1 0 12-15,-1-1-22 16,0-1 2-16,-1-4 16 0,1-1-3 0,-1 1 7 15,-2-5 24-15,0 2-34 0,-3-2 3 0,0-1 28 16,-2 0-5-16,0-3 8 16,-3 0 0-16,-3 0 10 0,-4-4 2 0,-1 3 13 0,-7-3-25 15,-5 0 18-15,-3 0 7 0,-15-1 3 0,-5-1-11 16,-3 1 1-16,-3 0-13 0,-17-1 33 0,-6 0-23 16,-2 0 5-16,-3 0-25 0,-5 3 43 15,3-3-39-15,-6 0 1 16,-2 1 15-16,-2-1-41 0,-1 1 34 0,-4 1 4 0,1 0-7 0,-1-1 2 15,1 0 3-15,-2 1-10 0,-1-2 2 0,4 3-10 16,2-2 8-16,3 0 2 16,0 2-7-16,3-3-1 0,4 1 3 0,4-1-5 15,2 0 13-15,7-1-16 0,5-1 3 0,17 1 11 16,3-1-14-16,2-1 26 0,4 2-23 16,3-1 16-16,7 1 1 0,9-1-1 0,5 0 2 15,1 2 18-15,3-1-36 16,4 0 5-16,1 1 18 0,3 0-26 0,-2-3-10 0,5 3 31 15,-1-1 10-15,1 0-15 0,0 1-38 16,0-1 32-16,5 1 21 0,5 0-20 0,-14 0-5 0,8 0-3 16,6 0 7-16,-9-2 16 0,9 2 11 0,-10 0-11 15,10 0 10-15,-7 0-41 16,7 0 36-16,0 0-10 0,-11-1-13 0,11 1-7 0,0 0 12 16,-5 1 0-16,5-1-10 0,0 0 8 15,0 0 5-15,-10-1 0 16,10 1-1-16,0 0 12 0,0 0 19 0,0 0-25 0,0 0-8 15,-7 0 16-15,7 0-21 16,0 0-8-16,0 0 34 0,0 0-13 0,0 0-21 0,0 0 24 16,0 0-26-16,0 0 20 0,0 0 31 0,-6-1-41 31,6 1 11-31,0 0 9 0,0 0-17 0,0 0 18 0,0 0-11 0,0 0 13 0,0 0-41 0,0 0 39 16,0 0-6-16,0 0 14 0,0 0-34 15,0 0 7-15,0 0-4 0,0 0-3 16,0 0 28-16,0 0-20 0,0 0 28 0,-2-3-31 15,2 3 13-15,0 0 2 0,0 0-30 16,0 0-34-16,0 0-4 0,0 0-60 0,0 0-48 16,0 0 10-16,0 0-79 0,0 0-46 0,-3-4 7 15,3 4-199-15,-3-1-267 0,3-3-212 16,0 4 62-16,0-8 86 0,0 2 82 0,3-2 65 16,-1-2 58-16</inkml:trace>
  <inkml:trace contextRef="#ctx0" brushRef="#br1" timeOffset="115467.8">20676 1829 1218 0,'2'-4'438'16,"0"0"-106"-16,-2 4-19 0,0-5-29 16,0 5 15-16,0 0-45 0,-4-6 50 15,-1 4-81-15,5 2-5 0,-7 0-11 0,7 0-48 0,-17 5-14 16,3 1 22-16,-4 0-44 0,0 3 5 0,-3 1-36 16,0 1 31-16,-1 1-29 15,-2 0-9-15,4 1-8 0,2-1-13 0,0-1 0 16,3 2 71-16,2-4-17 0,2 1-18 0,2 0-21 15,3-1 1-15,1 0-27 0,3-2 14 16,2-1-11-16,4 0 11 0,-1-1-29 16,5 0-7-16,2 0-8 0,3 0 10 0,2 0-30 0,1 1 12 15,-1-2-10-15,3 0 16 0,-5 1-42 16,3-2 39-16,-2 2-15 0,0-1-8 16,-4 0 33-16,3 1-23 0,-3-1 26 0,-2 0-34 0,-1 0 29 15,-1-1 30-15,1 1-10 16,-4 1-18-16,-3-1 46 0,0 1-40 0,0 0 12 15,-2 1 0-15,-4 1-23 0,1-2 0 0,-5 1 13 0,2 0-18 16,-5 0-21-16,3 0 26 31,0 0-48-31,-4-2-4 0,0 3-27 0,0-2-18 0,2-2-11 0,-1 2-48 0,0-2-51 16,5 1-5 0,-4-2-73-16,4-1-91 0,0 1-179 0,3-2-446 0,-2 1 121 0,7-1 76 0,0 0 41 15,-6-4 100-15,6 4 49 0</inkml:trace>
  <inkml:trace contextRef="#ctx0" brushRef="#br1" timeOffset="115889.55">20789 1816 1110 0,'0'0'392'0,"0"0"-57"15,0 0 21-15,3 9-46 0,-3-4-16 16,2 3-30-16,-2 1-39 0,0 1-15 0,2 1-38 15,-2 2-4-15,1 1-14 0,-2 0-3 16,1 0-18-16,0 2-15 0,0-2-21 0,0-1-5 16,0 1 8-16,0-4 64 0,0 3-28 0,0-4-26 15,-2 0 2-15,2-1 4 0,0-1-1 16,2-2 0-16,-2 2 8 0,0-2 28 16,0 0-90-16,0-3-2 0,0-2 5 0,1 3-13 15,-1-3 3-15,0 0 5 0,0 0 15 0,0 0-23 16,17-5 6-16,-11 1-9 0,-1 1-7 0,3 0 8 15,-1 0 7-15,1 3 6 0,0-1-16 16,2-1-5-16,-2 4-3 16,2-1 11-16,-2 0 10 0,-1 3-3 0,3-2 10 0,-4 3-17 0,2-1-23 15,-1 0 17-15,-2 1 6 0,-2 1-8 16,2-1-18-16,-1 1-28 0,-3 0-23 0,4 0-29 16,-3-1-32-1,-1 1-39-15,1-1-46 0,1-1-26 0,0 0-18 16,-1 0-17-16,3-2-31 0,-2-1-42 0,3 1-73 0,2-1-67 15,-8-1 28-15,16-5-394 16,-6 2 0-16,1-2 98 0,1 1 96 0,4-4 37 0,-3 0 71 0</inkml:trace>
  <inkml:trace contextRef="#ctx0" brushRef="#br1" timeOffset="116309.92">21173 2012 609 0,'3'-7'297'0,"1"0"12"0,-3 3-1 0,-1-1 58 0,0 1 33 16,0 4-71-16,-3-5-3 0,-1 4-41 0,4 1-5 15,0 0-31-15,0 0-36 0,-18 5-14 0,13-2-88 16,-3 2-28-16,0 0-1 0,-2 1 22 15,2 0-16-15,-2-1 0 0,2 1-21 0,1 1 4 16,3-3-9-16,-2 2 11 0,0-1-26 16,4 1-10-16,-1-2-29 0,3-1 14 15,0-3-8-15,0 6 12 0,0-6 14 0,10 2-16 16,-3-3-8-16,-7 1 11 0,17-2-21 0,-7 1 13 16,0-1-3-16,0 0-10 0,0 2 15 15,1 0-17-15,-1 0 15 0,0 0 8 16,3 2-14-16,-5 0-7 0,2 0 34 0,0 1-34 0,0 0-5 15,-2 1 10-15,0-1-2 0,-3 3-3 16,1-2 21-16,-2 3-24 0,1-1 16 16,-4 0-8-16,1 1 3 0,-2-3 20 0,0 2 90 15,0-3 5-15,-2 3 26 0,2-6-34 0,-1 7 54 16,1-4-123-16,0-3-15 16,-2 5 13-16,2-5 28 0,0 0-29 0,-5 1-14 0,5-1 4 15,0 0 13-15,0 0-10 0,0 0-2 0,-1-11-19 16,2 6 16-1,-1 1 0-15,2-2-13 0,1-1-10 0,0 1-52 0,1-3-10 0,2 3-7 16,0-1-28-16,-2 1-24 0,1-2-61 0,2 2-33 16,-1 0-26-16,-1 0-53 0,3 1-114 31,-1-3-96-31,-2 4-456 0,1-3 110 0,0 1 54 0,0 0 102 0,2-2 38 0,-3 3 39 0</inkml:trace>
  <inkml:trace contextRef="#ctx0" brushRef="#br1" timeOffset="116511.37">21489 1857 1177 0,'0'0'512'0,"0"0"-28"0,0 0-31 0,3-3-51 0,-3 3-11 0,0 0 6 0,0 0-113 15,-3 15-41-15,3-7-10 0,0 0 10 16,-1 2-25-16,1 0-36 0,0 0-8 0,-4 3-18 16,2 0-18-16,1 2-33 0,-4-2-23 0,3 1-26 15,0-1-94-15,-2-1-34 0,2 0-71 0,0 0-26 16,1-3-33-16,1 0-90 0,1-1-105 15,1-2-509-15,0-1 59 0,4-2 79 16,1-1 82-16,0-2 92 0,1 0 62 0</inkml:trace>
  <inkml:trace contextRef="#ctx0" brushRef="#br1" timeOffset="116792.9">21694 1926 1282 0,'-5'-5'453'0,"5"5"-128"0,-7-1-2 0,7 1-21 0,-14 2-34 0,4 4 1 0,0-1-49 15,1 1 13-15,-3 0 90 16,-1 2-67-16,-2 2 15 0,4-2-48 0,-3 3-8 0,3-3-16 16,1 0-12-16,0 0 8 0,2 0-37 0,0 0-47 15,3 1 45-15,0-3-62 0,2 1-1 16,1-3-37-16,-1 2 0 0,6-1-71 0,-2-1 17 16,0 2-25-1,2-3 11-15,3-1 4 0,-2 2-25 0,2-3-44 0,0 0 0 16,-2 0-15-16,4 0-41 0,-1-1-11 0,3 0 16 15,2 0-51-15,-3-2-102 0,4 2-62 0,2-2-11 16,3 0-219-16,2-2-269 0,-1 3 56 16,4-1 113-16,-3 0 56 0,3-1 90 0</inkml:trace>
  <inkml:trace contextRef="#ctx0" brushRef="#br1" timeOffset="117647.53">22266 2003 1197 0,'2'-6'456'0,"2"3"-57"15,-4-2-91-15,2 1-4 0,-3-1-43 0,1 5-28 16,0-7 10-16,-2 4-20 0,-1-1-28 15,1 1-9-15,2 3-12 0,-8-2-7 16,8 2-29-16,-10 1-13 0,10-1 1 0,-13 4 74 0,5-1-42 16,0-1-9-16,2 2-14 0,-1 1-17 15,0-1-10-15,0 0 2 0,1 2 0 16,1-2-21-16,0 1-30 0,1 0 8 0,-2-1-34 16,4 0-33-16,-1 0 18 0,0 0-8 0,3 0-5 15,0-4-15-15,0 4-3 0,0-4 8 16,0 0 5-16,8 3 5 0,-8-3 0 0,10-2-10 15,-10 2 0-15,10-1 15 0,-10 1-15 0,12 0 16 16,-8 1 6-16,1 1-29 0,0-1-1 0,0 1 18 16,1 0-8-16,-2-1-7 0,4 2 15 15,-3-2-7-15,2 1-24 0,1-1 6 16,0 1 15-16,2-2 12 0,-2-3-4 0,3 1 4 16,3-3-12-16,-1-2 26 0,3 0 7 15,-1-3 31-15,3-2 30 0,0-2-7 0,-2 0 16 0,-3-1 7 16,3-2 12-16,-4 1 1 0,-2-4-5 15,2 1 7-15,-3-2-18 0,-2 1 29 16,1 5-13-16,-1-1-24 0,-4 5 4 0,4 0 9 16,-4 0-22-16,0 5-19 0,-1 0 24 0,-1 3-57 15,-1-1 28-15,0 4 9 0,0 0-1 16,0 0-72-16,-8 14 57 16,3-2-36-16,1 3-10 0,-5 0-8 0,4 3 0 0,1 1 0 15,-2 2 0-15,3-2 0 0,-2-2 0 0,5 2-29 16,0-4-40-16,2-1-13 0,2-2 3 15,0-1-16-15,1 0 8 0,3-2-5 0,1-3 31 16,-1 0 17-16,1-2-25 0,1-4 13 0,0 2 7 16,2-4 16-16,-3-2 33 0,3 0 2 15,0-4 19-15,0-2-24 16,0-2 42 0,-1-2-27-16,1-4 29 0,1-3 11 0,-3-1 19 0,4-8-20 0,-4 6 13 0,-3 3 6 0,1 1-6 15,-1 2-108-15,-4 2 29 0,4 5 33 0,-6 0 10 16,4 0-18-16,-3 5 5 0,-1 0-38 15,-1 4 57-15,0 2-16 0,0 0-21 0,0 0 29 16,-6 14-1-16,3-2-2 0,-4 2-28 16,4 4 3-16,-4 1-4 0,2 1 6 0,1 3 0 15,-2-4 13-15,5 0-54 0,0 0-10 0,0-3-31 16,1-1-10-16,1 0-54 0,0-4 13 16,0 2-64-16,1-3-49 0,-2-1-20 15,4-1-16-15,-3-1-112 0,2-1-107 0,-1-2-19 0,1-1-445 16,0-1 74-16,-3-2 113 0,0 3 95 15,0-3 81-15,0 0 111 0,0 0-19 0</inkml:trace>
  <inkml:trace contextRef="#ctx0" brushRef="#br1" timeOffset="118542.07">22384 1934 634 0,'0'0'256'0,"0"0"-10"0,0 0 0 16,14-4-44-16,-6 3-33 0,3 0-8 0,4-3-28 15,0 2-53-15,4 0-45 16,3-3-78-16,5 1-42 0,-2 0 4 0,3-2-58 0,3 0-40 16,-5 1 18-16,4 0 18 0,-4-2 56 15,-1 0-24-15,-4 2 50 0,-3 0 87 0,0 1 73 16,-5 0 29-16,-3 2 41 0,-2-2 3 16,0 2 10-16,-3 1 27 0,0 1 45 0,-5 0 2 15,0 0 13-15,3 4-59 0,-3-4 2 16,-3 7 0-16,-2-1-14 0,2-1 1 15,-2 1-12-15,0 1-36 0,0-1 10 0,2 0-30 16,1 3-19-16,-1-4-14 0,-2 3 2 0,3-1-13 16,-1-1-3-16,0 0-30 0,3-1-8 0,0 0-3 15,3 0 19-15,-1-1-37 0,1-1 24 16,2-1-16-16,0 0 8 0,3 0-13 16,-3-2-12-1,3 0 7-15,0-3-18 0,0 2 18 0,1-2-10 0,-1 0 5 0,0-2-11 0,2 1 1 16,-3 0 10-16,0 0-13 15,-1 0 31-15,0 3-16 0,-2-3-17 0,0 2 33 0,0 1-21 0,-4 1-5 16,6-1-7-16,-6 1 10 0,0 0 23 16,0 0-39-16,4 8 6 0,-3-6-11 15,-1-2-25-15,2 6-3 0,-2-3-18 0,4 1 3 16,-3-1 15-16,2 0-43 0,-1-1-54 16,-2-2 35-16,8 2 19 0,-2-1-11 0,-6-1 29 15,12-1-6-15,-7 0 24 0,2-1 35 0,0-1-7 16,0 1 15-16,-2-2 38 0,3 0 1 15,-4 0 25-15,2 0 15 0,-1 1 13 0,-2-1-36 16,1 1-7-16,-1 1 10 0,1-1 0 0,-4 3 13 16,4-3-1-16,-4 3-40 0,0 0 15 15,0 0-23-15,7 8 8 0,-7-5-13 16,1 1 15-16,-1 1-5 0,0 1-2 0,2-2-19 16,-2 2 16-16,4 1-17 0,-3-1 22 15,0 0-21-15,1 0-9 0,3-1-29 0,-2 0 0 16,1-3-10-16,-1 1 31 0,2 0 2 0,-2 1 8 15,-3-4 11-15,8 0 32 0,-8 0 1 16,10-4 12-16,-5 2 16 0,0-2-16 0,0 0 16 16,0-1-1-16,1 0-101 0,-2-2 17 0,2-3 0 15,-1 1 5-15,2-1 3 16,-1 2-5-16,-1-3-3 0,0 4 6 0,3-1 4 31,-3 2 0-31,3-1 9 0,-3 2-17 0,3 1-1 0,-4 1 1 0,4 0-4 0,-2 3 7 16,0-1-10-16,-6 1-12 0,0 0 19 0,9 4 24 0,-7-1-31 15,-2-3 23-15,-2 7-7 0,1-3-11 0,-1-1 3 16,-3 3-3-16,0 0 8 16,2-1 13-16,-4 1-3 0,4 0-8 0,-2-1 6 15,2 1 7-15,-2-1-13 0,3 0 3 0,-1 0-5 16,1 0 18-16,-1-1-13 0,3 0 10 16,0-4 11-16,0 6-11 0,0-6-2 0,3 4-3 15,2-4 5-15,1 1-15 0,0-1-18 0,2 0-26 16,2-1-25-16,0 1-41 15,1-3-21-15,3 2 6 0,0 0-34 0,2-1-41 0,1 2-118 16,7-2-142-16,-2 2-421 16,2-1 77-16,6 3 95 0,-3-1 107 0,3 0 29 0,0 1 53 15</inkml:trace>
  <inkml:trace contextRef="#ctx0" brushRef="#br1" timeOffset="118880.4">23925 2035 1313 0,'0'-6'537'0,"0"1"-20"0,0-2-53 0,0-1-9 0,0 0-17 0,0-3-59 15,2-1-41-15,-2-3-21 16,5-3 54-16,-4 1-20 0,3-4-16 0,-1-4-28 15,0 2-58-15,1-1-11 0,-1 2-136 0,2 3 23 16,-2 1-38-16,2 4-2 0,-3 0-31 0,-1 1-24 16,1 4-19-16,1-1-47 15,-2 2-28-15,1 1-67 0,-2 1-4 0,0 1-32 0,0 1-58 16,0 4-44-16,0 0-99 0,0 0-211 0,-2-2-427 16,2 2 138-16,0 0 103 15,0 0 48-15,0 0 85 0,0 0 72 0,0 0 27 16</inkml:trace>
  <inkml:trace contextRef="#ctx0" brushRef="#br1" timeOffset="119034.86">24009 1663 1075 0,'0'0'488'16,"0"0"-104"-16,0 0-10 0,0 0-46 0,0 0 12 0,0 0-68 16,-11 13-22-16,5-7-6 0,-2 2-17 15,0 0-19-15,3 2-24 0,-5 2-38 0,-1-1-3 16,1 0-12-16,1 2-39 0,-3 1-31 15,0-3-73-15,3 1-34 0,-3 0-59 0,0 0-110 0,3-2-80 16,1-1-84-16,1 0-238 0,0-4-125 16,1 0 31-16,2-1 40 0,-2-1 49 0,4-2 92 15</inkml:trace>
  <inkml:trace contextRef="#ctx0" brushRef="#br1" timeOffset="119267.71">23943 1698 1192 0,'0'0'484'0,"12"3"-41"0,-6-3-21 0,-1 3-5 0,3 1-114 16,0 0-19-16,0 2-3 0,1 1-48 0,1 0-20 15,0 1-16-15,1-1-8 0,-1 0-38 16,0 2 3-16,1-1-19 0,-1-1-27 0,1 1-1 16,-2-1-35-16,-1 1-3 0,2-2-30 0,-2 1-39 0,-1-1-34 15,1-1-9-15,-3-2-34 16,1 1-5-16,0-1-51 0,-2 0-46 15,-2-1-80 1,1 2-161-16,0-2-378 0,-3-2 27 0,3 3 80 0,-3-3 51 0,0 0 95 16,0 0 0-16</inkml:trace>
  <inkml:trace contextRef="#ctx0" brushRef="#br1" timeOffset="135268.06">15664 4546 1366 0,'0'-2'507'16,"2"-2"-148"-16,-2 4-42 0,3-6-15 0,-3 6-23 16,3-2-18-16,-3 2 13 15,0 0-41-15,0 0 13 0,0 0-21 0,0 12-8 16,0-6-17-16,-3 3-3 0,3 1-23 0,-3 2-18 16,1 1-12-16,-4 5-14 0,2-2-2 0,1 1 18 15,-4 5 38-15,4-2 3 0,-5 1-31 16,3 2-76-16,0-3-21 0,-1-1-6 0,2-1 9 15,1 0-16-15,-2-3-3 0,3-2-7 16,2 0 13-16,-1 2-41 0,1-7 38 0,1 3-31 16,1-3 3-16,0 2-21 0,1-2 9 15,2-3-6-15,0 2-13 0,3-4-13 0,0 2-10 16,0-2 13-16,2-2-56 0,0 0-36 16,0-1 7-16,0-1-30 0,1 1-3 0,-1-4-58 15,0 2-39-15,0-2-29 0,1 1-71 0,-3-2-110 16,-1 1-117-16,-2 2-316 0,0-4 57 0,-2 1 123 15,-1 3 51-15,-4-4 51 0,2 1 156 16</inkml:trace>
  <inkml:trace contextRef="#ctx0" brushRef="#br1" timeOffset="135467.66">15494 4808 890 0,'-5'-2'348'0,"5"2"-35"16,-2-3-6-16,2 3-18 0,0 0-28 0,10-8 57 15,-4 6-39-15,1-2-23 0,6-1-26 0,0-1-33 0,2 0-5 16,3 3-26-16,2-4-12 16,1 3-29-16,0-2-25 0,-1 4-49 0,3-4-15 15,-3 4-61-15,-4-1-44 0,2 3-75 0,0 0-99 16,-6 2-113-16,6 1-478 0,-5-1 71 0,1 1 113 16,-2 0 48-1,-2 3 21-15</inkml:trace>
  <inkml:trace contextRef="#ctx0" brushRef="#br1" timeOffset="136820.54">15972 4840 977 0,'-3'-7'361'0,"3"1"-31"0,-3 0-15 0,1 2-25 15,0-3-35-15,-2 3-24 0,2 0-11 16,0 1-2-16,-4-1-42 0,6 4 6 0,-7-1-41 16,7 1 10-16,-10 1-46 0,6 4 23 15,-3-3-41-15,4 2 18 0,-1 3-21 0,-2-1 47 16,4 0 15-16,-1 1-16 0,1-1-25 0,-1 0-23 16,3 0-28-16,0 0 38 0,3 0-5 15,-1-3-23-15,-1 2-16 0,3 0 9 0,-1-3-21 16,0 2 20-16,1-4-20 0,2 3-3 15,-2-2 11-15,2 1-11 0,-6-2 33 0,11-3-30 16,-7 2-15-16,2-1 43 0,1-1-31 0,-2 1-15 16,1 1 28-16,-2 0 0 15,-1-3 18-15,2 3 0 0,0 0 0 0,0-2-8 16,-5 3-2-16,8-2-21 16,-5 2 1-16,-3 0 7 0,10 0-16 0,-10 0 26 0,10 0 8 0,-4 1-89 15,-2 0 19-15,-1 2-9 0,3-2-8 16,-2 0 30-16,2 3-2 0,-2-3-2 0,0 1 22 15,0-1 6-15,-4-1-16 0,6 5 80 16,-2-5-3-16,-4 0 0 0,6 4 12 16,-6-4 4-1,3 1-34-15,-3-1 0 0,4 1 23 0,-4-1 3 0,0 0-26 0,5 5-8 0,-5-5-17 0,0 0 23 16,0 0-16-16,6 0-8 0,-6 0 19 16,0 0 4-16,5-5-27 0,-5 5-19 0,5-4 21 15,-2 2-13-15,1 0 11 0,-4 2-9 16,6-4-4-16,-2 3 5 0,-4 1-11 0,8-1-15 15,-2 0 11-15,-6 1-6 0,10-4-28 16,-5 4 23-16,-5 0 5 0,10 0-20 0,-10 0 18 0,11 0 7 16,-4 0-25-16,-7 0 0 0,11 0 10 31,-6 0-8-31,-5 0 8 0,7-1 28 0,-7 1-30 0,10-1-32 0,-7-1 19 0,-3 2-18 16,11-2 33-16,-7 1 0 0,-1 0-16 0,3-2-22 15,-2 0 10-15,1 2 7 0,0-4 6 16,-1 2 2-16,0 0-2 0,-1-1-16 0,2 1 31 15,-2-1-26-15,2 2 16 0,-1-3 20 16,-1 1 8-16,0 1-10 0,0 1-8 0,-1-1-15 0,-2 3 2 16,5-5 5-16,-5 5-2 15,3-3 5-15,-3 3-18 0,2-4 15 0,-2 4 8 0,0 0-10 16,0 0-8-16,0 0 31 0,0 0-8 16,0 0 10-16,0 0-30 0,0 12 23 0,0-12-34 15,-2 7 26-15,0-4-8 0,2 0 18 16,-3 3-4-16,3-2-17 0,-3 0 4 0,3 1 17 15,0 1-2-15,-2-1 15 16,2 1-39-16,0-1 14 0,0 1 9 0,0-3-19 0,0 1 6 16,0 0 9-16,0 0 15 0,0-4 2 15,0 5-27-15,0-5 7 0,0 6 10 0,0-6 3 0,0 2-3 16,0-2-2-16,0 0 7 16,0 0 8-16,0 0-25 0,0 0 17 0,0 0-5 0,0 0 18 15,0 0 6-15,2-11-14 0,1 7-25 0,-6-2 15 16,6 0 3-16,-3-1 18 0,0-3-16 0,0 2-2 15,0-2-5-15,2 1-21 16,-1-3 2-16,-1 3 22 0,0 0-14 0,2 1 11 16,0 0 7-16,-2 1-51 15,0 0 18-15,3 2 57 0,-3 1-21 0,0-1-11 0,0 0-1 0,0 2-9 16,0 3 0-16,3-5 16 16,-3 5-10-16,0 0 10 0,0 0-16 0,0 0-12 15,0 0 12-15,0 0 8 0,2 12-10 0,-2-7-3 16,-2 0 3-16,2 1 10 0,0 3-5 0,-3 0 0 15,3 2 8-15,0 2 13 0,0 0-29 16,0 3 5-16,0 0 3 0,0 2 16 0,-3 2-27 0,3 2-1 16,0-2 14-16,0 4 8 0,0 3-27 0,0-4-22 15,0-2 37-15,0 2-11 16,0-2 8-16,0 1-72 0,0-3 23 0,0 0 3 16,3-2-21-16,-3-3 3 0,0 0 18 0,3-3-3 15,-1 0 26-15,-2-3-26 0,2 0 6 0,-2-4 35 16,3 1-5-16,-3-3-3 0,0-2 32 15,0 0-11-15,0 0-8 16,11-7 26-16,-6-2-15 0,-3 0 17 0,4-4-12 0,-2-5-11 0,2-1 21 16,1-4 8-16,1 2-1 15,0-3-53-15,2 3 10 0,0 0 10 0,-2 5 21 0,2 3-10 16,-2 1 10-16,0 0-1 0,-1 2 6 16,-1 3-7-16,1 2 22 0,-2 2 8 0,-3 1 5 15,2 1 8-15,-4 1 7 0,0 0-23 16,0 0 9-16,0 0 9 0,-8 11-7 0,2-5-9 15,1-1-34-15,-2 1-37 0,-1 0-2 0,0 0-65 16,3 0-7-16,-3-3-71 16,3 1-21-16,-2-1-57 0,1 0-40 0,1-2-172 0,3-1-289 15,-3 1-264-15,5-1 80 0,0 0 189 0,0 0-18 16,5-12 102-16,0 9 65 0,3-4 43 0</inkml:trace>
  <inkml:trace contextRef="#ctx0" brushRef="#br1" timeOffset="137116.87">16944 4953 1415 0,'0'-4'545'0,"0"-2"-110"0,1-2-25 0,0-1-11 15,-1 1-35-15,2-3-29 0,-2 0-43 16,0-2-26-16,0-2-7 0,-2-3-29 0,2-1-20 15,0-3 7-15,0 1-43 0,0-2-20 16,2 2-16-16,-2-1-10 0,0 3-25 0,3 3-6 0,-3 1 13 16,0 3-18-16,0 2-15 0,0-1-39 15,0 3-50-15,0 2-14 0,0 1-41 0,0 3-25 16,0 2-72-16,-5-3-51 0,5 3-46 16,0 0-107-16,0 0-124 0,0 0-445 0,-5 6 88 15,5-6 47-15,-3 4 119 0,3-4 51 16,0 0 76-16</inkml:trace>
  <inkml:trace contextRef="#ctx0" brushRef="#br1" timeOffset="137307.79">16995 4556 1543 0,'0'0'420'0,"0"0"-23"0,0 0-26 0,-16 7-44 0,11-1 4 0,0 0-52 0,-2 0-31 15,-1 4 0-15,0-1-38 0,-2 3-10 16,-1 1-24-16,1 0-22 0,2 0-52 15,-4 0-38-15,3 4-54 0,-3-4-63 0,4 1-60 16,-2 0-25-16,2-2-113 0,3-2-61 0,-2 2-18 16,4-6-42-16,0 1-411 0,1-4 105 15,-1 0 10-15,3-3 53 0,0 0 86 0</inkml:trace>
  <inkml:trace contextRef="#ctx0" brushRef="#br1" timeOffset="137548.68">16862 4628 921 0,'4'-8'323'0,"2"3"7"0,-2 1-15 0,2 1 66 15,-1 3-20-15,-5 0 7 16,10 3-14-16,-2 1-16 0,2 0-31 0,0-1-87 16,1 5-3-16,1-1-4 0,2 0-39 0,2 1-26 15,-2 0-7-15,1 1-10 0,3-2-34 0,0 0 8 16,0 0-26-16,-1 3-22 0,0-7-16 16,1 3-52-16,-3 0-27 0,1-2 2 15,-4 2-5-15,1-4-23 0,-3 2 3 0,-2-4-14 0,0 2-6 16,-4-2-47-16,-4 0-29 0,0 0-19 15,0 0-95-15,0 0-108 0,-10-8-469 0,-7 1 73 16,-20-4 56-16,-9-2 68 0,-15-5 81 16</inkml:trace>
  <inkml:trace contextRef="#ctx0" brushRef="#br1" timeOffset="138284.31">3808 4116 765 0,'8'-7'343'0,"0"4"-49"15,0-2-10-15,4 0-38 0,4-1-18 0,1 0-26 16,7-2-28-16,1-2-7 0,9 0-24 15,-3 1-10-15,4 0-51 0,-4-1-31 16,-5 3-30-16,-1 1-116 0,-4 1-77 0,5-4-119 0,-6 5-416 16,-2 3 26-16,-5-1 72 0,-1 2 89 15</inkml:trace>
  <inkml:trace contextRef="#ctx0" brushRef="#br1" timeOffset="138721.21">3918 4184 1131 0,'0'0'348'0,"0"0"-33"0,0 0-52 0,0 0 1 16,0 0-33-16,9-9-9 0,0 4-20 0,-1 0-15 16,3 0-13-16,1 1-5 0,4-5-10 15,-1 2-3-15,0-1-20 0,1 1-6 0,0 0-12 16,-1-2 2-16,2 3 1 0,-1-1 12 15,-3 1-87-15,-1 0 8 0,2-1 7 0,-2 2 8 16,-2 2-23-16,-1-2 31 0,-2 1-23 16,1 0 25-16,0 0-17 0,-1 2-9 0,-2-2 9 15,1 2-11-15,-2-1-2 0,1 1-6 16,-2 1 8 0,-3 1 80-16,8-4-21 0,-6 3-8 0,-2 1 24 0,6-2-39 0,-6 2 15 0,4-3-33 15,-4 3 28-15,3-2-45 16,-3 2 24-16,0 0 6 0,5-1-7 0,-5 1-24 0,0 0-20 15,0 0 30-15,0 0-41 0,5-3-9 32,-5 3 32-32,0 0-15 0,3-2-10 0,-3 2-7 0,0 0-4 0,0 0-17 0,0 0-28 0,0 0-26 15,0 0-54-15,0 0-15 0,0 0-41 0,0 0-39 16,0 0-79-16,0 0-130 0,0 0-579 16,-6 11 93-1,4-8 86-15,-3 2 87 0,2 1 49 0,-1 0 87 0,-2 0 103 0</inkml:trace>
  <inkml:trace contextRef="#ctx0" brushRef="#br1" timeOffset="139973.24">20497 4396 1407 0,'0'0'459'0,"-5"-6"-24"0,2 6-41 16,-4-2-56-16,1 1-18 0,-4 2-21 0,-1 1-45 16,-1-2-14-16,-1 5-20 31,0 0-7-31,0-2-37 0,-2 3-22 0,2-1 7 0,1 1-35 0,1 1-19 0,-2-1 8 0,6-1-28 15,-3 1-5-15,2 1 3 0,2-1-1 16,2-1-38-16,1 2 8 0,0-1-8 0,3 0 13 16,3 0-23-16,0 1 7 0,1-1-27 0,4 0 30 15,2 2-23-15,0-1 10 0,0 1 0 16,1 0-4-16,2 1-17 0,0 0 22 0,-3-2 7 16,0 0-6-1,-1 0 6-15,0 0 3 0,-4-1 5 0,1 2-14 0,-4-1-1 0,0 1 37 16,-2-1-40-16,-4 0 25 0,1 1 13 15,-5-1-22-15,-1 2-9 0,-2-1 0 0,-3 1-10 16,0-1 6-16,-2-1-75 0,1-2 2 0,-1 2 1 16,-2-1-8-16,3-1-26 0,0-1 6 15,2-1-16-15,0-1-33 0,-2 0-1 0,4 1-40 16,1-2-23-16,0 1-28 0,2 1-6 16,1-3-81-16,1 1-121 0,2 0-86 0,4-1-388 15,0 0 70-15,0 0 72 0,0 0 45 0,0 0 73 16,0 0 78-16</inkml:trace>
  <inkml:trace contextRef="#ctx0" brushRef="#br1" timeOffset="140750.65">20527 4544 1028 0,'3'-4'433'0,"-3"1"-34"0,0 3-2 0,5-3-54 15,-5 3-51-15,0 0 7 0,0 0-45 16,0 0-31-16,0 0-16 0,0 0-33 0,0 0-3 15,0 0-12-15,2 12-23 0,-2-7-6 0,0 1-7 16,0 0-5-16,0 0-11 0,1 0-20 16,-1 0-28-16,2 2-5 0,1-1 10 0,1-1-33 15,0 1 25-15,0 2-17 0,-1-2-22 16,3-2 19-16,-2-1-28 0,2 2 20 0,1-1-25 16,-2 0 9-16,1-2-6 0,-2 0 9 0,2-1-12 15,-1-1 25-15,0 0-26 0,-5-1 1 16,11-1 25-16,-11 1-36 0,10-3-2 15,-5 0 51-15,-3 1-15 0,5 0-1 0,-3-3-4 16,0 1 7 0,-1 2 0-16,0-3-8 0,0 3 9 0,1-3-9 0,-1 4 3 0,-3-3 0 0,0 4-2 15,5-6 7-15,-5 6-13 0,4-3 0 16,-3 0 19-16,-1 3-21 0,0 0-3 16,3-2-8-16,-3 2 21 0,0 0 16 0,0 0-37 15,0 0 24-15,0 0-16 0,0 0-15 16,0 0 28-16,0 0-25 0,8 8-4 0,-6-5 1 15,-2-3-5-15,2 3 13 0,-1 1 15 0,-1-4-21 0,2 6 11 16,1-4-1-16,-1 2-7 16,-2-4-2-16,1 3 17 0,-1-3-17 0,2 5 35 15,-2-5-46-15,2 4 5 0,-2-4 8 16,5 2 26-16,-5-2-23 0,3 1 27 0,-3-1-14 16,0 0 94-16,0 0-3 0,8 0-10 0,-8 0-4 15,0 0 9-15,0 0-28 0,10-2-7 16,-10 2 2-16,5-1 36 0,-5 1-39 0,0 0-94 15,8-2 8-15,-8 2 10 0,0 0 27 0,7 0-19 16,-7 0 4-16,0 0 1 0,6 2-34 0,-6-2 49 16,5 1-38-16,-5-1 48 15,5 2 5-15,-5-2-12 0,5 1 30 32,-5-1-23-32,5 3 5 0,-5-3-2 0,0 0 23 0,5 0-21 0,-5 0 23 0,0 0 36 0,0 0 62 0,0 0-11 15,10-3 6-15,-10 3-116 0,8-2-10 16,-8 2 23-16,5-4 13 0,1 2 20 0,-1 1-55 15,-2-2-24-15,4 1 0 0,-7 2 0 16,8-1 0-16,-1 0 0 0,-1 1 0 0,-6 0 0 16,12 0 0-16,-12 0 0 15,11 0 0-15,-5 1 0 0,-2-1 0 0,-4 0 0 0,10 2-131 0,-2-1-64 16,-5 2-48-16,4-2-41 0,-7-1-36 0,9 4-10 16,-5-2-59-16,1-1-80 15,-2 3-150-15,2-4-405 0,0 2 162 0,-5-2 55 16,11 0 70-16,-11 0 87 0,10-2 41 0</inkml:trace>
  <inkml:trace contextRef="#ctx0" brushRef="#br1" timeOffset="141302.99">21078 4577 1118 0,'-2'-5'371'0,"2"5"-20"0,-2-3-16 0,2 3-28 15,-8-3-35-15,8 3 7 0,-10 0 66 16,10 0-50-16,-13 3-24 0,8-2 0 0,0-1-33 0,-1 2-38 15,2 1 15-15,4-3-18 0,-8 2-23 16,6 2-30-16,-2-4-6 0,0 2 8 16,4-2-49-16,-6 5 3 0,6-5 12 0,-3 3-22 15,1 0-6-15,2-3 11 0,0 0-28 0,-2 3-3 16,2-3 25-16,0 0-30 0,-3 4 3 0,3-4-4 16,0 0 12-16,0 0-22 15,0 0 14-15,0 0 2 0,0 5-6 0,0-5-63 0,0 0-20 16,0 0 12-16,0 0 10 0,0 0-4 0,0 0 2 15,0 0-11-15,0 0 34 16,0 0-31-16,0 0 18 0,0 0 1 0,0 0 4 0,0 0-18 16,0 0 8-16,0 0 21 0,3 3-21 15,-3-3 12-15,0 0-19 0,0 0 12 16,0 0 0-16,0 0-2 0,2 3-3 16,-2-3 10-16,3 3-18 15,-3-3 8-15,2 4 15 0,-2-4-40 0,3 3 12 0,0 0 3 0,-3-3-16 16,4 3 36-16,0 0-4 0,-4-3-9 0,4 2 0 15,1-1 19-15,-5-1-19 0,8 4 19 0,-8-4-11 16,7 0 13-16,-7 0-13 0,8 0-10 16,-8 0 7-16,6 1-4 0,-1-1 2 0,-5 0-3 15,5 5 1-15,0 0 4 0,0-1 24 16,-2 5-16-16,1-2 3 0,0 3 20 0,0 1 21 31,-1 1-34-31,0 0 16 0,-3 1-8 0,2 1-23 0,-2-1 26 0,0 1 7 0,0-1-45 16,-2 1 9-16,-1-1-14 0,0 0-24 0,-1-1-10 15,0-1-46-15,0-2-47 0,-2 2-9 16,2-3-52-16,1 1-58 0,-2-5-39 0,3 2-131 16,-1-3-89-16,0-1-471 0,3-2 131 15,0 0 71-15,0 0 61 0,0 0 101 0,-1-13 68 0,2 5 93 16</inkml:trace>
  <inkml:trace contextRef="#ctx0" brushRef="#br1" timeOffset="141528.99">21233 4401 1584 0,'2'-1'499'0,"-2"1"-30"0,0 0-19 15,0 0-7-15,0 0-121 0,5 7-4 0,-2 0-11 16,-1 1-31-16,0 3-30 16,-1 0-26-16,-1 3-20 0,0 3-21 0,0-3-23 0,-1 6-35 15,-1 0-42-15,-3 1-56 0,5-2-49 16,-1 0-45-16,-3 0-47 0,4-1-51 0,-2-4-54 15,4 3-94-15,0-4-144 0,1-3-453 0,0-2 131 16,1 0 15-16,0-3 80 0,0 0 68 16,2-3 54-16</inkml:trace>
  <inkml:trace contextRef="#ctx0" brushRef="#br1" timeOffset="142300.54">21507 4480 1499 0,'0'-4'400'0,"0"4"-9"0,-3-5-37 0,3 5-37 0,-8 0-5 0,8 0-35 16,0 0-44-16,-16 7 15 0,9-3-53 0,-3 3 7 16,3-1-26-16,-2 2-27 0,2 2 4 15,0-2-30-15,-1 3-8 0,0-3-20 16,4 2 20-16,-2-3-33 0,5 1-10 0,-1 1 5 0,0-2-11 16,2-3-32-16,0 2 14 15,0-3-4-15,4 2-3 0,-3-3-5 0,-1-2 4 16,8 3-9-16,-8-3 2 0,8-2-10 0,-1 0 11 15,-7 2 2-15,10-6-1 0,-3 1 4 16,0 0 2-16,0 2 2 0,-2-4 6 0,3-1-16 16,-4 5 13-16,2-3-7 0,-2 2 2 0,-3 1-13 15,4-1 3-15,-2 1 22 0,2 0 9 16,-5 3-42 0,5-3 19-16,-5 3-4 0,0 0-4 0,0 0 0 0,0 0 7 0,10 7-2 15,-10-5 2-15,3 2-12 0,-2 1-21 0,0-1 13 0,0 1 0 16,1-1-3-16,0-2 29 15,1 3-31-15,-3-2-8 0,5 2 10 0,-3-3-10 0,1 1 21 16,4-2-11-16,-3 1-22 16,-4-2 30-16,10 1-21 0,-3-2 11 0,-1-1-5 15,2 1-1-15,-1-4-4 0,3 3 7 0,-2-3 11 16,2-1-16-16,0 0-16 0,-2 1 17 16,2-1-12-16,0 0 4 0,-2 2 33 0,0-2-31 0,-1 2-3 15,-1 0 24-15,-1 0-27 0,3 1 35 16,-3 2-17-16,0-1-17 0,1 2 28 0,-6 0-15 15,10 0-16-15,-10 0 31 0,10 3 5 16,-6 0-4-16,-1 1 1 0,2 0 8 16,-2 3 6-16,-1-1-34 0,1 1 23 0,-1 2 0 15,-1-3-23-15,-1 1 6 0,0-1 12 0,2 1-3 16,-2-1 16-16,0-1 7 0,0 0-20 0,3-1 1 16,-3 0-19-16,0-1 36 0,0 2-21 15,0-5 3-15,2 5-10 0,-2-5-16 0,0 0 14 16,5 0 7-16,-5 0-13 0,10-5-5 0,-2 0 23 15,0 2-11-15,2-1 19 0,1-2-28 16,-1 3-8-16,4-2 7 0,-3 2 1 0,2 0 10 16,-3 0-42-16,1 1 27 0,-1 2 17 0,2 0-17 15,-4 0 27-15,1 0-20 0,-2 2-5 16,2 1 0-16,-3 0 49 0,-3 0-26 16,2 2 5-16,-5-2 3 0,2 3-3 0,-4 1-25 15,-1-1 2-15,0 1-26 0,-4 3-2 0,0-4-28 16,-1 2-51-16,0-1-78 0,-2 3-58 15,2-4-79-15,1 1-82 0,1-2-257 0,2-2-455 16,2 2 159-16,-2-3 59 31,4-2 128-31,0 0 45 0,0 0 45 0,0 0 96 0</inkml:trace>
  <inkml:trace contextRef="#ctx0" brushRef="#br1" timeOffset="142591.37">22581 4634 1259 0,'0'-6'630'0,"3"3"-31"0,-1-7-47 0,-2 2-29 0,0-3-29 0,0 0-29 0,0-4-68 0,0 2-8 0,0-4-148 15,2-2 20-15,-1-3-46 0,-1-5-8 0,3-1-43 16,-3 0-31-16,2-1 5 0,2-8-12 15,-3 6-13-15,-1 6-1 16,3 2-45-16,-1 3-6 0,0 3 11 0,-1 2-13 0,-1 2 7 16,0 3-50-16,0 2-27 0,2 1-32 15,-2 1-37-15,0 2-30 0,0 4-61 0,0 0-31 16,0 0-47-16,0 0-58 0,0 0-153 0,0 0-431 16,0 0-54-16,-10 11 65 0,10-9 114 15,0-2 85-15,-1 6 75 0,1-6 53 0</inkml:trace>
  <inkml:trace contextRef="#ctx0" brushRef="#br1" timeOffset="142811.7">22671 4141 1540 0,'-5'-2'448'0,"5"2"-33"0,-10-1-28 0,10 1-32 0,-16 3-35 0,7 2-2 15,-5 1-47-15,-1 1-15 0,-1 3-26 16,-4 2-15-16,-1 0 44 0,-5 8-8 0,-1-2-26 15,0 1-33-15,2 1-33 0,-1-1-118 0,4-2-23 16,4-3-52-16,0 0-50 16,2 2-42-16,3-3-68 0,1-2-44 0,1-1-18 15,3 0-100-15,1-4-102 0,4 0-430 0,1-3 107 16,-1 1 23-16,3-4 90 0,0 0 59 0</inkml:trace>
  <inkml:trace contextRef="#ctx0" brushRef="#br1" timeOffset="143422.04">22586 4193 1384 0,'8'1'418'0,"0"2"-17"0,2 1-68 0,0 1 0 0,1 1-41 0,1-2-6 0,-1 4 37 16,4 0-8-16,-5-3-23 0,1 2-42 15,1-1 1-15,-2 0-95 0,-1 2-15 0,1-3-21 16,-3 1-2-16,3 0-41 0,-4-2 28 0,3 1-5 15,-3-1-23-15,-3-1-6 0,4 1-22 16,-4-1 0-16,2 0 9 0,-2-1-29 16,1 1-17-16,-1-2 4 0,-3-1-11 0,7 5-28 15,-4-4 2-15,-3-1-9 0,3 2-16 0,-3-2-18 16,3 4-6-16,-3-4-19 0,0 0 38 16,4 0-13-16,-4 0-3 0,0 0-7 0,0 0 0 15,4 3-6-15,-4-3 4 0,0 0 1 0,0 0 9 16,0 0 30-16,0 0-13 0,2 3 6 0,-2-3 2 15,0 0 0-15,0 0 8 0,0 0 25 16,0 0-28-16,0 0 3 0,0 0 15 0,0 0-15 16,0 0 7-16,0 0 11 0,0 0-19 0,0 0 22 15,0 0 6-15,0 0-6 16,0 0-11-16,0 0 2 0,0 0 1 0,0 0 15 16,0 0-13-16,0 0 2 0,0 0 6 0,0 0 10 15,0 0-5-15,0 0-3 0,0 0 18 0,0 0-12 16,0 0-13-16,-11-6-6 0,11 6 18 15,0 0-14-15,0 0 11 16,0 0-4-16,0 0-10 0,0 0 9 0,0 0 27 0,-5-4-34 0,5 4-5 16,0 0 18-16,0 0 0 0,0 0-24 15,0 0 4-15,0 0 7 0,0 0-13 0,0 0-7 16,-2-2 10-16,2 2-34 0,0 0 24 0,0 0-18 16,0 0 12-16,-1-4-2 0,1 4-18 15,0 0-36-15,0 0-2 0,0 0-21 16,-4-3-23-16,4 3 0 0,0 0 13 0,-3-3-79 15,3 3 58-15,0 0-18 0,0 0-86 0,0 0 86 16,-1-3-27-16,1 3-32 0,0 0 42 16,0 0 25-16,0 0-115 0,-6-4-105 0,6 4-135 15</inkml:trace>
  <inkml:trace contextRef="#ctx0" brushRef="#br1" timeOffset="144918.31">15756 6067 1244 0,'0'0'414'15,"0"0"-32"-15,0 0 37 0,0 0-78 0,0 0-19 16,-8 13-15-16,6-5-35 0,-1 0-14 15,-2 4-17-15,0 4-13 0,0 0-26 0,-3 7-5 16,1-2-51-16,1 4 15 0,-1-1-17 0,-4 8-24 16,7-5-10-16,1-6 0 0,0-1-87 15,1-2 5-15,-1 1-25 0,3-6 2 0,0 3-8 16,-2-3-17-16,2 1 4 0,2-2 6 0,1-2-36 16,-1-2-23-16,4 0 20 0,-2-2-43 15,2-1-13-15,1 0-23 0,1-3-20 16,-3-1-16-16,3 2-41 15,0-3-87-15,-1-3-84 0,-7 3-41 0,13-1-364 0,-6-1 36 0,-1-3 72 16,-1 3 41-16,-2-2 51 16</inkml:trace>
  <inkml:trace contextRef="#ctx0" brushRef="#br1" timeOffset="145107.1">15536 6426 931 0,'0'0'366'0,"0"0"-7"15,0 0-16-15,0 0-49 16,0 0-87-16,-5-5-25 0,5 5 10 0,0 0-33 0,17-6-13 16,-7 3-31-16,1-2 0 0,2 0-20 15,0 1-8-15,5 0-28 0,0-2-72 0,2-1-38 16,-2 2-88-16,0-1-76 0,0 3-112 16,0-1-426-16,0 3 95 0,-3-2 26 15,-2 3 72-15</inkml:trace>
  <inkml:trace contextRef="#ctx0" brushRef="#br1" timeOffset="145676.51">15948 6393 1354 0,'0'-5'386'0,"0"5"-35"16,-2-7-36-16,2 3-6 0,-2 2-25 0,2 2-7 15,-3-5-47-15,3 5-4 16,-5-3-32-16,5 3-38 0,0 0 21 0,0 0-47 0,-13 3-4 16,10 2-1-16,0-1-33 0,-1 0 8 0,1 1-3 15,-2 1-33-15,3 0 13 16,1 0-31-16,-1-1-12 0,-1-1-1 0,3 1 5 0,0 1-33 16,0-1 34-16,0-2-16 0,0-3 2 0,0 8 1 15,3-5-13-15,0 0 30 16,-3-3-20-16,4 2-12 0,-4-2 9 0,6 1-22 15,-6-1 14-15,10 0-1 0,-10 0 1 0,8-1 22 16,-8 1-32-16,10 0 8 0,-10 0 8 16,10 0-23-16,-10 0 8 0,11 0 4 0,-7 0 19 15,-4 0-3-15,13 1 0 0,-7-1 18 16,1 1 74-16,-2 1-30 0,1 0-34 16,-2-2 33-16,2 2-2 0,-2-1-41 0,2 2-5 15,-6-3 20-15,10 1 1 0,-10-1-27 0,8 1 6 16,-8-1 5-16,7 0-18 0,-1 0 5 0,-6 0-7 15,0 0 28-15,10-1-37 0,-10 1 1 16,8-1 10-16,-6-2 10 0,-2 3 16 16,8-1-21-16,-8 1-25 0,5-2 12 0,-5 2-10 0,0 0 3 0,8-1 2 15,-8 1-25-15,0 0-6 16,10 1 37-16,-5 1-32 0,-5-2-22 0,7 1-13 16,-4 1 18-16,4-1-39 0,-7-1-31 0,9 0-32 15,-2 0 9-15,-7 0-20 16,11-1-2-16,-3-1 0 0,-1 1-93 0,0-1 13 0,1-2-18 15,-3 2-12-15,3 0-70 0,0-1-28 0,0-2 21 16,-1 3-205 0,4-4-225-16,-4 1 102 0,3-1 61 0,0 2 44 0,-2-1 33 0</inkml:trace>
  <inkml:trace contextRef="#ctx0" brushRef="#br1" timeOffset="146103.44">16368 6287 788 0,'1'-7'376'0,"-1"3"-35"16,0-2 7-16,0 1-28 15,0 2-64-15,0 3-29 0,-1-5-27 0,1 5-16 0,-4-2-10 16,4 2-10-16,0 0-8 0,0 0 8 0,-8 10 10 16,6-4-28-16,-1 0 92 0,3 5-18 15,0 1-17 1,0 1-6-16,0 1-87 0,2 4 2 0,-1 1-32 0,1 1 12 0,0 3-15 0,2-4-24 16,-4 6-14-16,2-2-24 15,2 3-12-15,-3-6-19 0,2 2-4 0,-1-3 12 16,-2-1 6-16,3-2-19 0,-3-3 8 0,2-1 36 0,-2 0 0 15,0-4 36-15,0 2-10 0,0-5 25 16,3-1 11-16,-3 0-1 0,0-4-2 16,0 0-5-16,0 0 0 0,0 0-18 0,4-14 97 15,-3 3-33-15,4-1 2 0,0-3 3 0,3-1-38 16,0-4-6-16,4 1-10 16,-1 1 18-16,1 5-20 0,-2 1-23 15,1 0 25-15,2 3-2 0,-3 3 9 0,-3-2-1 0,1 4 25 0,0-1 43 16,-3 5-25-16,-2 0 5 0,-3 0-18 15,0 0-13-15,5 6-10 0,-8 0-63 0,1-1-24 16,-4 2 0-16,-1 1 0 0,0-2 0 16,-1 4 0-16,0-2-41 0,0 0-59 15,-2-2-56-15,5 1-59 0,-3-1-75 0,3 0-42 0,0-2-52 16,2-1-264-16,-2 1-460 0,5-4 125 16,0 0 120-16,0 0 70 0,0 0 73 0,6-13 91 15,3 7 66-15</inkml:trace>
  <inkml:trace contextRef="#ctx0" brushRef="#br1" timeOffset="146374.54">17028 6438 1597 0,'-1'-8'555'0,"1"-2"-63"0,-2-1-47 0,2-2-38 0,-2 0-23 0,-1-6-23 16,0-1-33-16,1 0-8 0,-1-4-57 0,-2 0 3 16,1-1 52-16,0 1-55 0,2 4-22 15,-1 5-18-15,1 0-34 0,-1 2-5 0,1 4-35 16,1-1-49 0,-1 2-47-16,2-2-55 0,-2 4-39 0,-1 3-44 0,3-2-45 15,0 5-44-15,-5-1-62 0,5 1-114 16,0 0-190-16,-10 5-482 0,10-5 68 0,-3 4 109 0,3-4 90 15,-3 4 84-15,3-4 44 0,0 0 64 0</inkml:trace>
  <inkml:trace contextRef="#ctx0" brushRef="#br1" timeOffset="146626.87">17023 6051 1203 0,'-3'-5'442'0,"3"5"-19"0,0 0-14 16,0 0-53-16,-8 9-3 0,3-2-43 0,-3 1 51 15,4-1-13-15,-4 7-23 0,0 0-51 16,-2 0-5-16,2 5-57 0,-5-1-20 0,3 2-10 16,-1 0-49-16,1 1-48 0,0 0-78 0,0-2-43 15,0 0-69-15,2 0-46 0,3-6-56 16,-1 2-80-16,2-5-155 0,2 0-467 0,-4-2 85 16,4-3 86-1,1-2 70-15,-1 1 59 0,2-4 51 0</inkml:trace>
  <inkml:trace contextRef="#ctx0" brushRef="#br1" timeOffset="146850.97">16917 6099 1369 0,'11'2'438'0,"-3"2"7"0,1-1-20 0,2 1-28 0,1 2-36 0,-1 0-18 16,7 0-18-16,0 1 15 0,2 1-38 15,-1-3-54-15,6 1-2 0,-2 1-21 0,0-1-43 16,-3 1-10-16,-1-1-19 0,-1-1-17 16,-1 1-13-16,1-3-21 0,-2 2-30 0,-4 0-36 0,-1-2-18 15,-1 1-52-15,0-2-42 0,-2 3-29 16,0-1-23-16,-3-2-52 0,1 3-40 16,-4-3-54-16,3 3-148 0,-5 1-356 0,2-2-110 15,-2-1 81-15,-2 3 78 0,-1-4 163 0,1 3-28 16,0 0 36-16</inkml:trace>
  <inkml:trace contextRef="#ctx0" brushRef="#br1" timeOffset="147771.84">20415 5812 1251 0,'0'0'389'0,"-16"0"8"0,16 0-54 0,-17 3-136 16,6 1 21-16,-2 3-13 0,-5-2 33 15,3 2 19-15,-3 0-42 0,3 0 3 16,-3 0-54-16,7-2-8 0,-4 2-5 0,5-1-10 16,-1 0-51-16,5-2 26 0,-2 2-29 0,2-3 3 15,4 2-11-15,-1 0 4 0,0 1-17 16,6-4-1-16,-3 4-29 0,5-1 25 16,1-1-22-16,-2 1 7 0,4 0 1 0,4 0-16 0,-3 3-6 15,3-2 27-15,1 0-14 0,-2 1-25 0,3 0 39 16,-3 0-1-16,-1 0-15 0,0 1 41 15,-2-2-35-15,0 2 4 0,-3-2-5 0,0 1-10 16,-3 2-13-16,-2-1 13 0,-2-1 23 16,-3-1-25-16,0 1 12 0,-3 3-3 15,-2-3-4-15,-2 0-6 0,-2 0-10 0,-1 3 19 0,2-4-30 16,-3 2 7-16,-1-1-32 0,4-2-10 16,0-1-23-16,-2 0-28 0,4 2-34 15,-1-1-22-15,1-3-49 0,1 2-21 0,2-2-43 16,-2 3-71-16,5-4-111 0,0-1-61 0,2 4-464 15,3-4 139-15,-5 1 15 0,5-1 74 16,0 0 111-16,0 0 40 0</inkml:trace>
  <inkml:trace contextRef="#ctx0" brushRef="#br1" timeOffset="148520.43">20438 5957 1139 0,'2'-5'417'0,"-2"5"-54"16,0 0-45-16,0 0 17 0,0 0-23 0,0 0-63 16,-7 15 14-16,4-11 14 0,3 5-3 15,-3-1-47-15,1-1-27 0,2 2-26 0,-2 0-15 16,2 2 17-16,0-2-19 0,2 1-47 0,0-2 0 16,1 3-23-16,0-3-39 0,2 1 6 15,0-1-8-15,0-1-10 0,2-1-16 0,1-1 24 16,-3-2-29-16,1 1 11 0,2-2 12 0,-1-1-17 15,-2 1 2-15,3-4 43 16,-8 2-35-16,13-3 23 0,-5-1-11 0,-4-2 26 0,4 2-25 16,-3-3 17-16,0 0-2 0,-2-1 16 15,3 2-11-15,-4-1-11 0,3-3 14 16,-3 3-1-16,-1 3-20 0,1-2 36 0,0 1-5 16,1 0-92-16,-3 0 22 0,0 5-24 0,0-5-1 15,0 5 15-15,0-3-10 0,0 3 0 0,0 0 24 16,0 0-11-16,0 0-8 0,0 0 0 15,-3 12 13-15,1-10-20 0,2 3 2 0,0-5-2 16,-2 7 18-16,2-2-3 0,2 1 2 16,-2-3-15-16,0 1 18 0,0 1 3 0,0-5-13 15,2 8 18-15,-2-6-3 0,0-2-7 0,3 4-9 16,-3-4-6-16,3 5 22 0,-3-5 0 0,2 2-18 16,-2-2 21-16,6 4 0 15,-6-4-3-15,4 1-2 0,-4-1 5 0,6 1 0 16,-6-1-1-16,5 2-1 0,0 0-24 0,-5-2 5 15,5 1 26-15,-5-1-15 0,8 1 4 16,-6 2 11-16,3-1-13 0,-5-2 21 0,8 2 5 16,-8 1-24-16,5-1 1 0,-5-2 18 0,5 2-8 15,2 1-1-15,-6-1-1 0,2 1 14 0,1-1 9 16,-4-2-19-16,6 2 19 16,-4 2-9-16,-2-4-1 0,3 1 12 0,-3-1 51 15,0 0-15-15,5 5 25 0,-5-5-48 0,0 0 40 0,3 1 98 16,-3-1-10-16,0 0-56 0,0 0-9 15,0 0-42-15,0 0-75 0,8 0 0 0,-8 0 0 16,0 0 0-16,0 0 0 0,0 0 0 16,7-4 0-16,-7 4 0 15,0 0 0-15,5-1 0 0,-5 1 0 0,0 0 0 0,0 0 0 16,0 0 0-16,10 3 0 0,-10-3 0 0,0 0 0 16,5 1 0-16,-5-1 0 0,4 1 0 0,-4-1 0 31,4 3 0-31,-4-3 0 0,0 0-221 0,6 2-147 0,-6-2-121 0,4-2-266 0,-4 2-348 15,6-3 84-15,-2 1 141 0,-3-2 102 16,4-1 52-16,-1 1 53 0,0-1 108 0,0-2 36 16</inkml:trace>
  <inkml:trace contextRef="#ctx0" brushRef="#br1" timeOffset="148901.73">20858 5856 1251 0,'-3'15'451'0,"2"-10"-44"16,1 1-52-16,0-1-12 0,-1 3-10 16,-1 0-61-16,2 2-32 0,0-3-9 0,0 3-101 0,0-2-20 15,0 0-7-15,0 2-19 16,0-4 16-16,2 1-5 0,-1 0-6 0,0-2 6 0,0-2 10 16,-1 2-8-16,5-2 31 0,-2 0-13 15,1-3 29-15,4 0 27 0,-2 0-2 0,4 0-23 16,0 2 18-16,-3-2-16 0,1 0 1 15,2 2 17-15,0-1-12 0,-2 0-19 0,0-1 21 16,0 4 44-16,-1-1 7 0,-1 1-33 16,0 0 1-16,-2 0-12 0,-2 1-35 0,0 1-2 15,-2-1 27-15,-4 2-124 0,1 1-29 0,-2-3 0 16,-3 3 0-16,1 0 0 0,-3 0 0 0,-1-1 0 16,1 0 0-16,0-1 0 0,-1 1 0 15,1-2 0-15,3 0-254 0,-1-2-20 16,2 1-56-16,-1-2-46 0,4-2-108 0,3 0-141 15,-5 0-409-15,5 0 103 0,0 0 68 0,1-9 75 16,1 3 107-16,3-3 46 0,2 1 95 0</inkml:trace>
  <inkml:trace contextRef="#ctx0" brushRef="#br1" timeOffset="149538.2">21099 5929 1369 0,'0'0'379'0,"0"0"20"0,0 0 13 0,0 0-13 16,5 8-32-16,-5-4-4 0,0 3-28 15,-2-3-17-15,2 2-101 0,0 3-53 0,0 0 18 16,0 0-18-16,-3 1-29 0,3-4 19 0,0 4-29 16,0-2-30-16,3-1 0 0,-3 0-1 15,3 0-32-15,-3-1 4 0,2-1-7 16,0 0-7-16,3-2-22 0,-2 0 9 0,3-2 2 16,-6-1-13-16,10 0 13 0,-10 0-36 0,12-6 36 15,-6 1-13-15,-1-1-15 0,3 2 20 16,0-5-13-16,-2 1 1 0,0 1 15 0,-1 0-3 15,0-2 5-15,0 2 1 0,2 2-14 0,-6 0-1 16,4 1 14-16,-3-1-20 0,1 4 18 0,0-3-1 16,-3 4 9-16,0 0-39 0,0 0 16 15,0 0 4-15,10 7-15 0,-10-4-10 0,3 3-17 16,-3-3-9-16,2 2-38 0,-2 0-77 0,2-1-12 16,1 0 19-16,-3 2-58 15,3-1 8-15,1-1 28 0,-3-2-33 0,2 0 7 16,2 1 18-16,-5-3-13 0,8 0 32 0,-1-4 6 15,-2 3 19-15,1-3 33 0,0 2 8 16,2-3-8-16,-2 0 17 0,1 1 55 0,1-1 5 16,-2 0 28-16,1 3 41 0,-2-2-13 0,0 3 8 15,2-2 27-15,-3 0 17 0,-4 3-16 0,7-1 30 16,-7 1-12-16,8 1 20 0,-8-1-2 16,2 7 36-16,2-1 10 15,-3-2-1-15,-1-1-1 0,0 3-22 0,0 0 24 0,0 0-10 0,-1 1 7 16,1-1 5-16,-1-2-40 0,1 2-1 15,-3 0-4-15,3-4 7 0,0 3-23 16,0-5 20-16,0 7 16 0,0-7 87 0,0 2-67 16,0-2-15-16,0 0-26 0,0 0-12 0,0 0-108 15,0 0 0-15,6-12 0 16,-4 9 0 0,0-4 0-16,1-2 0 0,0 2 0 0,-1 1-116 0,1-1-78 0,0 1-26 0,1-1-36 0,-1 1-34 15,0 1-96-15,1 2-129 0,-3-4-91 16,1 1-444-16,4 0 142 0,1 0 58 0,-2 1 107 15,1-2 63-15,1 1 68 0,1 1 54 16</inkml:trace>
  <inkml:trace contextRef="#ctx0" brushRef="#br1" timeOffset="149786.75">21509 5906 880 0,'0'0'356'0,"0"0"84"16,0 0 0-16,11 6-7 0,-11-6-108 0,0 6 5 16,1-4 0-16,-1 3-20 0,1-1 69 15,0 1-23-15,-1 0-23 0,0 0-21 0,2 1-20 16,-2-4-34-16,2 4-30 0,-2-2-33 15,0-1-11-15,0-3-15 0,3 6 23 0,-3-1-28 16,0-5-21-16,3 2-2 0,-3-2 10 16,7 2 5-16,-7-2-21 0,0 0-37 0,11-4 12 15,-11 4 2-15,10-2-7 0,-5-1-12 0,0 2-52 16,0 0-41-16,-5 1 0 0,12-2 0 0,-8 0 0 16,-4 2 0-16,7-1 0 0,0 1 0 15,-7 0 0-15,8 0 0 0,-8 0 0 0,8 0 0 16,-8 0 0-16,8 0 0 0,-8 0 0 0,9 1-213 31,-3-1-135-31,3 2-74 0,1-4-208 0,4 2-496 0,2-1 84 0,3 1 138 0,3 0 108 16,1 1 21-16,1 2 86 0,0-2 67 0,3 0 69 15</inkml:trace>
  <inkml:trace contextRef="#ctx0" brushRef="#br1" timeOffset="150070.72">22168 6050 1574 0,'4'-6'665'0,"-2"4"-86"0,0-3-29 16,-2 0-15-16,2-1-72 0,1-1 11 15,-3-1-47-15,0-2-4 0,0 2-47 16,3-3-51-16,-3 0-41 0,0-3-33 0,2 1-18 0,-2-5-10 0,0-2 17 16,3-2-89-16,-3 1 26 0,3 0-18 15,-3-1-77-15,2 2-82 0,-2 1 0 0,0 3 0 16,2 2 0-16,-4 0 0 0,2 3 0 0,0 3 0 31,0-2 0-31,0 2 0 0,0 2-218 0,-2 1-69 0,-1 1-79 0,0 1-77 16,1 2-232-16,2 1-426 0,-4-5 115 0,4 5 116 15,-4-5 77-15,4 5 76 0,0-6 54 0,0 3 100 0</inkml:trace>
  <inkml:trace contextRef="#ctx0" brushRef="#br1" timeOffset="150271.73">22181 5609 1489 0,'-9'6'568'0,"-2"1"-15"15,3 1-56-15,0 0-75 0,-2 0-25 16,0 4-49-16,-3 1-28 0,-1 1-8 0,-3 2-50 16,-8 6-53-16,2-2-106 0,-1 0-32 0,-1 1-124 15,7-5-80-15,2 1-175 16,3-3-659-16,1-5 81 0,4 1 93 0,0-4 56 0,5 0 66 15,-1-2 74-15</inkml:trace>
  <inkml:trace contextRef="#ctx0" brushRef="#br1" timeOffset="150691.19">22173 5689 1592 0,'7'-1'529'0,"-1"0"-14"16,0 1-29-16,1 0-33 15,3 0-30-15,0 1-42 0,-2 0-23 0,4 2-32 16,-1-1-35-16,2 1 9 0,-2 1-42 0,1-2-25 16,0 1-28-16,-3 0 15 0,1 1-41 15,-2-3 21-15,2 4-39 0,-2-3-35 0,-1 0 2 16,1 0 23-16,0-1-59 0,-1 0 3 0,-2 2 10 16,1-1-39-16,-2-2 1 0,-4 0-11 15,10 2-5-15,-6 0-10 0,-4-2 10 0,5 1 1 16,-5-1-52-16,8 1 0 0,-8-1 0 0,4 2 0 15,-4-2 0-15,0 0 0 0,6 0 0 0,-6 0 0 16,0 0 0-16,6 2 0 16,-6-2 0-16,0 0 0 0,4 2 0 0,-4-2 0 15,0 0 0-15,0 0 0 0,0 0 0 0,0 0 0 16,0 0 0-16,0 0-6 0,0 0-55 16,0 0-18-16,8 0 33 0,-8 0-8 0,0 0-18 15,0 0 6-15,0 0-4 0,0 0 14 0,0 0-39 16,0 0 11-16,0 0-21 0,0 0-18 0,0 0 5 15,0 0-30-15,0 0-11 0,4-4-5 16,-4 4-12-16,0 0-29 0,0 0-10 0,0 0 0 16,0 0-8-16,-4-7-45 0,4 7-29 0,0 0-41 15,-4-3 0-15,4 3-74 0,-7-4-441 16,5 3 37-16,-1-3 122 0,3 4 87 16,-8-5 44-16</inkml:trace>
  <inkml:trace contextRef="#ctx0" brushRef="#br1" timeOffset="151880.31">16238 7681 1377 0,'0'0'407'0,"0"0"-80"0,0 0-30 0,-7 8-36 16,3-1 5-16,-3 2-22 0,2 0-22 0,0 3-7 0,-2 2-7 16,-1 3 2-16,-1-2-52 15,0 6 27-15,1 0-37 0,0 1-5 0,1-1-27 16,-1 3-17-16,3-1 14 0,0-1-16 0,2-3-25 15,1 0 5-15,-1-1-34 0,3-1-7 0,0-3 0 16,5-1-26-16,-2 1-2 0,2-2-8 16,2-1-10-16,1-3 2 0,0 1-20 0,2-2-16 15,0-3-25-15,3 0 3 0,0 0-14 16,0-2-7-16,-3-2-20 0,3 0-24 16,-1-1-12-16,-2-1-44 0,1-1-69 0,-1 1-92 0,-2-2-23 15,-2 2-479-15,1-3 136 0,0 0 112 16,-4 4 8-16,-3-4 52 0</inkml:trace>
  <inkml:trace contextRef="#ctx0" brushRef="#br1" timeOffset="152051.34">16079 8031 1036 0,'0'0'333'16,"-2"-5"-31"-16,2 5-26 15,0-6-9-15,2 0-6 0,3 2-18 0,0-2-26 0,6-2-14 16,-1-2-6-16,3 1-13 0,0 0-48 0,5-3 2 15,0 2-23-15,2 0-28 0,-2 0-33 16,5 0-18-16,-5 1-36 0,-1 2-49 16,2 2-35-16,-4 3-72 0,0-2-123 0,-4 3-49 0,4 2-455 15,-4 2 53-15,3-1 62 16,-5 4 77-16</inkml:trace>
  <inkml:trace contextRef="#ctx0" brushRef="#br1" timeOffset="152971.13">16458 8038 1080 0,'-2'-7'371'16,"0"2"-31"-16,2 2-43 0,-3-3 3 0,3 2-29 16,-5-2-28-16,5 4-5 0,-2-2-15 0,-1 2-18 15,3 2-49-15,-6-5-5 0,6 5-3 0,0 0-9 16,0 0-45-16,-12 7 19 0,9-3-29 15,0-2 21-15,1 4-25 0,0-2-4 0,-1 2-9 16,3 1-26-16,-3-2 5 0,3 0-13 0,0-1-7 16,3 2-13-16,-3-1 12 0,3-2-14 15,1 2 22-15,-1-4-15 0,2 2 2 0,-5-3 19 16,8 2-29-16,0-2-15 0,-8 0 15 16,12-3 13-1,-7 0 5-15,3 1-2 0,-2-2-13 0,1 1 33 0,1-2-26 0,-1 1 1 16,1 2 37-16,-3-3-14 0,3 3-31 0,-3-2 15 0,0 3 8 15,1 0 7-15,-1 0-4 16,2-2-27-16,-2 3 19 0,-5 0 0 0,10 0-21 16,-4 0 16-16,-6 0-13 0,12 0 4 0,-6 0 6 15,-1 3-12-15,-5-3-1 0,10 1-7 16,-5 0 4-16,-5-1-4 0,8 0 4 0,-8 0-7 16,10-1 26-16,-3 0-18 0,-1-2-8 15,-6 3 2-15,8-1 11 0,-3 0 0 0,-5 1-8 16,8-3-10-16,-8 3 13 0,7-1 4 0,-7 1-1 15,7 0-22-15,-7 0 45 0,0 0-45 0,11 1 6 16,-11-1 10-16,7 3-17 16,-7-3 30-16,8 2-21 0,-5-2 6 0,-3 0-1 15,10 0 1-15,-10 0-29 0,10 0 6 0,-2 0 7 16,-3-3 0-16,3 0 3 0,0 0-34 16,0-1 26-16,-1 2 3 0,0-3-3 0,1 0 3 15,-2-2 15-15,-1 2 10 0,2-2 62 0,-2 0-14 16,-1 1 19-16,0-2-10 0,-1-2-37 15,2 4 29-15,-3-3 0 0,1-1-8 0,-3 3 3 16,3 1 13-16,-1-1-8 0,-2 1-8 16,3 0-23-16,-3 4-2 0,0 2-11 0,2-4 5 0,-2 4 34 15,0 0-31-15,0 0 3 16,3 12 58-16,-3-1 11 0,2-3-123 0,-1 5 25 0,1 3 11 16,1-1-3-16,-3 3 18 0,3 0-23 15,-1 3 5-15,0 1 0 16,3 0 62-16,-2 2-29 0,-1-4-30 0,2 1-3 0,0-1-10 15,-2-5-5-15,-1 1-18 0,4-3 17 16,-3-2 4-16,-1-2 12 0,1-1 10 0,1-3-5 0,-1 0 26 16,-2-4-31-16,0-1 23 0,0 0-5 31,0 0-15-31,13-9 0 0,-7 3 10 0,1-3 0 0,0 1 33 0,1 0-8 0,3-2 29 0,-2 3-21 16,-1-1 6-1,0 3-16-15,-3 0 10 0,1 0-18 0,1 2 31 0,-2 0 31 16,0 1-1-16,1 2 45 0,-6 0-40 0,0 0 12 15,7 7-42-15,-10-3-3 0,3-4-9 0,-4 9-57 16,-2-2 0-16,3 2 0 0,-4-1-8 16,0-1-87-16,-3 4-38 0,2-4-62 0,0 3-37 15,0-4-19-15,0 0-72 0,3-3-76 0,0-2-223 16,2 1-448-16,3-2 97 0,0 0 77 0,-2-9 141 16,4 3 56-16,4-1 49 0,1-5 79 15</inkml:trace>
  <inkml:trace contextRef="#ctx0" brushRef="#br1" timeOffset="153270.37">17525 8138 1494 0,'-15'-13'492'16,"15"8"-24"-16,-5-1 1 0,3-3-39 15,2-1-44-15,-4-3-27 0,0-2-32 0,1-4-38 16,0-3-25-16,1-3-28 0,-1-2-3 0,-2-12-36 16,2-2-13-16,-1 1-41 15,1 1 19-15,3 6-37 0,0 8-10 0,0 6 16 0,0 2-44 16,0 2 2-16,0 2-7 0,0 1-46 0,0 1-15 16,0 4 2-16,3 1-57 0,-3 4-37 15,0-2-50-15,0 4-45 0,0 0-16 16,0 0-53-16,0 0-37 0,0 0-127 0,0 0-118 15,2 13-456-15,0-9 121 0,1-3 58 16,0 3 85-16,-3-4 85 0,7 2 25 0</inkml:trace>
  <inkml:trace contextRef="#ctx0" brushRef="#br1" timeOffset="153663.6">17566 7588 1105 0,'-2'-3'499'0,"2"3"-35"0,-8-4 7 16,8 4-126-16,0 0-9 0,-15 7-34 0,4-1-5 15,1 2-34-15,0 3-2 0,-5 3-43 16,-1 2-3-16,1-1-13 0,-8 9-28 0,2-1-20 16,-2-1-29-16,5 1-7 0,0-1-52 0,2-6-40 15,1 2-36-15,2 0-70 0,3-4-32 16,2-1-29-16,-2-1-23 0,5-1-18 0,0-4-15 16,2 0-43-16,1-3-55 0,0-2-81 0,2-2 115 15,0 0-67-15,0 0 37 0,0 0 35 16,7-13 41-16,-4 5 51 0,2-2 36 0,0-2 33 15,-2-1 90-15,1-5 46 0,2 4 8 16,1-4 53-16,-2 2-2 0,1 1 43 16,1 1 8-16,-1 2 16 0,3-1-9 0,-1 2 21 0,0 5 3 15,0-1 0-15,2 2-36 0,-2 2 0 16,2-1 74-16,0 4-23 0,0 0-20 0,1 1 12 16,2 4-56-16,0-3-95 15,2 2 11-15,3 3-16 0,0-3 13 0,0 2-10 0,2-1-31 16,-2 0-28-16,0 0-28 0,0 1-33 0,-2 0-26 15,-4 0-34-15,1 0-63 16,-3 1-98-16,-2-1-63 0,-3 0 76 0,0 1-509 16,-2 3 87-16,-3-1 46 0,0 1 76 0,-3 2 75 0</inkml:trace>
  <inkml:trace contextRef="#ctx0" brushRef="#br1" timeOffset="154184.44">16887 8190 1249 0,'0'0'425'0,"0"0"-18"16,0 0-36-16,-8 12-33 0,6-6-13 15,1 4-21-15,1-1-12 0,0 5-51 0,0 0-3 16,0 1-23-16,0 3-13 0,1 1-8 15,-1 3-50-15,2-2-29 0,-2-1 10 0,3 1-38 16,-3 0-84-16,2 1-21 0,-2-1-51 16,3-3-23-16,-1 2-62 0,1-4-176 0,-6 2-128 0,6-4-410 15,2-1 85-15,-3 0 58 0,2-4 98 16,-2-1 23-16,0-1 67 0</inkml:trace>
  <inkml:trace contextRef="#ctx0" brushRef="#br1" timeOffset="167950.43">20115 7488 1105 0,'-2'-6'369'0,"2"3"-11"0,-1-2-20 0,-2 2-15 16,3 3-47-16,0-4-35 0,0 4-3 16,0 0-100-16,0 0-5 0,-7 13-5 15,4-5-13-15,3 5-10 0,-2 5-23 0,1 1 82 0,-3 0-3 16,4 7-43-1,-3 2 10 1,-2-1 2-16,3 2-48 0,-4 8 16 0,1 1-16 0,0-8-44 0,-3 5-18 0,4-6-22 0,-2-5-16 16,3-3-43-16,-2-2-9 0,3 0-60 15,-1-1-65-15,1-4-61 0,-1-2-84 0,3 0-336 16,0-1-117-16,-1-3 66 0,-1-1 53 0,2-1 68 16</inkml:trace>
  <inkml:trace contextRef="#ctx0" brushRef="#br1" timeOffset="168601.12">20199 7498 1213 0,'18'-9'397'0,"-2"7"-26"0,-3-3-33 0,-4 5-39 0,0 0-2 0,-2 0-44 0,-2 4-20 16,-2-2-100-16,0 5-2 0,-3-1-16 16,-3 1 5-16,0 4-20 0,-5 1 44 0,-2 1 30 15,0 4-39-15,-3 2-14 0,1-3-24 0,-2 2-20 16,2 0 10-16,-1 1 7 16,0-1-42-16,3-1 4 0,0-2 0 0,-1-2-22 0,4 0-1 15,3 0 5-15,-2-3-12 0,0 1-1 16,2-1 6-16,3 0-8 0,-2-3 0 15,3 1 0-15,0-2-7 0,0 0 9 0,4-1-4 16,-2 1 2-16,5-4 2 0,0 2-20 0,-1-4-58 16,2 2 1-16,2-2-24 0,0-2-39 0,3 2-6 15,0-5-43 1,2 4-35-16,-2-5-42 0,0 1-28 0,2-2 26 0,-4 2-10 16,1-3 33-16,-1 2 15 0,-1 0 51 0,-2 1 34 0,0-1 36 15,-4 4 53-15,2 0 26 16,-1-2 15-16,-5 4 23 0,0 0 23 15,0 0 24-15,0 0 20 0,5 6-21 0,-5-1 3 0,0 1-21 16,0-1 14-16,2 0-4 0,1 3 9 16,-3-1-37-16,3 0 3 0,2 0-10 0,0-1 15 15,3-2-15-15,-1 2 18 0,3-3-13 16,0 1 13-16,1-2 12 0,-1-2 44 0,4 0-5 16,-4-2 44-16,0-2-39 0,0 4 38 0,0-5-10 15,-2 2 18-15,-3-2 24 0,0-1-45 0,-2 0 27 16,-1 1-42-16,-2 2 13 0,0-3-20 15,-2 1-8-15,-1 1-24 0,-4 0-4 16,1 0-13-16,-1 2-10 0,-1-3-16 0,-2 3-20 16,0 0-36-16,-1 2-10 0,-4-1-43 0,6 2-14 15,-8 1-45-15,4-1-27 0,2 0-52 16,-1 2-119-16,0 1-169 0,2-3-447 0,2 3 114 16,0-3 55-16,3 1 99 0,2 0 67 0,3-2 53 15</inkml:trace>
  <inkml:trace contextRef="#ctx0" brushRef="#br1" timeOffset="168987.47">20464 7519 967 0,'2'-2'404'0,"-2"-2"-20"16,0 4-25-16,0 0 2 0,0 0-26 16,0 0-33-16,14 12-38 0,-10-4-98 0,1 3-15 15,-2 2-5-15,2 4 5 0,2-2-43 0,-4 7-9 16,4-4-1-16,-4 4-22 0,3 2 4 15,-2 0 7-15,2 0-41 0,-1-2 13 0,0 2-23 16,-1-5-13-16,0-2 15 0,0-3-12 0,-1-1 4 16,0-1-17-16,0 0 23 0,-1-4 13 15,0 1 20-15,1-3-16 0,-3-4 14 0,5 0-18 16,-5-2 25-16,5 2-25 0,-5-2 15 16,8-5-16-16,-8 5-2 0,8-6 8 0,-3 2-5 15,0 1 4-15,1-1-1 0,-4 2 53 16,4-2 15-16,-4 3 3 0,-2 1-21 0,7-5 18 0,-7 5-33 15,3 0 23-15,-3 0-33 0,0 0-2 16,0 0 35-16,-3 11-44 16,-2-6 3-16,0 2-25 0,-6 0-8 0,4 1-29 0,-3 2-58 15,2-2 0-15,-2-1-67 0,0 3-41 0,2-4-2 16,-1 2-74-16,2-3-65 0,2 0-104 16,-3-2-144-16,6 1-366 0,0-3 21 31,2-1 133-31,0 0 86 0,0 0 42 0,-3-7 56 0</inkml:trace>
  <inkml:trace contextRef="#ctx0" brushRef="#br1" timeOffset="169385.08">20656 7587 813 0,'5'-5'354'0,"0"5"63"0,-5 0-31 16,8 5-63-16,-2 0-75 0,-2-2-35 0,1 4-21 15,0 4-18-15,0 0-10 0,0 1-16 0,0 2-10 16,1 0-20-16,-4 3-21 0,4-2 1 15,-2 2 9-15,-1-3-25 0,2 1-5 0,-3-3 2 16,1-1-12-16,0 0 12 0,-1 0-5 0,0-3 3 16,-1-2 15-16,-1 1 21 0,0-2 22 15,0 1-27-15,0-5 2 0,0-1 51 16,0 0 3-16,0 0-10 0,0 0-16 0,0 0-51 0,0-14 28 16,3 9-28-16,-1-1-5 0,0-2-72 0,1 0-22 15,3 1 9-15,1 2 29 16,-4-1 2-16,4 2-23 0,-4 1 3 0,2-1 38 15,0 4-23-15,-5 0 38 0,0 0 77 0,11 4 11 16,-9-1-24-16,0 1-5 0,1 0-25 16,-3 3 0-16,-3 1-21 0,1 0 16 15,-3 5-11-15,0 0-41 0,-3 2 19 0,0-1-11 16,-2 0-28-16,2-1-23 0,-1 2-49 0,0-2-31 0,1-4-25 16,1 2-53-16,0-3-37 0,1-2-28 15,4 0-33-15,-1 1-64 0,0-4-110 0,1 0 69 16,2-3-41-16,0 0-95 0,2 3-371 0,-2-3 54 15,0 0 107-15,11 0 73 16,-11 0 55-16,7-3 72 0</inkml:trace>
  <inkml:trace contextRef="#ctx0" brushRef="#br1" timeOffset="170037.42">20920 7799 634 0,'3'-7'369'0,"-1"2"-36"0,-2 0-19 0,2 0-75 0,-2 2-19 0,0 3-3 0,-2-5-32 15,0 1-17-15,2 4-24 0,-6-2-11 0,3 0-8 16,3 2 85-16,-5-4-25 16,5 4-42-16,-5-1-5 0,5 1-33 0,0 0 3 15,-5-2 7-15,5 2-26 0,0 0-4 0,0 0-14 16,0 0-1-16,0 0-14 0,0 0 8 16,0 0-8-16,13 7 1 0,-10-5-4 0,3 0 1 15,-2 2 41-15,1 1-44 0,0-2 23 16,-2 2-12-16,2 1-9 0,0 1 6 0,0-3 21 15,-3 2-16-15,1-3-21 0,0 2 19 0,-3 1-22 16,2-2 1-16,-1-2 31 0,-1 3-26 16,2-3 16-16,-2-2-9 0,0 6-4 0,0-6 15 15,2 4-41-15,-2-4 18 0,0 0-5 0,0 0-41 16,0 0 7-16,0 0 6 0,0 0-34 0,8-11-9 16,-6 5-14-16,1 4-41 0,0-2 31 15,-1-1-25 1,1 1-13-16,0-1 12 0,2 1-4 0,0-1-4 0,0 1 22 0,0 0 2 15,-2 0-6-15,3 2 32 0,-4 0-21 0,2-1 15 16,2 2 8-16,-6 1-2 0,7-4 15 16,-2 3 20-16,-2-1 8 15,3 1 8-15,-2-3-11 0,2 3 16 0,-2-4 7 0,2 4 6 16,1-1 23-16,0-3-3 0,-1 4 18 16,-1-4 10-16,1 4 23 0,2-3-40 0,-4 1 7 0,2-1 17 15,1 2-1-15,-2-2-16 0,0 2 10 0,2 1 0 16,-1-2-23-16,-1 3-2 15,1-2 5-15,1 1-13 0,-7 1 38 0,11 0-10 16,-4 1-28-16,-2 1 18 0,0-1 10 0,3 3-7 16,-3-3-16-16,0 4 28 0,0-1-2 15,-2 0-34-15,2 1 18 0,-5 1-2 0,5 1-23 16,-3-1 25-16,0-1-18 0,-1 1 9 0,-1 1-12 16,0-2 24-16,0 0-25 0,0 0-24 0,0 0-23 15,-1 0-15-15,-3 1-23 0,2-1-31 16,-1-3-36-16,3 2-41 0,0-4-35 0,-3 2-93 15,3-2-176-15,-2 2-536 0,2-2 60 0,0 0 146 16,0 0 68-16,0-12 85 16,2 7 72-16,4-4 25 0</inkml:trace>
  <inkml:trace contextRef="#ctx0" brushRef="#br1" timeOffset="170242.95">21602 7607 1049 0,'0'0'445'0,"5"0"31"0,-5 0-33 0,0 0-33 0,0 0-36 16,0 0-47-16,0 0-40 0,0 0-34 15,0 0-10 1,0 0-51-16,0 0-56 0,8 0-34 0,-8 0-71 0,0 0-18 0,0 0-67 16,0 0-110-16,2 4-130 0,-2-4-594 0,0 0 74 15,0 0 77-15,0 0 63 0,0 0 68 16</inkml:trace>
  <inkml:trace contextRef="#ctx0" brushRef="#br1" timeOffset="174393.66">6959 2162 460 0,'-5'2'41'0,"-2"0"-82"0,-1-1-148 15</inkml:trace>
  <inkml:trace contextRef="#ctx0" brushRef="#br1" timeOffset="174664.53">3963 3282 622 0,'0'0'263'0,"0"0"-22"0,0 0-29 0,0 0-66 0,0 0-64 16,0 0-141-16,24-3-33 0,-13 2-466 16,4-1 0-16</inkml:trace>
  <inkml:trace contextRef="#ctx0" brushRef="#br1" timeOffset="174949.19">7567 3175 673 0,'0'0'148'0,"-8"1"-17"0,4 0-182 0,-5 1-72 0,2 2-438 16</inkml:trace>
  <inkml:trace contextRef="#ctx0" brushRef="#br1" timeOffset="175368.44">4432 4819 980 0,'-3'-3'409'0,"3"3"-63"16,-5-3-49-16,5-1-49 0,0 4-69 0,-2-3-30 15,2 3-24-15,7-4-97 0,1 2-86 16,7-3-73-16,3 4-117 0,5-3-323 15,6 2-18-15,14-4-20 0,0 1 71 0</inkml:trace>
  <inkml:trace contextRef="#ctx0" brushRef="#br1" timeOffset="175658.12">7854 4475 1359 0,'0'0'458'0,"0"-4"-33"0,0 4-64 0,1-2-49 0,-1 2-84 0,0 0-131 16,0 0-43-16,0 0-59 0,0 0-272 16,-6-4-486-16,6 4 101 0,0 0 9 15,-18 10 69-15</inkml:trace>
  <inkml:trace contextRef="#ctx0" brushRef="#br1" timeOffset="176085.06">4339 6340 867 0,'-3'-3'218'0,"3"3"-90"16,0 0-103-16,8-5-104 0,-5 3-246 0,10-3-225 16</inkml:trace>
  <inkml:trace contextRef="#ctx0" brushRef="#br1" timeOffset="176374.23">8042 6100 23 0</inkml:trace>
  <inkml:trace contextRef="#ctx0" brushRef="#br1" timeOffset="181000.13">6106 8123 1023 0,'-1'-4'313'0,"-1"-1"-27"0,-3-1-2 0,2 3-22 0,-1-3-19 0,-4 0-21 15,-2 0-17-15,-1-1-5 0,-4 0-24 16,-4-2 9-16,-5 1 71 0,-13-4-26 0,-1 0-20 16,2 4-23-16,-3-3-11 0,-4 5-19 0,-1 0-14 15,-2 4 0-15,-5 0-30 0,-3 4 17 16,-2 3-4-16,-17 4 4 15,-1 2-25-15,3 3-82 0,-1 5 3 0,0 3-6 0,3 5 11 0,0 5 18 16,-14 11-13-16,4 5-3 0,3 3-2 16,6 2 7-16,16-4-15 0,5 1 13 15,4 4 5-15,8 3-16 0,4 1-9 0,7 2 17 16,5 2-2-16,11 2-3 0,6 0-5 0,8-1 10 16,5 1-5-16,9-1-20 0,7 0 10 15,11-3-5-15,10 13 0 0,10-4-11 16,6-6-12-16,4-3 33 0,14-8-36 0,10-3 3 0,7-10 2 15,6-2-10 1,-3-7 0-16,-16-9-7 0,27 1-21 0,-17-9 18 0,1-5-3 0,2 2 13 16,1-6-5-16,2 0-15 0,-5-4 20 15,-2-4-10 1,-4 0-6-16,-4-2-4 0,-3-4 10 0,-3-3 17 0,-4-2-35 0,-6-3 8 0,-3-5-3 16,-6-2-8-16,0-6 19 0,-3-1-9 15,-6 1-12-15,-2-6 20 0,-6 0 8 0,-1-1-10 16,-4 0 33-16,-4-6-8 15,-6 3 19-15,-3-4 17 0,-2-1 13 0,-9 4-5 0,-2-1 22 16,-4-2-24-16,-3-1 37 0,-5-6-27 0,-5-7 17 16,-2-2-17-16,-4 1 43 0,-7 0-18 15,-3 2-5-15,-4-2 97 0,-1 4-53 0,-10 5 4 16,3 2-4 0,-6 4-3-16,-4 2 2 0,-3 6-25 0,-3 1-33 0,-2 4 12 0,0 5 1 15,-3 2-1-15,-5 2-22 0,-6 4-4 16,0 0 1-16,-3 6-2 0,-6 2-1 0,0 4 10 0,-3 2-15 15,2 4 11-15,1 1 7 16,12 0-38-16,-10 3-19 0,13 0 50 0,-10 2-34 16,0 2 3-16,0-1 20 0,5 4 8 0,2-1-26 15,1 4-8-15,14-4 3 0,-1 4-15 16,4 1-26-16,4-1-12 0,3 5-44 0,4-4-24 0,0 5-9 16,5 3-41-16,2 3-37 15,3 1-14-15,7 4-42 0,1 2-71 0,5-10-172 16,2 14-501-16,3 1 79 0,3 3 118 0,2-5 61 0,5 7 90 15,3-2 86-15,4 2 29 0</inkml:trace>
  <inkml:trace contextRef="#ctx0" brushRef="#br1" timeOffset="181546.61">6122 9950 1308 0,'6'22'488'0,"0"0"-19"0,-1 3-11 16,3 13-51-16,0 5-33 16,0 5 5-16,1 11-131 0,-1 4-15 0,0 4-26 0,2 3-20 15,-3 5-18-15,-1-2-36 0,-1 1-77 16,1-2-56-16,0-1-30 0,-5-5-47 0,4-4-26 15,-2-13-17-15,2-3-51 0,-1-4-75 0,-1-4-138 16,2-7-120-16,-2-9-303 0,-3-5 106 16,2-3 5-16,1-5 92 0,-3-3 43 0</inkml:trace>
  <inkml:trace contextRef="#ctx0" brushRef="#br1" timeOffset="181818.02">6183 10054 1320 0,'0'-6'435'0,"0"2"75"0,0 4-57 15,0 0-18-15,0 0 8 0,5 15-108 16,-2-5-51-16,-1 6 13 0,3 3-15 0,0 6-13 16,3 9-21-16,2 4-15 0,1 1-11 0,-1 2 65 15,-3 3-59-15,6 9-5 0,-2 0-16 0,-1 3-20 16,0 1-51-16,-2-12-8 15,-5 1-31-15,1-3-10 0,1-3-49 0,0-4-53 16,1-6-59-16,-2-8-34 0,2-2-69 0,-3-2-35 16,-1-5-26-16,3-1-38 0,-3-2-108 0,-2-5-167 15,0-2-447-15,0-3 66 0,0 0 139 16,0 0 91-16,-2-19 22 0,-3 3 91 0,2-2 49 16</inkml:trace>
  <inkml:trace contextRef="#ctx0" brushRef="#br1" timeOffset="182243.31">6024 10525 1341 0,'-6'-26'445'0,"1"2"-17"0,0-1-50 0,-2-14-27 16,1-5-49-16,-4-16-25 0,0 3-24 0,2 0-10 16,3-4-12-16,3 14-39 0,-1 0 30 15,6 6-55-15,2 5-19 0,0 6 8 0,-2 8-10 16,4 5-18-16,0 3 8 0,1 5 22 0,1 3 1 16,3 6 5-16,0 5-85 0,4 3 16 15,7 14-13-15,1 3-21 0,-1 5-17 0,7 10 48 16,-9-7-20-16,7 9-19 0,-3-3-1 0,-4-3 37 15,2-4-89-15,0 0 23 0,0 1 26 0,1-4 79 16,-2 2-28-16,-1-6 7 16,0 1-35-16,-3-8-6 0,-4 0-12 0,2-4-8 0,-3 1-46 15,-3-4-25-15,0-1-24 0,0 1-43 0,-2-3-46 16,-2-1-29-16,-1-1-30 16,2-1-64-16,-4-1-166 0,2-2-536 0,-2 0-30 15,-3-2 105-15,0 0 64 0,0 0 94 0,10-4 60 16,-10 0 86-16</inkml:trace>
  <inkml:trace contextRef="#ctx0" brushRef="#br1" timeOffset="183621.83">6401 11403 1366 0,'-21'18'525'16,"-2"5"-33"-16,0 4-101 0,0 5-4 16,3 2-29-16,-4 13-43 0,1 2-10 0,3 2-42 15,1 1-9-15,7-2-9 0,-1-6-48 0,6 0-15 16,4 0-51-16,-2-3-1 0,5-7-79 15,5-8 3-15,0 2-15 0,3-6-32 0,2 0-4 16,3-4-19-16,5-4-19 0,0-5 9 0,-3-4-35 16,8-3 12-16,-2-2 0 0,4-7-10 15,1-1 11-15,5-10-11 0,-1 0 13 16,-1-5 18-16,-4-4 28 0,-2 0-23 0,1-4 30 16,-2-3-17-16,-4 0 10 0,0 1 46 0,-3 2-5 15,-4 6 10-15,-1 5 16 0,-4 4 5 16,1 5 9-16,-4 0 14 15,1 3 0-15,0 6-6 0,-2 0-4 0,-2 2-1 0,5 9-4 0,-5 1-16 16,3 2 15-16,-3 2-5 0,2 1-28 16,0 4 6-16,1-2-11 0,0 2 10 15,2-3-41-15,0-1 3 0,3-2-23 0,-1-1-3 16,3-2 0-16,-2-1-48 0,1-4 14 0,0-3-4 16,2-1-8-16,-3-2 26 0,2-3 8 15,0-1-24-15,-3-4 18 0,1 0 6 0,-2 0 2 16,1-3 12-16,-4 0 9 0,-3 3 15 15,2-3-6-15,-4 4 19 0,-1-2-1 0,0 3 6 16,-1-1-23-16,-2 2 7 0,1 1-5 0,-3 3 16 16,0-1-11-16,-1 2 1 0,3 1 12 0,-1 0-13 15,7 0 8-15,-13 0-13 0,6 0-12 16,7 0-6-16,-9 0-10 0,9 0-10 16,-8 1 8-16,8-1 15 0,0 0-6 0,0 0-4 0,0 0 2 15,0 0-5-15,0 0 13 16,16 5-15-16,-8-5 9 0,-1 3 14 0,1-1-8 15,0 2-10-15,0-1 7 0,-1 1 18 0,1-1-23 16,-1 2 0-16,1 0 26 0,0 1-18 0,-1-1 21 16,-1-1-22-16,-1 1-1 0,2 0 17 15,-1-3 10-15,-1 3 11 0,0-3 25 0,-2 1-9 16,1 0-4-16,-4-3 11 0,6 1 17 0,-6-1-1 16,0 0-17-16,10-7-4 15,-5 3-13-15,0-3 20 0,-2-1 31 0,2 1-28 0,3-1-10 16,-5 3 27-16,4-1-22 0,-2-1 13 0,0 3 20 15,0 2-36-15,1-1 13 16,1 3-10-16,-7 0-3 16,13 3-2-16,-5 1-6 15,2-1-33-15,-5 3 24 0,0 2-4 0,1-1-17 0,1 0-51 0,-4 0-29 0,2 1-43 16,-3-1-59-16,1 0-87 0,2-2-28 0,-2 1-131 16,-1-6-161-16,3 5-473 0,-2-4 97 0,-3-1 89 15,8 0 103-15,-8 0 66 0,12-8 113 0,-4 2 3 16</inkml:trace>
  <inkml:trace contextRef="#ctx0" brushRef="#br1" timeOffset="183939.84">7228 11490 1228 0,'-7'-26'502'0,"-1"0"-34"0,-2-8-22 15,-5-2-39-15,2-3-34 0,0 1-48 16,0 1-79-16,0 2-13 0,3 9 74 16,5 7-25-16,-3 2 7 0,3 4-46 0,2 4 18 0,-1 3-43 15,4 3-11-15,0 3 24 0,0 0-32 16,-3 21-4-16,6-2-29 0,1 6-17 0,5 14 4 16,3 6-12-16,4 15 2 0,1 6-48 0,4 2 10 15,2 7 8-15,-2-1-44 0,2-2 10 16,2 0-17-16,-2-2-47 0,-2-2-28 15,-1-1-25-15,-2-3-47 0,0-4-45 16,-2-7-55-16,-3-8-7 0,-3-6-28 0,0-6-25 0,-5-7-27 16,1-5-43-16,-2-6-253 0,-1-3-481 15,-3-5 107-15,0-2 92 0,0-3 90 0,0-2 48 16,0 0 70-16,-11-12 76 0</inkml:trace>
  <inkml:trace contextRef="#ctx0" brushRef="#br1" timeOffset="184360.18">7057 12241 1087 0,'0'0'372'0,"-5"-3"-32"0,5 3-84 0,2-9-26 0,-1 1 1 0,6-3 35 16,3-4 3-16,1-4-29 0,9-8-14 0,3-3-19 16,5-9-7-16,1-1 4 0,1-4-30 0,-1-1 6 15,-1-1-4-15,-1 0-7 0,0 0 8 16,1 4-13-16,-8 8-13 0,1 1 2 15,-3 4 1-15,-5 6 35 0,-3 5-99 0,-2 5 10 0,-1 2-6 16,-2 1-9-16,0 5-24 0,-2 3 24 16,0 2-19-16,-3 0-10 0,0 0 11 0,7 12-23 15,-4-2-4-15,-3 3-1 0,5 0 2 0,-5 2-16 16,5 3-14-16,0-2-1 0,0 0-25 16,3-1-8-16,-3 0-3 0,3-4-18 15,-3-3 3-15,5 1-2 0,-2-4-16 0,-1-1 23 16,1-3 3-16,0-1-21 0,-8 0 29 0,13-6 2 15,-5-1-11-15,-4-1 27 0,2-1 25 16,-3 0-24-16,-1-3 40 0,-3 1-6 0,-1-2 28 16,-3 1-40-16,0-1 9 0,-3 0 11 0,-2 1-8 15,0 0 5-15,-3 4 3 0,3 1-15 16,-3 0-32-16,3 4-35 0,0 0-38 31,-1 1-62-31,4 2-43 0,-3 3-39 0,4-1-166 0,1 2-177 0,0 2-420 0,0 1 144 0,5-1 38 16,0-1 128-16,2-1 34 0,1 2 45 0</inkml:trace>
  <inkml:trace contextRef="#ctx0" brushRef="#br1" timeOffset="185420.54">7687 11487 1328 0,'0'0'420'0,"0"0"-18"0,3 19-67 0,0-13-2 0,-1 4-31 0,0 0-41 16,4 1-26-16,-1 0-9 0,0 1-29 0,0 0 5 16,1-2-49-16,2 4-4 0,-1-4-29 15,3 2-5-15,0 0-20 0,-2-4-28 0,0 1 17 16,2-1-12-16,-2-4 0 0,0 0-19 0,-1 0 4 16,1-3-9-16,-3 0 6 0,2-1 13 0,-7 0-16 15,11-3 0-15,-4-2 15 16,-1-1-35-16,-1 0 15 0,-3-1-5 0,3 0-8 15,-2-3 14-15,0 1 1 0,0-1-15 0,-1 3-7 16,-2-4 18-16,0 3 14 0,2-1 27 16,-2 1-62-16,0 1 26 0,0 1 9 0,0-1-4 15,0 2 10-15,0 0-18 0,-2 1 11 0,2-1-32 16,0 5 14-16,0-5 14 0,0 5-19 16,-3-2-6-16,3 2 0 15,0 0 26-15,0 0-29 0,0 0-12 0,0 0 10 0,0 0-10 0,-2 11-8 16,2-11 51-16,0 7-25 0,2-1 2 0,1 0-28 15,-1-3-5-15,-2 3 21 0,3 0 7 16,2-1-20-16,-3 1-31 0,1-4 43 16,2 4-22-16,-2-1 9 0,2-3 6 0,-2 3-10 15,2-4-16-15,-2 4 10 0,1-3 14 16,-1 0-4-16,2 0-9 0,-5-2 2 0,6 1-3 16,-6-1-5-16,7 0 3 0,-7 0 41 0,7-5-26 15,-4 3-22-15,0-1 22 0,2 0-5 16,-3-2 3-16,3 1 20 0,1 0-28 15,-4-1 18-15,3 2 12 0,-2-2-32 0,2 1 33 0,-3 2-37 16,4-3 40-16,-4 3-27 0,1 0 19 16,2 0-26-16,-2 0 28 0,2-1-20 0,0 1 2 15,-5 2 8-15,10 0 8 0,-10 0-21 0,10 2 0 16,-4 0 20-16,-2 1-12 0,2-3 0 16,-1 3 8-16,0 0-6 0,0-3-7 0,0 4-3 15,-2-2 23-15,2-1 0 0,-2 2-25 16,-3-3 14-16,7 3 19 0,-4-1 5 0,-3-2-33 15,4 3-72-15,-4-3 31 0,6 1 43 16,-6-1 33-16,0 0 14 0,0 0-16 0,10-6 20 16,-7 2-5-16,-1 1-4 0,4 0 106 0,-4-1-12 15,3 1-48-15,0-1-98 0,-2 1 0 16,4 1 0-16,-1 0 0 0,-1 1 0 0,-5 1 0 16,13 0 0-16,-6 2 0 0,-1-1 0 0,-1-1 0 15,2 2 0-15,-1 1 0 0,-2-1 0 0,2 2 0 16,-3-2 0-16,1 1 0 15,1-1-47-15,-2 0-255 0,-3-2-43 0,8 0-90 16,-8 0-159-16,5-2-535 0,0-3 100 0,-2-1 100 16,2 1 107-16,-2-5 85 0,4-1 120 0,-2-3 8 15,1-2 71 1</inkml:trace>
  <inkml:trace contextRef="#ctx0" brushRef="#br1" timeOffset="185817.22">8359 11059 1308 0,'5'10'424'0,"-2"-4"-22"0,-3 5 3 0,5 1-26 0,-2 2-24 0,2 4-24 0,0 2 4 0,3 4-33 0,0-1-38 0,-1-1-21 15,3 2-15-15,0-2-31 0,1-2-8 0,-1-1-35 16,-2-4-3-16,2 1-23 16,-2-3-11-16,0-1-32 0,-1-2-31 0,-2-1 7 15,1-3-66-15,-4-1 13 0,0-2-21 0,1-2 10 16,-3-1-7-16,0 0 25 0,0 0 3 0,0 0-10 15,-11-9 12-15,4 4-4 0,0 3-9 16,-1-1 34-16,0 2-15 0,0 1 15 16,-2 0-8-16,0 4 13 0,2 0 18 0,-2 4-18 0,-3 1 11 15,2 4-6-15,2 0 31 16,1 3-21 0,0-2-4-16,3 2-4 0,0-4-7 0,2-1 26 0,1 1 13 0,4-1-32 0,-2-3 1 15,3 2-13-15,2-4-13 0,-2 0 0 0,4-2 16 16,1-1-3-16,0-1-16 0,2-4-12 15,1 1-41 1,1-3 13-16,1-2-44 0,2-2-46 0,-2-2-41 0,3 3-54 0,-2-5-53 0,0 2-39 16,-2-1-18-16,1 0-58 15,-3-1-170-15,0 2-440 0,1-1 103 0,-1 1 64 0,-2-2 81 16,0 2 75-16,-3 0 46 0</inkml:trace>
  <inkml:trace contextRef="#ctx0" brushRef="#br1" timeOffset="186006.72">8738 11176 1489 0,'1'5'592'0,"2"-1"-19"15,-1 4-56-15,0-1-13 0,1 2-33 16,2 0-74-16,-2 2 5 0,2 1-69 0,0 0-6 16,-2 0-53-16,2-1-36 0,-3 1-77 15,4 0-48-15,-4 0-80 0,3 2-104 0,-5-3-57 16,5-4-77-16,-5 2-148 0,2-3-385 0,-1-2-204 15,2-1 52-15,-1-1 81 0,-2-2 84 16,0 0 73-16,0 0 86 0</inkml:trace>
  <inkml:trace contextRef="#ctx0" brushRef="#br1" timeOffset="186153.27">8721 11097 1085 0,'-5'-3'363'0,"2"2"-35"0,3 1-31 0,-8-5-67 15,4 4-102-15,4 1-187 0,-4-2-176 0,4 2-474 16,-4-3 97-16,4 3 39 0</inkml:trace>
  <inkml:trace contextRef="#ctx0" brushRef="#br1" timeOffset="186456.72">8826 11103 1402 0,'5'9'602'0,"-2"0"-54"0,1 1-14 0,0-3-60 0,-2 2 5 0,0-3-24 0,1 2-45 0,0-1 2 0,-1-1-159 0,0-1 21 16,1 1-13-16,0 0-41 0,-1-3-28 0,-1 3-12 15,1-5 14-15,0 2 1 0,-2-3-70 0,0 0 24 16,0 0-32-16,14-8 14 0,-10 4-36 16,2-1 97-16,2-1-6 0,-4-1-75 0,4 2-111 15,-3-1 0-15,1 3 0 0,1-2 0 16,-2 0 0-16,3 3 0 0,-3-2 0 31,3 1 0-31,-1 0 0 0,1 2 0 0,-3-1 0 0,1 1 0 0,-2-2 0 0,2 3-136 0,-1-1-143 16,0-1-59-16,0-1-43 0,1 3-39 0,1-4-100 15,-2-1-61-15,1 1-422 16,0-1 68 0,-2 2 139-16,1-3 57 0,0-1 63 0,-1 0 56 0,-1-2 83 0</inkml:trace>
  <inkml:trace contextRef="#ctx0" brushRef="#br1" timeOffset="186738.92">9072 10975 749 0,'0'-6'331'0,"0"5"88"0,0 1-4 0,-3-7-39 0,3 7-74 0,0-4 16 16,0 4 2-16,0 0 56 0,0 0 26 16,0 0-16-16,3 18 68 0,0-8-40 15,5 4 44-15,-1 5-28 0,11 9-79 0,2 4-100 16,1 2 15-16,3 9-79 0,0 3 10 16,-3 1-25-16,-3-1 14 0,-5-3-22 0,-6 0 56 15,-1 2-173-15,-6-1-47 0,-6 0 0 16,-1-3 0-16,0-3 0 0,-3-2 0 0,1-9 0 0,2-7 0 15,4-4 0-15,-2-6 0 0,2-2 0 0,1-6 0 16,2-2 0-16,0 0 0 0,0-18 0 16,2-1 0-1,4-8-103-15,4-13-107 0,5-11-10 0,1-5 0 0,1 0 18 0,7-2-11 0,-4 0 6 16,1-2-26-16,1 5-28 0,2 4-13 0,-4 1-82 16,3 4-51-16,-8 9-187 15,1 2-368-15,-1-2 145 0,3 5 24 16,-2 1 99-16,-1 0 62 0,1 3 61 0</inkml:trace>
  <inkml:trace contextRef="#ctx0" brushRef="#br1" timeOffset="187300.26">9877 10519 1351 0,'8'12'499'0,"-3"-3"-38"0,2 1-39 0,1 6-38 0,2 4-38 16,6 7-26-16,2 5-16 0,-2 1-43 0,2 1-5 15,-1 2-64-15,1 1-7 0,2-3-50 16,-2-1-101-16,-1-1-9 0,3-3-32 0,-7-6 12 15,2-5-3-15,-2-4-9 0,-3-1 12 16,0-6 10-16,-2 0 3 0,-1-3 15 0,1-3 11 16,0-2 12-16,-3-4 26 0,2-3 15 0,-1-3-5 15,-1-4 47-15,0-4-37 0,-3-9 11 16,-2-1-21-16,1-17 18 0,-2-1-26 0,-1-15-4 0,-3-1-6 16,2 1-26-16,1-1-22 15,2 9 12-15,0 4-20 0,0 1-28 0,2 8-15 16,0 7 7-16,-1 8-51 0,2 8-57 0,-1 0 3 15,1 8-35-15,-1 1-27 0,3 8-27 16,-4 0-60-16,-1 1-163 0,7 5-504 16,-2 2 71-16,1 2 59 0,1 2 98 0,-2 3 58 0,3 1 85 15</inkml:trace>
  <inkml:trace contextRef="#ctx0" brushRef="#br1" timeOffset="187856.63">10444 10404 1489 0,'-6'3'430'0,"-1"2"-51"0,-3 5 28 15,2-1-10-15,0 3-26 0,-2 1-79 0,2 1 5 16,3 1-34-16,-3 1-37 0,1 0-22 0,2-2-12 16,-1 4-53-16,4-5-24 15,0 2-36-15,2-1-10 0,0-5 3 0,2 1-16 16,0-1-7-16,-1-3-16 0,4-1 16 0,-2-1-16 0,1-3 5 15,-4-1 11-15,13-3-23 0,-8-1-8 16,3 0 38-16,0-5-18 0,-3 0-10 16,3-1 11-16,2-2-8 0,-2 0-8 0,2 0 38 15,0 0 3-15,0 1-28 16,-2 2 2-16,0 0 6 0,-1 2-3 0,3 1 28 0,-2 2-33 16,-2 3 30-16,1 1-7 0,-1 0 3 15,1 3-16-15,-2 0 30 0,3 2 1 0,-3 2-31 0,2 2 16 16,-1 1-24-16,-1 1 26 0,-3 0-18 15,3 1 8-15,-4-2-31 0,1 2 20 0,1-1-17 16,-1-3 5-16,-2-1 5 0,1 1-3 0,-1-2 3 16,2-3 0-16,-2 1-6 31,0-4 1-31,0 0-11 0,0 0 11 0,0 0 13 0,0 0-26 0,8-13 7 0,-6 4-15 0,1-3-10 16,2 1 18-16,0-1 5 0,0-3-28 0,3 0 23 15,-1 1-8-15,1 0-20 0,2 2 28 16,0 0 8-16,-2 4-29 0,0 1 13 0,0 0-2 15,2 2-16-15,-3 3 11 0,1-1 12 0,0 2-22 16,-3 1 25-16,3 3 2 0,-3-1-25 0,0 2 7 16,3 2 19-16,-3-2-31 0,-2 5-1 15,-1-2-12-15,0 1-20 0,1 3-36 16,-3-2-62-16,0 3-67 0,0-2-17 0,0-1-23 0,0 2-141 16,-2-3-292-16,1 2-376 0,1-4 125 15,0 0 67-15,-2-3 82 0,2 1 102 16,0-4 79-16,0 0 34 0</inkml:trace>
  <inkml:trace contextRef="#ctx0" brushRef="#br1" timeOffset="187986.14">10767 10268 1149 0,'-3'-5'374'0,"3"3"-37"15,0 2-52-15,0 0-60 0,-2-5-43 0,2 5-152 16,0-6-206-16,0 6-549 0,0 0 98 0,0 0 54 15</inkml:trace>
  <inkml:trace contextRef="#ctx0" brushRef="#br1" timeOffset="188347.86">10869 10231 1182 0,'-2'7'448'0,"0"-1"36"0,1 4-26 0,-4-2-74 16,3 0-26-16,2 1-33 0,-1-1-20 15,1 2-21-15,0-2-23 0,0 0-28 0,1-2-13 16,1 0-61-16,1-1-36 0,-1 1 0 16,1-5 2-16,-1 3-46 0,4-4 8 0,-6 0-7 15,12-3-24-15,-6 2 16 0,-2-2-11 0,4-2-27 16,-2 0 17-16,-1 0-15 0,2-1 30 0,-2-1-2 16,-2 1 36-16,4 2-67 15,-3 1 24-15,-2-3-14 0,3 5 6 0,-5-3 7 16,0 4 0-16,7-1 29 0,-7 1-44 0,0 0 7 15,8 6-4-15,-8-1 5 16,1-3-14-16,1 4-63 0,-2-1-28 0,0 0-59 0,2 0-64 16,-2-1-49-16,3 1-90 0,-1 0-91 0,-1-2-426 15,1 1-135-15,3-3 118 0,-5-1 74 0,8 0 89 16,-8 0 98-16,10-7 125 16</inkml:trace>
  <inkml:trace contextRef="#ctx0" brushRef="#br1" timeOffset="188656.73">11087 10069 967 0,'-2'-3'517'0,"2"3"-33"0,0 0-75 16,0 0-7-16,0 0-31 0,0 0-4 15,-3 15-37-15,3-5-5 0,-2-1-51 0,2 3 7 16,-3 0-43-16,1 1-38 0,1 0 2 0,-1 0-5 16,2-3-10-16,0-1-31 0,2 2-18 0,-1-2-2 15,1-1-26-15,1-1-10 0,2-2 10 16,0-2-15-16,-2-3-44 0,4 0 28 0,-7 0-30 15,15-2 28-15,-7-2-13 0,0 2 25 16,-1-3 47-16,3 2-11 0,-2 0-7 0,2-1 18 16,-2 3 76-16,0-1 11 15,-3 1-49-15,3 1-112 0,0 1-62 0,-3 1 0 0,0 1 0 16,-2 4 0-16,-1 0 0 0,-2 0 0 0,0 6 0 16,-5 0 0-16,-1 2 0 0,-1 0 0 15,0 1 0-15,-1-2 0 0,0 0 0 16,0-1 0-16,3 0 0 15,-3-4-328-15,1 0-225 0,4-3-399 0,-1-2-198 0,4-2 155 0,0-2 73 16,0 0 80-16,0 0 100 0,2-17 102 0,0 7 13 16</inkml:trace>
  <inkml:trace contextRef="#ctx0" brushRef="#br1" timeOffset="188851.98">11264 10006 1261 0,'8'-6'484'0,"-3"0"123"0,-2 5-34 0,-3 1-43 0,10 4 46 0,-7-1-67 16,1 3-56-16,-1 5-48 0,2-2-13 0,1 6-60 15,-4 0 16-15,1 2-30 0,2 2-119 16,-3 1-50-16,-2-1-52 0,0 3-69 0,0-1-58 16,0-1-98-16,0-2-80 0,1 5-99 0,1-7-67 15,0 1-135-15,1-4-482 0,0-1 55 16,-1 0 45-16,0-4 151 0,4 1 85 16,-2-3 23-16,0 0 76 0</inkml:trace>
  <inkml:trace contextRef="#ctx0" brushRef="#br1" timeOffset="189071.17">11495 10272 1389 0,'5'-13'469'0,"0"-2"-42"0,-3 2 16 16,-1 1-59-16,2 0 13 0,-1 2 12 15,0 0 19-15,-2-1 38 0,0 4-6 0,1-1-147 16,-1 2-16-16,0 1-13 0,0-1-28 16,0 6-11-16,0 0-4 0,0 0-28 0,0 0-6 15,-8 12-25-15,5-5 10 0,3 2-54 0,-2 0 3 16,-1-2 7-16,3 4-86 0,3-4-62 15,-3 3 0-15,0-3 0 0,2 1 0 0,0-1 0 16,2-2 0-16,-2-1 0 0,1-2 0 0,2-1-21 16,0-1-284-16,-5 0-79 0,10-1-81 15,-2-1-388-15,0-2-268 0,2-1 120 0,-5 2 98 16,3-2 130-16,-1 0 41 0,4-1 71 0,-1 1 49 16</inkml:trace>
  <inkml:trace contextRef="#ctx0" brushRef="#br1" timeOffset="213971.01">3619 1988 975 0,'0'7'266'0,"2"1"8"0,-1 0-31 15,1-1-48-15,-2 1-21 0,2 1-11 0,-1-2-17 16,1 2-30-16,1-1-22 16,-1 2-55-16,-2-3-27 0,2 1-81 0,-2 1-115 0,1 1-39 15,1-3-470-15,1-1 78 0,-3-1 50 0</inkml:trace>
  <inkml:trace contextRef="#ctx0" brushRef="#br1" timeOffset="214174.15">3565 1866 1031 0,'-3'-4'330'0,"1"1"-41"16,2 3-33-16,0-5-71 0,0 5-65 0,0 0-110 16,0 0-130-16,0 0-192 15,0 0-333-15,0 0 105 0,0 0 2 0</inkml:trace>
  <inkml:trace contextRef="#ctx0" brushRef="#br1" timeOffset="214507.46">3726 1998 1200 0,'3'8'366'0,"0"0"-118"16,-1-2-17-16,0 0-27 0,1-1-9 16,0 0-34-16,0 0-23 0,-1 1 26 0,0-2-20 15,1 0 45-15,-1 0-2 0,1 0-16 16,0-2 1-16,-1 3-1 0,-2-5-78 0,3 3 12 15,-1 0 10-15,-2-3-21 0,0 0 27 16,6 2-29-16,-6-2-5 0,0 0 5 0,8-6-10 16,-4 3-5-16,2-1-6 0,-4 2-22 15,3-1-5-15,0 0 4 0,0 1 9 0,-2 0-29 16,2 0 15-16,-5 2-17 0,10-1 12 0,-10 1-25 16,11 1-3-16,-4 1-35 0,-4 0-39 0,2 1-3 15,0-1-51-15,0 2-51 0,0 1-79 0,-2-2-141 16,0 3-489-16,1-4 26 0,0 2 168 15,0-1 6-15,-1 1 140 0,2-3-9 0</inkml:trace>
  <inkml:trace contextRef="#ctx0" brushRef="#br1" timeOffset="-214589.56">4026 1714 931 0,'0'0'338'0,"0"0"-33"0,0 0-34 15,0 0-25-15,10 15-29 0,-9-7-7 0,4 1-25 16,-3-1-9-16,1 3-7 0,-1 0-33 0,1-1-1 16,-1-1-19-16,1-1-34 0,0 1-6 15,-3-1-9-15,0-1 12 0,0-1-17 16,0 0-11-16,0 0 5 0,0 0 3 0,-3-1 8 15,0 1-21-15,-2-2 0 0,1 2 10 16,1-1-23-16,-3-1 11 0,2 0-16 0,-2 2 18 16,-1-1-28-16,4 3 0 0,-2-2 7 0,0 3-4 15,2-2-11-15,-2 0 13 0,2 1-15 16,1 0-6-16,0-1 42 0,2 1-18 16,-3-1-1-16,3 0 3 0,3-1-12 0,-3-1 7 0,2 0-13 15,0-1 0-15,1 1-7 0,2-3 4 16,-2 1-19-1,2-2-34-15,2-1-13 0,-7 0-23 0,16-1-31 0,-8-1-74 0,-1 0-53 0,4-1-44 16,-1 0-29-16,0-1-4 16,3 0-356-16,-2 0-44 0,1 0 108 0,-2 0 43 15</inkml:trace>
  <inkml:trace contextRef="#ctx0" brushRef="#br1" timeOffset="-213967.76">4237 1871 688 0,'-3'-4'399'0,"1"1"-30"0,-1 0-16 0,0 0-41 0,-1 0-27 0,0 1-19 0,4 2-33 16,-7-2-21-16,7 2-25 0,-7 0 5 16,7 0-26-16,-8 3-7 0,5 0-39 15,1 1-2-15,-1 1-15 0,1-1 12 0,1 1-15 16,-1-1-24-16,2 2-17 0,2-1 0 16,-2 0-10-16,0 0 15 0,3-2-23 0,0 1-16 15,2-2-4-15,0-1 22 0,0 0-30 16,-5-1 15-16,12-2-12 0,-6-2 7 0,2 1-28 15,-3-2 10-15,2-1-18 0,1-3 23 0,-3 2 3 16,3-2-57-16,-3-1 1 0,-2-1 20 16,1 0 13-16,-1 0 15 0,0 0 2 15,-1-4 70 1,-2 2 38-16,0 1-40 0,-2-1-4 0,2 1 27 0,-3 2-37 0,3 1 13 0,0 1-15 16,-2 0-10-16,2 3 2 0,-1 1-10 15,1 4-18-15,0 0 2 0,0 0 9 0,0 0-1 16,6 11-2-16,-4 0-6 0,0 2-4 0,4 4-6 15,-1 6 6 1,0-1 2-16,3 0-18 0,-1 2-13 0,1-1 6 0,0 0-16 0,-3 0-3 16,1-4 3-16,3 0-23 0,-3-2 23 0,-1-3 0 15,0-1 13-15,-2-1 5 0,1-2-12 32,-1-1 24-32,0-2 6 0,0 0 18 0,-1 1-82 0,1-4 36 0,-3-1 17 0,2-1-32 0,-2-2 33 15,2 3-11-15,-2-3 49 0,0 0-25 16,0 0-1-16,0 0 11 0,3-15-26 0,-3 7 15 15,0-3 14-15,3-1-24 0,-1-3 8 16,1 0 23-16,2-1-26 0,0 2 0 0,3 0-17 16,-3 3-16-16,0 2 26 0,3 0 22 15,-1 3-25-15,1 1-7 0,-2 1 12 0,1 1 3 16,0 2 5-16,-1 1 10 0,-6 0-2 16,8 2 9-16,-6 2-12 0,-2 0 3 0,-2 2-11 15,-2 1 98-15,0 2-18 0,-4-1-13 0,-2 2-41 16,2 0-34-16,-4 2-30 0,1-1-38 0,1-2-62 15,-3 1-20-15,5-3-14 16,-2-1-101-16,2-1-195 0,-2 1-530 0,2-2 77 0,1 0 74 16,0-1 92-16,0-2 49 0,3 2 87 15</inkml:trace>
  <inkml:trace contextRef="#ctx0" brushRef="#br1" timeOffset="-212905.3">7975 1318 934 0,'-2'-5'391'0,"2"5"-27"0,0 0-34 16,0 0-23-16,0 0-20 0,4 20-36 16,-1-8-34-16,0 3-17 0,-1 4-18 0,3 5-11 15,0 2 72-15,1-1-43 0,-2 2-36 0,4 8-23 16,0 0-1-16,-3-7-60 16,1-4-9-16,1-1-17 0,-2-2 3 0,3-4-40 15,-3-2-22-15,0 0 21 0,0-5-34 0,1 0 10 16,-2 0 0-16,2-3 6 0,-4-3 17 15,1 0-5-15,-1-2-22 0,-2-2 22 0,0 0 10 0,0 0 6 16,0 0 10-16,0 0 0 31,-7-10 17-31,1 5 1 0,1 0 2 0,-3 0-20 0,-1 1 8 0,0 1 7 0,2 0 8 0,-4 1-16 16,4 1 1-16,-3 1 22 0,0 1-14 0,2 2-27 16,-5 1 21-16,5 1-7 0,-2 1-11 15,0 3 21 1,2-1-26-16,3 0 23 0,-2 0 10 0,3 1-41 0,0 0 26 0,1-1-15 0,3 0-11 15,0 0 29-15,0-1-16 16,5-1-15-16,0 1-1 0,0-2 9 0,1 0-11 16,4-3-7-16,-3-1-39 0,4 1-13 0,-1-4-22 15,3 1-19-15,0-3-12 0,2-1-75 0,-2 1-51 16,5-2-122-16,-6 0-91 0,4-1-465 16,-1 2 46-16,-2 0 143 0,0 1 85 0,0-1 41 15,0 1 35-15</inkml:trace>
  <inkml:trace contextRef="#ctx0" brushRef="#br1" timeOffset="-212233.97">8287 1684 813 0,'0'-5'413'0,"1"1"-19"0,1-4-18 0,-2 3 0 0,0 0-109 16,0 0-14-16,0 0 16 0,0-1-18 16,-2 2-19-16,1 0-24 15,1 4-19-15,-2-5-22 0,2 5-9 0,-2-2-27 0,2 2 22 16,0 0-30-16,0 0-18 0,-8 10 0 15,5-5-31-15,3 1 21 0,-2 1-3 0,2 1-46 16,0 0 13-16,0 1-28 0,0-2-13 0,2 2-18 16,-2-3-10-16,3 2-8 0,-1-1-36 0,1-2 0 15,2-1-23-15,0-2-20 0,2-1 18 16,-1-1-6-16,-6 0-2 0,15-2 13 0,-5-2 15 16,1-2-2-16,-4-1 4 0,3-1 22 0,-1 1-1 15,1-3 20-15,-2-1 19 0,-1-2 7 0,0 0 26 16,-1-1-18-16,-1 1 18 15,-2-2-3-15,-1 1 3 16,-1 0 28-16,1-1-31 0,-2 0 31 0,2 2 18 16,-4 0-20-16,4 4 27 0,-2 0-25 0,0 0 13 0,0 2-21 15,0 3 13-15,0 0-10 0,0 4-2 0,0 0-9 16,0 0-12-16,0 0 13 0,6 12 9 0,-4-3 63 16,0 3-26-16,1 1-6 0,0 4-2 15,2 1-18-15,0 1-10 0,0 3 8 0,2-1-6 16,-1-2-2-16,-1 0-13 0,0-2-2 15,0 0 7-15,-2-2-23 0,2-2-5 0,0 0 51 16,-2-3-10-16,-1-2 36 0,1-1-21 0,0 0 37 16,-1-3-29-16,0-3 33 0,-2-1-20 15,0 0-11-15,0 0 29 0,9-10-57 0,-5 2-7 16,2-1 33-16,1-5-23 0,1 1-10 0,2 1 30 16,0 0-43-16,1 0 5 0,2 0 26 15,-3 5-28-15,0-2 2 0,0 2 8 16,0 2-54-16,-1 0 0 0,1 2 0 0,-3 0 0 0,1 1 0 15,-1 1 0-15,-1 1 0 0,-6 0 0 16,7 2 0-16,-4 1 0 0,-3-3 0 0,0 6 0 16,0-1 0-16,-3 1 0 0,-2 0 0 0,0 0 0 15,-3 2 0-15,-2-2 0 16,3 1 0-16,-3 0-118 0,1 0-197 0,-1-3-59 16,2 2-71-16,-7-2-213 0,8-1-471 0,4-1 146 15,-2-2 90-15,5 0 110 0,0 0 56 0,0 0 92 16,0 0 102-16,8-12-2 0</inkml:trace>
  <inkml:trace contextRef="#ctx0" brushRef="#br1" timeOffset="-212110.4">8746 1612 1146 0,'3'-3'453'0,"-3"3"-5"0,5-2-36 16,-5 2-48-16,0 0-37 0,0-6-35 16,0 6-46-16,2-5-39 0,-2 5-53 0,0-4-64 15,0 4-62-15,0-5-46 0,0 5-110 0,0-5-208 16,0 2-495-16,0 3 50 0,0 0 90 15,0-7 102-15,0 7 31 0</inkml:trace>
  <inkml:trace contextRef="#ctx0" brushRef="#br1" timeOffset="-209169.94">4446 8849 685 0,'0'0'274'0,"0"0"-2"16,0 0 89-16,-12-5-49 0,7 2 23 0,2 0-99 16,1-3 2-16,-6 3 5 0,3-2 56 15,-2-2-20-15,-1-1 23 0,-3-1-48 0,1-3-11 16,-3 0 0-16,-2-3-25 0,0-2-3 0,-9-8-23 16,1 1-10-16,-2-3-11 0,-1-2-15 15,0 2 5-15,-2-3-22 0,3 3-16 16,-1-2-1-16,0 1-35 0,1 1 26 0,4 0-23 15,-2 6 7-15,5 3-18 0,0 1 8 0,3 0-7 16,-1 3-27-16,2-1-55 0,0 3-24 16,4-1 21-16,-3 1-15 15,5 3 17-15,1 1 3 0,-1 1 3 0,0 0-9 0,3 1 1 0,-2 0-5 16,4 0 28-16,-2 1-36 0,0 2 8 16,2 0-18-16,-1-1 2 0,3 1 18 0,-4 0 1 15,5 3-6-15,-3-4 5 0,1 0-2 0,2 4 2 16,-6-1-2-16,6 1 15 0,-2-5-20 0,2 5 2 15,-5-2-7-15,5 2 7 0,0 0 15 16,0 0-20-16,-5-2 1 0,5 2 17 0,0 0 0 16,0 0-6-16,0 0 1 0,0 0 13 15,0 0-3 1,-8 0-10-16,8 0-8 0,0 0-2 0,0 0 23 0,0 0-6 0,0 0-22 16,0 0 14-16,0 0 6 0,0 0-5 0,0 0-7 15,0 0-6-15,0 0 10 0,0 0-28 0,-8 2 16 16,8-2-34-16,0 0-15 0,-2 4-11 15,2-4-37-15,0 0-27 0,-2 3-7 0,2-3-15 16,0 6-21-16,0-6-33 0,2 6-28 0,0-5-98 16,-2-1-71-16,0 9-8 0,3-6-438 0,-1 2 52 15,-1 0 179-15,1-2 7 0,-2 2 54 16</inkml:trace>
  <inkml:trace contextRef="#ctx0" brushRef="#br1" timeOffset="-208437.75">3939 8660 749 0,'-2'-8'315'0,"1"0"-13"15,-1-5-18-15,-3 2-30 0,2-6-26 0,-5 0-13 16,4-1-21-16,-4-5-45 0,0-1 73 0,-7-8 1 16,2 0-36-16,-2 0-23 0,2 2-18 15,-5 1-6-15,2 0-17 0,1 2-25 0,0 3 14 16,4 6 16-16,1 0-36 0,-1 0-2 0,1 4 15 15,1 0-28-15,0 2-6 0,3 1 22 16,0 0-32-16,1 4 3 0,0-1-21 0,2 2-20 16,-3 1-2-16,4-1 33 0,0 4-29 0,2-2-7 15,0 4-13-15,0 0 0 0,0 0 1 16,5-2 12-16,-5 2 7 0,10 2 1 16,-10-2-3-16,14 4 7 0,-7-2-4 0,3 2-18 0,0 0-1 15,3 1 29-15,-3 0-13 0,1-1 0 16,1-1 18-16,-1 4-25 0,1-1 2 15,-2-1 2 1,1 1 6-16,2 0 9 0,-3-1-19 0,-2 1 4 0,2-3 6 0,-2 1 20 16,0-1 5-16,0 2 3 0,1 0 0 15,-4-3-24-15,1 1-55 0,-1-1-1 0,2-1 26 0,-1 3 23 16,-2-2-28-16,-1-1 5 0,2 2 31 0,-5-3 0 16,8 3 2-16,-6-2 21 15,-2-1 10-15,6 3 2 0,-6-3-2 0,7 2-23 0,-7-2 23 16,6 0-10-16,-6 0 5 0,4 3-31 0,-4-3 10 15,0 0 8-15,3 2-12 0,-3-2 4 16,0 0-2-16,0 0-13 0,6 1 8 16,-6-1-11-16,0 0 18 0,2 3-20 0,-2-3 0 15,0 0 16-15,0 0-34 0,0 0 10 0,5 3 21 16,-5-3 4-16,0 0-9 0,0 0-29 16,0 0 32-16,0 0 9 0,0 0-18 0,0 0-7 15,0 0-18-15,0 0 46 0,0 0 28 16,0 0-23-16,0 0-36 0,0 0-12 0,0 0-93 15,0 0-56-15,0 0-20 0,0 0-70 16,0 0-138-16,0 0-133 0,8-7-501 0,-8 7 71 16,5-1 110-16,0-3 95 0,-2 4 56 0,1-2 123 15,2-2 10 1</inkml:trace>
  <inkml:trace contextRef="#ctx0" brushRef="#br1" timeOffset="-207359.32">7262 8413 1049 0,'13'-17'312'0,"-1"3"-35"15,2 0-24-15,1-4-2 16,1 1-113-16,6-6 8 0,1-5-38 0,-2 2-1 0,5 1 8 16,-3-6-15-16,2 2-41 0,-1 1 18 0,4-2-8 15,0-1-18-15,-3 1 8 0,1 1-5 16,-1-1-16-16,4 4 16 0,-6 0-6 0,2 1 32 15,-2 2-19-15,-5 6-10 0,-2 3 26 16,-5 1 74-16,1 2-5 16,-2 3-10-16,-2-1-6 0,0 2 1 0,-3 0-3 0,0 2-15 15,2 2-6-15,-3-1-12 0,0 0 20 0,-1 1-23 16,0-1 0-16,1 2-84 0,-1-1-11 16,-3 3 14-16,5-3-14 0,-4-1 8 15,3 1 26-15,-4 3-26 0,0 0 10 0,5-1-4 0,-5 1-19 16,0 0 23-16,3-5-7 0,-3 5-13 15,0 0 2-15,0 0-2 0,5-2 18 16,-5 2-5-16,0 0-8 0,0 0 2 0,0 0-9 0,0 0 9 16,3-3 13-16,-3 3-9 15,0 0-14-15,0 0 26 0,0 0-5 0,0 0-13 16,0 0 18-16,0 0-31 0,0 0 2 0,0 0 9 16,0 0-16-16,0 0-18 0,0 0-15 0,0 0-44 15,0 0-15-15,0 0-46 0,0 0-10 16,0 0-172-16,0 0-41 0,-10 11-494 0,10-11 108 15,-3 5 56-15,3-5 76 0,-3 2 91 0</inkml:trace>
  <inkml:trace contextRef="#ctx0" brushRef="#br1" timeOffset="-206988.04">7573 7838 1174 0,'0'0'423'0,"10"-7"-16"0,-3 1-54 0,4 1-36 0,1 0-30 0,3-2-105 0,3 0-21 0,6-3-12 15,1 0-9-15,8-6-7 16,1 3-15-16,-1 0-28 0,-4 4 15 0,4-5-29 15,-5 5 4-15,-2 1-3 0,-3-1-13 0,0 2-3 0,-3 3 13 16,-2-1-15-16,0 1 18 16,-5 3 15-16,3 0-5 0,-4 2 5 0,1 1 16 15,-3 4 10-15,1 0 63 0,-1 5 11 0,0 2-23 16,-5 5-41-16,-2 1 21 0,-3 8-42 31,-3 10-38-31,-5 6-84 0,-10 12-144 0,-15 8-343 0,10 1-524 0,-7 4 89 0,-9 18 95 0,-2-3 113 16,0-3 43-16,-3 8 107 0,1-7 29 0</inkml:trace>
  <inkml:trace contextRef="#ctx0" brushRef="#br1" timeOffset="-178045.4">4411 8856 542 0,'0'0'190'15,"-3"-1"-37"-15,3 1 14 0,0 0-1 0,0 0-20 0,0 0-11 16,0 0-14-16,0 0 20 0,0 0-39 15,0 0-35-15,0 0-16 0,0 0-33 16,0 0-47-16,0 0-22 0,0 0-28 0,-2-4-18 16,2 4-39-16,0 0 26 0,-3-2-10 0,3 2 2 15,-5-4-20-15,5 4-361 0,-5-4-39 16</inkml:trace>
  <inkml:trace contextRef="#ctx0" brushRef="#br1" timeOffset="-176475.43">3744 8224 519 0,'-5'-11'141'0,"2"-2"41"16,1 7 20-16,0-2-61 0,-3 1 2 0,4-1 3 16,-3 1-36-16,1 4-5 0,2-4 5 0,-1 2-26 15,2 0 32-15,-2-1-40 0,2 1 6 16,-2 3-20-16,2 2 2 0,0-8 13 0,0 4-42 15,2 0 14-15,-2 4-8 0,4-4-5 16,0 1 7-16,0 1 9 0,-4 2-17 16,8-1 11-16,-3 0-30 0,1-2 43 0,-6 3-16 15,10 0-12-15,-10 0 5 0,12 0-13 0,-9 4-5 16,4-4 30-16,-7 0 3 0,10 0-10 16,-4 1 0-16,-6-1 0 0,10 0-25 0,-5 0 20 15,-5 0 12-15,10 1-12 0,-6 0 5 0,-4-1 18 16,7 2-21-1,-2-1 11-15,-5-1-8 0,8 1 13 0,-8-1-8 0,4 1-13 0,-4-1 16 16,0 0-11-16,0 0 5 0,8 0-19 0,-8 0 32 16,0 0-15-16,6 1-13 0,-6-1 15 15,0 0-25-15,0 0 36 16,5 1-8-16,-5-1 49 0,0 0 18 0,0 0-32 0,0 0 12 16,0 0-11-16,0 0-6 0,0 0 16 15,0 0-43-15,0 0 0 0,0 0 33 0,0 0-36 16,0 0-8-16,0 0 21 0,0 0-23 0,5 2-3 15,-5-2 0 1,0 0 3-16,0 0 0 0,0 0-8 0,0 0-5 0,0 0 13 0,0 0-21 16,0 0 1-16,0 0 9 0,0 0-22 0,0 0 23 15,0 0-11-15,0 0 13 0,0 0-7 0,0 0-6 16,0 0 18-16,0 0-10 16,0 0-23-16,0 0 10 0,5 2-7 0,-5-2 0 0,0 0-9 15,0 0 42-15,0 0-20 0,0 0-6 16,0 0 10-16,0 0-22 31,0 0-1-31,0 0 11 0,0 0-16 0,0 0 3 0,0 0 10 0,0 0 0 0,0 0 8 0,0 0-18 0,0 0-8 16,0 0 41-16,0 0-33 0,0 0 0 15,0 0 18-15,0 0-21 0,0 0-5 0,0 0 11 16,0 0 10-16,0 0 2 0,0 0-3 0,0 0-12 16,0 0 26-16,0 0-44 0,0 0-21 15,0 0-12-15,0 0-23 0,0 0-11 0,0 0-20 16,0 0-21-16,0 0-73 0,0 3-96 0,0-3-40 15,5 3-257-15,-2-1-250 16,0 1 71-16,2-1 119 0,-2-1 70 0,6 2 19 16</inkml:trace>
  <inkml:trace contextRef="#ctx0" brushRef="#br1" timeOffset="-174413.06">7221 8433 547 0,'0'0'231'0,"0"0"-9"0,-5-1-12 16,5 1-23-16,0 0-8 15,0 0-30-15,0 0 15 0,0 0 2 0,0 0-20 16,0 0-3-16,0 0-17 0,2-7 2 0,-2 7-26 16,3-6 5-16,2 2-7 0,-2 0-8 15,2-2 3-15,0 1-10 0,2-2 2 0,-1 0-11 16,1-3 6-16,1 2 5 0,0-2-5 0,2 2-25 16,-2 0 9-16,0-3-2 15,-1 3-15-15,3-3 10 0,0 0-8 0,-2 3-8 0,2-3 11 16,-2 1-18-16,3 0-10 0,-1-1-3 15,0-2 0-15,0 4 10 0,1-3-13 0,1 2 16 16,-1-3-18-16,-1 4 10 0,3-1-12 16,-3-2-4-16,1 1 9 0,-1 2 12 0,2-2 13 15,-2 3-25-15,-1-2 27 0,1 1-19 16,-2 0 9-16,-1 1-25 0,3 1 33 0,-4 0-15 0,2-3-14 16,1 3-4-16,-1-2 15 0,-3 0-79 15,3 1 0-15,0 1-8 16,-3-3 28-16,3 3 6 0,2-1-16 0,-3-3 18 0,1 3-13 15,-1-3 3-15,-1 4 7 0,1-4 16 0,1 3 2 16,2-3 11-16,-2 3-13 0,0-3 4 16,0 4 1-16,-1-2-2 0,1 0-4 15,0 0 11-15,-1 0 5 0,1 1 6 16,-1-2 12-16,1 2-8 0,-3 2 6 0,1 0 63 0,1-1 11 16,1 1-3-16,-3 0-20 0,3-1-24 0,-3 2 6 15,2-1-3-15,-1-1 11 0,1 1-16 16,-1 3-8-16,2-4 3 0,2 0-20 15,-3 3 9 1,3-3 6-16,1-2-3 0,-1 2-4 0,-2 0 14 0,2 1 8 0,0-1 3 0,3 1-21 16,-3-1-15-16,-2 1-2 0,2 0 30 15,-2 1-16-15,-1-1 4 0,-1 4-1 0,-1-3 13 16,0 3 18-16,0-2-18 0,0 0-15 16,-2 2 28-16,1-1-13 0,0-1-18 0,-4 4 10 15,4-4-5-15,-4 4-2 0,3-2-5 16,-3 2 7-16,5-5-25 0,-5 5 17 0,3-2-2 0,-3 2-12 15,0-4 4-15,0 4 3 0,0 0 15 16,0 0-38-16,2-2 20 0,-2 2-45 16,0 0-14-16,0 0-38 0,0 0-18 0,0 0-28 15,0 0 6-15,0 0-60 0,0 0-23 0,0 0-61 0,0 0-44 16,-17 1-69-16,17-1-48 16,-4 4-413-16,0-1 78 0,4-3 70 0,-6 4 58 15,4-2 68-15</inkml:trace>
  <inkml:trace contextRef="#ctx0" brushRef="#br1" timeOffset="-172963.94">7524 7827 872 0,'0'0'333'0,"-6"3"-28"0,6-3-13 0,-5 1-31 16,5-1-18-16,0 0-3 0,-5 1-35 15,5-1 15-15,0 0-53 16,0 0 17-16,0 0-10 0,0 0-18 0,0 0-5 0,0 0-61 0,13 4-29 15,-13-4-10-15,11-3-10 0,-4 2 26 16,0 1 2-16,4-2-20 0,-3-3-3 0,4 4 13 16,-1-2 56-16,4 1 5 0,-2-2-43 0,2 0-77 15,-2-1 15-15,5 0 3 16,-3 0-18-16,3 0 10 16,0 0 1-16,-3-1 9 0,3 0-2 0,-2 1 18 0,2-1-11 0,-3 0-7 15,1-1-2-15,1 1-6 0,-1 1-10 16,-1-1 5-16,1 3 21 0,-4-3-19 0,2 2 1 15,-1-3 13-15,-1 3-4 0,1 0-6 0,-3 0 30 16,0-1-36-16,1 2-3 0,-4-2 6 16,1 3-3-16,-3-2-2 0,3 2-1 0,-1-3 16 15,-1 4-26-15,-1-2 14 0,0 1-4 0,0 2 14 16,1-1-4-16,-2-2-1 31,-4 3 4-31,8-2-13 0,-5 0 27 0,-3 2-32 0,7-3-2 0,-4 1 10 0,-3 2 18 0,5-1-36 16,-5 1 8-16,3-4 5 0,-3 4-15 0,0 0 12 0,5 0 6 15,-5 0 7 1,0 0 16-16,0 0-19 16,0 0-14-16,5-2 4 0,-5 2 3 0,0 0 36 0,0 0-28 0,0 0 10 0,0 0-24 15,0 0 40-15,0 0-1 16,5-1-23-16,-5 1 0 0,0 0 1 0,0 0 4 0,0 0-5 16,0 0 3-16,0 0-10 0,0 0 22 0,0 12-9 15,-3-5-29-15,3 1 26 16,-2 7-3-16,-1 6-10 0,1 5-3 0,-4 13-2 0,1 4 8 15,-2 1-52-15,1 4-61 0,-4 8-79 16,2-10-226-16,1 17-484 0,-1-3 73 0,0-2 76 16,4-11 59-16,-4-2 76 0,2-5 52 15</inkml:trace>
  <inkml:trace contextRef="#ctx0" brushRef="#br1" timeOffset="-160233.65">15487 10323 1036 0,'0'0'348'0,"0"0"-53"0,0 0-16 0,18 1-26 0,-18-1-33 15,15 0-15-15,-7 0-31 0,5 0-8 0,-3 0-20 16,5 0-41 0,-2-1-74-16,3 0-54 0,-1-2-28 0,2 3-54 0,0 0-169 15,5-1-427-15,-1 0 12 0,2 0 36 0,0 0 88 16</inkml:trace>
  <inkml:trace contextRef="#ctx0" brushRef="#br1" timeOffset="-159949.25">16487 10276 880 0,'0'0'392'0,"0"0"-54"0,0 0-26 0,0 0-38 0,0 0-23 15,10-7-21-15,-2 7-43 0,2-1-36 0,0-1-36 16,1-1-54-16,4 2-20 0,0 1-46 15,3-1-69-15,0-1-105 0,3 0-100 0,0 2-402 0,1-2 10 16,1 1 60-16,1-2 27 0</inkml:trace>
  <inkml:trace contextRef="#ctx0" brushRef="#br1" timeOffset="-159666.89">17982 10199 1092 0,'-6'-2'382'16,"6"2"-52"-16,0 0-33 0,0 0-26 16,0 0-15-16,0 0-36 0,16-4-46 15,-11 2-40-15,3 2-9 16,0-4-69-16,4 4-33 0,0 0-92 0,-1 0-110 0,5-1-108 0,-4 1-20 16,9-1-420-16,2 0 108 15,0-1 56-15,4 2 25 0</inkml:trace>
  <inkml:trace contextRef="#ctx0" brushRef="#br1" timeOffset="-159318.96">19888 10131 1139 0,'-2'-5'463'0,"2"5"-54"16,0 0-50-16,3-4-16 0,4 1-59 15,-7 3-41-15,9-3 0 0,-1 3-46 0,2-4-43 16,0 4-64-16,3-1-65 0,3-1-71 0,-2 0-120 15,2 2-108-15,-1 0-77 0,3 0-453 0,3-3 59 16,4 2 88-16,0 1 63 0</inkml:trace>
  <inkml:trace contextRef="#ctx0" brushRef="#br1" timeOffset="-159110.09">21830 10032 1236 0,'28'-1'412'0,"-2"0"-33"0,-4-1-36 16,-1-1-115-16,0 2-19 0,2 1 9 0,0-1-52 15,0-3 65-15,0 3-55 16,-2-1-40-16,2 1-51 0,-3-1-55 0,1-1-63 0,1-1-110 15,-3 2-144-15,3-2-501 0,-1 1 32 0,3 1 122 32,-4 1 60-32,1-1 47 0</inkml:trace>
  <inkml:trace contextRef="#ctx0" brushRef="#br1" timeOffset="-158931.52">23165 9976 1085 0,'21'-4'381'0,"-3"0"-40"0,-3 2-42 0,-1-1-25 0,0 1-51 0,2-1-54 0,-1 1-29 15,1 0-70-15,-1 1-81 16,3-2-114-16,3 2-136 0,2 1-384 0,-2 0-46 0,2 0 99 0,1-1 101 16</inkml:trace>
  <inkml:trace contextRef="#ctx0" brushRef="#br1" timeOffset="-156097.85">17538 11524 1103 0,'-2'15'320'0,"-1"8"-3"0,-5 18-35 15,0 4-3-15,-4 13-21 0,-6 5-25 0,0 4-8 16,-5 6-35-16,-6 21 9 31,-2 1-30-31,-4 1-18 0,1-3-5 0,-1-1-43 0,1-2 4 0,3-3 6 0,6-14-18 0,1-6-21 0,2-1 8 16,-1-5-26-16,3-2-2 0,1-2 17 16,3-4-7-16,-1-2-20 0,4-12 2 0,3-3-31 15,-1-1-7-15,5-8 10 16,0-5-31-16,0-3 11 0,1-4-32 0,-2 0-27 0,4-4-11 15,-2 1-38-15,2-3-61 0,-4 0-119 0,4-3-94 16,-2 0-447-16,0-3 86 0,0-1 82 16,0 0 79-16,5-2 36 0</inkml:trace>
  <inkml:trace contextRef="#ctx0" brushRef="#br1" timeOffset="-155662.1">16387 13140 939 0,'-8'1'425'16,"1"0"-31"-16,7-1-48 0,-6 0-37 0,6 0-25 15,0 0-10-15,0 0-28 0,41-3-8 0,-7 1-5 16,14-2-18-16,7 0-36 0,21-1 3 15,3-1-31-15,11-1-18 0,8 1 16 0,2-1-16 16,28-5-21-16,8 0-4 0,0 0-6 0,4-1-25 16,-1-2 7-16,7-2 21 0,3-1-7 15,3-1-11-15,-4-1-11 32,1 1 1-32,-1 1-10 0,-1-1-3 0,-7 2-16 0,-7 2 1 0,-4 2 25 0,-3 0-23 0,-26 3-4 0,-4 1-12 15,-5 1-22 1,-7 3-8-16,-9 0 21 0,-16 1-49 0,-3 2-18 0,-10-1-31 0,-10 3-12 15,-8 0-3-15,-9 0 18 0,-2 0-13 16,-4 2 13-16,-3-1-13 0,-2 1 51 0,-3-2-30 16,-5 0-14-16,3 2-4 0,-3-2 18 0,0 0-29 15,0 0-12-15,0 0-52 0,0 0-53 0,-24-2-165 16,12-4-27-16,2 6-499 0,-1-3 153 16,-2-1 18-16,1 0 54 0,-1-3 84 0</inkml:trace>
  <inkml:trace contextRef="#ctx0" brushRef="#br1" timeOffset="-153162.75">17754 13490 939 0,'0'7'315'0,"0"0"-41"0,2 2-36 16,-2 1-46-16,0-1-49 0,0 4-92 16,0 0-171-16,-2 0-100 0,2 0-456 0,0-1 121 15,0-2 37-15</inkml:trace>
  <inkml:trace contextRef="#ctx0" brushRef="#br1" timeOffset="-152953.29">17674 13324 1008 0,'0'0'228'0,"0"0"-169"0,0 0-223 0,10 10-448 0,-2-5 105 16</inkml:trace>
  <inkml:trace contextRef="#ctx0" brushRef="#br1" timeOffset="-152678.78">17938 13401 1126 0,'-10'11'504'0,"2"0"-48"0,-2-1-11 15,4 0-51-15,-1 0-23 0,4 1-35 16,-2 1-42-16,2-2-7 0,1 1-62 0,2-2-23 16,2 2-15-16,-1 0-5 0,4-1-18 0,0 0-36 15,1 0-31-15,1-2-18 0,0 1-12 0,1-2-37 16,4 1-6-16,-4-2-35 15,1-1-14-15,1-2-37 0,-2 0-63 0,2-1-36 16,-3 0-106-16,1-2-229 0,2-2-403 0,0 0 50 16,1-1 104-16,-2 2 33 0,0-3 103 0,3 1 61 15</inkml:trace>
  <inkml:trace contextRef="#ctx0" brushRef="#br1" timeOffset="-152379.97">18237 13506 1062 0,'1'-12'445'0,"-1"2"-30"0,3 2-41 16,-3-1-26-16,0 3 10 0,-3-1-110 15,2 2-25-15,1 2-5 0,-4-1-24 0,1 1 8 16,3 3-40-16,-5-2-19 0,5 2-2 0,0 0-24 15,-12 5-19-15,9 1 7 0,-2-1-8 16,-1 1-23-16,4 2 0 0,0-1 11 0,-1 2-6 16,0-1-33-16,3 1-12 0,0-2 14 0,3 1-35 15,-1-2-16-15,1 2-30 0,2-3-41 16,0 0-57-16,5 1-122 0,0-3-29 0,1 0-104 16,2-1-528-16,0 0 121 0,-1-2 94 15,1-3 36-15,2 2 46 0,1-2 79 0</inkml:trace>
  <inkml:trace contextRef="#ctx0" brushRef="#br1" timeOffset="-151715.33">18851 13355 1581 0,'0'0'482'0,"-13"3"-29"0,10 1-57 0,-2 1-27 16,2 1-18-16,-1 0-36 0,1 2-57 0,0 0-17 15,1 0-3-15,0 1-44 16,2 2 1-16,0-3-44 0,0 2-13 0,2-1-5 0,0 0-56 15,1-1 7-15,0 1-35 0,1-3-16 0,-1-1 11 16,4-1-8-16,-3-1 7 16,0-1 8-16,2-2-22 0,-6 0 1 0,12-2 9 15,-3-1-16-15,-2 1 20 0,0-2 8 0,1 1-7 16,-3-1 7-16,3 0-2 0,0 2-11 0,0-1 13 16,-1 0 21-16,1 1-34 0,0 1 14 31,0 1-6-31,0-1-3 0,-8 1-2 0,12 3-26 0,-4-1 16 0,-3 0 18 0,0 0-6 15,0 0-20-15,-3 1 16 0,3-1-85 16,-2 1 5-16,-1-1 33 0,-2-2-2 0,6 3 2 16,-6-3 26-1,5 3-5-15,-5-3 0 0,0 0 51 0,7-2-39 0,-7 2 1 0,3-5 2 16,0 1-15-16,1-1-16 0,0-1-10 0,1 0 11 0,0-1-1 16,-2 1-27-16,4 0-29 0,-2-1-13 15,0 1-35-15,0 1-27 16,1-1-14-16,-1 3-26 0,2-2-41 0,-2 3-28 0,1 0-70 15,2 1-211-15,-4 1-423 16,-4 0 117-16,16 3 24 0,-8-1 120 0,-1 2 95 0,1-2 25 16</inkml:trace>
  <inkml:trace contextRef="#ctx0" brushRef="#br1" timeOffset="-151324.62">19299 13391 1284 0,'0'-4'336'0,"0"4"-14"16,0 0-17-16,0-6-36 0,0 6-18 0,-3-2-31 15,3 2 13-15,0 0-44 0,0 0 8 0,0 0-23 16,-12 7-20-16,10-3-19 0,-1 0-19 16,2 0 12-16,-1 1-8 0,0 0-31 0,2-2-12 15,0 3 8-15,0-1-21 0,2-2 7 0,-2 1-19 16,3-1-14-16,2-1 5 0,-2-1-17 15,2 2 33-15,0-2-23 0,-5-1-29 0,10 1 6 16,-4-1 15-16,-6 0 11 0,10-1-11 16,-10 1-15-16,10-1 18 0,-5 0 2 0,-5 1-10 15,8-2-8-15,-1 2-2 0,-7 0 2 16,10 0 21-16,-10 0-20 0,9 2-11 0,-3-1-3 16,0 0 3-16,-6-1-12 0,12 1-6 15,-6 1-3-15,1-2-53 0,-1 0-5 0,-6 0-13 16,15-1-54-16,-10 0-12 0,3-2-75 15,0 1-49-15,-1-1-71 0,1-1-33 0,-2 0-397 16,-2 0 15-16,2-1 72 0,1 1 59 31,-4-2 69-31</inkml:trace>
  <inkml:trace contextRef="#ctx0" brushRef="#br1" timeOffset="-149875.75">15487 12274 1438 0,'-2'-4'417'0,"-1"1"-56"0,-2 0-36 0,2 1-25 15,3 2-26-15,-10 0-6 0,10 0-35 0,-16 3-2 0,9-1-29 16,-1 3-31-16,0-2-4 0,1 2-8 16,2 1-32-16,-1 1-27 0,2-2 16 15,1 1-6-15,3 2-11 0,0-1-17 16,2 2-7-16,1-1 12 0,5 0-31 0,-3 0 0 0,4 1 8 16,0-1-25-16,3 2 2 15,-4-1-16-15,2-1 8 0,-2 0-4 0,2-1-4 0,-2 1 19 16,0-2 99-16,-3 2-51 0,-3-1 21 0,4 1-1 15,-4-1-9 1,-2 1-16-16,0 1-13 0,-2-1-12 0,-1 0 1 0,-2 2 17 0,0 0-26 16,-3 0-47-16,0-1 19 0,-2 2-26 15,0-1-33-15,0-2-21 0,0 1-51 16,2 0-13-16,-1-1-23 0,0-1-28 16,1-2-30-16,3 0-73 0,0 0-83 0,0-5-157 0,2 3-435 15,3-3 56-15,-5 2 123 0,5-2 105 16,0 0 49-16,0-10 45 0</inkml:trace>
  <inkml:trace contextRef="#ctx0" brushRef="#br1" timeOffset="-149220.22">15520 12280 977 0,'0'-5'371'0,"0"5"1"0,3-1-50 0,-3 1 6 15,0 0-19-15,0 0-45 0,8 12-10 0,-4-5-88 16,-3 2-5-16,1 0-15 0,4 2-20 15,-4 2-4-15,3-1-17 0,-5 1 0 0,3-1-23 16,-1 0 3-16,0 0-11 0,2-2 0 16,0 3-18-16,-1-5-4 0,-3 1-6 0,3-2 10 15,-1-1 11-15,-2 0 22 0,3-1-38 0,-1-2 95 16,1 1-15-16,-1 0-3 0,-2-4-5 16,5 3-18-16,1-2-8 0,-1 0-2 0,-5-1-24 15,10 1-9-15,-5-1-3 0,-5 0 5 0,13-1-24 16,-5 1 1-16,-1-1-7 0,1 1-50 15,-3-1-7-15,-5 1-15 0,13-1-39 0,-5 0-5 32,-1 1 0-32,-7 0-20 0,11-1-11 0,-3-1-10 0,-4 0 18 0,2 0-2 0,-1 0-8 15,2-2 18-15,-1 0 7 0,-4-1 8 0,1 2 3 16,-1-3-6-16,1 1 16 16,-1-1 33-16,-1 1-2 15,-1 2-11-15,0-2 42 0,0 0-6 0,0 5 28 0,0-8 0 0,-1 5-2 0,1 3 13 16,-2-5 2-16,2 5-10 15,0-4-13-15,0 4 5 0,0 0-10 0,0 0 0 0,2-4 34 16,-2 4-29-16,0 0 5 0,8 0-13 16,-8 0 3-1,10 4 3-15,-7-3-1 0,5 2 4 0,-3-3-4 0,2 2 24 0,-2 1-8 16,3-1 10-16,-2 1-18 0,1 0-7 0,-2-1 22 16,-2 1-12-16,-1 2 5 0,1 0 0 15,-1-2 7-15,-2 3 6 0,0-2 13 0,0 2-6 16,-5 0 3-16,2-1 15 0,1 0-20 0,0-1 26 15,-1 0 27-15,0 0-32 0,1-2 4 0,2-2 13 16,-3 3-33-16,3-3 15 0,0 0-12 16,0 0-8-16,0 0 0 0,0 0 15 15,0-11-20-15,1 6-1 16,3 0 4-16,-1-1-19 0,2 1-7 0,0 1 7 0,0-2-10 16,-2 0 10-16,2 2-7 0,0 0 18 0,-2 0-37 0,2 0 4 15,-3 2-47-15,1-2 0 16,2 0-28-16,-3 2-20 0,2-1-39 0,0 0-30 15,-4 3-65-15,6-3-79 0,-1 0-153 0,-3 1-443 16,3-1 148-16,0 1 31 0,1 0 38 0,-1-2 100 16</inkml:trace>
  <inkml:trace contextRef="#ctx0" brushRef="#br1" timeOffset="-148829.75">16054 12136 1021 0,'0'0'404'0,"-10"8"-33"0,7 0-38 16,3 0-41-16,-5 3-34 0,2 2-14 15,1 2-22-15,-2 4-30 0,0 0-41 16,-2 4-48-16,2-1-83 0,1-2-63 15,-2-1-83-15,3-1-140 0,-1-2-49 0,0 0-41 0,3-4-381 16,3-3 97-16,0 0 16 0</inkml:trace>
  <inkml:trace contextRef="#ctx0" brushRef="#br1" timeOffset="-148623.03">16141 12229 839 0,'-8'0'328'0,"8"0"-19"0,-13 7-30 0,8 0-15 0,-3 0-5 0,1 3 50 0,-1 0-1 0,0 0-27 0,0 0-17 16,1 0-16-16,2 1-36 0,2-1-4 15,-2-1-9-15,3-1 11 0,2 1-30 0,0-1-19 16,0-3-5-16,4 0-51 0,0-1-21 0,0 1-22 16,2-1-37-16,-1-2-43 0,0 0-15 0,2 1-46 15,1-1-41-15,-2-1-67 0,1-1-128 16,0 4-136-16,-1-3-45 0,-1 2-334 15,2-1 98-15,-4 1 67 0,2 2 66 0,-2 0 61 16</inkml:trace>
  <inkml:trace contextRef="#ctx0" brushRef="#br1" timeOffset="-147954.9">15803 12732 1338 0,'0'0'440'15,"-14"4"-58"-15,7 0-39 0,-3 3-21 16,0 0-35-16,-1 2-16 0,1 2-27 0,0 1-22 0,-1 0-12 15,1 0-15-15,3 1-31 0,-1-2-24 16,2 1-9-16,2-2-11 0,1 0-46 0,0-2-7 16,3-2 28-16,0 0-42 0,3-1 4 0,0-3-4 15,4-1-12-15,-7-1-7 0,15-5 19 16,-5-2-30-16,1 1-5 0,2-4 16 16,0-1-14-16,-3-1 29 0,-2 3-24 0,2-1-19 15,0 1 19-15,-2-1-10 0,-3 4-2 16,0-1-3-16,0 2 16 0,-2 2-8 0,2 0-26 15,-5 3 19-15,0 0-1 0,0 0-5 0,8 11-13 16,-6-6 11-16,-2 3 7 0,3-1-5 16,-1 0-30-16,1 3 7 0,0-2-41 0,1-1 8 15,-1 0-3-15,4-2 23 0,1 1-15 16,0-2 5-16,0-3 5 0,-1-1 6 0,4-1 7 16,-4-3 25-16,4-2 1 0,-1-2 45 15,0 0-4-15,0-3 7 0,0-2-18 16,1-3 39-16,-4 2-21 0,-1-1-10 0,-1-3-51 15,0 1 10-15,-2 0-23 0,-1-1 25 0,1 1 9 16,0 2-11-16,-3 1 0 0,2 3 0 0,0-2-16 16,-2 6-4-16,3 0 30 0,-3 1-7 15,0 3 2-15,0 3 28 0,0 0-28 0,0 0 13 16,0 0-23-16,0 0 18 0,3 18-13 0,-3-10 23 16,-3 6-26-16,6-1 13 15,-6 0-12-15,3 3-57 0,0-2-15 0,3 1-8 0,-1-1-10 16,-2-1-13-16,2-1-18 0,1 1-31 0,2-3-2 15,-2 0-31-15,0-1-48 0,2-2-52 16,0 1-84-16,-2-4 20 0,1 1-465 0,-1-1 114 16,0-1 19-16,1 0 97 0,0-1 33 15</inkml:trace>
  <inkml:trace contextRef="#ctx0" brushRef="#br1" timeOffset="-146833.91">16107 12562 1167 0,'0'0'476'0,"0"0"-54"0,0 0-33 0,0 0-28 16,0 0-105-16,0 18-31 0,3-8-22 15,-3 4-27-15,0-2-12 0,0 3-33 0,3 3-44 16,-3 1-8-16,2-1-25 0,-2-1-47 0,0-1-45 16,0 0-29-16,2-1-76 0,-2 1-13 31,3-3-46-31,-3 0 7 0,0-3-45 0,0 0 9 0,0-3 29 0,-3 2 43 0,3-5 34 15,-2 1-3-15,-3-2 31 0,5-3 38 0,-7 2 56 16,1-2 13-16,6 0 13 0,-13-2 24 16,6-1 37-16,-1 0 54 0,0 0 29 15,-2 0-6-15,5-1-2 0,-3 1-6 0,3 0-4 0,0-3-27 16,2 1-6-16,1-2 1 0,-1 3-35 16,3-2-5-16,3 0 13 0,1-2-19 0,2-2 6 15,2 0-28-15,-1-2-42 0,3 2 19 0,4-2-16 16,-2-1-22-16,1 2 17 0,0 1 2 15,0-1-4-15,-1 2-8 0,-3 1 15 0,0 0 16 16,0 2-14-16,-3 1 19 0,-2 1 15 0,0 3 39 16,-1-1-14-16,-3 2-4 0,0 0 25 15,0 0-33-15,8 8 13 0,-8-3 4 16,0 0-17-16,-1 0 5 0,1 0 10 0,0 1-15 16,1 0-13-16,-1 0-10 0,2 0-2 0,-2-1 12 15,6 0-26-15,-4 0 18 0,1-2-30 16,0-1 5-16,1 1-13 0,2-1 15 15,-6-2-30-15,10-2 2 0,-2-1-12 0,-3 1 17 16,3-2-10-16,-1 0 13 0,-2 0 7 0,3-2-20 16,-3 1 1-16,0-2 9 0,0 2 18 0,-2 4-12 15,2-5 2-15,-3 2-31 0,3 1 10 16,-5 3 11-16,6 0 10 16,-6 0-15-16,0 0-16 0,7 4-15 0,-4-2 2 0,-3-2 19 15,5 5-14-15,-3-3-9 0,1 2-1 16,0-2-81-16,1 1-3 0,0-1 35 0,-4-2 32 15,10 0-32-15,-5 0 17 0,-5 0 17 0,12-4 12 16,-6 2 37-16,-1-2-3 0,0 0 8 0,0-1 38 16,0-2 0-16,0 0 5 0,1-2 24 15,-1 2-1-15,-3-2 23 0,1 1 6 0,-1-1-13 16,1-1 20-16,-3 2-21 0,0-1 9 0,3 1 12 16,-1 1 21-16,-2 1-16 15,0 0-26-15,2 0 14 0,-2 2 40 0,-2 0-56 0,2 0-10 16,0 4 16-16,-2-4-14 0,2 4 8 0,0 0-25 15,-6-3-9-15,6 3-1 0,0 0-4 16,-5-1 1-16,5 1 10 0,0 0-5 16,0 0-16-16,-5-2 1 0,5 2-6 15,0 0 3-15,6-6 3 0,-4 4-11 0,3-1 18 16,0 0-25-16,0 0-3 0,3 1 33 0,0-1-25 16,0 2 2-16,-1-1 0 15,0 1-15 1,-1 1 25-16,-6 0 9 0,10 2-12 0,-7-1 14 0,2 3-13 0,-5 1 5 0,0 1 21 15,-3-1-113-15,1 4 15 0,-1-1 41 0,-2 2-7 0,0 0-11 16,2 1 90-16,-2-1-6 0,0-1 1 0,2-1-5 16,1 1-6-16,2-1-7 15,-2-1 15-15,2-1-12 0,0 0 20 0,2-2 7 16,0 2 11-16,4-2-3 0,1-2 8 0,-2 0-33 16,5-1 2-16,1-1-20 0,-1 0 12 15,3 1 3-15,0-2-23 0,0 0-25 0,2 0-14 16,-2 0-50-1,0 0-16-15,-1 1-5 0,1-1-82 0,-2-1-41 0,1 2-100 0,-2-1-296 0,1 1-400 16,1 1 64-16,-2-1 71 0,1 3 104 16,-1 0 83-16,4 1 85 0,3 3 33 15</inkml:trace>
  <inkml:trace contextRef="#ctx0" brushRef="#br1" timeOffset="-143535.37">17486 12660 476 0,'9'-1'176'0,"-9"1"-27"0,8-2-11 15,-4 0-20-15,1 0-13 0,0-1-16 0,1 2 1 16,-1-1-19-16,3-1 1 0,-1 0-5 16,1 0-31-16,-1-1-3 0,1 1-61 0,0-1-31 15,2 0-21-15,-2 2 1 0,2-3-23 0,0 0-16 16,-2 0-92-16,0 1-307 0</inkml:trace>
  <inkml:trace contextRef="#ctx0" brushRef="#br1" timeOffset="-143111.49">17938 12454 1075 0,'5'-2'312'15,"-2"-1"-54"-15,2 0-2 0,0 0-30 0,0 0-29 16,0-1-16-16,0 0-17 0,0 0-15 16,1 0-21-16,-1 0-11 0,3-1-30 15,-1 1-5-15,-2-1-20 0,1-1-52 0,1 2-2 16,-2-1-82-16,3 0-29 0,-3 0-58 0,2 2-41 15,-4-1-182-15,3-1-323 0,1 1 72 16,-2 0 16-16</inkml:trace>
  <inkml:trace contextRef="#ctx0" brushRef="#br1" timeOffset="-142706.95">18299 12208 837 0,'3'-6'368'16,"-2"4"-40"-16,1 0 5 0,0-1-21 16,4 0-31-16,1-2-35 0,1-1-13 0,2 2-18 15,0-1-26-15,3 1-22 0,-3-2-8 0,1 1-39 16,-1 0 13-16,1 0-26 0,-1 1-32 15,0 0-24-15,0 0-31 0,0-1-43 16,0 0-25-16,-2 4-98 0,2-4-85 0,-2-1-78 16,2 4-467-16,0 0 75 0,-2-2 33 0,0 0 81 15,0 0 42-15</inkml:trace>
  <inkml:trace contextRef="#ctx0" brushRef="#br1" timeOffset="-142389.93">18879 11924 532 0,'5'-2'177'16,"0"-1"-6"-16,-2 2-30 0,2-2-36 0,0 0-5 16,-2 2-1-16,4-3-63 0,-2 2-15 15,3-3-19-15,2 2-53 0,0-2-62 0,-1 1-40 16,3 0-346-16,0-1-57 0</inkml:trace>
  <inkml:trace contextRef="#ctx0" brushRef="#br1" timeOffset="-142153.25">19284 11724 829 0,'3'-5'335'0,"-1"4"-12"0,5-5-29 16,-4 3-102-16,5-2-36 0,0 0-23 0,0-1-35 15,2 0 1-15,0-1-1 0,0 1-4 16,-1 1-32-16,1-2-90 0,-3 1-111 16,3 0-88-16,-2 2-470 0,0 1 80 0,0-3 95 15</inkml:trace>
  <inkml:trace contextRef="#ctx0" brushRef="#br1" timeOffset="-134642.81">21697 11324 1003 0,'0'0'330'16,"0"0"-28"-16,0 0 8 0,0 0-21 0,10 20-10 16,-5-3 8-16,0 7-29 0,5 16-25 0,-4 4-20 15,6 19-9-15,-2 4-1 0,-2 4-27 16,2 7 11-16,-3 4-15 16,2 23-9-16,-4-19 24 0,3 23-54 0,-3-21-12 0,1 21-19 15,-5-19-10-15,-2 3 16 0,-3-4-6 16,-1-2-40-16,0-2 20 0,-2-6-24 15,1-3-12-15,0-4 26 0,-1-5-31 0,0-7-26 0,4-12 21 16,-2-4-36-16,2-3 18 0,1-10-18 16,-1-5-13-16,1-5-20 0,1-3-3 0,1-3-12 15,-2 0 7-15,0-5-26 0,2-2-38 16,-3-3-43-16,3-1-24 0,0-4-68 0,0 0-70 0,0 0-110 16,0 0-217-16,0 0-213 15,8-17 120-15,-6 9 67 0,1-1 146 0,-1-1-10 0</inkml:trace>
  <inkml:trace contextRef="#ctx0" brushRef="#br1" timeOffset="-134097.72">21202 13071 875 0,'-6'-2'279'0,"6"2"0"0,0 0-33 15,0 0-26-15,0 0-38 0,0 0 10 16,17-4-13-16,-5 1-31 0,3 1-38 16,6-2 3-16,7 1 84 0,13-5-26 0,1 2-22 15,3-1-3-15,9 1 7 0,15-5 6 16,12 1-8-16,-3 1-20 0,7-2-29 15,7 0-66-15,6 2 23 0,27-4-34 0,-5 0 14 0,-22 2-3 16,24-1-3-16,-3-1 3 16,-19 3-13-16,0 2 7 0,23-4 1 15,-28 3-5-15,3 1-6 0,-1 0-2 0,-5-2-20 0,-2 2 17 16,-3 2-2-16,-8 0 5 0,-2 0 2 0,-18 3 3 16,-5-1-13-16,-2 1-4 0,-6 0 17 15,-8 0-34-15,-10-1 22 0,-7 3-1 0,2-1 5 16,-5 0 1-16,0 1-11 0,-3-1 18 15,0-1 0-15,0 1 7 0,-1 1 1 0,-3-1-3 16,1-1 41-16,-2 1-40 0,2 2 6 0,-4-3 1 16,0 2 8-16,1-1 2 0,-1 0-3 15,-4 1 9-15,1 0-19 0,-5 1 15 0,10-1-4 16,-3-1 107-16,-7 2-64 0,7-1 21 0,-7 1-19 16,8-1-30-16,-4 0 10 0,-4 1 5 15,5-1-48-15,-5 1-36 31,0 0-18-31,3-4-21 0,-3 4-23 0,0 0-33 0,0 0-23 0,0 0-56 0,-10-3-41 0,10 3-136 0,0 0-561 16,-11-1 24-16,11 1 148 16,-10-2 79-16,4 1 67 0,-2-2 54 0</inkml:trace>
  <inkml:trace contextRef="#ctx0" brushRef="#br1" timeOffset="-129796.95">4293 2241 61 0,'0'0'-31'0</inkml:trace>
  <inkml:trace contextRef="#ctx0" brushRef="#br1" timeOffset="-121947.08">4765 1675 924 0,'-3'4'373'0,"3"-4"-35"0,-2 3 0 0,2-3-13 16,0 0 56-16,0 0 16 0,0 4-36 0,0-4-33 16,0 0-93-16,0 0 14 0,-3 3-32 15,3-3 14-15,0 0 1 0,0 0-24 16,0 0-29-16,0 0 3 0,0 0-31 0,0 0 2 16,0 0-32-16,0 0-6 0,0 0 3 15,0 0-34-15,0 0-10 0,5-17 3 0,0 12-10 16,1-2-9-16,1-1-17 0,4-3 16 0,-1-1-4 15,7-2-17-15,-1-1-5 0,12-4 13 16,1-2 4-16,4 0-35 0,5 1 2 16,11-5-10-16,5 2 24 0,3 0-11 0,4 1 10 0,1 1-10 15,4 1-6-15,-4 2 1 0,2 2 0 0,3 1 18 16,2 2-21-16,3 3 18 16,1 1-15-16,0 3 2 0,-1 3-17 15,-1-1 12-15,-12 3-13 0,0 2 39 0,3-1-54 0,-4 4 105 0,-2 0 3 16,-4 1-16-16,-3 0 6 0,-1 4-11 0,-4 0-26 15,-6 0 24-15,1-1-14 16,-8 1-14-16,-5-2 12 0,-1-1 16 0,-4 1-39 16,-4-1 13-16,1 1-8 0,-5-1 5 0,0-1-20 15,-2-1 21-15,-1-1 14 0,0 1-6 0,-2-1 1 16,-1 0-32-16,-1-1-16 0,1 1 0 16,-2 0 0-16,1-1 0 15,-2 0 0-15,2-1 0 0,-6-1 0 0,5 4 0 0,0-4 0 0,-5 0 0 16,3 2 0-16,-3-2-67 0,4 2-97 15,-4-2-43-15,0 0-62 0,0 0-25 0,0 0-80 16,0 0-146-16,4 0-148 16,-4 0-397-16,0 0 162 0,0 0 40 0,0 0 90 0,1-9 95 0,-2 5 38 15,1 4 102-15</inkml:trace>
  <inkml:trace contextRef="#ctx0" brushRef="#br1" timeOffset="-121653.09">6721 1204 975 0,'-3'-2'527'0,"1"-1"-18"0,2 3-86 0,-2-4-19 16,2 4-12-16,0 0-11 0,0 0-66 0,0 0-3 15,14 9-2-15,-8-3-62 0,4 0 26 16,1 4-64-16,1 0 13 0,6 3-82 16,0 2-1-16,0 0-27 0,7 6 48 0,1 1-53 0,-3 0 71 15,0 0 23-15,-5-3-38 0,-5-2 13 0,1 1-16 16,0 0-105-16,-1-2-30 0,-2 2 25 15,-1-3 5-15,-5-1-28 0,-3-1 21 16,1 0-21-16,-3-1 11 0,0 0-27 0,-3 1 24 16,-1-2-28-16,-2 1-16 0,-1 1-35 0,-4-1-39 15,1-1-33-15,-5 1-54 0,2-2-39 0,-3-1-25 16,-2-1-51 0,-3-1-84-16,-3-1-57 0,-5-2-149 0,1 1-424 0,-1 0 164 0,-4 0 56 15,-15-3 71-15,1 0 93 0,-4 1 51 0</inkml:trace>
  <inkml:trace contextRef="#ctx0" brushRef="#br1" timeOffset="-120745.89">4883 1416 1315 0,'-8'3'364'0,"3"0"-24"15,-3 3-10-15,-1 1-33 0,-2 2 69 0,1 1-15 16,-4 5-36-16,2 3-18 0,-1 1-103 16,-5 8-15-16,0 2-22 0,0 0 6 0,3 1-27 15,-1-1-3-15,4-4-2 0,1-3-21 0,1-2 5 16,2-2-15-16,1-1-8 0,1 0-10 16,1-5-13-16,2 0 15 0,1 1-27 0,0-4 7 15,-1 1 5-15,3-2 8 16,3-1-6-16,-1-1 4 0,1-1 4 0,3 0-10 0,1 0 3 15,3-2-19-15,-2-1-4 0,5-1 15 16,-1 0-15-16,3-1-3 0,1 1-26 0,2-2 31 16,0 0-22-16,3-2 6 15,-1 1 19-15,3-1 2 0,-3 0 8 0,1 0-17 0,-1 1-19 16,-4-2 5-16,-1 2 5 0,1 1 3 0,-1-3-2 16,-5 2 20-16,0 0-34 0,0 1-2 15,-1 0 90-15,-2 1-8 0,1-1-18 16,-1 0 36-16,-1-1-21 0,-6 2-20 0,10 0-23 0,-7-1 10 15,-3 1-15-15,9 0 23 0,-9 0-42 0,0 0-6 16,9 0-29-16,-9 0 0 0,7 0 0 16,-7 0 0-16,0 0-8 0,0 0-64 0,8-1-28 15,-8 1-28-15,0 0-46 0,0 0-15 16,5-2-1-16,-5 2-55 0,0 0-1 0,0 0-43 16,5-1-47-16,-5 1-119 0,0 0-85 15,0 0-90-15,0 0-340 0,0 0 120 0,5 3 103 16,-5-3 71-16,3 2 56 0,-3-2 75 15</inkml:trace>
  <inkml:trace contextRef="#ctx0" brushRef="#br1" timeOffset="-119191.47">6839 613 1594 0,'0'0'402'0,"0"-3"-13"0,0 3-56 0,0 0-23 15,0 0-24-15,0 0-12 0,0 0-36 16,0 0-36-16,5 15 1 0,-5-7-45 0,2-1 6 15,1 1-15-15,0 2-14 0,-1-2-17 16,-2 3-67-16,3-3-23 0,-1 3-46 0,1 0-40 16,-2-1-42-16,0-1-67 0,0 1-89 15,1-1-153-15,1 0-459 0,-3 0 110 0,0-2 29 16,0 1 69-16,0-2 50 0</inkml:trace>
  <inkml:trace contextRef="#ctx0" brushRef="#br1" timeOffset="-119008.11">6816 447 924 0,'-3'-2'309'0,"3"2"-53"0,-2-3-71 0,2 3-70 15,0 0-85-15,0 0-129 0,0 0-65 0,0 0-451 16,0 0 32-16</inkml:trace>
  <inkml:trace contextRef="#ctx0" brushRef="#br1" timeOffset="-118617.92">7128 509 980 0,'-4'2'386'16,"-4"3"-35"-16,0-1-21 0,3-2-20 0,-3 4-36 16,3-2-23-16,0-1-36 0,0 3-13 0,0-1-2 15,2 0-37-15,1-2-12 0,-1 2-17 16,3 1-9-16,3-1-7 0,-1-1-16 16,3 2-15-16,1 0-10 0,-2-1 18 15,4 0 10-15,2 1-21 0,-1-3-5 0,1 2 16 0,0 0-8 16,0-1-2-16,-2 0-9 0,-1-1 22 15,-1 0-9-15,-1 0 19 0,0-1 4 0,0 2-4 16,-2 0 5-16,-1 0-24 0,-2 1 3 0,-2-1 6 16,-1 1-27-16,0 1 11 0,-2 0-28 15,-3 1-8-15,1-1-13 0,-4 1-30 0,1-1-1 16,0 0-45-16,0-1-47 0,2-1-4 0,-2-1-24 16,2-1-33-16,1 1-26 15,1-2-28-15,1 0-84 0,0 2-136 0,5-3-15 16,-5 0-451-16,5 0 75 0,0 0 84 0,0 0 69 15,0 0 71-15,0 0 39 0</inkml:trace>
  <inkml:trace contextRef="#ctx0" brushRef="#br1" timeOffset="-117826.15">7846 478 1072 0,'0'-5'445'0,"0"5"-25"0,-2-4 38 0,2 4-48 16,-2-3-26-16,2 3-44 0,0 0-35 0,0 0-24 15,-10 10-35-15,9-5-46 0,-2 0 10 16,1 3-13-16,2 2-46 0,-2 1-15 16,2-1 12-16,0 2-17 0,0 0-24 0,2 1-33 0,0-1-12 15,2 0 7-15,0-1-15 16,-1 0-13-16,4-2-8 0,-1 1-18 0,-1-3 1 0,2-1 9 16,1-1-17-16,0-2 23 0,-1-3-1 0,1 0-4 15,2-1-16-15,-2-2 23 16,3-1-22-16,-1-2-1 0,-2-1-5 0,2-1 18 15,-3 1-18-15,-2-1 31 0,-2 0-28 16,0-1 12-16,-1 0-12 0,-2 0 15 0,0 1-23 16,-2 0 7-16,-1-1-9 0,0 2 22 0,-2 0 1 15,0 1-11-15,0 0 3 0,2 2-3 0,-1-1-10 32,-2 1 5-17,-2 1-25-15,4 2-3 0,-2-2 30 0,2 2 11 0,4 1-23 0,-6-4 8 0,6 4-11 0,-5-2-7 0,5 2 10 0,0 0-16 16,0-4 1-16,0 4 27 0,5-3-9 0,0 1 2 15,3 1 2-15,-1-1-4 16,1 1-11-16,2-1 31 0,-1 2-5 0,1 0 2 16,2 0 6-16,-2 2 2 0,0-1-3 0,1 1 6 15,2 1 12-15,-3 2-12 0,3 0-1 16,-3 0-22-16,-2 0 28 0,2 1 4 0,-2 0-4 16,-3-1-3-16,3 1 18 15,-4-1-20-15,2 0 10 0,-1-1 33 0,-2-1 13 0,2 1 20 16,-3-1 34-16,1-1 28 0,-3-2-8 15,5 1 8-15,-5-1-29 0,0 0-17 0,0 0 0 0,13-4-18 16,-10 0-65-16,1 0-17 16,-1 1 11-16,3-3-29 0,1 2 0 0,-2 0 0 15,1-2 0-15,1 3 0 0,0-1 0 0,1 1 0 16,0 0 0-16,2 0 0 0,-2 2 0 0,3 0 0 16,-1 1 0-16,-3 0 0 0,3 2 0 0,-2 0 0 15,0 1 0-15,-3 0 0 0,3 1 0 16,-3 0 0-16,3-1 0 0,-4 0 0 0,-1 2-21 15,2 0-281-15,-4 0-38 0,3-1-116 0,-1 0-238 16,2 1-368 0,-3-1 33-16,1-1 102 0,0 0 85 0,-1 1 82 0,1-1 77 0,2-1 63 15</inkml:trace>
  <inkml:trace contextRef="#ctx0" brushRef="#br1" timeOffset="-117506.75">8546 439 1476 0,'3'-12'446'0,"0"1"-24"0,-3 2-7 0,0 1 38 0,-3 1-15 0,3 3-16 0,0 1-28 0,-3-3-41 15,3 6-58-15,-4-4-26 0,4 4-1 16,-11 4-37-16,6 0 7 0,0 2-34 0,0 0-14 15,0 3-118-15,-1 2-24 0,2 0 24 0,-2-1 0 16,4 3-16-16,2-2-2 0,0-2 17 16,2 1-37-16,0 0 7 0,4-1-13 15,2 1-8-15,-1-2 6 0,6-2-6 0,0 0-35 16,2-3-44-16,1 1-56 0,-1-4-23 0,3 0-29 16,0 0-38-16,0 0-43 15,-3-2-33-15,6 0-88 0,-3 0-107 0,5 1-389 0,-2-2-34 16,1 0 75-16,-3 0 74 0,1 1 90 0,1 0 27 15</inkml:trace>
  <inkml:trace contextRef="#ctx0" brushRef="#br1" timeOffset="-116451.6">9387 302 1607 0,'0'0'448'0,"-14"3"-67"15,3 2-53-15,-2 1 0 0,0 3-24 0,1 2-40 16,1 1-11-16,-2 5-33 0,0-1 39 15,1 2 10-15,2 2-39 0,1 1-51 0,2-1-7 16,2-2-14-16,0 0-24 0,4-3-24 0,1 1-46 16,1-3-39-16,4 0 21 0,0-2-53 15,3 1 4-15,2-3-15 0,3 0-25 0,0-3-32 16,-1-2-9-16,4-2-21 0,-1-1-31 0,3-2-38 16,0 0-31-16,0-2-10 15,3-3 21-15,-1 1-11 0,1-4 41 0,-1 0 13 0,1-1 11 16,1 1 19-16,-6-1 50 0,-1 1 45 15,-2-4 46-15,0 3 14 0,-3 0 35 0,-2 1 23 0,0 0 36 16,-1 2 2-16,-1 0 6 0,-2 1 13 16,-3-1-9-16,1 2 9 0,-2 0 22 15,0 0-35-15,0 5-16 0,-2-6 16 0,2 6-21 16,-5-2-23-16,5 2 21 0,-11 1-31 16,4 1-16-16,1 2 9 15,-1-1-16-15,0 3-8 0,1-1 2 0,-2 2-19 0,1 0 4 0,1 1-12 16,-1-1 4-16,2-1-35 0,2 0 21 15,0 0-4-15,-1 0-14 16,3-2 4-16,1 0-14 0,-2 1 17 0,2-5-5 0,3 4 20 0,1-2-25 16,-4-2 18-16,8-2-21 0,-8 2 13 0,10-3 8 15,-2 0 0-15,0 0-10 16,-3-2 7-16,1 2-8 0,1-3-4 0,-2 2 30 16,0-2-25-16,2 1 4 0,-4 1 26 0,2 0-10 0,-2-1-5 15,2 1 16-15,-2 0-6 0,-1 3 15 16,1-2-12-16,-3 3-18 15,3-2 10-15,-3 2 15 0,0 0-22 0,0 0-6 16,7 0 21-16,-7 0 2 0,0 0-48 0,5 6 35 16,-3-3-25-16,2 1 25 0,-4-1-15 0,4 0-12 15,-1 2-11-15,-3-2 23 0,3 0-31 16,1 0 19-16,-1-1-16 0,-3-2 12 0,5 4-4 16,-2-2 25-16,-3-2-15 0,8 0-5 15,-8 0 5-15,10-3 28 0,-10 3-28 0,8-3 12 16,-4 0 14-16,-1-1 10 0,3 0 12 0,-1-1-20 0,-1 0-2 15,2 0 17-15,-4 2 18 32,3-3 6-32,-2 2-11 0,0 2-7 0,-1-2-1 0,0 1 16 0,-1 0-3 0,2 0 6 0,-3 3-24 15,4-2 0-15,-4 2 9 0,0 0-17 16,0 0 4-16,0 0-9 0,6 6 8 0,-4-1 26 16,0-1-112-16,1 2 35 0,-3 0-44 15,3 1 11-15,-1-1-13 0,1 0-10 0,-1 0-41 0,-2 0-3 16,4 0-31-16,0-1-37 15,-1 1-1-15,2-3-10 0,-3 0-42 16,4-1-9-16,-1 0 20 0,3-1-69 0,1-1-66 0,2-1 10 16,1-2-100-16,2 0-397 0,-2 0 110 15,6-4 18-15,-5 2 72 0,3-1 100 16</inkml:trace>
  <inkml:trace contextRef="#ctx0" brushRef="#br1" timeOffset="-116181.25">10062 387 1146 0,'0'0'313'16,"-6"-5"-22"-16,6 5-14 0,-7-2 81 0,2 2-33 15,5 0-10-15,-13 1-23 16,13-1-31-16,-10 1-41 0,5 0-10 0,2 1-15 0,-2 0-29 16,2 1-13-16,1-1-9 0,-1 4 9 0,3-1-22 15,0-1-13-15,3 2-49 16,-1 1-21-16,1 0-1 0,2 1 29 0,0-1-7 16,-2 1-12-16,2 0 27 0,0-1-10 0,0 1 3 15,-3-2 3-15,2 2-6 0,-2 1 5 0,-2-2-7 16,0 1 5-16,-2 0-21 0,-2 1-7 15,2-2-8-15,-3 0-6 0,0 0-17 0,0-2-46 16,-3 2-33-16,3-1-6 0,-3-2-79 16,3-1-23-16,0 0-61 15,0 0-82-15,0-2-147 0,2-1-490 0,3 0 107 0,0 0 43 16,-2-8 62-16,2 8 99 0,7-9 73 0</inkml:trace>
  <inkml:trace contextRef="#ctx0" brushRef="#br1" timeOffset="-116016.45">10134 411 1016 0,'4'-2'486'0,"-4"2"-15"0,0 0-56 0,0 0-62 16,8 3-13-16,-5 0-17 0,0 1 58 0,-1 0-35 15,0 1-42-15,-2 1-25 0,0 1-58 16,0-1-45-16,0 3-50 0,0 1-42 0,-2-1-63 16,2 0-93-16,-2 2-87 0,2-1-189 0,0-1-149 15,-3-1-409-15,3-1 138 0,0-1 18 16,0 0 59-16,0-2 80 0,0-4 91 0</inkml:trace>
  <inkml:trace contextRef="#ctx0" brushRef="#br1" timeOffset="-115863.83">10156 379 1540 0,'-2'-4'436'0,"0"0"-19"0,2 4-90 16,0-5-63-16,0 5-64 0,-3-5-95 15,3 5-182-15,0 0-189 0,0 0-502 16,0 0 46-16,0 0 85 0,0 0 45 0</inkml:trace>
  <inkml:trace contextRef="#ctx0" brushRef="#br1" timeOffset="-115537.88">10323 360 1231 0,'1'2'571'0,"3"2"-44"0,-1-1-5 0,2 2-118 16,0 0-15-16,-4-1-28 0,3 1-7 16,-1-1-50-16,0 3-25 15,-1-2-43-15,0 2 9 0,-1-2 86 0,1 0-14 0,1 1-43 0,-3-1-10 0,2-1-52 16,-2 1-20-16,1-1 8 16,-1 0-42-16,2-1 39 0,-2-3-40 0,0 6 14 0,2-4-2 15,-2-2-43-15,6 3-126 0,-6-3 0 0,0 0 0 16,0 0 0-16,12-7 0 0,-9 5 0 15,2 0 0-15,0-1 0 0,0 1 0 16,1-1 0-16,-2 1 0 0,2 0 0 0,-1-1 0 16,0 2 0-16,2 0 0 0,1 0 0 0,-2-1-95 15,1 3-212-15,1-1-67 16,0 1-141-16,-3 0-232 0,2 0-361 0,-1-1 117 16,-1 3 85-16,2-2 84 0,-1 1 85 0,-1-1 66 0,2 1 93 15</inkml:trace>
  <inkml:trace contextRef="#ctx0" brushRef="#br1" timeOffset="-115003.99">10731 360 1551 0,'-8'-2'437'0,"8"2"-37"15,-10 1-37-15,10-1-17 0,-10 3-31 0,2 1-21 16,3-3 3-16,0 3-41 0,2 0-8 15,-2 1 11-15,2 2 40 0,-2 0-33 0,5 2 13 16,0 1-41-16,0 1 23 0,3 2-48 0,0 2-21 16,2 2-8-16,0 0-12 0,-3 1-11 15,4 0-28-15,-6 2-10 0,2 1-3 0,-2 2 11 16,-2 1-16-16,-6 0-41 0,0 0 8 16,-4-3-10-16,1 1-11 0,-1-2-15 0,1-4 5 15,1-1-2-15,0-3-13 0,-1-3 10 0,4-2-28 16,1-3-15-16,1-2-3 0,0-3 0 15,5 1 0-15,-3-8 0 0,4 0 0 0,1-3 0 16,3-1 0-16,3-2 0 0,2-4 0 16,3-1 0-16,2 2 0 0,6-9 0 0,-1 3-16 15,1 0-71-15,0 1 15 0,2-1-25 0,-5 4-18 16,-1 4-28-16,-1-1-29 0,2 3-33 0,-3-1 11 16,-2-1-67-16,2 6-59 15,-4-2-123-15,1-3-87 16,-1 6-466-16,-4 0 70 0,1 1 94 0,0 1 59 0,-3-1 123 0,2 2 25 0,-4 2 57 15</inkml:trace>
  <inkml:trace contextRef="#ctx0" brushRef="#br1" timeOffset="-111257.42">11562 338 1231 0,'-8'-3'471'0,"8"3"-57"0,0 0-48 0,-10 4-15 16,7-1-36-16,-2 3-36 0,3-1-36 0,-1 3-18 16,0-1-22-16,1 4 1 0,-1 1-94 0,3-2-28 15,-2 2 8-15,4-2-24 0,-2 3-17 16,3-3-18-16,2 1 12 0,0-2-32 0,0 1 12 16,2-2-26-16,1-1 18 0,0-1-9 0,2-2-6 15,-1-2 10-15,1-1 15 0,2-1-7 16,-2-3-10-16,3-1 41 0,-3-1-57 15,0-1 28-15,-1-1 16 0,-2-1-10 0,1 0 17 0,-5-2-9 16,-1 0 7-16,-2 1 0 0,-3-3 17 16,1 0-14-16,-1 0-21 0,0 2 31 15,-4 0 7-15,4 0-38 0,-5 3 44 16,4 0-34-16,-2 4 0 0,-1 0-10 0,0 2-5 0,7 1-8 16,-14 4 21-16,7 0-33 0,-3 2-6 15,2 3-2-15,0 0-3 0,0 3-46 0,1 1 3 16,2 0-3-16,2-1-15 0,1-1 30 0,2-2-25 15,2 0 15-15,0-1-2 16,4-1 5-16,1-2 20 0,3-1-23 0,1-2 29 0,2-2-19 16,0-2 29-16,4-1-8 0,2-3 10 0,-4-1 3 15,3-2 12-15,0 1 1 0,0-4 35 16,-5 1-5-16,1-5 19 0,-3 4 7 0,-1-4 7 16,0 1 1-16,-2-1-3 0,-2 0 15 15,1 0 21-15,-2 0-41 16,-3 3 10-16,1 0-18 0,2 2 36 0,-4 2-26 0,4 1-7 15,-5 3-28-15,2 2 12 16,-2 3-2-16,0 0-3 0,0 0-17 0,0 0 25 0,1 15-3 16,-2-5-17-16,1 3-14 0,-2 2-4 0,2 5-54 15,-3 0-3-15,3 0-23 0,0 1-2 0,3-2-6 16,-1 0-2-16,3-1 5 0,1-2 13 16,1 0 8-16,0-3-8 0,1-4 12 0,3 1 11 15,1-4 3-15,-1-2-1 0,-1-2 21 16,0-1 0-16,3-2 18 0,0-2 13 0,-1-3 10 15,2 0 12-15,-2-2 1 16,-1-3 20-16,-1 1 0 0,0-3 13 0,-2-1 0 0,0-1-12 16,-3-2 17-16,0-2-10 0,0 2 20 0,0 0-13 15,-2 0 11-15,-1 4-3 0,0 2-12 0,-2 1 12 16,1 1 11-16,2 1-24 0,-3 1-25 16,0 4 15-16,0 3 3 0,0 0-16 15,0 0 1-15,0 0 7 0,0 0-13 0,-6 16 0 0,4-8-2 16,2 5 7-16,-3-2-38 0,3 3-25 15,0 2-6-15,0-1-46 0,0 1-10 0,0 2-13 16,5-1-7-16,1-1 7 0,-2-2-13 16,2-1-4-16,-1-3 32 0,2 1 8 0,1-3-17 0,2-2 32 15,-5-2-7-15,5-1 36 16,-2-1 20-16,-2-2-30 0,1-1 25 0,1-1-5 16,-3-1 15-16,2 0 26 0,-1-3 5 0,-1 1 8 15,-2-1 17-15,1 1 29 0,-1-2-8 16,0 3-5-16,-1 0-5 0,1 0 8 0,-1 0-39 15,-2 4 23-15,4-3-13 0,-4 3-7 16,7 0 18-16,-7 0-31 0,7 3 20 0,-1 1-23 16,-2 0-2-16,2 0 10 0,-3 0-20 0,4 0-44 15,-2 1-31-15,1-1 8 0,1-1-36 0,-2 0-20 16,1 0-41-16,-2-1-39 0,-1 0-30 16,-3-2-177-16,10 2-57 0,-7-1-426 15,-3-1 48-15,0 0 79 0,0 0 74 0,5-5 67 16</inkml:trace>
  <inkml:trace contextRef="#ctx0" brushRef="#br1" timeOffset="-110873.84">11767 432 936 0,'8'-3'323'0,"4"-2"-26"0,4 2-46 0,2-2-13 15,3 1-16-15,6-2-25 0,4 0-7 0,10 0-24 0,-5 0-12 16,-5 3-26-16,2 0 15 16,-2 1-10-16,0 1-5 0,-6 1 13 0,1 0-5 15,-1 2 10-15,-4 2-31 0,2-2 8 0,-5 2-41 16,0 0 7-16,0 0-9 0,-3 1 32 16,-4 0-7-16,1-1 15 0,-2 0 77 0,-4 0-5 15,1-1 6-15,-1-1 17 0,2 2-80 0,-4-1-14 16,2-1 37-16,-1-1 55 0,0-1-34 15,-5 0-10-15,0 0 0 0,11-3-34 16,-7 1 1-16,2-3-39 0,-2 1 6 0,-1-2-14 16,4-1-27-16,-1-1-6 0,2-2-2 0,-3-1-36 15,3-2-36-15,-1 1-28 0,1-1-23 0,2 0-39 16,-2 0-25-16,0 1-46 0,2 0 10 16,-2 0-49-16,2 4-4 0,-3-2-37 0,1 2-56 15,0-1-43-15,2 2-54 0,-5-1-57 0,2 1-475 16,1 2 117-16,-5-1 95 0,4 1 43 15,-4 0 85-15,0 1 72 0</inkml:trace>
  <inkml:trace contextRef="#ctx0" brushRef="#br0" timeOffset="-91525.15">13666 175 1028 0,'0'0'356'0,"-12"2"-36"0,4 0-20 16,-2 0-24-16,0 1-20 0,-1-1-28 0,-4 2-16 15,2 1-20 1,-2-2 0-16,2 2-28 0,-5 0 5 0,5-2 0 0,0 2-10 0,-2-1-13 0,2 0-11 16,0 0-4-16,1-1-16 0,-2 1-10 15,4-1-5-15,0 0-8 0,3 0-25 0,-1-1-6 16,0 1 21-16,3-1-26 0,-2 1-7 15,1 0 28-15,3-1-29 0,-4 2-14 16,4-1 9-16,1 2-15 0,-3 0-10 0,4 2 5 16,1 1 18-16,-2 1 15 0,2 1-22 0,2 5 12 0,-1 2 10 31,4 3-15-31,-3 6-3 0,1 2 6 16,2 10-13-16,-2 4 7 0,-1 3 26 0,1 0-18 0,-1 3 5 0,-1 3-12 0,-1 0 9 15,0 1-7-15,0 11 21 0,-3 0-29 16,-2 0 8-16,2-3-15 0,-5 0 12 0,0-2-20 15,1-9 2-15,0-5 9 0,-1-1-12 16,2-4-11-16,-1-2-12 0,2 0 4 0,0-9-67 16,-1-5 12-16,4-4 6 0,-3-1 0 0,2-2 15 15,1-3-5-15,-1-1 5 0,0 0 13 0,1-3 16 16,2-1-14-16,-2 0 21 16,1-2 10-16,-1-1-12 0,2-1 20 0,-3 0 10 15,3-1-23-15,0 1 13 0,0-4 8 0,0 4-11 16,0-4-18-16,0 0 19 0,6 1-9 15,-6-1 9-15,0 0 12 0,17-3-36 0,-6 0 19 16,1-1 17-16,3 2 54 0,6-2 43 16,0-2-48-16,6-1 12 15,0 2 37-15,3 0-101 0,1 0-14 0,2 1 1 0,8-2 29 0,3 1-15 0,-8 1 15 16,-5 2 18 0,2-1-26-1,-2 0 3-15,-3 2 5 0,-3-1 10 0,-4 0-10 0,-1 0 33 0,-2 2-2 0,-2-2-26 0,-3 2 18 16,-1-1-41-16,-2 1 15 0,-1 0-14 0,-1-1 27 15,-1 2-21-15,0-1 27 0,-7 0-32 16,10-3-20 0,-6 2-12-16,-4 1-70 0,4-1-5 0,-4 1-46 0,3-3-79 0,-3 3-52 0,0-5-51 15,0 5-109-15,0-4-142 0,0 1-465 16,0-2 68-16,0 1 142 0,0-2 48 0,0-3 87 16,3 0 49-16,-1-3 105 15</inkml:trace>
  <inkml:trace contextRef="#ctx0" brushRef="#br2" timeOffset="-85566.06">14282 441 1341 0,'0'-5'522'0,"-3"2"-54"15,1-1-17-15,-1 1-39 0,-4 0-23 0,4 2-15 16,-5-1-21-16,-2 2-28 0,0 1-10 15,-3 1-31-15,-3 1-33 0,-2 4-16 16,-5 3-25-16,-10 7-13 0,0 1-15 0,-1 5 18 0,-7 5-44 16,1 6 8-16,3 3-21 0,-1 4 0 0,2 3-9 15,3 0-14-15,-3 4 13 16,5 2-46-16,1 1-10 0,3-1-18 0,2 2 7 16,2-1 8-16,8-2 1 0,2-9-22 0,5-2-47 15,1-7 37-15,7-6-12 0,2-4 15 16,3 1-33-16,6-1 20 0,3-4-7 15,5-3-26-15,14 0 0 0,8-4 0 0,3-4 0 0,4-4 0 16,-1-2 0-16,4-5 0 0,-5 1 0 16,3-5 0-16,-3 1 0 0,-2-2 0 0,-4 0 0 15,-3 0 0-15,-9 3 0 0,-5 0 0 0,-3 0 0 16,-2 2 0-16,-3-1 0 0,-2 2 0 0,0 0 0 16,-2 0 0-16,1 0 0 0,-4 1 0 15,-3-1 0 1,3 1 0-16,-3 0 0 0,0-1 0 0,-3 3 0 0,2-2 0 0,-2-1-13 0,-2 4-202 15,2-6-59-15,1 4-26 0,-3 2-91 16,0-5-170-16,2 3-524 0,-2 2 46 16,1-5 143-16,-1 5 92 15,2-5 74-15,-2 3 52 0,0 2 66 0,5-7 59 0</inkml:trace>
  <inkml:trace contextRef="#ctx0" brushRef="#br2" timeOffset="-84898.9">14559 835 944 0,'-5'0'476'0,"5"0"-28"16,0 0-49-16,-10 4-17 0,4-1-29 0,4 3-64 0,-3 0-2 16,2 3-26-16,0 1-23 0,-2 3-38 0,5-2 10 15,-2 4-121-15,2 0-12 16,0 0-16-16,0-1 3 0,2 0-20 0,1 1-11 15,0-2 3-15,4-2-21 0,-2 1-9 0,3-2 6 16,2 1-4-16,-2-3-8 0,2-2-13 16,1-2 29-16,1 0-19 0,-2-2 0 0,3-3 34 15,0-2-15-15,-2 1 22 0,1-4 16 0,1-1 7 16,-5 1 13-16,2-3 3 0,-2-1 18 16,0 0 15-16,-4-2 8 0,-1 1-13 15,-3-2-21-15,0-2 1 0,0 2 2 0,-3 0 20 0,-1 1-15 16,1-1 11-16,-4 2-16 0,1 1-13 15,-2 1-8-15,1 1-17 0,-1 1 5 0,-2 3-11 16,2 1 11 0,-2 0-31-16,-1 2-13 0,1 2-20 0,0 1-33 0,0 0-57 0,-1 2-46 15,1 2-44-15,2-2-66 16,-2 3-51-16,5-1-92 0,-2-1-103 0,4-1-483 0,0 0 173 16,1-3 73-16,2-1 42 0,0 0 73 0,8 4 50 15</inkml:trace>
  <inkml:trace contextRef="#ctx0" brushRef="#br2" timeOffset="-84701.59">14805 704 1674 0,'0'0'494'0,"0"0"-67"0,0 0-48 16,5 9-26-16,-5-1-28 0,3 0-48 15,-3 4-6-15,2 1-7 0,-2 2-65 0,0 4-20 16,0 2-28-16,0 0-25 0,0 2-52 15,0 0-41-15,0 3-27 0,-2-5-37 0,2 1-54 16,0-2-20-16,0-2-79 0,0-2-80 0,2-1-91 16,-4-1-116-16,2-1-382 0,0-2 119 15,2-3 71 1,-2 2 48-16,2-4 57 0</inkml:trace>
  <inkml:trace contextRef="#ctx0" brushRef="#br2" timeOffset="-84287.95">14859 747 1556 0,'10'-15'417'0,"-3"2"-43"16,-1 3-11-16,1 0-40 0,1 2-31 0,0 2 81 15,4 1-37-15,-4 2-42 0,2 1-7 16,-1 1-26-16,-2 1-54 0,1 1 5 15,-1 2 11-15,-4 2-33 0,-3 3-37 0,0 1 8 0,-3 2-2 16,-1 2-59-16,-7 4 20 0,-2 2-20 0,-2-1-23 16,-1 1 15-16,-4 4-23 0,2-4-13 15,5-4 24-15,1-1-29 16,1-3 3-16,3-1-3 0,0-2 23 0,1 1-23 0,0 0 1 16,4-3-14-16,0 0-2 0,1 1 35 15,2-2-53-15,2 1 28 0,1 0-28 0,2-2 18 16,3 0-5-16,-1-1-5 0,1 1-14 0,2-1-1 31,3-1-34-31,0-1 7 0,-1 1-38 0,-1 0-48 0,2-1-11 0,0-1-30 16,-3 0-39-16,0 1-22 0,1-2-75 0,-1 2-136 0,-2-3-125 15,2 2-487-15,-3 0 62 0,1-1 139 0,-3 0 76 16,3-1 71-16,-3 1 62 16,0-1 90-16</inkml:trace>
  <inkml:trace contextRef="#ctx0" brushRef="#br2" timeOffset="-84068.45">15133 766 1507 0,'0'0'502'0,"0"0"-36"0,0 0-39 0,0 0-56 16,0 0 8-16,-8 13-61 0,8-5-27 15,0 2-6-15,-2 0-35 0,2 3-37 0,0 2-6 16,0 0-12-16,0 2-37 0,0 2 22 15,-3-1-37-15,3 1-74 0,-2 0-51 0,2-2-64 16,0-1-64-16,0-1-31 0,0-1-100 16,0 1-155-16,-1-3-134 0,1-1-407 0,0-1 95 15,1-2 105-15,-1-2 61 0,0 1 67 0,2-2 69 16</inkml:trace>
  <inkml:trace contextRef="#ctx0" brushRef="#br2" timeOffset="-83679.47">15154 757 1100 0,'15'-18'466'0,"-5"2"2"0,4 4-55 16,-2 3-45-16,1 1 26 0,0 1-71 15,0 2-13-15,-1 2-19 31,-2 1-22-31,1 0-44 0,-3 4 13 0,-1 0-110 0,-2 0 23 0,-2 4 18 0,-1-1-23 0,-4 4-43 16,-3 0 4-16,-3 3 8 0,0 0 8 0,-2 1-25 0,-1 0 4 16,-1 0-10-16,-1 0-5 0,3 0-20 15,-3-1 17-15,3-1-2 0,3-1 5 0,-1-1-41 16,2-1 16-16,1 1-9 0,0-3-1 16,2 2 1-16,1-3-4 0,2 1 2 0,2 0-7 15,1-1 22-15,2 0-33 0,0-1-4 0,3-1 9 16,0 1-33-16,2-2 5 15,2 0-17-15,-1-1-9 0,-1 0-22 0,3-1-36 0,-2 1-24 16,-1-2-14-16,0 1-37 0,0 0-22 0,0 0-70 16,-2-1-35-16,0 0-116 0,-3-1-168 15,3 0-436-15,-3 0 136 0,3-1 59 16,-4 2 71-16,2-3 152 0,-4 1-11 0</inkml:trace>
  <inkml:trace contextRef="#ctx0" brushRef="#br2" timeOffset="-83077.83">15520 660 1361 0,'0'0'435'0,"0"0"3"0,0 0-16 15,-7 6-40-15,4-1-21 0,3 1-18 0,-3 2-31 16,1-1-38-16,0 4 5 0,-1 0-31 0,0 1-25 15,0 1-21-15,1 0-28 0,-3 1-5 16,3-1-10-16,-4 3-26 0,4-2-10 16,-1-1-41-16,1 0 33 0,-1 0-8 0,0-1-4 0,1 0-19 15,0-2-22-15,1-1-21 0,-2-3 12 16,3 3-22-16,0-1 10 0,0-2 3 0,0 1-24 16,3-2-10-16,0 0-20 0,-1-1 10 0,4-1-46 15,-2 0-38 1,4-2-27-16,0 2 24 0,0-3-69 0,2 0-33 0,3 0-18 0,-3-2-70 15,1 1-66-15,3-1-141 16,-3-1-261-16,-1-1-148 0,3 0 125 0,-2-1 44 0,-1 1 89 16,0-2 90-16,-5 2 35 0</inkml:trace>
  <inkml:trace contextRef="#ctx0" brushRef="#br2" timeOffset="-82781.47">15523 838 1144 0,'-6'-1'330'0,"6"1"-26"0,0 0 4 0,0 0 53 0,0 0-52 0,0 0-25 16,19-7-43-16,-9 5-52 0,2-2-27 0,-1 1-39 15,2-2-49-15,-1 1-23 0,-1 0-61 16,2-1-82-16,-3 0-93 16,0 2-78-16,-4-2-75 0,1 0-433 0,-4 0 80 0,1 3 44 0,0-2 112 15,-4 0 563-15,0 4 97 0,-6-8 47 16,4 3 35-16,-6 1 26 0,3 0 33 0,-1 1-18 15,-1-1 21-15,-1 1-5 0,3 0-72 0,0 0 10 16,-2 0-25-16,4 1 71 0,-2 0-15 16,2-1-23-16,3 3-16 0,-7-4-22 15,7 1-19-15,0 3-25 0,4-6-25 0,2 3-37 0,-1-1-45 16,2-1-60-16,1 1-48 16,2-1-89-16,1-1-142 0,1 2-508 0,-2 0 104 15,1-2 15-15,2 2 62 0,-3-3 69 16</inkml:trace>
  <inkml:trace contextRef="#ctx0" brushRef="#br2" timeOffset="-82457.89">15802 596 1215 0,'3'-4'453'0,"-3"4"-28"15,0 0-36-15,0 0-20 0,0 0-8 0,0 0-90 0,2 8-15 16,-2-8 16-16,0 8-24 0,-2-1 3 0,2 1-39 16,-2 1 16-16,1 1-3 15,-4 2-28-15,3 1 0 0,1 1-20 0,-6 3 0 0,4 0-14 16,-2 0 86-16,0 1-27 0,0-2-35 15,-2 2-38-15,3-3 20 0,0-2-52 0,1 0 22 16,-2-1-50-16,3 0 14 16,-1-2-1-16,0 0-12 0,3-3 9 0,-2 2-19 0,1-2 22 15,1 0-66-15,1-2 36 0,1 1-8 0,1 0-28 16,0-2-36-16,-1 2 0 0,3-2 0 16,2 0 0-16,-1-2 0 0,2 1 0 15,2-2-88-15,-3-1-47 0,4 0-49 0,-1-1-57 0,3-2-61 16,0 0-77-16,-1-2-233 0,1 0-465 15,-2-2 73-15,1 1 108 0,1-4 100 0,-3 1 36 16,0-3 74-16,1-1 97 0</inkml:trace>
  <inkml:trace contextRef="#ctx0" brushRef="#br2" timeOffset="-82102.69">16044 679 949 0,'0'0'397'0,"-8"11"76"0,7-5-40 0,-1 2-31 0,0 0 0 0,-1 3-39 0,0 2-43 15,1-2-28-15,2 2-31 0,-3 2-36 16,3-1-7-16,-2-1-41 0,2 1 4 16,-1-1-55-16,1-1-37 0,0-1 21 0,0-2-23 0,0 0-28 15,0-1 36-15,0-1-16 0,0-1 16 16,0-4-3-16,0-2-5 0,0 4-43 16,0-4-14-16,0 0 17 0,0 0 29 0,3-11-19 0,-3 2 4 15,3-1-12-15,-3-4 4 0,4-4 17 16,0-1-37-16,0-4 28 15,-1 4-17-15,3 1-3 0,1 2-3 0,-2-1-5 0,0 5 8 16,0 2 11-16,1 0 6 0,-4 4-1 0,3 1 25 16,0 3-44-16,-2 1 29 0,-3 1-19 15,0 0 21-15,16 8 11 0,-12-3-44 0,2 4 4 16,-2 2 17 0,-1 2-32-16,2 0 29 0,-2 4-33 0,2-4 2 0,-2 5-23 0,-1-1 7 0,3-4-91 15,-2 2-19 1,2-2-37-16,-2 0-47 0,-1-1-59 0,0-1-56 0,2 0-205 0,-2-5-105 15,0 1-409-15,1-3 105 0,2 0 89 16,-2-1 110-16,-1-1 65 0,-2-2 50 16,0 0 54-16</inkml:trace>
  <inkml:trace contextRef="#ctx0" brushRef="#br2" timeOffset="-81899.46">16056 841 1505 0,'-5'-3'519'0,"5"3"-45"15,-3-3-31-15,3 3 5 0,0 0-113 16,0 0-51-16,0 0 15 0,0 0-35 0,14-4-34 16,-7 2-2-16,1 0-5 0,2 0-54 0,3-2-3 15,2 1-53-15,-2 0-59 0,5-2-44 16,0 0-48-16,0-2-39 0,0 3-56 0,-1-2-49 16,-1 2-141-16,5-9-135 0,-6 8-509 0,3 3 199 15,-2-2 7-15,1-1 63 16,-4 3 83-16,0-2 34 0</inkml:trace>
  <inkml:trace contextRef="#ctx0" brushRef="#br2" timeOffset="-81496.01">16313 679 1499 0,'0'0'438'0,"0"0"-59"0,0 0-26 16,0 0-20-16,15-9-69 0,-7 7-52 0,2 0-10 15,0-2-94-15,3 2-26 0,0-2-36 16,2-1-59-16,1 2 3 0,-4-2-3 16,4 0 0-16,-4 1-28 0,-1-1 26 15,-1 2 5-15,-2 0 35 0,-1 0 42 0,-1 2 22 0,1-2 37 16,-4 3-34-16,-3 0 15 0,0 0 24 15,0 0 25-15,0 0-7 0,8 5 20 0,-11 0-11 16,3 1-20-16,-3 1 49 0,-1 2-112 16,0 3 12-16,0-1 0 15,1 3 15-15,-2-1-20 0,2-1 13 0,-2 4-3 0,2-1-33 0,-1-2 5 16,1-1-29-16,2 2 4 0,-1-2-21 16,2 0-62-16,-2-2-38 0,4-2-79 0,-2 1-41 15,3-1-28-15,0-5-108 0,-1 1-167 0,1-1-455 31,4-2 103-31,1 0 97 0,-8-1 112 0,13-5 29 0,-3 1 48 0</inkml:trace>
  <inkml:trace contextRef="#ctx0" brushRef="#br2" timeOffset="-80717.42">16633 639 1451 0,'0'0'535'16,"11"-3"-118"-16,-11 3-51 0,12-2-18 0,-4 1-33 15,2 0-49-15,2-2-12 0,-1 0-52 32,5 0-31-32,-1 0-53 0,3-1-49 0,0-2-46 0,-3 2-43 0,3 0-57 0,0-1-46 15,0 0-79-15,-5 0-108 0,2 2-17 16,-7-2 42-16,2 2 27 0,-2 0 33 0,-3 2 76 0,0-2 111 15,-3 0 10-15,-2 3 84 16,4-3 46-16,-4 3 21 0,0 0 21 0,0 0 32 16,0 0-30-16,0 0 43 0,0 0-25 0,0 0 13 0,-21 9 5 15,16-5-16-15,0 1-10 16,-1 1 26-16,-2 2 0 0,3 1-3 0,-2 0-8 0,2 1-12 16,-1 1-13-16,-1 3 13 0,-1-1-49 15,1 3-26 1,1-2 19-16,-2 3-62 0,3-2-3 0,-3 1-20 0,1-1-72 0,0 0-5 15,-1 0-2-15,2-1-21 0,-1-3 5 0,2-1-10 0,0 0 5 16,0-2 0-16,-1-1 5 16,3-2-4-1,-1-1 19-15,1 0 8 0,0-2 3 0,3-2 20 0,-4 1-7 0,4-1 2 16,0 0 5-16,0 0-4 0,0 0 14 0,0 0 24 16,0-11-26-16,0 11 7 0,4-7 42 0,-1 4-24 15,2-1 4-15,-2 1 37 16,2 0-15-16,0-1-12 0,3 0 22 0,0 0-7 0,-4 2 7 0,4-2 18 15,0 0-20-15,0 1 10 0,-3 1 6 16,3 1 17-16,0-2-41 0,-1 3 18 16,0 0-8-16,-7 0-2 0,13 1 0 0,-7 1-13 15,2 0 5-15,1 0 41 16,-1 2-33-16,-1-2-5 0,2 1-36 0,-2-1-11 0,3 0 27 16,-1 0 14-16,1 0-20 0,0-2 3 0,-3 0 7 15,6 0 34-15,-3-2-26 0,-1-1 0 0,1 1 5 16,0-2 18-16,0-1 39 15,-3 0-1-15,1-1 16 0,0-2 41 0,-3 1-11 0,-2 1 29 16,1-1-49-16,-3 0 59 0,1 1 20 16,-2-2 9-16,-2 2-37 0,-1-2-10 0,1 2 23 15,-4-1-41-15,2 0-13 0,-2 3-17 0,1 0-19 16,-3 1-35 0,1 1-31-16,-1 1-41 0,3 1-13 0,5 0-61 0,-12 0-57 0,12 0-38 15,-11 2-51-15,5-1-28 0,2 2-75 16,-1 0-169-16,2-1-570 0,0-1 89 0,3-1 106 15,-2 5 170-15,2-5-7 0,2 5 67 16,-2-5 87-16,8 2 74 0</inkml:trace>
  <inkml:trace contextRef="#ctx0" brushRef="#br2" timeOffset="-80223.03">17269 852 1315 0,'0'0'481'0,"3"-8"-51"0,-1 2-64 15,0-1-15-15,1 1-49 0,2 0-30 0,-2 1-4 0,2-1-30 0,-2 1-28 16,1 0-10-16,2 2-29 0,-4 0-30 16,3 2 8-16,-5 1-14 0,8 0 1 15,-8 0-23-15,8 3-26 0,-3 0 35 0,0-1-9 16,0 2-31-16,0 0 8 0,1 0-16 16,-2 1-15-16,2-1 33 0,2 0 0 15,-1-1-33-15,-2 0 33 0,0 0 36 0,1-1 46 0,2 0-20 16,-1-2 35-16,-7 0 52 0,10-2-70 15,0 2-12-15,-2-4-34 0,0 1 72 0,0-1 29 16,2-2-47-16,0-1-171 0,-2 1-8 16,-1-1 0-16,1 0 0 0,2-1 0 0,-2-1 0 0,0 0 0 15,-3-2 0-15,0 2 0 0,0 0 0 16,0-1 0-16,-2 2 0 0,2-1 0 0,-2 0 0 16,-1 0-26-16,-2 3-320 0,0-1-84 0,2 1-123 15,-2 0-127-15,-4 1-17 0,4 0-327 16,0 0 95-16,0 2 82 0,0 3 110 15,-1-8 66-15,-1 4 29 0,5 0 107 0</inkml:trace>
  <inkml:trace contextRef="#ctx0" brushRef="#br2" timeOffset="-79689.13">18328 235 1354 0,'-8'10'491'0,"5"-1"-33"16,1 2-38-16,0 2 61 0,-1 4-66 0,-2 2-26 0,4 1-38 16,-4 7-21-16,3 1-46 0,-3 10-28 15,-1 1-41-15,-1 0-13 0,-1 0-69 0,-2 0-33 16,3-3-26-16,-1-2-43 15,3-6-46-15,1-5-62 0,-3-4-49 0,5 1-55 0,-1-3-60 16,1-2-151-16,-1-2-235 0,3-2-289 0,0-1 66 16,0-2 139-16,3-1 86 15,-3-2 29-15,0-2 91 0</inkml:trace>
  <inkml:trace contextRef="#ctx0" brushRef="#br2" timeOffset="-79353.78">18158 475 1036 0,'3'-25'471'0,"2"1"8"0,1 0-59 0,6-7-47 0,3 0 60 16,3 5-47-16,3 1-43 16,2 3 11-16,0 8-27 0,-2 5-20 0,-1 4-12 0,1 4-39 15,4 3-23-15,-1 4-5 0,9 7-31 16,-3 4-13-16,-1 1-30 0,-4 4-6 0,-4 3-33 15,-6 1-5-15,-2-1 16 16,-8 0-16-16,-1 2-36 0,-4 2 18 0,-9 10-23 0,-1 1-10 16,-4-2 5-16,-8-2 21 0,-4 6-27 0,-5-3-1 15,-2-3-29-15,5-6 28 0,-8 1-30 16,5-7-26 0,0-1-3-16,3-2-27 0,-2-3-9 0,6-5-25 0,4-3-43 0,2-3-44 0,0-2-49 15,5-1-53-15,2-3-24 16,-1 1-161-16,4-4-140 0,1 1-487 0,7 1 123 0,-7-3 72 15,3 0 112-15,2 0 64 0,2 3 106 0,2-8 35 32</inkml:trace>
  <inkml:trace contextRef="#ctx0" brushRef="#br2" timeOffset="-78993.52">18597 642 1476 0,'-8'9'454'0,"-2"1"-42"0,5 0-31 16,-1 0-41-16,2 1-30 0,-2 1-36 16,4-1-26-16,0 1-38 0,2-2-41 0,0 2-10 0,2-3-23 15,3 3-14-15,0-3-19 0,1 0 7 16,4-2-5-16,0-1-13 0,2-2-18 15,-1-1-2-15,1-2-11 0,-1-1 16 0,2-2-8 16,0 0 11-16,-1-2 9 0,-1 1 16 0,-2-4 18 16,-1 0-64-16,-2 1 15 0,-1-1 0 15,-3-1 11-15,1-1-6 0,-3 0-7 0,0 0 7 16,-3-1-51-16,-1 0 18 0,-2 1-20 0,1 0-6 16,-1 0-12-16,-3 1-49 0,1 2-23 15,1-1-31-15,-1 4-40 16,-2-1-62-16,2 1-85 0,0 1-143 0,0 1-545 0,8 1 41 15,-10 0 135-15,3 1 19 0,7-1 94 0,0 0 79 16</inkml:trace>
  <inkml:trace contextRef="#ctx0" brushRef="#br2" timeOffset="-78718.16">18835 557 1459 0,'0'4'532'0,"0"-4"-53"0,-2 10-67 0,2-3-16 16,-3 1-22-16,3 0-56 0,-5 3-4 0,3 1-37 0,-1 0-29 47,0 3-17-47,-1 2-32 0,-2-1-15 0,4-1-38 0,-1 1-5 0,-2-2-3 0,4-1-15 0,-1-1-23 0,0-2-49 0,2 0-5 16,0 1 8-16,0-4-10 0,0 2-24 15,4-2 3-15,-4-2-13 0,3 0-33 0,2 0 0 16,-2-2-25-16,3-1-14 0,-2-1-50 15,2 1-19-15,-6-2-66 0,10 0-46 0,-10 0-77 0,15-3-169 16,-9 0-384-16,2 1 0 0,-4-3 123 16,2 2 44-16,0-1 76 0,-2-1 62 0</inkml:trace>
  <inkml:trace contextRef="#ctx0" brushRef="#br2" timeOffset="-78418.95">18799 730 780 0,'0'0'336'0,"-3"-2"-11"0,3 2-36 0,0 0-28 0,0 0-13 16,9-5-48-16,-4 2-23 0,2 0-3 15,1-1-34-15,0 1-9 0,0 0-16 0,-1-1-36 0,3 0-2 16,-2-1 3-16,0 2-19 0,0 0 11 16,-4-2-21-16,2 1 21 0,-2 0-3 15,-3 1 36-15,-1-1 33 0,2 1 56 0,-2 3-35 16,0-8-8-16,0 4-66 0,-2 0-1 0,2 4-40 15,-3-7 43-15,1 5-18 0,2-2-18 16,0 4-23-16,-3-7 10 0,3 7-20 0,0-6 5 0,0 6-48 16,3-6-9-16,1 3-37 0,-3-1-32 15,6 0-30-15,-4 2-92 0,5-2-136 0,-3 3-56 16,2-3-423-16,1 0 85 0,3-1 85 16,-1 2 68-16,0-3 36 0</inkml:trace>
  <inkml:trace contextRef="#ctx0" brushRef="#br2" timeOffset="-78167.78">19048 541 760 0,'0'0'371'16,"0"0"-26"-16,0 0 65 16,0 0-21-16,-15 7-15 0,12-5-49 0,-2 2 15 0,3 3-45 15,-1 0-34-15,3 1-16 0,-3 0-27 16,6 0-16-16,-3 2 3 0,0 0-26 0,5 1-15 16,0 1 18-16,0 0 0 0,-2 0-37 15,4 0 9-15,-1-1-13 0,-3 1 12 0,1-2 14 16,1 2-101-16,-4-2 1 15,-1-1-1-15,0 0-12 0,-1 0-5 0,-4-2 17 0,1 2-43 16,-4-1-12-16,0-1-19 0,0-1-53 0,3-1-67 31,-5 1-31-31,2-3-54 0,0 0-84 0,1-2-204 0,-1 1-469 0,3-1 81 16,5-1 73-16,-8-1 76 0,8 1 93 0,0 0 45 0,-5-5 39 16</inkml:trace>
  <inkml:trace contextRef="#ctx0" brushRef="#br2" timeOffset="-77363.78">19417 784 1164 0,'0'-4'394'0,"-2"0"-22"16,-1-3-19-16,0 1 84 0,3-2-22 0,-4-1-39 16,4-1-12-16,-3-2-16 0,3-1-92 15,0 0-21-15,0-3-20 0,0 0-23 16,0-1 0-16,0-3-28 0,2 1 72 0,-1 2-42 0,1 2-25 16,0 2 5-1,2 1-36-15,0 0-20 0,-1 3-13 0,0 2-20 0,3 2 22 16,-5 2-10-16,4 2-27 0,-5 1-12 0,0 0-19 15,13 8-1-15,-7-3 6 0,-2 3-26 0,2 3-16 16,1 0-27-16,-2 3-60 0,1 2 6 0,1-1 7 16,1 0-2-16,0 0 0 15,0-1 12-15,1-1 8 0,-1-2 16 0,0-1 12 0,0-1 32 16,2-2 1-16,-2-1 44 0,-1-2-2 0,0-2 38 16,1-1 13-16,-2-1 7 15,-6 0 39-15,13-5 26 0,-5-1 2 0,-1-2 28 16,-2-1-41-16,0-2-10 0,-2-1-20 0,1-4-67 15,-1-2-61-15,0 0-3 0,-3-1 0 0,0-3 0 16,3-5 0-16,-3-1 0 0,0 0 0 0,0-2 0 16,0 2 0-16,2 0 0 15,-2 2 0-15,3 5 0 0,-3 3 0 0,2 1 0 0,-2 5-116 16,1-1-68-16,-2 4-44 0,1 3-5 0,0 0-18 16,0 3-25-16,0 3-59 15,0 0-72-15,0 0-223 0,0 0-409 0,-2 13 112 0,2-7 65 16,0 0 91-16,2 2 93 0,1-2 43 15,2 1 85-15</inkml:trace>
  <inkml:trace contextRef="#ctx0" brushRef="#br2" timeOffset="-77059.92">19771 486 1064 0,'0'12'479'0,"-3"-2"-26"0,3 2-46 15,-2-1-46-15,2-1-10 16,0 3-52-16,2 0-30 0,1 0-8 15,-3 0-46-15,5-1-26 0,1 0 3 0,1 0-5 0,0-2-18 16,2-1-46-16,-1-2 23 0,4-1-28 16,-2-1-8-16,1-3-8 0,-1-2 36 0,2 0 24 15,-1-2-70-15,-1 1 36 0,3-4 5 16,-2-2-5-16,-2 2 59 0,-1-3 7 0,-3-1-25 16,0-1 67-16,-2-1 2 0,0 1-39 15,-3 0 16-15,0-4-5 0,-1 3-66 0,-1-1-21 16,-3 1-123-16,0 1 0 0,1 0 0 0,-2 3 0 0,0-1 0 15,2 2 0-15,-2 0 0 16,3 0 0 0,-4 2 0-16,4 2-90 0,-2-2-187 0,2 3-48 0,3 1-105 0,0 0-184 0,-10 1-507 15,10-1 79-15,0 0 164 0,-5 4 56 0,5-4 70 16,0 0 122-16,0 0 29 0,0 0 50 16</inkml:trace>
  <inkml:trace contextRef="#ctx0" brushRef="#br2" timeOffset="-76779.33">20089 492 1187 0,'0'0'402'0,"10"1"-59"0,-2-1-31 15,-8 0-22-15,16-1-22 0,-6-1-32 0,0 0-42 16,3 0-53-16,-1 0-46 0,2-3-75 0,0 4-55 16,-1-3-76-16,1 0-145 0,-2 0-58 0,-1 0-331 15,1 0-36 1,-4 0 66-16,0 0 52 0</inkml:trace>
  <inkml:trace contextRef="#ctx0" brushRef="#br2" timeOffset="-76581.19">20286 430 934 0,'-4'5'476'0,"-2"1"-97"0,1 0-18 16,-2 2 10-16,1 3-38 0,1 0 63 0,-3 1-22 16,1 2-5-16,-1 1-52 0,3 2-12 15,2-3-3-15,-4 1-23 0,1 0-54 0,4-1-25 0,-3-2-14 16,0 2-50-1,2-4 0-15,1 2-70 0,-1-2-68 0,2-2-44 0,-3-1-70 16,4-1-29-16,0 0-142 0,-5-4-240 0,8 3-472 16,-3-5 86-16,7 3 132 0,-7-3 110 15,0 0 29-15,0 0 50 0</inkml:trace>
  <inkml:trace contextRef="#ctx0" brushRef="#br2" timeOffset="-75910.54">20571 207 1441 0,'0'0'445'0,"0"0"-38"0,21 5-36 16,-11-6-5-16,5 1-69 0,1-2-26 16,2 0-17-16,2-2-49 0,3 0-39 15,4-3-7-15,-1 1-67 0,-2-1-26 0,2-2-35 16,-2 2-39-16,-2-2-15 0,-1 0 16 0,-3 1-14 15,-1-1 3-15,-3 1 16 0,-2-1 4 16,-2 1 11-16,-2 0 13 0,-3 1 56 0,2 0-3 16,-4 1-12-16,0 2 17 0,-1-1 3 15,-1 1 3-15,-1 4-11 0,-1-3 3 0,1 3-16 16,0 0 19-16,-9 8 17 0,3-1-84 0,1 4 10 16,-1 3 29-16,-4 6-11 0,0 1 2 15,0 1-4-15,-3 11 7 31,1 1-20-31,-2 0 17 0,4 2-9 0,-1 1 4 0,-1-1 1 0,2 2-29 0,0-2 8 0,0-1 11 0,4-6-11 0,1-4-11 16,0-2-24-16,2-3-42 16,-1-1-28-16,3-1-28 0,-2-4-41 0,1 0-41 15,0-2-59-15,2-1-151 0,0-5-371 0,0 2-72 16,-3-3 26-16,3-1 72 0,0-2 102 16,0-2 94-16</inkml:trace>
  <inkml:trace contextRef="#ctx0" brushRef="#br2" timeOffset="-75711.31">20613 685 1236 0,'0'0'450'0,"0"0"-12"16,-4-3 74-16,4 3-23 0,0 0-57 0,14-3-7 16,-7 2-117-16,3 0-29 0,1-1-23 15,-1 1-31-15,5-2-3 0,-2 1-30 0,5-1-35 16,0-1-32-16,0 0-10 0,3 0-41 0,-3-1-79 15,2 1-31 1,-1-2-43-16,-2 2-59 0,1-2-80 0,-3 3-189 0,-2-2-120 0,2 1-392 16,-2 2 74-16,-2-3 83 15,-1 3 96-15,0-1 57 0,0 1 82 0</inkml:trace>
  <inkml:trace contextRef="#ctx0" brushRef="#br2" timeOffset="-75259.76">21051 625 1151 0,'0'0'397'0,"0"4"-8"15,0-4 51-15,0 0-7 0,0 0-8 0,0 0-56 16,0 0-26-16,0 0-13 0,0 0-28 31,0 0-16-31,0 0-78 0,4-10-14 0,-3 5 3 0,-1 1-12 0,2-3-6 0,1-1-10 0,-3-1-16 31,2 0-17-31,-1 2-16 0,1-1 83 0,0 2-34 0,1-1-16 0,-3 0 14 16,3 3-11-16,-3-1-41 0,2 1-15 0,-2 4-1 0,0 0-32 16,0-4 10-16,0 4 23 0,0 0-39 15,0 0 6-15,0 0-11 0,0 0-5 16,0 0-30-16,0 0-21 0,-2 14 15 0,2-14-5 16,4 3 0-16,-4-3-4 0,4 3-14 15,-4-3 13-15,7 1 10 0,-7-1-20 0,8 0 23 0,-8 0-25 16,10-2-4-16,-2-1 29 0,-1 1-2 15,-2 0 4-15,1 0-2 0,-1 0-15 0,0 1-3 16,0-1 0-16,-5 2 0 0,8-1 0 16,-8 1 0-16,10 2 0 0,-10-2 0 0,8 2 0 15,-4 0 0-15,0 0 0 0,-2 1-159 16,2-1-8-16,-4-2-60 0,4 6-50 0,-2-4-66 0,1 1-169 16,2 0-394-16,-1-1-118 0,-4-2 110 15,8 1 62-15,-8-1 102 0,9 0 44 16,-2 0 68-16,-2-3 65 0</inkml:trace>
  <inkml:trace contextRef="#ctx0" brushRef="#br2" timeOffset="-74825.93">21373 466 1507 0,'0'0'510'0,"0"0"-124"0,0 0-15 0,0 0-18 0,1 12-12 0,1-7-39 0,-2 1-8 15,0 2-56-15,0 1 8 0,0 1-36 0,0 3-10 16,2-1-16-16,0 3-33 0,-1-1-21 0,0 0-30 15,1-1-18 1,-2 2-20-16,0-1-29 0,0-2-5 0,2 1-15 0,0-3-13 0,-2 1-26 16,0-2 6-16,0-1 20 0,0-2 18 0,0 1-3 15,0-3 16-15,1 0 5 16,-1-4-8-16,0 4 33 0,0-4 13 0,0 0 11 0,0 0 5 16,0 0 14-16,0 0-9 0,0-16 5 0,0 8-3 15,0-2 3-15,0 0-18 0,3-4 0 16,1-3 5-16,-1 1-28 0,2-3 89 0,0 2-25 15,3 2 15-15,0 1-33 0,-3 0 10 16,4 3-27-16,-1 2-14 0,0 1 0 16,-2 3 5-16,-1 1 26 0,2 2-56 0,-4 1-72 15,-3 1 13-15,0 0 35 0,10 6-15 0,-8-4 31 16,-2 3 59-16,0 0-89 0,0 2-11 0,-4 1 0 16,1-1 0-16,-4 1 0 0,-1 0 0 15,3 2 0-15,-2-2 0 0,0 0 0 0,0 0 0 16,0-2-118-16,1-1-72 0,2 0-32 0,1 0-62 15,-2-3-49-15,5-2-38 16,-3 3-129-16,3-3-19 16,0 0-462-16,0 0 19 0,0 0 156 0,18-12 30 0,-13 7 85 0,7-2 136 15,-1-3-6-15</inkml:trace>
  <inkml:trace contextRef="#ctx0" brushRef="#br2" timeOffset="-74511.86">21654 444 1059 0,'2'-2'522'0,"3"1"-7"0,-5 1-88 16,5-1-32-16,-5 1-19 0,0 0 3 15,0 0-18-15,2 5-11 0,-2-5-4 0,0 9 45 16,0-3-27-16,-2 0 5 0,0 3-39 0,-1 2-15 16,0 1-13-16,-1 0-26 0,-2 0-43 15,3 1-31-15,-2 0 16 0,0-2-37 0,0 3 1 16,0-2-84-16,3 0-98 0,-2-1 0 16,2 0 0-1,0-1 0-15,0-2 0 0,1 0 0 0,-2-2 0 0,3 1 0 0,3 0 0 0,-3-2 0 16,2 0 0-16,-1-1 0 0,1 0 0 15,3 0 0-15,-2 0 0 0,2-3 0 0,-2 2 0 16,4 0 0-16,-4-3 0 0,-3 0 0 0,12 0 0 16,-12 0 0-16,11-3 0 0,-5 2 0 15,-2-2-128-15,4 0-290 0,-3-3-201 0,2 2-533 16,-1-2 87-16,-1 0 121 0,1 0 68 0,-2-3 93 16,2 0 74-1,1-1 56-15,2-1 88 0</inkml:trace>
  <inkml:trace contextRef="#ctx0" brushRef="#br2" timeOffset="-74245.79">21839 473 1210 0,'-14'11'515'0,"12"-8"-14"15,1 1-12-15,-2 2-51 0,1-2-41 16,2 0-8-16,0 2-46 0,0-2-51 0,2 0-1 16,1-1-24-16,0 2-6 0,2-3-49 0,0-1-20 15,0 0-48-15,3-1-16 0,2-1-29 0,-2 0-14 31,4 0-11-31,-4-2-20 0,3 0 2 0,-1 1-2 0,-2 1-26 0,2 0 28 0,-5 0-4 16,-5 1 29-16,10 2-9 0,-5 1 36 0,-3 4 14 16,-2 1-9-16,1 3 25 0,-2 1 13 15,-3 2-30-15,0 4-22 16,-5 3-22-16,2 0-2 0,-2 0-14 0,1-1-7 0,-1-1-67 0,1-2-49 16,1-1-55-16,-1-1-80 0,0-1-31 15,5-3-54-15,-4 0-76 16,4-4-192-16,-2 1-513 15,4 0 78-15,-3-1 104 0,1-4 70 0,3 2 76 0,0-3 98 0,0-2 40 0</inkml:trace>
  <inkml:trace contextRef="#ctx0" brushRef="#br2" timeOffset="-73505.27">22631 27 1520 0,'-19'21'545'0,"-4"4"-30"0,-1 6-21 0,-8 10-26 16,-2 3-69-16,3 2-25 0,-4 5-97 0,1 3-44 15,6 2-24-15,-3 1-6 0,6 0-22 16,4-2-30-16,7-4 8 0,0-11-26 0,9-1 8 0,0-7-21 15,5-5 1-15,2-5-1 0,4 0-31 0,3-2 11 16,2-1-23-16,3-4-8 0,2-3-15 16,2-4-13-16,0-2-3 15,6-3-45-15,-2-3-19 0,1-1-35 0,1-2-14 0,-1-1-35 16,-3-1-36-16,3-2-35 0,-2 0-73 16,-3-2-119-16,2-1-162 0,-4 0-459 15,-2 1 124-15,-3-1 43 0,-1 0 111 0,-2 0 99 0,0 0 48 16</inkml:trace>
  <inkml:trace contextRef="#ctx0" brushRef="#br2" timeOffset="-73134.74">22735 666 1366 0,'-2'12'379'0,"1"-1"-38"0,-1 0-44 15,2-1-31-15,-3 0-13 0,1-1-28 16,2 1-35-16,-2-2-14 0,2 1-22 0,-1 0 0 0,-2-1-16 16,3-3 26-16,0 1-1 15,0-2 9-15,-2 0 12 0,2-4 70 0,0 0-9 0,0 0-7 16,0 0 1-16,0 0-17 0,2-16 6 0,-2 6-18 16,4-2-23-16,-2-2-26 15,4-6 21-15,-2-2-34 0,4-2-109 0,-1 1 43 16,1 0-26-16,2 1-13 0,2 3 11 0,-4 5 2 15,2 1 8-15,-2 3-7 0,-1 2-21 0,-1 4 46 16,0 1-13-16,1 3-31 16,-2 0-2-1,1 3-8-15,-1 1 3 0,0 3-1 0,-2 3 27 0,2 2-32 0,-2 1 9 0,-1 0-39 0,0 3-6 16,1 2-60-16,-1-1-65 0,-1-3-25 16,-1 3-67-16,0-2-64 0,0-1-66 15,0-3-246-15,0-1-479 0,2 1 108 0,-2-2 84 0,0-2 95 16,-2 0 74-16,2-4 74 0,0 1 124 15</inkml:trace>
  <inkml:trace contextRef="#ctx0" brushRef="#br2" timeOffset="-72935.33">22745 740 1517 0,'0'0'451'15,"-5"-1"-24"1,5 1-25-16,0 0-10 0,0 0 28 0,0 0-26 0,0 0-41 0,0 0-15 15,0 0-36-15,0 0-46 0,0 0-41 0,26 1-51 16,-16-4-46-16,2 0-72 0,2 0-62 16,-1-2-63-16,-1 0-67 0,4-2-128 0,-1-1-153 15,0 0-500-15,0 1 47 0,-1-1 127 0,-1 0 87 16,-1-1 39-16,1-1 49 0</inkml:trace>
  <inkml:trace contextRef="#ctx0" brushRef="#br2" timeOffset="-72637.16">23050 527 901 0,'3'-5'404'0,"-3"5"-23"0,0 0-10 0,0 0-40 0,0 0 9 0,0 0-7 16,0 0-29-16,-10 10-17 0,7-4-21 16,0 1-12-16,1 2-47 0,0 1 0 0,0 2-22 15,-2-2-21-15,4 3-13 0,0-2-13 0,4 2-10 16,-2 0-28 0,2-1-13-16,2-1 15 0,1-1 3 0,1 0-49 0,2-4 49 15,0 1-10-15,0-1 36 0,1-2-21 0,2-3 12 16,-3-1 14-16,0-1 120 0,-2-1 5 0,5 0 0 15,-3-2-69-15,-1 1 36 16,0-3-31-16,0 0-51 0,-3-1-95 0,0 1 6 0,-1 0-16 16,0-2-41-16,0 1 0 15,-3 1 0-15,2 0 0 0,-2 0-18 0,0 2-139 16,-2-2-24-16,3 2-57 0,-3 1-59 16,2-3-74-16,-1 4-144 0,-1 2-84 0,0-6-445 0,4 4 71 0,-1-1 159 15,5-1 67-15,-1 1 58 0,2-1 80 16,1 1 46-16</inkml:trace>
  <inkml:trace contextRef="#ctx0" brushRef="#br2" timeOffset="-72331.72">23443 504 1313 0,'-10'2'468'16,"0"1"34"-16,-1-1-52 0,1 2-9 0,2-2-40 15,0 2-55-15,0 0-31 0,4 1-34 0,-2 0-12 16,4 1-28-16,1 1-47 0,1-1-15 15,1 1 16-15,1 1-31 0,3 0-11 0,-2 1 14 16,5-1-29-16,-1 1-7 0,-2-2 40 16,-2-1-43-16,3 1 38 0,-4-1 31 0,3 0-33 15,-3 0-10-15,-1-1-11 0,-1 0-28 16,0 2 26-16,-3-1-31 0,0 0-5 0,-2 1 0 16,-3 1-23-16,-2-2-20 0,2 2-62 0,-4 0 0 15,3-2-31-15,-3 0-95 0,0 1-58 16,3-3-41-16,-1 2-85 0,1-2-102 0,-4-1-228 15,7 0-453-15,1-2 90 0,5-1 145 0,0 0 44 16,0 0 90-16,0 0 120 16,0-7 20-16,5 1 77 0</inkml:trace>
  <inkml:trace contextRef="#ctx0" brushRef="#br2" timeOffset="-71955.52">23545 573 1451 0,'0'6'427'0,"3"1"-22"16,-3 1-44-16,-1 1-8 0,1 0-54 0,1 2-45 16,-1 0-6-16,0-1-28 0,0 3-23 15,-1-2-28-15,-1 1-28 0,2-1 18 0,-2 0-49 16,2-2-8-16,-3 0-2 0,3-2 0 16,0 0-3-16,0-1 8 0,0-2 13 0,0-1-16 15,0-3 16-15,0 0 74 0,0 0-15 16,0 0 27-16,0 0-1 0,8-11-55 0,-6 2 36 15,3-1-40-15,-2-4 17 0,3-4 3 16,1 1-34-16,-2 0 14 0,5-3 1 0,-2 4-11 16,0 1-137-16,-1 1 41 0,1 5 42 0,0-1-42 15,-1 2 6-15,0 3 45 0,-1 1-22 16,2 3-21-16,-3 1-20 0,-5 0-26 0,14 4 0 16,-10 0 0-16,1 2 0 0,2 2 0 0,-1 1 0 15,-1 2 0-15,-2 0 0 0,2 1 0 0,-3-1 0 31,3 1 0-31,-2 2-70 0,-1-3-152 0,3 1-47 0,-4-1-72 16,1-2-37-16,3-1-219 0,-4-1-509 0,1 1 121 0,2-2 69 0,-3-2 114 16,-1-1 122-16,0-3 55 0,0 6 49 15,0-6 21-15</inkml:trace>
  <inkml:trace contextRef="#ctx0" brushRef="#br2" timeOffset="-71751.78">23581 677 1351 0,'-5'-2'494'0,"3"1"64"0,2 1-46 16,0 0-13-16,0 0-28 0,0 0-41 0,0 0-31 0,0 0-53 16,0 0-36-16,12-4-42 0,-4 2 1 0,0 0-41 15,2 2-5-15,1-2-24 0,-1-1-63 16,2 1-46 0,4-1-47-16,1-2-43 0,3 2-79 0,-1-2-31 0,1 0-87 15,0 1-136-15,-4 1-263 0,3-1-405 0,1-2 48 16,-5 4 150-16,1 0 76 0,-1 0 64 0,-2-1 56 15,-2 1 67-15</inkml:trace>
  <inkml:trace contextRef="#ctx0" brushRef="#br2" timeOffset="-71318.89">23850 556 1177 0,'0'0'543'0,"0"0"-47"0,0 0-56 0,0 0-68 0,0 0-9 16,24 0-46-16,-15-2-50 0,0 1-52 16,4 0-64-16,-2-1-28 15,0 1-85-15,2 0-38 0,0-2-64 0,0 0-64 0,-1 1-3 0,0-1-35 16,-3 1 38-16,-1-2 0 15,1 2 33-15,-2-2 44 0,0 3 59 0,-4-2 53 0,3 0 34 16,-2 2 30-16,-4 1-7 0,7-1 51 16,-7 1-8-16,0 0 26 0,0 0-10 15,0 0 15-15,0 0-5 0,0 9 35 0,0-9-12 16,-5 8-10-16,5-2 5 0,-5 1-11 0,5 1-22 16,-3 1-8-16,-1 1-21 0,3 2 11 0,-4 0-19 15,5-1-15-15,-2 2 47 16,1-1-83-16,-1 0-12 0,-1-1-28 0,3-1-21 0,-2-1-36 15,2 1-64-15,-1-3-43 0,1 2-60 0,0-3 1 16,0-2-84-16,1 2-103 16,-1-2-187-16,2-2-487 0,3 1 88 0,-5-3 123 31,8 0 71-31,-8 0 77 0,8-4 82 0,-3 1 64 0</inkml:trace>
  <inkml:trace contextRef="#ctx0" brushRef="#br2" timeOffset="-70547.41">24157 540 1182 0,'4'-2'435'0,"0"1"-53"0,-4 1-37 0,11-2-45 0,-3-1-19 0,2 1-15 16,-2 1-68-16,2-1-63 15,1 0-20-15,-1-1-79 0,0 2-33 0,-3-3-62 0,4 3-95 16,-1 0-71-16,-3-2-54 0,3 2 26 16,-4 0-19-16,-1-2 42 0,1 2 97 0,-6 1 10 15,4-4 67-15,-4 4 68 0,7-1 70 16,-7 1 18-16,0 0 21 0,1-3 32 0,-1 3 34 16,0 0-16-16,0 0 14 0,0 0 20 15,0 0-26-15,0 0-18 0,-11 11-10 16,9-9 5-16,0 3-5 0,-2-1-36 0,2 1-7 0,0 1 12 15,-1 1-5-15,0-1-23 0,-1 3-4 16,2-3-40-16,-2 3-56 0,2-1-7 0,-1 1-46 16,-2 1-62-16,1-1-110 0,-2 2-97 15,-2-2-90 1,1 1-404-16,-1-1 130 0,6-1 200 0,-6-1 361 0,-1 0 28 0,2-3 23 16,3 1 51-16,-3-1 52 0,3-2 84 0,0 0 10 15,-2-1 28-15,6-1 11 0,-6 2-19 0,6-2 24 16,-5 0-21-16,5 0 6 15,0 0 7-15,0 0-26 0,0 0 13 0,0 0-30 0,0 0 2 16,0 0 5-16,0 0-23 0,11-10-20 16,-4 7 10-1,0 0 2-15,0 0-25 0,2-2 8 0,-1 2-8 0,2 0 0 0,-2-1-24 16,2 1 11-16,-2 0 8 0,0-2-13 0,0 2 0 16,1 0 23-16,-2 2-10 0,-3-1-11 15,1 0 6-15,2 2 7 0,-7 0 8 16,10 0 3-16,-10 0-16 0,8 0-18 0,-5 3-4 15,-3-3 6-15,10 3-1 0,-4-1-6 0,1 0 13 16,0 1-8-16,1-1 5 0,0 0 6 0,2 0 2 16,-1-2 8-16,3 1 28 0,0-1 25 15,-3 0 3 1,1-1 90-16,0 1-8 0,0-2 18 0,-5 0-118 0,3-1 61 0,-2 0 32 0,1 1 7 16,-4 0-23-16,3 0 33 15,-4-1 8-15,0-1-39 0,-2 4 3 0,0-6-35 0,0 2-4 16,-2-1-22-16,-4 0 7 0,3 0-23 15,-2 1-56-15,-1 0 113 0,0-1-31 0,0 1-64 16,-1-1-23-16,1 3-77 0,-1-2-44 16,2 1-56-16,-1 0-58 0,1 1-50 0,-2 0-83 15,4-4-237-15,-2 4-506 0,5 2 59 0,-7 0 123 16,7 0 130-16,0 0 57 31,0 0 48-31,0 0 79 0,0 0 29 0</inkml:trace>
  <inkml:trace contextRef="#ctx0" brushRef="#br2" timeOffset="-70130.19">24643 709 1295 0,'0'0'483'0,"-1"-5"-29"0,1 5-30 0,0-8-32 15,1 3-46-15,-1 1-34 0,0 0-43 16,2 0-29 0,0 0 21-16,0 1-51 0,-1-1-36 0,-1 4-15 0,3-3-5 0,-3 3-29 15,5-3 6-15,-5 3-11 16,0 0 0-16,0 0-23 0,10 4-27 0,-10-4-12 0,7 4 6 16,-4-2-12-16,2 0 9 0,-2-1 3 0,2 2 21 15,2-2-39-15,-3 0 43 0,-4-1-63 16,14 0 94-16,-14 0 39 0,11-1-8 15,-5-1 10-15,1 0 39 0,-2-2-24 0,3 1-19 0,-3-1-4 16,3-1 24-16,-3-1-95 0,2 1-18 16,-1-1-11-16,-2-1 14 0,-1 0-29 0,2-1-45 15,-2 2 7-15,0-2-26 0,-1-1-51 0,0 3-76 16,0-3-52-16,-1 0-25 0,-1 2-90 16,-1-1-82-16,-1-1-231 0,2 1-485 0,-4 2 153 15,4-4 89-15,-3 3 88 0,3 0 89 0,-1-1 59 16,-1 0 67-16</inkml:trace>
  <inkml:trace contextRef="#ctx0" brushRef="#br2" timeOffset="-69469.89">25250 4 5754 0,'5'10'76'0,"-3"2"11"0,-1 2 8 0,1 4-5 0,-2 1-8 15,-2 0 18-15,2 2-21 0,-1 4 21 0,-3 0-26 16,1 0-2-16,0 1 12 0,-3 10-15 0,0-7-12 15,-2-4-6-15,0 9 10 0,3-7 3 16,-1-4-18-16,-3 2 0 0,4 0-30 0,1-1 22 16,-3 0 6-16,2 0-4 0,0-1-14 0,-2-1-16 15,4-3 13-15,-2 0-2 0,0 1-8 16,2 0 2-16,0-1 13 0,1-1-30 16,0-1 35-16,0 1-10 0,1-4 0 0,-2 3-3 0,1-3-9 15,2 1-4-15,-2-1 4 0,2-1-14 16,0-3 13-16,-1 0-28 0,0-1 29 15,-1 1-6-15,2-3 8 0,-2 1-8 0,2-1 2 16,0-2 9-16,0 1-14 0,0-1 3 16,0-1-10-16,0 1 33 0,0-5 34 0,-2 7 48 15,1-5-59-15,1-2 31 0,-7 4 25 0,4-2-9 16,-3 0-24-16,-4-1-30 0,-2 1-44 0,-3 0 0 16,-3-1 0-16,-2 2 0 0,-9-1 0 0,0 1 0 15,-3-2 0 1,-2 0 0-16,-11 0-128 0,4-1-180 0,-8 3-86 15,0-12-225-15,0 12-497 0,-2-1 82 0,-1 0 104 0,1 0 106 0,-3-2 54 16,2-3 109-16,-1 4 16 16,-3-2 133-16</inkml:trace>
  <inkml:trace contextRef="#ctx0" brushRef="#br2" timeOffset="-63906.22">13369 304 1052 0,'0'0'371'0,"0"0"-16"0,5 2-52 15,-5-2-24-15,8-1-95 0,-8 1-8 16,13-1-14-16,-5 1-1 0,-1-2-18 0,4-1-10 16,1 0-5-16,-1-2-25 0,4 0 61 0,-2 0-11 15,2 0-15-15,1-2-10 0,-1 0-15 16,3-1-11-16,-2 2-9 0,1-2-12 0,-1-1-29 16,-1 3 4-16,-2-2 0 0,0 2-2 0,-3-1 33 15,2 1-41-15,-1 0-7 0,-1 0 12 16,-2 3-10-16,2-2-16 0,-4 1 6 15,1 0 0-15,0 1-21 0,-1 1 8 0,-2 0-8 0,0-1 39 32,0 3-1-32,-1-4-40 0,-3 4 28 0,6-2-28 0,-4 0 35 0,-2 2-40 15,7-2 22-15,-7 2-12 0,3-2 5 0,-3 2 2 0,0 0-2 16,2-3 8-16,-2 3-16 16,0 0-7-16,0 0 20 0,0 0-8 0,0 0 1 15,0 0-22-15,0 0 24 0,0 0-15 0,-10-3 2 16,10 3-5-16,0 0 10 0,-7 0-2 15,7 0-6-15,0 0 1 0,-10 0 0 16,10 0-6-16,-11 2 3 0,6-1-5 0,0 0 5 16,5-1 0-16,-13 2-5 0,8 0-3 0,-3 0 0 15,0 0-2-15,1 1 0 0,0 0-5 16,-1 1 35 0,0-1-17-16,-2 0 2 0,-1 1-8 0,1 0 3 0,-2 1 0 0,1-2-5 15,-2 2 23-15,3 1-15 16,-3-2-6-16,1 0-17 0,1 2 55 0,-2-1-17 0,3-2-23 0,0 2 5 15,-1 0 0-15,1-1-2 0,0 0 22 16,-1-1-12-16,4 1-6 0,-1 0-2 0,0-3 3 16,1 2 7-16,2-1-20 0,-1 0 0 15,-1 0 17-15,4-1-4 0,3-1-8 0,-7 3 18 16,2-2-13-16,5-1-3 0,-6 3-2 16,6-3 13-16,-5 1-6 0,5-1 21 0,-5 2-18 15,5-2 39-15,0 0-21 0,-5 2 15 0,5-2-10 16,0 0-15-16,-5 2 13 0,5-2 2 0,0 0 3 15,0 0-6-15,0 0-25 0,-5 1 16 16,5-1-11-16,0 0 2 0,0 0 4 0,-6 2 12 16,6-2-8-16,0 0-15 0,0 0 26 15,0 0-19-15,-4 1-9 0,4-1-3 0,0 0 7 16,0 0 3-16,0 0 16 0,0 0-6 0,0 0 6 16,0 0-19-16,0 0 1 0,0 0 4 15,0 0-9-15,0 0-1 0,0 0 19 0,0 0-6 16,0 0-8-16,0 0 4 0,0 0-12 15,0 0 19-15,12-8-26 0,-4 5 1 0,0 0 32 16,-1 0-25-16,1 0-3 0,2 0 3 0,0 0-8 16,-2 0 13-16,2-1 6 0,-2 1-14 15,0 1 26 1,-1 0-11 0,-1 0-30-16,-1-1 49 0,2 1-23 0,-4 1-11 0,-3 1 23 0,10-4-20 0,-10 4 0 0,6 0 10 15,-6 0 3-15,5-2 5 0,-5 2-11 0,3-2 16 16,-3 2 20-16,0 0-43 0,0 0-5 0,0 0 2 15,0 0 6-15,0 0-16 0,0 0 31 16,0 0 2-16,0 0-10 0,-16 6-10 0,16-6 3 16,-5 2 30-16,-1 0-31 0,2-1-12 0,1 2 40 15,3-3-27-15,-7 4-11 0,1-3 26 0,4 1-23 16,-1 0-3 0,-2 2 20-16,5-4-4 0,-5 4-3 0,2-2 23 0,1 2-25 15,-1-2-6-15,1 1 10 0,-1 1-7 0,0 1 21 16,1-1-21-16,-1-1 10 15,0 1-10-15,1 0 12 16,0 0-14-16,-1 1 9 0,3-1-17 0,-3 1 30 16,1 0-12-16,0 0-11 0,2-1 11 0,-3 0-14 0,3 0-7 0,0 1 23 15,-3-1 1-15,3 0-9 0,0 0 3 0,0-4-3 16,-2 8-9-16,2-4 24 0,0 0 1 0,0-4 28 16,0 7-36-16,0-3-17 15,0 0 19-15,0-4 3 0,0 7-15 0,0-4 23 0,0 3-28 16,0-3-3-16,0 2 23 0,2 0-17 15,-2 0 9-15,0 1-2 0,0 0-15 0,0 0 23 16,3 1-6-16,-3 0-9 0,0-1 7 16,0 1 5-16,0 1 0 0,0-1 10 15,0-1-35-15,0 0 12 0,0-1 13 0,0 1 8 0,0 0-26 16,0-2 8-16,0 0-3 0,0 0 13 16,2-2-15-16,-2-2 18 0,0 6-31 0,1-3 31 15,-1-3-16-15,0 4 5 0,0-4-20 0,0 0 10 16,0 0 11-1,0 0-26-15,0 0 17 0,0 0 6 0,0 0-7 0,0 0 6 0,7-8-4 16,-4 2 5-16,-1 1-21 0,-2-3 26 16,0 1-25-16,2-2 12 0,-1 0 5 15,1-2 14-15,-2 1-6 0,0-3-11 16,0-2 6-16,0 4 8 0,0-3-11 0,0 4-5 0,0 0 36 16,0-1-20-16,-2 3-8 0,4-1 12 15,-4 3-7-15,2 0-20 16,0 1 30-16,0 2-20 0,0 3 10 0,0 0 15 0,0 0 1 0,0 0-6 15,0 0-28-15,5 13 36 0,-5-6-13 32,0 3-18-32,0 1 18 0,0 4 6 0,0 2-22 0,0 2-7 0,-3 3 0 0,1 6 13 0,1 0-2 15,-3 11 2-15,1-1-13 0,-2-1-23 16,0-6 0-16,2-5 2 0,-2 0-7 16,2-7 5-1,1 0-23-15,0 0-12 0,1-4 1 0,-1-1-9 0,2 0 43 0,0-3-3 0,-3-3-12 16,6 0 15-16,-3-3-10 0,0 0 7 15,0-2 19-15,0-3 15 0,3 2-13 0,-3-2 23 16,0 0-3-16,7-9 6 0,-5 2-6 16,1-2 8-16,0-4 13 0,0-3-8 0,-1-1 0 15,3-5 14-15,-5 1-7 0,3-5-1 16,-3 0 17-16,0-3 0 0,0 0 6 0,0 2 20 16,-3-1-6-16,3 6 1 0,-3 1 2 15,3 2-15-15,0 4-15 0,0 0-3 0,-2 2 26 0,2 3-37 16,0 0 6-16,0 5-10 0,0 0 20 0,0 3 11 15,0 2-14-15,0 0 3 0,0 0-7 16,2 17-13-16,1-8 63 0,-3 7-63 0,0 0 7 16,-3 4-2-16,3 7-3 0,-2 2-20 15,-1 8-10-15,-2 2-21 0,2 2 0 16,-2 0 2-16,0 0 16 0,-2 0-10 0,2-2-3 16,-1-3-20-16,2-6 10 0,0-6-21 0,2 0 1 15,-3-6 2-15,5 0-6 0,-3-3-6 16,3-3 9-16,0-2-12 0,0 0 17 15,0-4-2-15,3-2-2 0,-3-2 2 16,0-2 31-16,7 1-14 0,-7-1-4 0,8-6 13 0,-2 0 25 0,-2-2 5 16,4-2 11-1,-3-3-13-15,1-2 20 0,-1-3 0 0,2-5 3 0,-1-1 18 16,-2 0-29-16,2-2 42 0,-4 1 15 0,1 1-23 16,2 4 10-16,-3 2 10 15,1 1-13-15,0 5 11 0,-3 0 8 0,2 3 2 0,-2 3-8 16,0 2-25-16,0 4 17 15,0 0 14-15,0 0-11 0,0 0-15 0,-7 20 0 16,4-7-11-16,-2 3-10 0,2 4 26 0,-2 2-20 0,0 2-11 16,-3 11-5-16,1 2 8 0,1 0-21 15,-3 2 11-15,1 0-6 16,0-2 1-16,1 1-1 0,1-2-4 0,1-6 19 0,0-7-9 16,0 0-24-16,2-5 6 0,1-1-34 0,1-4-12 0,-1-2 12 15,2-1 6-15,0-1-13 0,0-3-1 16,2-2-9-16,-1-3 27 15,-1-1-12-15,0 0 15 0,0 0-7 0,15-10 2 16,-12 0 10-16,1 0 23 0,2-4 3 0,-1-1-10 0,0-4 23 16,-2 2-6-16,2-4 1 0,-3 2 20 15,1 0 5-15,-1 1-5 0,1 1 18 16,-3 3-8-16,2 3 21 0,-1 0 0 0,-1 4 5 0,2-1-34 31,-2 3 19-31,0 3 12 0,0 2-18 0,0 0-2 0,0 0 0 0,-5 12-8 16,0-2-12-16,2 4-9 0,-2 3 39 0,0 1-10 15,0 6-18-15,-2 1 10 0,-4 7-23 16,3 3 3-16,1-1 5 0,-2-1-11 0,0-4-2 16,4-7-25-16,-1 0 12 0,4-2-10 15,-1-3-10-15,-2-2-6 0,3-4 21 0,1 0-40 16,-1-3 19-16,4-3 11 0,-2 1 2 0,1-4-12 16,-1-2 18-16,0 0 7 0,0 0 5 15,12-10 21-15,-6 2-16 16,-2-3 16-16,2-5 2 0,2 0 3 0,-3-5 0 0,2-2-5 15,1-2 15-15,-1-10 3 16,1 0-3-16,-2 7 3 0,1 3 10 0,-2 2-5 0,-2 5-6 0,2 1 11 16,-2 3 5-16,-1 3 26 0,1 2-11 15,-1 1 3-15,-1 3-23 16,-1 2 0-16,0 3 3 0,0 0-24 0,0 0 9 0,-3 20-14 0,-2-9 10 16,4 6 4-16,-4 2-4 15,0 3-2-15,-2 3 8 0,2-1-3 0,-1 1-18 16,1 1-5-16,-2-2-12 0,1 0 12 0,1 0-5 0,-2 0-3 15,2 0-2-15,-1-2 0 0,4-5 0 16,-4 0 10-16,4-4-10 0,0 0-21 16,-1-3 14-16,3-1-34 0,-3-1-3 0,3-1 8 0,0-4-10 15,0 1 17-15,0-4-9 16,3 3 20-16,-3-3-13 0,0 0 5 0,0 0 19 16,15-12 9-16,-12 5-12 0,5-1 2 0,-3-2-2 15,0 3 25-15,0-2-23 0,-2 2-8 0,1 0 52 16,-1 1-31-16,0 1 21 0,-1 1 7 15,1-1-18-15,-3 2 3 0,0 3 20 0,0 0-12 16,0 0 4-16,0 0-2 16,0 0 8-16,0 14-11 0,0-6-9 0,-5 0 14 0,3 2 11 15,-2 1-21-15,0 0-20 0,1 1-2 0,-2 1 2 16,2-2 5-16,-2-1 2 16,3 0 8-16,1-1-28 0,-3 0 21 0,1-2-3 15,2-2 15-15,-1 2-7 0,0-4 15 0,2 1 3 16,-3 1 4-16,3-1-1 0,0-4 4 0,-2 6-18 15,2-6-2-15,-1 3-5 16,1-3 4-16,0 0 14 0,0 0 5 0,0 0-8 0,0 0 0 16,0 0-10-16,0 0-8 0,0 0 10 0,0 0-23 15,0 0 37-15,0 0-9 0,11-8-15 0,-11 8 8 16,5-3 5-16,-2 1 7 0,-3 2 9 16,7-5-14-16,-2 5-10 0,1-4 1 15,-2 2 12-15,7-1-13 16,-4 0-2-16,2 0-29 0,1 1-30 0,2-2 23 0,1 2-5 0,2-1-3 15,-2 1 20-15,1-1 29 0,0-1-41 16,2 2 36-16,-1 0-19 0,1 0 4 16,-3-2 76-16,2 2 5 0,0-2-5 0,-2 1 3 0,3 0-31 15,-4 0 15-15,-2 1 0 0,1 0-20 16,-1 0-18-16,0 0 28 0,-2 0-10 16,0 1-13-16,-3 0 21 0,2 0-3 0,-1-1-29 0,-6 2 27 15,7-2 2-15,-4 0-54 0,-3 2 39 16,0 0-21-16,0 0 20 0,0 0-27 0,0 0-8 15,-13-2 4-15,13 2 1 0,-15 0-2 0,7 0 25 16,-2 2 2-16,-1-2-15 16,-1 0 3-16,-4 2-8 0,1 0-3 0,-1 0-2 0,-2 0 8 15,-2 0 4-15,2 1-17 0,-2-1 13 0,4 2-3 16,1-3-5-16,-3 1 25 0,5 1 3 16,2-3-31-1,1 2 19-15,0 0-16 0,3-2-13 0,-1 1 18 0,3 0 2 0,5-1 1 16,0 0-1-16,0 0 9 0,0 0-4 0,0 0-12 15,0 0 0-15,23-6 10 0,-10 6 3 0,2-1-6 16,3 0-17-16,2 0 18 0,1 0-6 16,2 0-2-16,1 0 10 0,1 1-8 0,1 0 6 15,-1-2 15-15,-1 2-23 0,1-2 18 0,-2 2-1 16,-5 0-9-16,-3-1-11 0,-2 1 6 0,0 0 12 16,-2 1 0-16,-1-1 0 15,-5 0 21-15,0 0-10 16,-5 0-27-16,4 4 35 0,-4-4-22 0,0 0 4 0,0 0 12 0,-14 2-26 15,8-1 8-15,-4 0-2 0,0-1 2 0,-1 2 13 16,-4-2-26-16,-2 4 21 0,1-2 2 16,-5-1-25-16,-1 3 15 15,1 0 16-15,-5 1-9 0,5 1-22 0,1-1 8 0,2-1 12 0,0 0-43 16,5 0 30-16,1-2-12 0,2 0-3 0,2 1 10 16,3-1-2-16,-1 0 0 15,6-2 15-15,0 3 10 0,0-3 3 0,0 0-13 0,19 0-2 16,-7-1 7-1,1 1 3-15,5-2-1 0,5-2-9 0,-2 2-3 0,4 1-15 16,3-3 30-16,1 0-43 0,4 2 36 16,-3-3-8-16,1 3 20 0,3-2-15 0,-6 2 16 0,0-2-29 15,-4 3 28-15,-4-2-35 0,-2 2 25 0,-3-1 6 16,-3 0 17 0,-3 1-10-16,-1 0 31 0,-4 1-36 0,-4 0 17 0,0 0-11 0,0 0 19 15,0 0-10-15,0 0-10 0,-21 4 8 0,9 0-8 16,-3-1-20-16,-1 0 27 0,-4 0-4 15,2-3-6-15,-1 3-9 0,2-1-9 16,-4-1-2-16,6 2-10 0,-3-2 10 0,5-1 23 0,1 1-23 16,1-1-3-16,1 0 14 0,2 1-27 15,1-1 21-15,7 0 3 16,-8-1-31-16,8 1 15 0,0 0 19 0,0 0-24 0,0 0 23 16,20-9-38-16,-7 4 36 0,2 1-13 15,4-2-29-15,4 0 39 0,5-1 16 0,-2 1-26 0,11-4 2 16,-5 2-15-16,-7 2 21 15,-2-1-6-15,-2 1-7 0,-1 2 2 0,-4 0 26 0,-4 0-8 16,-1 3 37-16,-3-1-17 0,-1 1 14 0,-7 1-34 16,0 0-18-16,0 0 31 15,0 0-41-15,0 0 26 0,-30 10 8 0,14-6-16 0,-5 2 0 16,-2 1 0-16,-3 0 0 0,2 1 0 16,-3 1 0-16,2-3 0 0,-1 3 0 0,4-3 0 0,3 1 0 15,3 1 0-15,2-4 0 16,3 0 0-16,1 0 0 0,2-1 0 0,3 1 0 0,2-3 0 15,3-1 0-15,0 0 0 0,0 0 0 16,0 0 0-16,0 0 0 0,31-7 0 0,-17 3 0 16,6-1 0-16,3-3 0 0,0 1 0 15,3-1 0-15,-1-1 0 0,-1 3 0 16,-2-2 0-16,-4 1 0 0,0 3 0 0,-5-1 0 0,-3 0 0 16,-2 2 0-16,-3 2 0 0,0-2 0 0,-5 3 0 15,0 0 0-15,0 0 0 0,0 0 0 16,-33 5 0-16,17-1 0 15,-4 2 0-15,0 0 0 0,-4 2 0 0,1-1 0 0,-2 1 0 0,-1-1 0 16,3 2 0-16,0-1 0 16,2-2 0-16,4-1-210 0,1 2-95 0,3-4-84 15,3 0-133-15,2-1-154 0,1 0-399 0,2-2 79 16,5 0 126-16,-6 0 99 0,6 0 60 16,0 0 104-16,2-9 111 0,2 3-47 0</inkml:trace>
</inkml:ink>
</file>

<file path=ppt/ink/ink2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8T16:18:15.346"/>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B050"/>
    </inkml:brush>
  </inkml:definitions>
  <inkml:trace contextRef="#ctx0" brushRef="#br0">3865 2371 499 0,'0'0'210'0,"-5"-4"-16"0,5 4-12 16,-3-3-11-16,3 3-9 0,-5-2-63 16,5 2-88-16,-8-2-65 0,8 2-46 15,-5-1-353-15,5 1-108 0</inkml:trace>
  <inkml:trace contextRef="#ctx0" brushRef="#br0" timeOffset="1213.98">5826 2221 1034 0,'-4'-2'407'0,"4"2"-70"0,-4-4-6 16,4 4-32-16,-5-2-25 0,5 2-33 0,0 0-11 15,0 0-38-15,0 0-10 32,0 0-13-32,16-1-23 0,-9 1 2 0,6 1-15 0,5 0-7 0,0-1-6 0,8 1-10 0,2-1-18 15,3 2 3-15,3 0-36 0,1-2 2 16,-1-2 18-16,1 4-30 0,-1-2-3 0,-1 1-18 16,0-1-48-16,-7 1-21 15,2-1 15-15,-5 1-10 0,-4-1 21 0,-1 0-8 0,-1 0 21 16,-4 0-16-16,0 1 12 0,-1 0-11 0,-2-1 6 15,1 0 16-15,-3 2 18 0,0-2-10 16,-1 0 21 0,0 0-17-16,-7 0 17 0,9 0 14 0,-9 0-12 0,9 0-18 0,-9 0 21 15,0 0-4-15,8 0-1 0,-8 0-1 0,0 0-15 0,5-2-10 16,-5 2-19-16,0 0-4 0,0 0-8 16,0 0-31-16,0 0-2 15,0 0-47-15,0 0-9 0,0 0-16 0,0 0-39 0,0 0-40 16,0 0-51-16,0 0-37 0,0 7-84 0,0-7-5 15,0 0-394-15,0 0 54 0,-4 6 97 16,4-6 92-16</inkml:trace>
  <inkml:trace contextRef="#ctx0" brushRef="#br0" timeOffset="3163.18">7726 2125 678 0,'0'0'207'0,"0"0"-20"0,0 0-15 16,2-2-21-16,-2 2-26 0,0 0-53 0,0 0-52 16,0 0-53-16,0 0-13 0,0-4-21 0,0 4-30 0,0 0-72 15,0 0-420-15,0 0 57 16</inkml:trace>
  <inkml:trace contextRef="#ctx0" brushRef="#br0" timeOffset="9970.06">16102 2263 1092 0,'-7'2'364'0,"7"-2"-75"15,0 0-15-15,-6 1-38 0,6-1-14 0,0 0-4 16,0 0-24-16,-5 0-25 0,5 0 16 15,0 0-42-15,0 0 11 0,0 0-34 16,0 0-2-16,0 0-1 0,0 0-78 0,0 0-21 0,13 4 12 16,-7-3 4-16,-6-1-19 15,12-1 8-15,-2 1-8 0,-2 0 1 0,2-1 89 16,0-2-23-16,-1 3-3 0,3 0-12 0,1-1-16 0,0-1 10 16,-3 1 6-16,5-1-19 15,1 2-7-15,-4 0-13 0,3-3 13 0,-1 2 5 16,4-1-20-16,-3 1 33 0,3 0-46 0,0 1 23 15,0-1-1-15,2 0-19 0,4-2 2 16,-2 3 0-16,-3 0-8 0,3-1 3 0,-1-1 5 16,2 2 7-16,-2-1 6 0,0 1-8 0,-4-1-23 15,3 0 20-15,1 1-9 0,-3-2 1 0,2 2-1 16,-1-2-16-16,-1 2 15 0,0 0 13 16,-3 0-26-16,3-1 16 31,-2 1-10-31,-2 0-3 0,2 1 2 0,-1-1-9 0,1 0-11 0,-1 0 18 0,-2 0 15 0,2 0-28 15,-2 0 5-15,0 0 8 0,-2 0 13 0,1 0-20 16,1 0 9-16,0 0 1 0,-3 0 2 0,3 0-15 16,-1 0 17-16,1 0-7 0,0 0-15 15,-2 0 17-15,3 0 24 0,-3 0-41 0,5 0 22 16,-2 0 4-16,0 0-27 0,-1 0 37 0,-1 0-19 16,1 0-7-16,0 0 10 0,-1 0 6 15,-1 0 12-15,1 0-18 0,-1 0 0 0,-1 0 2 16,-2 0 6-1,0 0-36-15,0 0 39 0,-1 0-32 0,1 0 3 0,0 0 24 16,-1 0-24-16,1-1 13 0,-8 1 5 0,10-2-2 16,-2 2 14-16,-1 0-14 0,1 0-13 0,0-1 15 0,-1 1-5 15,1 0-5-15,0 0 15 16,2 0-23-16,0 0 8 0,0-1 10 0,1 1-23 16,-1-1 41-16,0 1-23 0,1 0-7 0,1 0 4 15,1 0 8-15,-2 0-2 0,1 0-8 16,1 0 2-16,-3 0 6 0,1 0 33 0,-1 0-72 15,3 0 28-15,-3 0 23 0,0 0 8 16,-2 0-30-16,2 0-9 0,-2 1 14 0,0-1-11 0,-1 0 5 16,-7 0 6-16,13-1-8 0,-7 1-1 15,-6 0 16-15,12 0 6 0,-4 0-4 16,-1 0-4-16,-7 0 28 0,14 0-26 0,-7 0-13 0,1 0 3 16,0 0-13-1,2 0 3-15,0 0 12 0,2 0 11 0,-1 0-16 0,-1 0 8 0,3 0-8 16,-2 0 19-16,1 0-16 0,-1 1 12 15,1-1 16-15,-2 0-15 0,1 0 5 16,-1 0 25-16,3 0-35 0,-3 0-19 16,-2 0 21-16,-1 1-15 0,1-2-3 0,0 1 6 0,0 0 4 15,-8 0-2-15,12 0 20 0,-7 0-15 16,1 1-10-16,-6-1-3 0,10 0 13 0,-10 0 13 16,10 1-10-16,-5-1-6 0,-5 0 16 0,8 0-21 15,-8 0-2-15,10 0 20 16,-5 2-12-16,-5-2-3 0,8-2-6 0,-8 2 29 15,13 0-20-15,-8 0-1 0,3 2-2 0,0-2 13 16,2 0-16-16,0 0 13 0,0 0 5 16,1 0-20-16,1 0 8 0,-2 0 4 0,1 0 1 15,2 0-3-15,0 0 7 0,-3 0-12 16,2 0 28-16,-1 0-25 0,1 0 4 0,-1 0-22 16,-1 0 15-16,-2 1-8 0,5-1 5 0,-6 0 13 15,3-1 11-15,-2 1-6 0,0 0-13 0,-3 1-9 16,3-1 22-16,-8 0-5 0,10 0-13 0,-2 0 42 15,-8 0-47-15,8-1 5 16,-1 1 16-16,-2 1-18 0,-5-1 10 0,8-1 7 0,-8 1-4 16,8 0-1-16,-8 0 1 0,7-2-3 15,-7 2 23-15,10 0-26 0,-10 0 1 16,10 0 40-16,-4 0-33 0,2 0-10 0,-1 0 8 16,3 0-13-16,-2 0 4 0,5 0 6 0,-3 0 8 15,1 0-26-15,1 2 13 16,-1-2 10-16,-1 1-13 0,3-1 6 0,-1 0 25 0,1 0-20 15,-2 0-11-15,1 0 18 0,-2 0-2 0,1 0-8 16,-1 0-3-16,0 0 6 0,-2 0-8 16,0 0 0-16,-1 0 15 0,1 0-15 0,-2 0 0 15,1 0 2-15,-7 0-5 0,10 0 6 16,-3 0 7-16,-7 0-8 0,11 0 24 0,-5 0 2 16,-6 0-21-16,12 0 21 0,-4-1-17 15,0 2-1-15,-1-1 2 0,3 0-4 0,1 0 5 16,-1 0-6-16,0 0 29 0,3 0-41 0,0 0 25 15,-3 0-5-15,3 0-7 0,0 2-6 16,0-2 1-16,-3 2-6 0,4-2 8 0,-2 0 15 16,-2 0-10-16,0 1 13 0,-3-1-28 15,4 0 48-15,-3 1-50 16,2 0 4-16,-2-1 16 0,-8 0-6 0,12 1 8 0,-6-1-12 0,1 1-13 16,-7-1 2-16,8 0 10 0,-1 0 1 15,-7 0 4-15,11 1 16 0,-6-1-28 16,-5 0 35-16,10-1-32 0,-10 1 14 15,11-1 19-15,-6 0-21 0,-5 1-18 0,10-1 11 0,-3 1-11 16,-1-1 13-16,-1 0 8 0,-5 1 2 16,14 0-25-16,-8 0 7 0,0 0 8 0,1-2 8 15,1 2-11-15,0 0-15 0,-8 0 44 0,14 0-8 16,-6 0-29-16,-2 0 22 0,1 0-16 16,1 0 17-16,2-2-14 0,-2 2-11 0,0 0 3 15,0 0 10-15,-8 0 10 0,13 0-7 0,-5 0 7 16,-2 2-10-16,2-4 2 0,-2 4-14 15,-6-2 27-15,14 0-23 0,-8 0 3 16,1 0 10-16,-1 0 16 0,-6 0-16 0,15 0-5 0,-10 0 0 16,3 0 0-16,0 0 2 0,-8 0 11 15,13 0-26-15,-9 0-5 0,4 0 24 0,-2-2-19 16,-6 2 26-16,12 0-19 16,-12 0 4-16,10 0 25 0,-10 0-21 0,9 0-2 15,-5 0 18-15,-4 0-25 0,10 0-6 0,-10 0 31 16,8 0-28-16,-8 0 4 0,8 0 12 0,-3-1-14 15,-5 1 18-15,10 0-12 0,-10 0-9 0,8-2 9 16,-8 2 7-16,8 0-8 0,-8 0 8 16,8 0-2-16,-8 0 7 0,10 0-17 0,-10 0 7 15,7-1-16-15,-7 1 37 0,8 0-26 16,-8 0 7-16,10 0 19 0,-10 0-24 0,8 0-7 16,-3-1 0-16,-5 1 7 0,8-1 8 0,-8 1-20 15,7 0 10-15,-7 0 10 0,8 0 8 16,-8 0-24-16,0 0 29 0,9 0-20 15,-9 0 12-15,6 0-13 0,-6 0 1 0,6-2 10 16,-6 2-3-16,8-1-13 0,-8 1 5 0,7 0-4 16,-7 0 4-16,8-2 16 0,-8 2-18 15,8 0 5-15,-8 0 8 16,8-2-21-16,-8 2 20 0,7 0 4 0,-7 0-6 0,0 0-15 0,10-1 17 16,-10 1-9-16,7-1-19 0,-7 1 42 15,6 0-24-15,-6 0-7 16,5-2 18-16,-5 2-11 0,6-1-2 0,-6 1-3 0,7 0 13 15,-7 0-10-15,5-2-5 0,-5 2-5 0,0 0 30 16,8-2-23-16,-8 2-2 0,0 0 15 16,8 0 3-16,-8 0 2 0,7 0 3 0,-7 0-29 15,5-1 11-15,-5 1 13 0,5-1 2 0,-5 1-10 16,0 0-5-16,8-1 8 0,-8 1-85 16,8-2 8-16,-8 2 17 0,8-1 1 15,-8 1 2-15,0 0 13 0,10 0-7 0,-10 0 4 16,7 1 16-16,-7-1 10 0,0 0-5 0,8 2-10 15,-8-2 10 1,7 0 12-16,-7 0 14 0,0 0-11 0,6 0-7 0,-6 0 12 0,0 0 6 16,0 0 0-16,7-2-6 0,-7 2 13 15,0 0-7-15,8-1-1 0,-8 1-2 0,3-4 16 16,0 2-6-16,-3 2-18 0,4-3 34 0,-4 3-11 16,3-4-12-16,0 2 10 0,1-1 4 15,-4 3-19-15,3-5 2 0,0 4 20 16,0-3-4-16,-3 4 9 0,4-6-2 0,-1 2-23 0,-2 0 16 15,1 1-9-15,0-2 14 0,1 2-13 0,-1 0 25 16,-1-3-28-16,-1 3 21 0,2-2 4 16,0 0-22-16,1 1 18 0,-3-1 22 0,3 0-35 15,-1-1 18-15,0 0-18 0,-1 1-3 16,-1-3-3-16,2 0 14 0,1 0-6 0,-3 0-10 16,0-2 13-16,3 1 5 0,-3-1-7 15,0 1 2-15,0-2-8 0,0 1 18 0,0-1-8 16,0 0-12-1,0 1-8-15,0-3 10 0,-1 0-7 0,-1 1 15 0,2 2 7 0,-5-3-35 16,5 2 23-16,-3-2-13 0,1 1 3 0,-1-1 17 16,2 2-5-16,-3-1 1 0,2-1-26 15,0 1-1-15,1 2 19 0,-4-1-16 0,5 1 11 16,-3 1 15-16,0 0-5 0,1 1-13 0,0 2 7 16,1-1-17-16,-1 1 7 0,2 1-7 0,-3-1-3 15,3 2 13-15,-2-2 23 0,2 2-23 16,-1 0 18-1,1-1-2-15,0 5-1 0,0-6 3 0,-2 3-10 0,2 3-6 0,-2-6-7 16,2 6-3-16,-3-5 1 0,3 5 14 16,0-4-9-16,0 4 17 0,0 0-17 0,-1-4 12 15,1 4-23-15,-2-5 34 0,2 5-1 16,0 0-15-16,-4-2 8 0,4 2-5 0,0 0 4 0,0 0-1 16,-6-2-19-16,6 2 69 0,-5-2 6 15,5 2 12-15,0 0-7 0,-8-1-26 16,8 1 10-16,-9-1-30 0,9 1 20 0,-11 0-10 0,11 0-3 15,-13-1 16-15,8 1-47 0,-3 0 37 16,0 1-16-16,-2-1-3 0,0 0 3 0,-3 0 11 16,1 0-22-16,-4-1-17 0,1 0 13 0,-1 1-3 15,-2-2 0-15,-2 1-7 16,3 1-3-16,-7 0-3 0,1 0-2 0,0-1 20 16,-1 2-15-16,1-1-5 0,-2 0 4 0,1 0 4 15,-1 0-24-15,-1 0 16 0,1 0 0 0,-1 3-21 16,0-3 23-16,1 0 6 0,-1 1-8 15,1-1 12-15,-3 0-15 0,2 0-2 0,0 0 5 16,-2 0-3-16,-3 0 0 0,-2 0 0 16,0 0 24-16,2 0-32 0,-2 0 1 0,-1 0 7 15,1 0 5-15,-3 0 3 0,3 0-3 0,0 1 1 16,-1-1-6-16,1 2 15 0,2 0 4 16,0-2-22-16,1 0 39 0,7 1-38 0,-4 0 17 15,2 0 11-15,0 0-5 16,2-1-23-16,-1 1 15 0,1 1 15 0,0-1-36 0,0 0 24 15,0-1 10-15,0 2-3 0,0 0 13 0,0-1-23 16,0 0-2-16,0 0 22 16,-1 0-35-16,2 1-11 0,-1-1 29 0,2 1-1 0,0-2-2 15,3 1 16-15,-5 0-16 16,6-1 0-16,-2 2 10 0,1-2-15 0,-2 0 7 0,4 2 26 16,-4-1-43-16,2 0 7 0,0-1 3 0,0 1 26 15,0 0-29-15,-3 1-5 0,3-2 6 0,-2 2 19 16,0-1-14-16,2-1 12 0,-3 0-10 0,4 2 0 15,-4-2 8-15,-2 2-21 0,2-1 5 16,1 1 13-16,-3-1-23 0,2 0 18 16,-2 0 11-16,2 1-27 0,1-1 3 15,-3 1 26-15,2-1-18 0,1 0 0 0,2-1 15 16,0 2-28-16,0-2-15 0,0 1 41 0,0-1-18 16,3 0 4-16,0 1 14 0,-1-1-16 0,3 0 8 15,1 2 16-15,2-2-24 0,-1 0 6 0,1 0 22 16,0 0-38-16,0 0 8 15,1 0-6-15,1 0 29 0,0 0-59 0,-1 0 31 0,1 0-3 16,1 0-5-16,-2 2 8 0,2-4-6 0,-3 4-5 16,2-2 19-16,1 0-14 15,-3 0 9-15,1 1-12 0,-1-2-24 0,-2 2 27 16,2-1-14-16,-1 1 22 16,-2-1-15-16,2 0 5 0,-1 1-3 0,-1-1 18 0,-2 0-28 0,2 1 44 15,0-1-26-15,-4 0 10 0,3 0 6 16,1 0-3-16,-1 0-3 0,0 0 11 0,-1 0 2 15,3 0-21-15,-2 1 16 0,2-1 13 0,-1 2-18 16,0-2-8-16,2 0 1 16,-1 1-9-1,2-1 39-15,-1 0-36 0,-1 1 13 0,2 0 20 0,-1 0-20 0,1 1-5 0,0-2 20 0,-1 0-10 16,-2 1-5-16,3 0 33 0,0 0-30 16,-1 0-11-16,-1-1 28 0,2 3-28 15,-1-1 1-15,1-2 14 0,-2 2-2 0,1 0-10 0,1-1 25 16,-3 0-15-16,2 3-15 15,1-3 33-15,-2 1-21 0,-1-1-12 0,0 2 33 16,-2-1-28-16,4-2 17 0,-1 2 4 0,1 0-32 16,-2 0 36-16,3-2-2 0,-1 3-3 0,-1-3-20 15,2 2 10-15,0 0 3 0,-1-1-26 16,3 1 23-16,-2 0 5 0,0-1-23 16,0-1 28-16,2 2-20 0,-2 0 5 0,2 0 18 0,1-2-21 15,-3 3-7-15,2-3 27 0,-1 2-22 16,0 0 23-16,-2 0-16 0,1 0 3 15,0-1-2-15,-1 1 4 0,-1 1 32 0,-1-1-34 16,5 1-3-16,-2-3 24 0,2 2-11 16,-2 0-36-16,2-1 47 0,0 1-14 0,1 0-7 15,0-2 3-15,-1 1-6 0,3 1 1 0,5-2 15 16,-13 1-16-16,8 0 3 0,-1 0 23 16,6-1-33-16,-7 2 41 0,2 0-26 0,5-2 2 15,-8 2-14-15,8-2-1 0,-5 1 8 16,0-1-3-16,5 0 3 0,-5 2-23 0,5-2 3 0,-6 2 22 15,6-2 4-15,-4 3-12 0,4-3 6 16,-4 3 0-16,4-3-5 0,-4 2 18 16,4-2-18-16,-6 3 10 0,6-3-10 0,-2 2 0 0,2-2-16 15,-3 3 16-15,-2-1-10 0,5-2 18 16,0 0-11-16,-3 5 13 0,3-5-2 16,-2 4-3-16,0-1 2 0,-1 1 19 0,0-2-29 15,1 2 13-15,2 0-18 0,-3 2 16 0,0-2 4 16,1 3-17-16,0 0 15 0,-1 0 3 15,3 1-21-15,0 0 18 0,-3 1-2 0,3 0 7 16,0 0-20-16,0 0 23 0,-2 1-21 16,2 0 13-16,0 1 8 0,0-1-16 0,0 2 8 0,0-2 11 15,-2 1-3-15,2-1-26 0,0 1 8 16,0 0-8-16,0 0 18 0,0 0 26 16,0-1-24-16,0 2-19 0,0-2 24 0,0-1-14 15,0 2 7-15,-1-2 18 0,1 1-8 16,-2-2-7-16,2 1-21 0,0-2 21 0,0 1-23 15,0-2 22-15,0 1-9 0,0-1-1 0,-3-1 13 16,3-1 11-16,0 1-36 0,0 0 22 16,0-1-12-16,0-4 5 0,0 6 5 0,0-6-5 15,0 6 10-15,0-3 21 0,0-3-33 0,0 5 22 16,0-5-2-16,3 5-31 0,-3-5 18 0,0 4-10 16,0-4 49-16,2 3-29 15,-2-3-15-15,0 0 21 16,3 4-14-16,-3-4 6 0,5 0-5 0,-5 0 10 0,7 0 15 0,-7 0-25 15,11 1 7-15,-6 0-25 0,-5-1 40 16,13 0-7-16,-8 0-23 0,5 0 8 0,-5 0 7 16,3 0-15-16,0 0 26 0,2 0-31 15,0 0 20-15,-2-1-7 0,2 0-5 0,1 1-11 0,1-2 13 16,-4 1 13-16,3 1-3 0,-1-2-43 16,0 0-23-16,0 2-21 0,-2 0-5 0,2-1-48 15,-3 1-26-15,3 0-36 0,-1-1-74 16,1 1-92-16,-2 0-164 0,0 0-448 0,-1 1 148 15,1 0 67-15,-1-2 77 0,1 2 56 0,0-1 131 16</inkml:trace>
  <inkml:trace contextRef="#ctx0" brushRef="#br0" timeOffset="40890.57">7757 3408 1159 0,'-3'-4'371'0,"-2"0"0"0,2 1-17 16,1 1-45-16,2 2-9 0,-8-5-31 16,6 3-24-16,0-1-19 0,2 3-4 0,0 0-40 15,0 0-72-15,7-6-20 0,-2 5 2 0,5 1 2 16,1 0-12-16,9-1-15 0,3 1 10 15,8 0-13-15,5 1 18 0,13-1 0 0,2 0-41 16,2 0 30-16,-1 0-4 0,4 0-39 0,3 1 15 16,0-1 1 15,1 2-29-31,3-2 3 0,-4 0 28 0,0 0-38 0,0 0 0 0,-7 1-13 0,1-1-13 0,-7 2 10 0,-7 1-38 0,-6-3-16 16,-2 1-12-16,-5-1-18 0,-1 1 10 15,-1-1-31-15,-4 1 9 0,-2-1-14 0,-3 1 5 16,1-1 24-16,-4 3-24 0,-3-3 21 15,-2 0-39-15,0 0-15 0,-7 0-58 0,8 1-55 16,-8-1-51-16,0 0-86 0,0 0-311 16,0 0 6-16,0 0 130 0,-23 5 28 0</inkml:trace>
  <inkml:trace contextRef="#ctx0" brushRef="#br0" timeOffset="41362.51">7949 3560 709 0,'23'-2'248'0,"2"-1"-5"0,-1 0 0 0,4 1-30 15,3-2-19-15,0 2 11 0,15-2-5 0,2-1-42 16,1 2-7-16,3-1 0 15,4 1-46-15,0-1 10 0,-1 2 8 0,-2 1-23 16,1-3-5-16,-3 4-16 0,-5-1-20 0,-7-1 13 16,-6 0-11-16,1 1-20 0,-4 0-5 0,-5 0 5 15,-4 1 2-15,3 0 19 0,-9 0-21 0,3-2 5 16,-3 1-3-16,-4 2 19 0,1-1 76 16,-2 0 3-16,-2 2-16 0,0-2 21 15,-1 0-15-15,-7 0 10 0,11 0-19 0,-4 0-9 16,-7 0 5-16,6-2-44 0,-6 2 21 0,0 0-31 15,0 0-13-15,0 0-13 0,7 0 16 16,-7 0-18-16,0 0 12 0,0 0-17 0,0 0-5 16,0 0 10-16,0 0 5 0,0 0-16 0,0 0 11 15,0 0-5-15,0 0-29 0,0 0 26 16,0 0-53-16,0 0-6 0,0 0-10 0,5-1 0 16,-5 1-18-1,0 0-7-15,0 0-1 0,0 0-22 0,0 0-24 0,0 0 3 0,0 0 10 16,0 0-41-16,0 0-30 0,0 0-24 15,0 0-35-15,0 0-39 0,0 0-48 0,0 0 28 16,0 0-26-16,0 0-13 0,0 0-309 0,5-3-49 16,-5 3 48-16,0 0 80 0</inkml:trace>
  <inkml:trace contextRef="#ctx0" brushRef="#br0" timeOffset="46021.86">14831 3500 749 0,'13'-1'285'0,"2"-2"-60"16,11 2-5-16,4-2-8 0,19-2-20 0,2 0-20 15,6-1-13-15,12-1-6 0,-13 2-12 16,11-3-36-16,4 3-8 0,-3-1 8 15,1 1-23-15,-13 3 5 0,0-2-23 0,-4 2-33 0,-1 1-21 16,-3-1-30-16,-9 2-34 0,-8 0-20 0,-3 2-65 16,-3-2-76-16,-1 1-18 15,-9 1-89-15,3 0-382 16,-2 0 105-16,-4-2 41 0</inkml:trace>
  <inkml:trace contextRef="#ctx0" brushRef="#br0" timeOffset="46278.28">15038 3576 762 0,'31'-4'259'0,"0"1"-13"16,12-3-29-16,6 1-20 0,2-2-18 0,13 0-25 15,3-2-13-15,2 2-16 0,-12 4-33 0,1-3 6 16,1 2-9-16,-4 2-22 0,0-2-29 16,-3 2-35-16,-4 1-85 0,-9 1-62 15,-5 1-19-15,-3-1-75 0,0 2-285 0,-9 0-99 16,1 0 87-16</inkml:trace>
  <inkml:trace contextRef="#ctx0" brushRef="#br1" timeOffset="204758.87">14525 3490 675 0,'-7'-3'233'0,"7"3"-28"0,-5-2-8 16,5 2-8-16,0 0-4 0,-8-1-44 0,8 1-3 16,0 0 5-16,-8 0-23 0,8 0 6 15,0 0-29-15,-10 1-12 0,10-1 7 0,-8 3-15 16,3-1-1-16,5-2-14 0,-8 0-6 0,1 2-2 15,7-2 2-15,-8 2-10 0,8-2-7 16,-10 0 9-16,5 0 3 0,5 0-12 0,-8-2-1 16,8 2-17-16,-8-2 17 0,8 2-7 15,-5-3 17-15,0 1-17 0,2 0-5 16,3 2-3-16,-5-7 10 0,0 3-12 0,3 1-11 16,-1-3 8-16,0 0-8 0,1 0-7 0,0-1 7 15,-1 1-5-15,0-1-3 0,3 0 1 16,-2-2 7-16,1 3 6 0,-1-3-27 0,0 0 27 15,2 1-1-15,-3 0-15 0,3-1 0 16,0 1 26-16,-2 0-19 0,1-2 11 0,1 2-20 16,0 1 12-16,0-2-10 15,0-1 0-15,0 1 31 0,0 1-39 0,0-2 8 0,0 2 8 16,0-1-6-16,0-1-4 0,0 3-6 16,0-1-20-16,-2-2 38 0,2 2-5 0,0-2-5 0,0 2 5 15,0 1 0-15,-2-2 13 0,2 1-23 16,0 2 15-1,0-1-10-15,0-1 3 0,-3 3-6 0,3-1-2 0,0 0 18 0,-1 1-13 16,2-1-13-16,-1 3 18 0,0-2 16 16,0 0-16-16,0 5-10 0,-1-6-3 0,2 2 13 15,-1 4-5-15,-1-7 0 0,1 5-18 0,0 2 16 16,0-6 15-16,0 6-21 16,0-5 3-16,0 5 7 0,0-4 14 0,0 4-14 0,0 0-17 15,1-5 12-15,-1 5-12 0,0 0 10 0,0-4 5 16,0 4-8-16,0 0 31 15,3-3-23-15,-3 3 5 0,0 0-28 0,0-5 31 0,0 5 10 16,0 0-28-16,4-5-3 0,-4 5 13 16,3-3-3-16,-3 3 1 0,5-3-1 0,-2 1 3 15,-3 2 28-15,10-4-20 0,-5 3-13 16,-2-1-3-16,4-2 3 0,-2 4 18 0,3-3 7 16,-3 0-20-16,3 1 16 15,0-1-14-15,0 0 1 0,2 2 15 0,-2-2-36 0,-1 2 10 16,3-1 8-16,-2-1 5 0,2 3 8 0,0-2-15 15,1 1 12-15,-1-2-20 0,0 3 10 16,3-3 12-16,-2 2-22 16,-1-1 15-16,3 1 3 0,-1 1 10 15,1-1-26-15,-3 0-5 0,3 0 11 0,0-2 4 0,-1 3 9 0,-1-1-16 16,5-1 5-16,-4 2-8 16,1 0-2-16,-3-1 15 0,5-1-5 0,-4 2-3 0,1-2 19 15,-1 2-22-15,2-1 4 0,0-1 7 16,-1 0-2-16,1 2-11 15,0-1 8-15,-2 0 0 0,1 0 8 0,1 1-21 0,0-3 26 0,-3 3-16 16,3-2 6-16,-1 1 4 0,-1 1-22 16,2-1 5-16,-3-1-6 0,3 2 19 0,0-1-8 15,-3-1 0-15,3 2 7 0,0-2 8 0,-1 0 1 16,-1 2-1-16,1 0-15 0,2 0 15 16,-4-2-18-16,2 1 11 0,-1 1 12 0,-1 0-15 15,0 0 16-15,-2 0-14 0,2 0 1 16,-2 0 7-16,2 0-10 0,-3 0-15 15,1-2 15 1,0 2 2-16,0-1-12 0,-1 1 18 0,1 0-11 0,0 0 3 0,-8 0-5 0,13 0 7 16,-6 0 14-16,1 0-8 0,0 0-16 15,-1 0 36-15,1-1-25 0,0 1 2 0,0-1-8 16,2 1 6-16,0-2-8 0,-2 1 7 16,2 0 3-16,-2 1 0 0,2-1 0 15,-2 1-7-15,2-1 4 0,0 1 6 0,-2 0-16 0,2-1 6 16,1 1 2-16,-2 0 2 0,0 0-9 0,1 0 4 15,0-2 19-15,0 2-27 16,-2-1-7-16,2 1 16 0,-3-1 2 16,4 1 0-16,-4 0 8 0,1 0-8 0,0 0-3 0,0-1-2 15,-1 0 10-15,1 1-15 0,0 0 23 16,0 0 10-16,-1 0-5 0,-1 0-16 0,1-3 1 16,0 3-11-16,1 0 0 0,0 0-10 0,2-1 21 15,-2 0-8-15,0 1-3 0,-1-1-2 16,-1 1 12-16,1-1 1 0,1 1-3 0,-1-2-8 15,1 2 19-15,-3 0-11 0,3-2-3 0,-2 1-10 16,-6 1 16 0,12-1-6-16,-4-1 1 0,-3 1 7 0,-5 1-3 0,10 0 1 15,-4-1-13 1,-6 1 10-16,7-1 0 0,-2 0 18 0,-5 1-21 0,8 0 21 0,-8 0-18 0,8 0-3 16,-8 0-7-16,0 0 18 0,5-3-8 15,-5 3-10-15,0 0 10 0,7 0 12 0,-7 0-14 16,0 0 15-16,0 0-34 0,0 0 19 15,0 0 9-15,8 3-7 0,-8-3 5 0,0 3-2 16,0-3-11-16,0 7 21 0,-3-4-16 16,3-3 16-16,-2 9-5 0,2-3-18 0,-2 1 10 15,1 2 13-15,-1-3-6 0,-1 3-14 0,1 1 17 16,-1-1-3-16,1 1 19 0,-1-2-13 16,2 3-6-16,-3-1 4 0,1-1-16 15,1 3 7-15,-1-4 3 16,3 2-7-16,-5-1-3 0,5 1-1 0,0-1 4 0,-3 1 10 0,1-4-16 15,0 3 8-15,2 0 5 0,-1-2 0 16,-1 0 3-16,2-1-67 0,-3 1-8 0,3-1 9 16,0 1 6-16,-2 0 14 0,2-2-3 0,-1 1 3 15,-1 1 2-15,-1 0 0 0,1 0 8 16,2-1-3-16,0 1 3 0,-2-1 0 0,1-1 15 16,1 1-5-16,-2 0 8 0,-1-2-13 0,3 3 0 15,-2-2 0-15,1-1 20 16,1 0 13-16,-2 2-17 0,2-4 2 0,-2 3-13 0,2-5 30 15,-3 7-6-15,3-5-19 0,0-2 3 16,0 6 10-16,0-6 10 0,0 4-5 16,0-4-3-16,-3 5 6 0,3-5-5 0,3 4 7 0,-3-4-15 15,-3 4 20-15,3-4-23 16,0 6-4-16,0-6 1 0,-2 4 34 0,2-4-23 16,0 0 0-16,0 3 8 0,0-3-23 0,-2 5 17 15,2-5 3-15,0 0-25 0,0 0 30 0,0 4 8 16,0-4-2-16,0 0-9 15,0 0-9-15,0 4 4 0,0-4 6 0,0 0 12 0,0 0-27 16,0 0 2-16,0 4 2 0,0-4 21 16,0 0-18-16,0 0 2 0,0 0 9 0,0 0 17 15,0 0-18-15,0 0 13 0,0 0 0 16,0 0-5-16,0 0 8 0,0 0 7 0,0 0-5 16,0 0-13-16,-6 2 11 0,6-2-3 15,0 0 26-15,-13-3-29 0,3 3 26 0,-3-3-35 16,0 3 12-16,-7-2-26 0,-3 1 47 0,-10 1-27 15,-16 0-11-15,-5 3-6 0,0 0-13 16,-2-2-46-16,0 5-56 0,-11 1-177 16,0 4-92-16,3-1-353 0,-3 1 10 0,3-1 82 0,-3-3 56 15</inkml:trace>
  <inkml:trace contextRef="#ctx0" brushRef="#br1" timeOffset="210425.05">4298 4121 470 0,'0'0'172'0,"8"0"20"0,-8 0 18 16,10 2-31-16,-5-2 8 0,3 0-13 0,-3 2-31 15,3-2-7-15,2 2 0 16,0-2-26-16,1 0 10 0,1 4-13 0,4-4-17 0,-3 1-16 15,5 0 16-15,-3 1-16 0,3 0 5 16,3-1-17-16,1-1 4 0,2 1-4 0,-2 0-13 16,2 0-9-16,1-1-1 0,1 0-8 0,-1 0 22 15,-1 0-14-15,2 3-9 16,-1-3 9-16,3 0-3 0,-2 2-6 0,-1-2-7 16,1 3 3-16,0-2-18 0,-1-1 15 0,1 1 2 15,5 0-7-15,-6-1-2 0,1 2 12 16,-1 0-18-16,2-2 0 0,-2 1 1 0,0-1-6 15,1 1 18-15,-2 0 7 16,1-1-7-16,-2 0 8 0,-2 0-13 0,1 0-5 0,-3 0 10 16,1 0 5-16,-2 0-13 15,0 0 1-15,0 0 9 0,-1 1-2 0,0-2 3 0,-2 1-13 0,-2 0 5 16,-1 1-3-16,-2-1 11 16,1-1 2-1,-1 1-10-15,-2 0 7 0,-1 0 16 0,-7 0 13 0,13 0 2 0,-8 0-25 0,-5 0 13 16,10 0-11-16,-10 0 23 0,10 0-12 15,-10 0 9-15,6 0-22 0,-6 0 5 0,0 0 31 0,10 0-39 16,-10 0-5-16,0 0 0 16,5-1 0-16,-5 1 0 0,0 0 0 0,0 0-10 15,5-2-16-15,-5 2-22 0,0 0-22 0,0 0-55 16,3-4-77-16,-3 4-126 0,0 0-114 16,0 0-434-16,5-3 144 0,-2 0 28 0,-3 3 80 15,5-5 55-15</inkml:trace>
  <inkml:trace contextRef="#ctx0" brushRef="#br1" timeOffset="211031.53">8623 4150 988 0,'36'0'279'16,"10"-4"-11"-16,8 2-25 0,23-5-48 0,10-3-18 0,11 3-14 16,-1 0-9-16,3-2-62 15,28-1-64-15,1 0-176 0,2 3 30 0,-6 1-87 16,-22 4-486-16,1-3 79 0,2 1 60 0</inkml:trace>
  <inkml:trace contextRef="#ctx0" brushRef="#br1" timeOffset="-199475.4">10462 10116 406 0,'2'-7'149'0,"-2"2"25"16,0 0 0-16,-2 0-10 0,2-1 30 0,-3 3-20 16,1-1 8-16,2 4-8 0,-11 0 28 15,1 7 75-15,-5 8-21 0,-13 9-21 16,-8 14 11-16,-6 6-39 0,-19 21-20 0,-6 5-18 0,-7 10-20 15,-5 5-19-15,-1 0 3 16,1 7-133-16,-1-3-33 0,1-2-8 16,1 2-33-16,4-4-21 0,0-6-63 0,10-3-73 0,7-2-27 15,16-20 4-15,-2 1-168 0,12-4-280 16,3-4 19-16,8-13 84 0</inkml:trace>
  <inkml:trace contextRef="#ctx0" brushRef="#br1" timeOffset="-199170.31">9395 10966 921 0,'-20'28'392'0,"-9"13"-26"0,-2 4-54 0,-1 6-20 15,1-1-23-15,-3 6-11 0,6 1-33 16,-5 2-53-16,7 0 4 0,0-2-19 16,4-1-32-16,1-1-2 0,11-14-31 0,2-1-36 15,2-4-20-15,6-6-8 0,4-7-25 0,3 0-16 16,3-5-64-16,8-3-38 0,2-5-85 0,4-7-114 16,7 1-534-16,14-10 167 0,4-5 39 0,8-8 56 15,4-6 122-15</inkml:trace>
  <inkml:trace contextRef="#ctx0" brushRef="#br1" timeOffset="-198675.63">13079 10504 952 0,'21'15'394'0,"-3"4"-33"0,8 9-18 0,5 6-33 16,4 3-26-16,1 6-18 0,2-1-38 0,-1 1-11 15,1 1-15-15,0 0-27 0,-4-1-14 16,1-2-41-16,-1 0-15 16,-1-1-38-16,-2-2-34 0,-10-7-33 0,1 4-56 0,-1-2-49 0,-3-1-67 15,0-1-102-15,-8-6-207 0,-2-1-313 16,-3-3 75-16,0-2 72 0,-4 0 40 0</inkml:trace>
  <inkml:trace contextRef="#ctx0" brushRef="#br1" timeOffset="-198375.91">13562 11368 1016 0,'7'12'399'0,"0"2"-33"0,-1-2-105 15,4 1-15-15,-2-1 43 0,5 6-7 16,2-5-55-16,3 4-14 0,2-5-16 0,1-3-31 16,2 2 3-16,3-3-7 0,-3-3-6 0,2-2-5 15,-2 0-16-15,1-3-7 0,-1-5-18 16,-1 0-7-16,2-2-6 0,-3-1 8 0,-1-3-33 16,-5 2-16-16,-2-2-7 0,0-2-19 0,-6-1-50 15,1-2-6-15,0-3-20 0,-3 4-38 16,-5-7-13-1,3 3-67-15,-3-5-108 0,0-3-106 0,-3 3-465 0,3-4 58 0,-5 0 45 0,0-10 67 16,0 1 99-16</inkml:trace>
</inkml:ink>
</file>

<file path=ppt/ink/ink2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8T16:22:20.321"/>
    </inkml:context>
    <inkml:brush xml:id="br0">
      <inkml:brushProperty name="width" value="0.05292" units="cm"/>
      <inkml:brushProperty name="height" value="0.05292" units="cm"/>
      <inkml:brushProperty name="color" value="#00B050"/>
    </inkml:brush>
  </inkml:definitions>
  <inkml:trace contextRef="#ctx0" brushRef="#br0">8126 2641 931 0,'0'0'341'0,"-2"6"-50"15,2-3-6-15,0-3-40 0,-3 7-2 0,3-7-17 16,0 5-29-16,0-5 77 0,0 3 15 0,0-3-33 16,0 0-5-16,0 0-13 15,0 0-13-15,0 0-10 0,3-15 5 0,-3 9 0 0,2-3-99 16,-2-1 9-16,2-4-9 0,-2-2-9 0,0-3-2 16,0-1-2-16,0-2 2 0,0-5 0 15,0-1-3-15,0 0-20 0,-4-9-2 16,1-1-16-16,0 6 28 0,3 0-30 0,-2 4 7 0,2 0 8 15,0 1-21-15,0 6-22 16,0 0 17-16,0 2 8 0,0 4-38 0,0 1 2 16,0 1 15-16,0 3-27 0,-2 0-16 0,2 1 2 15,0 3 8-15,0-2-40 0,0 1-24 0,-1 3-13 16,1-1-27-16,0 1-21 16,0 4-1-16,1-4 1 0,-1 4-51 0,0 0-24 0,0 0-12 15,0 0-36-15,0 0-72 0,0 0-63 0,0 0-73 16,0 0-73-16,0 0-349 0,0 0 80 15,0 13 86-15,0-13 65 16,0 0 51-16</inkml:trace>
  <inkml:trace contextRef="#ctx0" brushRef="#br0" timeOffset="302.7">8152 2011 1277 0,'-6'-2'473'0,"6"2"24"0,-7-2-52 0,7 2-12 0,-8 0-47 0,8 0-63 0,-13 4-21 0,6 1-20 0,-1 1-14 15,0 0-25-15,-2 1-28 0,0 0-17 16,-1 3-35-16,-1 0-1 0,-1 0-4 0,0 2-119 0,0 0-11 16,-3 2-8-16,2 1 9 0,-2-1-37 15,3-2-33-15,1 1 3 0,1 0-14 16,-2-2-7-16,3 1-25 0,3-3-8 15,-1-1-3-15,0-1-25 0,3 0-16 16,0-1-35-16,2-1-37 0,-2 0-9 0,2 0-111 0,1-1-35 16,-1-3-1-16,3 2-470 0,0-3 86 15,0 0 65-15,0 0 51 0,0 0 61 0</inkml:trace>
  <inkml:trace contextRef="#ctx0" brushRef="#br0" timeOffset="984.51">7977 2065 990 0,'0'-5'376'0,"0"5"-17"0,3-3-37 0,-3 3-20 15,3-3 8-15,-3 3-49 0,7-2-15 0,-7 2 7 16,11 1-17-16,-4 0-42 15,3 0 24-15,0 2-36 0,4-1-39 0,1 1-2 0,0-1 69 16,3 4-6-16,0-3-45 0,0 2-5 16,2 0 22-16,-1 0-122 0,-1 0 13 0,2 0 4 15,-2 0-7-15,0 2-20 0,-2-2 66 0,-1-1-26 16,0 2 21-16,-2-2-15 0,0 1 2 16,-3 0 8-16,0-1-26 0,1-1 0 0,-4-1-28 15,1 2 36-15,-1-1 5 0,1 0-10 16,-3 0-3-16,1-1 3 0,-2 0-13 0,2 0 10 15,-2 0 29-15,-4-2-29 0,6 2 18 0,-4 1 8 16,-2-3-54-16,6 3 41 0,-6-3-5 16,3 1-33-16,-3-1 17 0,0 0 8 0,7 2-2 15,-7-2-11-15,0 0 32 0,0 0-37 0,5 2-10 16,-5-2-2-16,0 0-44 0,0 0 0 16,0 0 0-16,0 0 0 15,0 0 0-15,0 0 0 0,6 2 0 0,-6-2 0 0,0 0 0 16,0 0 0-16,0 0 0 0,0 0 0 0,0 0 0 15,0 0 0-15,0 0 0 0,0 0 0 16,4 1 0-16,-4-1 0 31,0 0 0-31,0 0 0 0,0 0 0 0,0 0 0 0,0 0 0 0,0 0 0 0,0 0 0 0,0 0 0 0,0 0 0 0,0 0 0 16,0 0 0-16,0 0 0 0,0 0 0 16,0 0 0-16,3 2 0 0,-3-2 0 0,0 0 0 15,0 0 0-15,0 0 0 0,0 0 0 0,0 0 0 16,0 0 0-16,0 0 0 0,0 0 0 15,0 0 0-15,0 0 0 0,0 0 0 0,0 0 0 16,0 0 0-16,0 0 0 16,0 0 0-16,0 0 0 0,0 0 0 0,0 0 0 0,0 0 0 15,0 0 0-15,0 0-77 0,0 0-46 16,0 0-41-16,0 0-36 0,0 0-48 0,0 0-33 16,0 0-22-16,0 0-34 0,0 0-52 15,0 0-100 1,0 0-5-16,0-7-479 0,0 7 41 0,0 0 167 0,0 0 43 0,0 0 82 0,0 0 59 15</inkml:trace>
  <inkml:trace contextRef="#ctx0" brushRef="#br0" timeOffset="2097.21">17241 2546 1062 0,'0'0'335'0,"0"0"8"0,0 0-41 0,5-10-15 0,-3 5 7 0,-2-4-25 15,3 0 69-15,-3 0-23 0,-3-1-18 0,3-6 2 16,0 1-35-16,-2-2-8 0,1-3-41 16,-1 0-16-16,0-5 1 0,-1-2-85 0,1 1-30 15,1-1-9-15,-1 2-6 0,2 0-1 0,-3-2 7 16,3 6 17-16,-2-1-29 0,2 2 2 15,0 1 6-15,0 3-11 0,-1 2 3 0,1 1-15 16,-2 1-16-16,2 3 29 0,0 0-44 16,0-1 15-16,0 2-2 0,0 1-39 15,0 1-5-15,-2 1-25 0,2 1-19 0,2 1-22 16,-2 3-41-16,0 0-11 0,0 0-63 0,0 0-57 16,0 0-69-16,0 0-144 0,0 0-454 0,0 0 98 15,-5 11 19-15,5-11 97 0,0 8 62 16,0-6 40-16</inkml:trace>
  <inkml:trace contextRef="#ctx0" brushRef="#br0" timeOffset="2311.27">17330 1998 1031 0,'-5'-4'415'0,"5"4"-21"16,-5-4-28-16,5 4-33 0,0 0-29 0,0 0-32 15,-17 7-37-15,11-3-4 0,-2 2-34 16,-2 1-31-16,0 0-5 0,-3 3-20 0,0 0 28 16,-2 1-15-16,0 2-42 0,-3 0-40 0,2 0-54 15,-2 0-34-15,3 2-53 0,2-4-77 16,0 1-76-16,0-1-119 0,1 0-460 0,3-3 10 16,1-2 62-16,-2 2 101 0,3-3 73 15</inkml:trace>
  <inkml:trace contextRef="#ctx0" brushRef="#br0" timeOffset="2589.55">17145 2052 1336 0,'8'-1'384'0,"0"0"-6"0,5 1-22 0,-3 1-18 0,5 0-44 0,-1 1-40 16,3 2 68-16,1-1-27 0,-2 1-32 15,4 1-12-15,-1 1-113 0,-2-1 3 0,1 1 0 16,-2-2-39-16,-1 1 1 0,2 2-6 0,-1-2-35 16,-1 0-32-16,-2-1 9 0,0 1-37 15,0 1-9-15,0-1-4 0,0-1-17 0,-3 1-46 16,1 0-21-16,-1-1-15 16,0 1-26-16,-5-2-20 0,3 2-61 0,-3-1-67 0,-1-1-134 15,-1 2-434-15,0-2 89 0,0 1 82 16,-1-1 67-16,-2-3 64 0</inkml:trace>
  <inkml:trace contextRef="#ctx0" brushRef="#br0" timeOffset="13720.97">9815 4246 586 0,'0'0'238'0,"0"0"-31"16,0 0-28-16,16-6 21 0,-9 6-59 0,1 0-13 16,0 0-13-16,3 0 8 0,1 0-23 0,4 0 4 15,-1 0-24-15,1 0-11 0,2 3 26 16,-1-2-31-16,6 0-8 0,-2 0-33 0,2 3 23 16,0-3 5-16,1 1-28 0,1-1-5 15,8 1-10-15,-2-1 12 0,0 0 3 0,2 0 3 16,-2-1 2-16,5 3 3 15,-3-2-23-15,3-1-1 0,-1 1 3 0,-1-1 11 0,2 1-11 0,-3 0 11 16,1-1 4-16,-1 0-30 0,-3 0 3 16,1 0 4-16,-5 2 8 0,0-2 6 15,-1 0-1-15,1 1-20 0,-1-1 0 0,-1 0 13 16,-6 0-3-16,5 0 7 0,0 0 4 16,-2 0-6-16,1 1 8 0,-4 0-18 0,1-1 8 15,-1 1-19-15,-3 0 27 0,3-1-16 0,-3 2 0 16,-2-2 20-16,-3 0-22 0,1 0-3 15,-1 1 28-15,0 0-13 0,-2-1-15 0,-1 0 7 16,0 0 6-16,-7 0 15 0,11 0 5 0,-6 0-10 16,-5 0 13-16,8 0 5 0,-8 0-16 15,7 0-12-15,-7 0 15 16,0 0-21-16,8 0 6 0,-8 0-13 0,0 0-8 0,0 0-28 16,0 0-51-16,0 0-21 0,8 0-30 15,-8 0-46-15,0 0-47 0,0 0-309 0,0 0-105 16,0 0 46-16,0 0 58 0</inkml:trace>
  <inkml:trace contextRef="#ctx0" brushRef="#br0" timeOffset="16529.75">4395 4213 604 0,'6'1'248'0,"-6"-1"-43"0,5 2-11 16,-5-2-25-16,8 0-5 0,-8 0-10 0,10 0-21 0,-5 0-13 15,-5 0 3-15,13 0-26 0,-8 3 13 16,3-3-5-16,0 0-20 0,2 0 4 0,0 0-15 16,2 0 8-16,1-3-10 0,3 3 0 0,-1 0-16 15,3-1 21-15,0 0-29 0,0 0 27 16,3 0-9-16,1 1-33 0,-1-3-4 0,2 1 9 16,-2 1-10-16,2 1-13 0,-3-3 26 15,3 2-10-15,1 1-15 0,-4-1 14 16,3 0-25-16,-2 1 11 0,1-3 2 0,2 2 5 0,-3 0-13 15,1 0 8-15,-3 1-8 0,3-3 0 16,1 2-7-16,-2 0 7 0,-1 1 13 16,1-1-18-16,0 1-5 0,-4-1 13 0,1-2 13 15,1 2-26-15,-1 1 10 0,-1-1-2 0,1 0 9 16,0 1-4-16,0-2-5 0,0 1-3 16,0 1-2-16,-3-2-1 0,3 1-9 0,-3 1 17 15,1 0-5-15,-1 0-5 0,1-3 20 16,-1 2-27-16,0 1 4 0,-2-1 8 0,0 0-12 15,0 1 4-15,-3 0 6 0,3 0-11 16,-3-1 18-16,1 1-25 0,2-3 15 0,-3 3 7 16,0 0-12-16,3 0-10 0,-3 0 30 15,1 0-15-15,1 0 21 0,-2-2-14 0,0 4-12 16,0-4 10-16,1 2 1 0,2 0 12 16,-3 0-3-16,-2 0-15 0,5 0 5 0,-6-1-10 15,4 1-5-15,-1 0 10 0,-3 0 2 0,1 0-2 16,0 0 8-16,-8 0-16 0,13 0 6 15,-6 0-6-15,1 0-5 0,-8 0 31 0,13 1-20 16,-8-1-14-16,1 2 19 0,1-2-26 0,1 0 20 16,-3 0 18-16,-5 0-12 0,12 0 2 15,-6 3-7-15,-6-3-14 0,10 0 11 0,-5 0 10 16,1 1 13-16,1-1-31 0,-2 1 18 16,-5-1-12-16,16 1-3 0,-11-1 20 15,3 1-18-15,1 2 18 0,-1-3-30 0,0 1 30 16,0 1-12-16,1-2-9 0,-1 3 11 15,2-3 3-15,1 2 7 0,-3-1 5 0,4 2-22 16,-2-2-1-16,-1 0 6 0,3-1 12 0,-2 1-13 16,0 0-17-16,-1 1 22 0,1-1 9 15,2 0-24-15,-2 0 8 0,-1 0 30 0,3 0-12 16,-1 1-16-16,-1-2-7 0,0 1 13 0,1 0 7 16,-1 0-5-16,0 2-5 0,0-3 0 15,-2 0-5-15,2 0-3 16,3 1 11-16,-3 0 17 0,0 0-14 15,3 0-9-15,-3-1-5 0,1 2 34 0,1-1-21 0,-1-1 3 16,-1 0-8-16,3 0-11 0,-3 0 14 0,1 1 0 16,1-1-6-16,-2 1-7 0,1-1 5 0,1 1 10 15,2-1-26-15,-2 0 83 0,-2 0 7 0,1 0-26 16,1 0 6-16,-2 0 5 0,1 0-24 16,-1 0-7-16,3 0 13 0,-2 3-10 15,-1-3 23-15,2 0-39 0,-1 0-8 0,1 0 34 16,-2 0-18-16,1 0-3 0,2 0 1 15,-2 0 2-15,1 2 12 0,-2-2-24 0,0 0 9 0,1 0 11 16,-1 0-26-16,2 1-8 0,-1-1 21 0,2 2-6 16,-3-1-7-16,3-1-2 15,-1 0 15-15,-1 0-3 0,2 1-31 16,-3 0 29-16,3-1 28 0,-2 0-28 0,1 2-6 0,0 0 3 16,-1-1 11-16,2-1-14 0,-1 0-15 15,4 0 8-15,-3 0 18 0,2 1-21 0,-2 0-2 16,5-1 5-16,-5 1 13 0,5-1-13 0,-5 2 17 15,2-2-19 1,3 0 9-16,-3 1-4 0,0 1 9 0,2-2-4 0,0 0-1 16,-2 0 9-16,3 3-1 0,-3-3-15 15,3 1 18-15,-2 0-8 0,2 0 2 0,-3-1-9 16,3 0 15-16,-2 1-11 0,2-1 21 0,2 3-10 16,-2-3 10-16,0 0-5 0,0 0-8 0,0 0-15 15,-2 0 5-15,1 0 0 0,1 0 18 16,-2 0-3-16,2-3 34 0,-3 2-18 0,3 1-24 15,0 0 27-15,-3 0-16 0,0 0-11 0,1 0 6 16,-3 0 2-16,2 0 8 0,-2 0-5 16,0 0-12-16,-1 1 32 0,2-1-13 0,1-1 6 15,-3 1 0-15,4 0 0 16,-3 0-16-16,0 0 8 0,0 0-5 0,0 0-3 0,2 0 13 16,-5 0-2-16,5 0-3 0,1 0 16 15,-1 0 12-15,1 0 18 0,-2 0-21 0,2 0-22 16,-1 0-3-16,-1 0 0 0,-2 0-8 0,-2 0 16 15,1 0 2-15,-1 0-4 0,0 0-19 16,-2 0 33-16,0 1-27 0,-1-1 7 0,-7 0 5 16,13 0 5-16,-8 0-30 0,-5 0 33 0,10 0 5 15,-10 0-8-15,8 0-87 0,-8 0 3 16,5 0 5-16,-5 0 2 0,0 0 16 0,8 0 15 16,-8 0-23-16,0 0 6 0,8 0 9 15,-8 0-4-15,0 0-16 0,0 0 2 16,5 3-14-16,-5-3-24 0,0 0-10 15,0 0 2-15,0 0-48 0,0 0-18 0,0 0-38 0,0 0-90 16,0 0-87-16,0 0-64 0,0 0-420 16,-15-7 82-1,15 7 95-15,-6-3 87 0,6 3 43 0</inkml:trace>
  <inkml:trace contextRef="#ctx0" brushRef="#br0" timeOffset="35259.32">7328 4746 798 0,'14'-4'228'15,"-2"3"0"-15,1-1-13 0,10 1-26 0,1 0-10 16,6-2-2-16,16 0-29 0,3 3-9 16,5-4-4-16,2 3 1 0,3 1-36 15,3 0-8-15,-1-1 3 0,1 1-19 0,-6 1 4 0,3 0-14 16,-3 0-12-16,-2 2-5 16,-5-3-31-16,0 3 18 0,-3 1-57 0,-7-3-38 0,-8 4-25 15,1-5-72-15,-1 3-57 0,-8 0 72 16,-2-1-138-16,-1 0-419 0,-2 0 37 15,-5-1 62 1</inkml:trace>
  <inkml:trace contextRef="#ctx0" brushRef="#br0" timeOffset="35514.67">7349 4908 709 0,'26'3'227'0,"-11"-3"1"16,3-3-10-16,8 1-19 0,3-3-12 0,16-2-5 15,4 1-46-15,7-1-24 0,11-2 6 16,2 1 0-16,-2 0 0 0,0 2-34 16,-16 0-12-16,2-1 12 15,-6 3-28-15,-1 3-4 0,-10-2-32 0,-6 1-20 0,-4 2-43 16,-1 0-75-16,-1 2-23 0,-6 1-53 0,0-2-16 0,-3-1-39 15,0 4-380-15,-5-1 22 16,1 1 87-16</inkml:trace>
  <inkml:trace contextRef="#ctx0" brushRef="#br0" timeOffset="43135.31">16541 4812 391 0,'15'-2'118'0,"1"4"-31"16,-1-4 18-16,-3 2-3 0,2 0 1 0,-2 0 4 16,-1 0-30-16,4 2-13 0,0-2 26 15,-2 1-1-15,3-1-4 0,2 1-37 16,-3 1 24-16,1 1-16 0,1-3-15 0,-4 0 10 15,2 2 18-15,3-2-38 0,-2 3 2 0,-1-2 21 16,3 1-21-16,2 0 3 0,-4 0-20 16,5-1-1-16,-1 0 3 0,1 2-5 0,3-2 2 15,-3 2 18-15,3-2-20 0,-1 2-5 16,3-2 20-16,-3 0-18 0,2 3 11 0,-1-4-8 16,0 1-11-16,0 1 6 0,-1 1 10 15,-2-2-8-15,1 0 0 0,-1 1 13 0,-1 0-33 16,-2-1 30-16,0-1-7 0,0 1-20 0,-2-1-11 15,2 1 7-15,-2 2 4 0,1-2 20 0,-1-1-1 16,-1 1 4-16,0 1-6 0,1 0 8 16,-1-2-18-16,0 1 18 15,-4-1-26-15,2 1-2 0,-1 0 25 0,1-1-12 0,-5 0-8 16,5 1 2-16,-3 2 16 0,0-3-11 0,0 0-17 16,-2 0 5-16,0 0-3 0,0 2 13 15,2-2 3-15,0 0-9 16,0 0 30-16,-2 0-12 0,0 1-22 0,-1-1 18 0,1 0-24 0,0 1 1 15,0 1 18-15,2-2-1 0,0 1-2 0,-2-1-2 16,2 0 20-16,-3 1-26 0,3-1 5 16,1 2-20-16,-3-1 13 0,2 1 13 15,-2-2 17-15,2 0-43 0,0 0 46 16,2 2-5-16,-3-2-28 0,1 0 43 0,0 1-48 0,0-1 17 16,0 2-22-16,-1-1 20 0,1-1 13 15,0 0-8-15,0 0-16 0,0 0 4 0,0 0 27 16,-1 0-12-16,-2 0-8 15,4 1-10-15,-4-2-1 0,3 1 29 0,-2 0-10 16,2 0-18-16,0 0 17 0,0 0-4 0,1 0-3 0,-1 0-18 16,-2-1 21-16,2 1-14 0,3 0 14 15,-3-2 0-15,0 2 7 0,3-1-8 0,-2 1 9 16,-1 0-34-16,3-2 25 0,-3 2-7 16,4-2 36-16,-2 1-47 0,1-1 29 0,2 1-26 15,0 0 26-15,-2-1-3 0,2 1-12 16,0 0-3-16,-1-1 15 0,1 2-10 0,1 0-5 15,1-4-8-15,-1 3 28 0,-1 0-12 0,3 0-1 16,-2-1 9-16,1 0-27 0,-1 1 9 0,2 1 7 16,-3-1 20-16,3-1-10 0,0 0-7 15,-2 2-16-15,1-1-15 0,1 0 54 16,0 1 7-16,-2-3-38 0,1 1 10 0,-1 1-5 0,-1 1-8 16,1-1 18-16,1-1-10 15,-1 0 6-15,-1 1-14 16,1 1 26-16,-1-3-16 0,-2 2-14 0,2 0 14 0,0 0-10 0,-1 0 14 15,1-2-24-15,-2 0 18 0,0 3 12 0,-1-3-6 16,1 2-6-16,3 0-8 0,-4-2 8 16,-1 1-21-16,-1 0 14 0,3 1 19 0,-3-2-4 15,0 1-5-15,3 2 7 0,-3-2-2 0,1-1-11 16,-1 2 8-16,0-2 8 16,2 1-21-16,-3 0 26 0,3 2 5 0,0-4-18 0,-3 2-2 15,1-1 23-15,3 1-14 0,-2 0 14 0,3-2 2 16,-3 3-13-16,4 0-4 15,-2-3 12-15,3 2-10 0,-1 1-8 0,3-2 7 16,0 2 9-16,-1 0-1 0,1 1-14 0,0-3 11 16,0 2 12-16,-2 1-6 0,2-1-8 0,-2 1-5 15,1-1 11-15,-2 1-11 0,1 0 3 16,-1 0 0-16,-2 0-8 0,2 0-10 16,1-1 17-16,-1 1-17 0,1 0 18 0,-1 0-16 0,3 0 6 15,0-2-8-15,0 2 31 0,-1 0-16 16,1 0 0-16,-2 0-2 0,2 0-21 0,-2 0 21 15,1 0-14-15,-4 0 29 0,3 0-10 0,-3 0-13 16,1 0-7-16,-3 0 1 0,4 0 1 16,-4 0 16-16,3 0-11 0,-3 0-3 0,2-1-5 15,-2 1-2-15,3 0 18 0,0 0-18 16,1 0 2-16,1 0 3 0,1 0 30 16,1 0-40-16,0 0 23 0,2 0-8 0,-3 0 28 0,0 0-23 15,1 0 3-15,0 0-11 0,-2 0 6 16,-1 0 12-16,1 0-18 0,-2 0-2 0,-3 1 8 15,4-1-3-15,-4 0 2 16,-1 2 14-16,2-2 4 0,-1 0-10 0,1 0 6 0,1 0-1 16,-2 0 1-16,-1 0-6 0,2 0 5 0,-3 0 1 15,3 1 19-15,1-1-17 16,-5 0-5-16,4-1 10 0,-1 1-23 0,-1 0 26 0,-2 0 2 16,2 0-3-1,0 0-1-15,0 0 9 0,-2 0-8 0,0-2 6 0,0 2 0 16,-3-1 7-16,-5 1 11 0,12 0-6 0,-6 0-2 0,-6 0 8 15,10-2-6-15,-5 1 9 0,-5 1-27 16,7 0 14-16,-7 0-1 0,6 0-17 0,-6 0 14 16,8-1-9-16,-8 1 0 0,5-2 20 15,-5 2-16-15,0 0 9 0,0 0-14 0,7-1 9 16,-7 1-4-16,0 0-7 0,3-1 11 0,-3 1-6 16,0 0-3-16,2-3-17 15,-2 3 0-15,0 0 22 0,0 0-22 0,0 0-8 0,3-4 0 16,-3 4 10-16,0 0-5 0,0 0 1 0,3-3-1 15,-3 3 8-15,0 0-6 16,0 0 19-16,0 0-26 0,0 0 0 0,0 0 2 16,0 0 37-16,0 0-21 0,2-3-11 0,-2 3-9 15,0 0 30-15,0 0-25 0,0 0 2 0,0 0 10 16,0 0 0-16,0 0-22 0,0 0 2 16,0 0-13-16,0 0-5 0,0 0 10 0,0 0 8 15,0 0-47-15,-2-5-6 0,2 5 1 0,0 0-17 16,0 0-41-16,0 0-3 0,0 0-18 15,0 0-30-15,0 0-57 0,-3-4-58 16,3 4 58-16,0 0-66 0,0 0-397 0,0 0-10 16,0 0 81-16,0 0 83 0</inkml:trace>
  <inkml:trace contextRef="#ctx0" brushRef="#br0" timeOffset="53223.91">11838 6032 532 0,'36'-1'128'0,"-5"-3"0"0,-2 3-26 0,-4 0-17 15,1 2-21-15,-1-1-18 0,1 0-54 16,0 0-41-16,-3 0 1 0,-5 0 17 0,0 0-25 16,-1 0-8-16,-1-1-67 0,-1 1-378 15</inkml:trace>
  <inkml:trace contextRef="#ctx0" brushRef="#br0" timeOffset="53696.18">11080 6009 967 0,'0'0'294'0,"7"5"1"0,1-5-21 0,2 5-23 16,8-5-3-16,3 2-41 0,10 1-10 15,5-3-23-15,15 1 0 16,3 0-2-16,7-1-44 0,-2 0-5 0,5-1-6 0,10 1-40 0,-12 0 18 15,2 0-8-15,-2 0 0 0,-3 2-10 16,-1 1-39-16,-1-1-2 0,-8-2-28 16,-3 1-11-16,-10-1-12 0,-8 0-16 15,-2 1-28-15,-6 1 5 0,-2-1-30 0,-2 0-49 16,-1 1-28-16,-2 0-21 0,-3-2-23 0,0 1-43 16,-5-1-39-16,1 1-437 0,-6-1 63 0,7 1 62 0,-7-1 52 15</inkml:trace>
  <inkml:trace contextRef="#ctx0" brushRef="#br0" timeOffset="54032.1">11323 6051 977 0,'18'-2'279'0,"5"-3"-7"15,0 3-24-15,6-2-28 0,17-1 64 16,5 2-25-16,5-2-31 0,13-1-13 0,0 1-44 16,-7 4-7-16,10-4-8 0,-13 3-25 15,-3 2-14-15,-2-1-19 0,-2 0-24 0,-4-1-13 16,-6 2-43-16,-9 2-3 0,-5-2-25 15,0 2-64-15,-3 0-5 0,-8-2-29 0,0 0-20 16,-1 3-13-16,-1-2-38 0,-5 0 26 16,1 0-11-16,-1 1-36 0,-3 1 6 0,-2-3-98 15,0 2-351-15,1 1-7 0,-1-2 118 0</inkml:trace>
  <inkml:trace contextRef="#ctx0" brushRef="#br0" timeOffset="55468.75">14125 5977 1052 0,'-8'1'299'15,"4"1"-30"-15,4-2-26 0,0 0 3 0,0 0 7 16,0 0-33-16,0 0-10 0,13 2-10 15,2 1-34-15,2 0 8 0,7-3-20 0,9 2-31 16,14 3 0-16,6-1 2 0,6-3-25 0,13 1 2 16,0 2 3-16,2-1-33 0,-2 1 10 15,-11-4-95-15,11 3-23 0,-11 0 0 0,-1-3-10 16,-1 4-18-16,-5-2-2 0,-1 0-14 31,-4 2-27-31,-13-3-42 0,-3 0-2 0,-4 3-46 0,-6-3-61 0,-1 1-16 0,-4 2 13 0,-2-4-49 16,-3 1-379-16,-1 0 26 0,-1-1 136 0</inkml:trace>
  <inkml:trace contextRef="#ctx0" brushRef="#br0" timeOffset="55822.48">14451 6049 926 0,'7'-3'282'0,"7"2"-6"0,1 0-25 0,8-1-21 16,10-1-7-16,16 3-31 0,0-2 56 15,3 2-25-15,3 1-108 0,2-3-7 0,-4 3-8 16,2-1-8-16,1 0-10 0,-5 0-8 15,1 3-28-15,-6 0 8 0,-8-2-26 16,-5 1-10-16,-4 1-11 0,-1-1-22 0,-5-1-28 0,0 2-32 16,-5-2-27-16,-3 0-8 0,1 1 10 0,-3 1-20 15,-1-2-24-15,-2 0-2 0,-1-1 8 16,0 3-95-16,-1-2 34 0,-3 1 7 0,-5-2-108 16,11 0-332-16,-6 0 41 0</inkml:trace>
  <inkml:trace contextRef="#ctx0" brushRef="#br0" timeOffset="92023.3">7418 9305 1044 0,'-2'-5'514'0,"0"-1"-61"0,1 3-15 0,1 0-21 16,-2-2-66-16,2 5-46 0,-3-5 12 15,3 5-56-15,0 0-13 0,0 0-15 0,0 0-84 16,0 0 4-16,0 0-14 16,0 16-14-16,0-6-17 0,0 0 4 0,0 5-35 15,0 0 13-15,-2 3-21 0,1 1 13 0,-3 0 2 16,0 3-35-16,2-2 2 0,0 0 13 0,-1-1-33 15,0-1-14-15,1-1 17 16,0-2-34-16,-1-2-10 0,3 0-1 0,0-1 1 0,-3-2-23 16,3-2 12-16,-2-1 21 0,2 0-7 0,0-2 22 15,0 0-30-15,0-5 30 0,0 0-12 16,0 0-16-16,0 0 15 0,0 0 6 31,0-18 18-31,0 7-34 0,0-5 28 0,0-6-2 0,0 2-13 0,2-6 8 0,1-2-8 0,2 3-10 16,0 2 33-16,0-1-12 0,3 2-21 0,0 1 30 15,-1 2-2 1,1 2-5-16,2 4 0 0,-2 1-8 0,0 4-12 0,-1 0 20 0,1 4-3 16,2 1 6-16,-4 3 22 0,4 2-30 15,-2 1 23-15,-1 4 12 0,3 1-12 0,-2 5-10 16,0 1-3-16,-3-1 2 0,2 6-22 0,1 0-8 16,0 2 2-16,-3-1 11 0,0 0-26 15,-2-1-23 1,2 0-33-16,-2-1-34 0,-1 0-38 0,0-2-20 0,1 0-54 0,0-2-69 15,-1-1-62-15,0-1-135 0,-2-1-118 0,1-3-277 16,2 2 95-16,-3-2 77 0,0-1 54 16,0-1 41-16</inkml:trace>
  <inkml:trace contextRef="#ctx0" brushRef="#br0" timeOffset="92236.75">7370 9544 1415 0,'0'0'348'0,"5"-7"-28"0,0 7-33 15,2-3-18-15,2 0-39 0,1 3-18 16,0-2-25-16,2-1-20 0,2 1-45 0,-2-2-50 16,4 1-41-16,-3-1-85 0,1 2-120 15,2-4-151-15,-3 1-451 0,0-1 39 0,0 3 79 16,0-3 75-16</inkml:trace>
  <inkml:trace contextRef="#ctx0" brushRef="#br0" timeOffset="92462.23">7742 9256 1461 0,'0'-2'428'0,"0"2"-16"0,0 0-5 0,0 0 56 0,0 0-43 0,0 12-49 0,0-5-92 15,0 2-3-15,0 0-27 0,0 6-34 0,-3-2-5 16,3 6-24-16,-3-2-37 0,3 2-19 16,-2 1-2-16,0-1-61 0,1 0-70 0,1 0-22 15,-3 0-55-15,1-1-55 0,2-3-67 0,0-1-47 16,0 0-112-16,2-1-41 0,-2-3-522 0,0-1 62 16,4-3 160-16,-2 0 22 15,0 1 65-15,1-2 93 0</inkml:trace>
  <inkml:trace contextRef="#ctx0" brushRef="#br0" timeOffset="93095.78">7885 9400 1195 0,'0'0'481'0,"0"-3"-30"16,0 3-119-16,-2-3-14 0,2 3-37 0,0 0-12 15,0 0-21-15,0 0-30 0,-8 11 10 16,6-5-23-16,1 2-34 0,1 1-17 0,-2 1-1 15,2-1-32-15,0 0-14 0,-3 4 8 0,3-2-12 16,0 0-11-16,3-1 2 16,-1 2-12-16,-1 1-25 0,1-3-1 0,3 1-36 0,-2-2 9 15,1-1-11-15,2 2 15 0,2-3-33 16,-3-1 18-16,3-1-18 0,-1 0-5 0,3-3 17 16,-2 0-24-16,2-2-6 0,0 0 0 15,1 3 13-15,-1-6 7 0,-2 3-12 0,1-1 5 16,0 0-5-16,1-1 12 0,-2-1 11 0,-1 2-8 15,1-1-2-15,-3-2 4 16,3 2 11-16,-3-1-2 0,0 0-4 0,0-2 6 0,0 3-13 16,0-1 1-16,-2-2 6 0,2 2-4 0,-2-1 18 15,2 3 30-15,-3-2-18 0,-2 3 3 16,6-5 34-16,-4 1-24 0,-2 4 23 16,5-2-15-16,-5 2-13 0,3-5 8 0,-3 5 7 0,2-1-10 15,-2 1-38-15,0 0 5 16,0 0-8-16,5-2 16 0,-5 2-21 0,0 0 0 0,3 7 3 15,-3-7 7-15,5 6-2 0,-3-3 13 16,1 2-3-16,0 0-18 0,-1-2-13 16,1 1 0-16,2 1 1 0,-3-2-6 0,4 1-13 15,-3-1 3-15,4 0 5 0,-4-2-2 0,4 0-8 16,-7-1 20-16,13-2-20 0,-8-1 0 0,2 1 28 16,1-3-8-16,-2 2 5 15,-1-3 37-15,0 0-24 0,-3 0 13 0,1-1 13 0,-1-1 18 16,-2 1-19-16,0 1 17 0,-2-1-14 0,-3 0 0 15,2 2-9-15,-4-1 6 0,1 3-1 16,-2-2-6-16,-2 1-8 0,0 3-12 16,-2-1 0-16,1 2-42 0,-1 0-60 0,-4 2-16 0,3 1-39 15,-3 0-22 1,2 2-44-16,1-1-52 0,0 0-65 0,3 1-121 0,-3 1-39 16,5 0-409-16,3-1 44 0,-2-3 86 0,6 2 95 15,-1-2 72-15,2-2 26 0</inkml:trace>
  <inkml:trace contextRef="#ctx0" brushRef="#br0" timeOffset="93507.75">8272 9307 1387 0,'0'-3'438'0,"0"3"-49"0,0 0-16 0,0 0-14 0,0 0-34 0,0 0-13 15,0 0-28-15,3 10-18 0,-3-5-17 0,2 5-22 16,-2-1-27-16,3 3-16 0,0 1-22 0,-1 0 2 16,0 3-24-16,1 1-19 0,0-1 1 0,1 2 9 15,0-1-36-15,0-2-18 16,-1-2 4-16,0-1-19 0,-1 0-6 0,1-1 0 0,-1-3-9 16,1 0-6-16,-1 0-3 0,1-2 11 0,-1-2-8 15,1 2-6-15,0-5 6 16,-1 1-2-16,-2-2 22 0,0 0 72 0,13-3-38 0,-8-3 10 15,0 3-3-15,0-3-48 0,3 1 7 0,-5-1 11 16,5 0-5-16,-3 1 2 16,2-2-51-16,-1 4 23 0,1-1-16 0,-1 2-12 15,1-1 13-15,0 3-19 0,-7 0 4 0,11 3 19 16,-4-1-9 0,-1-1-31-16,-2 4-6 0,4 0-66 0,-5-2-28 0,3 3-36 0,1-1-30 15,-2 1-52-15,0-1-49 0,2 0-27 0,1-2-113 16,0 1-175-16,0-1-403 0,-1-3 88 15,3 3 70-15,-2-2 123 0,2-2 74 0,1-1 52 16,-1 1 60-16</inkml:trace>
  <inkml:trace contextRef="#ctx0" brushRef="#br0" timeOffset="96683.04">9023 9226 1011 0,'0'0'360'0,"0"0"-11"0,0 0 55 0,0 0-33 0,0 0-15 0,-2 13-113 0,-1-7-18 0,6 4 1 16,-6-1-37-16,3 5-2 0,0 0-5 15,0 1-29-15,-2 6-25 0,2 0 0 0,-2-1-10 16,1 5-23-16,-1-6-8 0,-1 1 15 16,3 1-35-16,-3-3 12 0,3-2-25 15,0-3-3-15,0 2-2 0,0-2 4 0,-2-5-32 16,2 5 22-16,0-7-43 0,0 4 0 0,0-3-5 16,0-1-41-16,0 0-28 0,0-4 12 15,0 4-9-15,0-2-16 0,0-4-8 0,2 4-15 16,-2-4-26-16,1 5-38 0,-1-5-43 0,2 4-98 15,-2-4-82-15,0 2-194 0,0-2-146 16,0 0 43-16,3 5 72 0,-3-5 79 0</inkml:trace>
  <inkml:trace contextRef="#ctx0" brushRef="#br0" timeOffset="98159.68">14246 9222 862 0,'0'0'369'0,"0"0"-42"0,0 0-2 16,0 0-17-16,0 0-52 0,0 0-36 0,-5 11 66 15,5-4-14-15,-3 3-42 0,1-1-28 0,0 1 3 16,1 4-33-16,-1 1-39 0,-1-1 0 15,0 2-41-15,1-1-15 0,-1 0-44 16,-2 3-30-16,3-2-37 0,-1-2-35 0,0-1-56 0,-1 0-54 16,4 0-62-16,-3-1-28 0,0-2-76 15,3-2-398 1,-2 1-9-16,2-1 150 0,0-3-10 0</inkml:trace>
  <inkml:trace contextRef="#ctx0" brushRef="#br0" timeOffset="98431.82">14213 9255 949 0,'2'-5'315'0,"0"2"-31"0,1 0-18 15,-3 3-5-15,5-2-25 0,1 0-19 16,-6 2-17-16,0 0-13 0,15 4 48 15,-9-1-40-15,1 0 2 0,0 3-20 0,-1 1-29 16,1 1-7-16,1 0-23 0,0 0-59 16,0-1-26-16,-1 4-41 15,-2-4-79-15,3 3-59 0,-3-1-84 0,3-2-52 0,0-1-391 0,-1 4-108 16,0-3 106-16,1-2 58 0,0-1 46 16</inkml:trace>
  <inkml:trace contextRef="#ctx0" brushRef="#br0" timeOffset="98694.81">14589 9275 949 0,'0'0'320'0,"-12"3"-18"16,7-1 0-16,-3 0-46 0,-2 3-95 0,0-1 1 15,-1 2-45-15,-2-2 6 0,3 1 5 16,-3 3-13-16,3-2-10 0,-5 3-15 16,1 0-18-16,4-3-3 0,-2 4-31 0,2-3-5 15,2 0-22-15,0 1-19 0,0-2-10 16,1 1-38-16,1-1-75 0,2-1-71 16,1 1-39-16,-2-1-125 0,5-2-330 0,-1 2 49 0,1-5 40 15</inkml:trace>
  <inkml:trace contextRef="#ctx0" brushRef="#br0" timeOffset="99525.08">14615 9269 1016 0,'2'-3'376'0,"-2"3"-25"0,0 0-8 0,0 0 53 0,0 0-40 16,0 0 8-16,1 9-19 15,-1-2-122-15,0-1-41 0,0 0 10 0,-1 4-11 16,-1-2-24-16,2 5-12 0,-2 0-22 0,-1 0-15 16,0 2-24-16,1 0-38 0,-1-1-53 15,-2 4 4-15,3-6-38 0,0 1-36 0,1 0-22 16,-2 0-53-16,3-2 17 0,0-4-96 0,0 3-1 16,3-3-60-16,0-1 38 0,-1-3-20 0,3 1-63 15,-2-4 37-15,5 1-12 0,-8-1 38 16,12-1 46-16,-6-3 39 0,1 0-8 15,1-1 69-15,-3-1 56 0,3-2-20 0,-1 1 76 0,1-2 24 16,-3 2 66-16,1 1 67 16,-2 1 23-16,2-1 25 0,-4 3-27 0,1-1 9 0,-3 4 21 15,2-1-8-15,-2 1-4 16,0 0-6-16,0 0-13 0,0 0 0 0,-2 13-15 16,2-8-15-16,0 1-6 0,0 1-25 0,0 0 20 15,3-1-12-15,-1 1-24 16,3 2 6-16,2-3-8 0,1 1-6 0,2-4-12 0,-1 3-2 15,1-2-14-15,0-2 1 0,2-1 13 0,-1-1-6 16,-1-1-8-16,3-1 4 16,-5-2 81-16,2 1 10 0,-2-1 18 0,-1-2-10 0,-2 0-84 0,1 0 23 15,-4-2-32-15,0 2 4 16,-2-1-31-16,0 1 4 0,-2-1 9 0,0-2 15 0,-4 3-5 16,2 2-6-16,-2-1 3 0,1 1-15 15,0-2-28-15,0 4 10 0,-1-3-44 16,2 3-10-16,-2-2-17 0,4 2-1 0,2 2-20 15,-5-5 5-15,5 5-8 0,0 0 5 0,0 0 3 16,0-2-3-16,0 2 13 0,0 0 8 16,13-1 3-16,-6 1-16 0,-7 0 41 0,15 1 12 15,-7 1-19-15,0-2 9 0,5 5-2 16,-5-2 36-16,4 2-8 0,-1 0-5 0,-1 1 20 0,0 1 32 16,0 0-17-16,1 0-4 0,1 3 26 15,-4-2-29-15,0 1 15 0,-3-1 8 0,0 0-20 16,-2-2 2-16,2 4 8 0,-5-3-2 15,2 0 7-15,-1-1 18 0,-1-1-13 16,0-1 5-16,0 1 3 0,-1-1-8 0,1-4 16 16,-2 6 28-16,2-6-39 0,-3 2 16 0,3-2-6 15,0 0-10-15,0 0-9 16,0 0 11-16,-3-12-22 0,3 12 3 0,1-7-29 0,-1 1-15 16,2 1 5-16,1-1-26 0,-1-1-7 0,1 2-18 15,-1-2-54-15,2 0-13 0,0 2 0 16,2-2-40-16,-2 0-4 0,2 4-27 0,-1-2-100 15,2-2-85-15,-1-2-33 0,-1 2-476 0,3 1 92 16,-1 0 59-16,0-1 69 0,4 0 41 16</inkml:trace>
  <inkml:trace contextRef="#ctx0" brushRef="#br0" timeOffset="99709.26">15207 9309 957 0,'0'0'376'0,"0"0"-18"0,0 0 62 16,0 0-36-16,0 0-13 0,0 0-25 0,-2 16-34 15,2-6-7-15,0-1-42 0,2 2-25 16,1 2-28-16,-3 0-13 0,3 0-17 0,-1 3-45 16,1-1-27-16,-1 3-52 0,1-4-53 0,-1 2-37 15,-1-1-83-15,1-3-57 0,1 0-85 16,-1 1-104-16,-2-2-180 0,2-3-271 0,-1-2 13 16,-1 1 122-16,2-1 73 0,-2-1 61 15</inkml:trace>
  <inkml:trace contextRef="#ctx0" brushRef="#br0" timeOffset="99907.69">15113 9499 1274 0,'2'-5'336'0,"-2"5"-42"16,5-6 0-16,0 3-30 0,1-1-21 0,1 1-18 15,1 0-22-15,2-2-27 0,3 2-9 16,0-2-24-16,0-1 3 0,-1 4-41 0,1-2-51 15,0-2-37-15,0 4-42 0,-1-2-34 16,-1 2-90-16,-1-2-50 0,-2 3-98 0,2-1-92 16,-2 1-369-16,0-1 34 0,-1 1 107 15,1 1 41-15</inkml:trace>
  <inkml:trace contextRef="#ctx0" brushRef="#br0" timeOffset="101247.14">15548 9442 752 0,'0'0'276'0,"0"0"-2"0,3-4-18 16,-3 4-12-16,0 0-12 0,0 0-6 16,0-3-16-16,0 3-18 0,0 0-11 15,0 0 70-15,0 0-23 0,-3-6-10 0,3 6-47 16,-4-3 1-16,4 3 9 0,-3-2-32 0,3 2 30 16,0 0-43-16,-10 1-8 0,10-1-3 15,-11 1-12-15,6 2-26 0,-3 0 12 0,3 0-6 16,-2 0-24-16,-1 2 0 0,0 0-15 0,3 1 12 15,-3-3 11-15,0 5-5 0,1-3 2 16,2 3-36-16,0-2 3 0,-1 1 21 0,-1-1-44 16,4 0-18-16,-2 1 33 0,3-1-25 15,-1 0-16-15,1-2 8 0,-1 1-13 0,3-1 21 16,0-2 2-16,-3 3-10 0,3-5 10 16,0 0-15-16,3 3 5 0,-3-3 5 0,0 0 31 0,0 0-54 15,0 0 36-15,10-8-10 16,-7 6-19-16,-1-2 6 0,1 2 8 0,0-2 12 15,-1 1-10-15,0 0-12 0,-2 3 22 0,3-3-2 16,-3 3-31 0,6-3 44-16,-6 3-37 0,0 0 1 0,7 6 10 0,-7-6-5 0,5 5-8 15,-3-3 16-15,2 3 2 0,0-2-10 0,-1 0 10 16,0 1-21-16,1-1-1 16,-1 0 19-16,3 0 13 0,-2-3-2 0,4 3-18 0,-2-2-8 15,1 0 18-15,1-2 3 0,1 0-10 16,0-2-1-16,1 0-10 0,0-1 26 15,0-2 7-15,0 0-7 0,-2 1-5 0,0-2 10 16,0 0-3-16,2-4 19 0,-5 2-6 0,0-3 28 16,2 0-87-16,-1-2-30 0,-3 1 22 15,2-4 32-15,0 0-9 0,-3 3-19 0,1 0 14 16,2-2-17-16,1 1-1 0,-4 2 24 0,3 3 18 16,-5-3-14-16,3 5-2 0,-1-1 3 15,1 2 10-15,-1 1 16 0,-2-1-16 16,3 3 0-16,-3 1 10 0,2-1-20 0,-2 4 17 0,0 0 4 15,0 0 14-15,0 0 8 0,0 0-27 16,0 0 17-16,-5 17-8 0,3-10 13 0,2 2 0 16,-1 3-12-16,-1 1-4 0,0 0-4 15,-1 2-5-15,3 1-9 0,0-1-19 0,-3 1-8 16,3 0-13 0,0-3-8-16,0 3 15 0,0-2-19 0,3-2 24 0,2-1 1 0,-3-2-3 15,1-3 16-15,3 1-14 0,-2-1 22 16,4-1 6-16,-2-4 4 0,-2 2-21 0,4-3 8 0,-8 0 4 15,13-4-4-15,-6 2 17 16,-1-2-12-16,1 1-5 0,-1 0 2 0,1 1 3 0,-2-2 2 16,-2 4 11-16,2-2-14 0,-5 2 27 15,8-3-1-15,-8 3-22 0,7 4 14 0,-7-4-9 16,6 4 14-16,-4-2 9 0,3 2-26 0,-4 0-16 16,1 0-27-16,0-2-27 0,-2 4-24 15,3-2-55-15,-3-1-71 0,3 2-141 0,-3-5-51 16,2 4-477-16,1-2 78 0,-1 2 112 15,-2-4 36-15,7 2 56 0</inkml:trace>
  <inkml:trace contextRef="#ctx0" brushRef="#br0" timeOffset="101587.19">16013 9235 1036 0,'0'0'397'0,"7"7"97"0,-7-4-69 16,0 2-36-16,0 2-15 0,3 4-60 15,-3-3 9-15,0 4-47 0,0 0-25 0,2 0-28 16,0 4 20-16,-1-2-66 0,-1 1-16 16,0 0-53-16,0-1-14 0,0 0-53 0,0 2-64 15,3-3-28-15,-3 1-39 0,0-1-56 0,0-2-69 16,0 1-92-16,0-3-84 0,0-3-474 16,2 4 27-16,-2-3 76 0,0-2 101 0,2-2 67 15</inkml:trace>
  <inkml:trace contextRef="#ctx0" brushRef="#br0" timeOffset="102199.42">15936 9462 1328 0,'0'0'343'15,"0"0"-36"-15,0 0-36 0,0 0-4 16,0 0 7-16,0 0-42 0,0 0-27 0,0 0-15 15,0 0 4-15,0 0-45 16,0 0-3-16,22 0-29 0,-11 0-1 0,-3 0-4 0,2-2-20 16,0 1-10-16,3-2-13 0,-3 2-12 0,1-3 1 15,1 3 4-15,-4-2 61 0,3 0-21 16,-1 0 11-16,-3 0-36 0,1 3-1 0,-3-1-4 16,0-1 7-16,1 0-25 0,-6 2-3 15,10 2 1-15,-10-2-14 0,4 3 5 0,-1-3 14 16,-3 0 4-16,5 5-12 0,-3-3-24 15,-2-2 34-15,4 6-33 0,-2-3-16 16,0-1 11-16,-2-2-6 0,3 4-2 0,-3-4 17 16,6 2 19-16,-2 0-26 0,-4-2 8 0,8 0-18 15,-8 0 15-15,12 0 3 16,-12 0-31-16,11-2 17 0,-6 2-9 0,3-1-3 0,-3 0-61 16,-5 1 35-16,13 0-4 0,-6 1 10 15,1 2 40 1,-2 2 8-16,4 1 34 0,-3 3-8 0,1 1 2 0,-2 0 85 0,-2 2-8 0,-1 1 26 0,0 1-46 15,-1-1 0-15,-4 0-16 16,-1 1 11-16,0 2-6 0,-1-3 24 0,-2 0-44 0,1 0-8 16,0-2 3-16,3-3-3 0,-1 1-25 31,-2-3 41-31,4-2-36 0,-1-1-23 0,2-3-11 0,0 0-4 0,0 0-32 16,18-11 6-16,-7 0 0 0,6-2-23 0,-1-1-16 0,9-10-9 15,1-1-14-15,2 0-35 0,1-2 25 0,1-1 5 16,1 2-35-16,-1 2-31 15,-1 2 28-15,1-1-29 0,-6 4-9 0,-2 6-8 0,-6 1-29 16,-3 1-4-16,2 3-36 0,-2-1-26 16,-3 3 3-16,0 0-72 0,-2 3-46 0,0-2-49 0,-3 2-18 15,1 1-265-15,-2-1-132 0,2 3 57 16,-6 0 113 0,7-2 107-16,-7 2 0 0</inkml:trace>
  <inkml:trace contextRef="#ctx0" brushRef="#br0" timeOffset="107886.71">10136 13371 819 0,'0'0'384'0,"2"-3"-26"0,-2 3-28 0,0-3 11 0,0 3-27 0,0 0-50 15,-2-5-18-15,2 5-3 0,0 0-20 16,0 0-39-16,0 0-7 0,0 0-16 0,-13 3-20 16,8 0 4-16,0-2-11 0,0 3-24 0,0-2-13 15,0 2 0-15,2 0 24 16,-2-1-45-16,0 1-7 0,2 0-20 0,-2 0-3 0,0-2 10 15,2 2-22-15,-1-1-1 0,3 1 8 0,-1-1-5 16,-1 0 2-16,3-3-17 16,3 8 2-16,-1-6-8 0,1 2-5 0,-1 0-7 15,4 0 2-15,1 0 8 0,-2-1-6 0,1 1-12 0,1 1 0 16,1-1-18-16,-1 0 13 16,2 1-3-16,-2 0 23 0,0 0-20 0,1 0 13 15,0 0-11-15,-3 0-5 0,1 1 3 0,1 0 36 16,-4-2-32-16,2 2 24 15,0 0-15-15,-5-1 15 0,2 0-54 0,1 2 0 0,-3-2 5 16,-3 0 16-16,1 0-11 16,0 1 29-16,-1-1-11 15,-3 0 24-15,-1 1-6 0,2-1-18 0,-5-1 26 0,2 1 8 0,-2 0-16 0,-1-1 0 16,-1 1-7-16,-1-2 2 0,2 2-15 16,-3-3-16-16,3 0-17 0,1 0-6 0,-3 0-18 15,5 0 3-15,0-2-28 0,0 1-41 16,1 0-43-16,7-1-70 0,-10 0-59 0,10 0-45 15,0 0-1-15,0 0-440 0,-3-5 28 16,3 5 128-16,0 0 44 0,8-7 105 0</inkml:trace>
  <inkml:trace contextRef="#ctx0" brushRef="#br0" timeOffset="108709.38">10234 13497 847 0,'2'5'271'0,"-2"0"57"0,2 1-6 16,1-1-45-16,-2 2-26 16,1-1-24-16,-2 0-30 0,0-1-22 0,2 2 14 15,1-1-48-15,-3-1-16 0,0-1 1 0,0 0-29 16,3 0 18-16,-3-4 18 0,2 7-15 15,-2-6-21-15,0-1 3 0,0 0 2 0,0 4-15 16,0-4-2-16,0 0-11 0,0 0 3 0,0 0-80 16,10-11 14-16,-9 7-6 0,3 0-8 15,-1-1 3-15,0 0 18 0,2-1-26 16,0 1 16-16,0 0 15 0,0 0-23 0,0 2 8 0,0-2 10 16,1 2-16-16,-2 1 6 0,2 0 7 15,-6 2 6-15,10 0-6 0,-5 2-10 0,1 0 11 16,-2 1 9-16,-1 0-12 0,2 2 5 15,0-1 13 1,0 2-24-16,-4-2 16 0,3 1-10 0,-1 0-5 0,-1 2 17 0,-1-3 4 16,1 1-19-16,1-1 23 0,-1 0 3 0,-1-1-11 15,1 1 73-15,0-1 45 0,-2-3-33 16,0 4-18-16,0-4-2 0,0 0-31 16,0 0 25-16,0 0-10 0,0 0-30 0,0 0 10 15,10-11 2-15,-7 8-35 0,0 0 32 0,-1-2-12 16,1 1-18-16,0 1 18 0,1 0-36 15,-1 0 6-15,2 1 4 0,0 1-5 0,-5 1 11 16,8-2-14-16,-3 1 22 16,-5 1-19-16,8 1-28 0,-3 1-3 15,0 0 11-15,-5-2-39 0,8 2 24 0,-6 1-19 0,4-3 6 0,-6 0 7 16,7 3-12-16,-4-2-16 0,-3-1 13 16,8 0-11-16,-8 0 9 0,0 0 9 0,10-1 6 15,-10 1 18-15,4-2-16 0,-4 2 8 0,0 0 18 16,0 0-8-1,8 0-12 1,-8 0 14-16,0 0 1 0,6 3-5 0,-4-1 12 0,-2-2 3 0,5 4 3 0,-2-1-8 0,0-2 5 16,1 2-11-16,0-1 19 0,0 1-13 0,2-1 20 15,1-1 3-15,-1-1 15 0,3 0-7 0,-1-2-16 16,0-1 8-16,0 1 0 0,1-2 13 16,-1 0-21-16,0 0 23 0,-3-2 24 15,1 2-21-15,-2-1-3 0,0 0 21 0,-2 0-6 16,-2-1-2-16,2 2 16 0,-4 0-16 0,2 4 20 15,-2-7-35-15,-2 5-10 0,0 0 4 16,4 2 21-16,-11-2-25 0,6 2-3 16,5 0-16-16,-13 4 19 0,6-2 2 0,2 1-23 15,-1 1-23 1,1 0-31-16,-2 0-15 0,1 2-26 0,1-3-30 0,3 3-47 0,-3-3-81 16,4 0-113-16,-1 2-95 0,2-5-476 0,0 6 64 15,0-6 144-15,0 0 40 0,5 2 106 16,-5-2 42-16</inkml:trace>
  <inkml:trace contextRef="#ctx0" brushRef="#br0" timeOffset="108921.25">10742 13367 1123 0,'0'0'443'15,"0"0"-51"-15,0 0-11 0,0 0-97 0,0 0 5 0,4 7-51 0,-4 0-2 0,3 0-24 16,-3 3-9-16,0 2-22 0,3 1-27 15,-3 2-6-15,0 1-22 0,-3 3-34 0,3 0-20 16,0 1-57-16,-3-1-58 0,1 1-65 16,2-4-66-16,-2-1-97 0,4-5-95 0,-2 5-430 15,2-6 20-15,-2 1 87 0,3-3 103 16,0-3 0 0</inkml:trace>
  <inkml:trace contextRef="#ctx0" brushRef="#br0" timeOffset="109216">10900 13442 1290 0,'0'0'414'0,"-10"0"-2"0,10 0-110 16,-10 4-38-16,2-1-21 0,0 2-10 0,0-2-10 16,1 2-18-16,0 0-3 0,1 0-13 0,-2 0-12 15,3 1-21-15,-2-2 3 0,2 2-21 16,-1 1-2-16,1-2-31 0,2 0-6 15,1 2 4-15,-3-1-9 0,5-1 11 0,-3 1-41 0,1-1 31 16,2 1-41-16,0-2-18 0,2 2 28 16,1-1-21-16,-3-1-15 0,3 0-10 0,1 0-18 15,-1-1-23-15,2 1-23 0,-2-1-23 0,2-1-31 16,-2-1-30-16,2 3-34 16,0-1-36-16,0-2-63 0,0 2-37 0,3-3-25 0,-3 2-49 15,2 0-409-15,1 1 20 0,0-2 75 16,0 1 32-16,-1-1 114 0</inkml:trace>
  <inkml:trace contextRef="#ctx0" brushRef="#br0" timeOffset="109570.98">10977 13646 965 0,'0'0'337'0,"0"0"-22"0,0 0-20 16,8-10-34-16,-8 8-26 15,2-2-17-15,1 0-21 0,-3-1-85 0,0 0-1 16,3 0-1-16,-3 0 0 0,0-1 2 0,0 0 1 16,-3 2 10-16,3-1-21 0,-3 2-5 15,1 0 1-15,0-1-4 0,2 4-1 0,0 0 1 16,-11 2 11-16,11-2-15 0,-8 5 22 0,3 0 1 16,0 0-11-16,3 2 108 0,-1 0-41 15,-2 0-41-15,3 1 18 0,-2-1-33 16,2 1-11-16,0-1-12 0,2 0 17 0,0 0-17 0,0 0-44 15,2-3-18 1,0 1-33-16,2-1-39 0,0 0-45 0,4-3-29 0,-3 1-43 16,3-2-62-16,0 0-12 15,0-2-78-15,4-2-101 0,0-1-492 0,-1 0 102 0,5-1 26 0,-4-1 122 16,1 0 32 0,2-1 99-16</inkml:trace>
  <inkml:trace contextRef="#ctx0" brushRef="#br0" timeOffset="109729.9">11272 13553 1430 0,'2'5'397'0,"4"-1"0"0,-3 3-31 0,4 2-33 0,-4-2 79 16,1 4-41-16,2-1-38 0,-4 1-31 15,0 2-92-15,2-1-29 0,-7 0-32 0,2 2-3 0,-1 2-16 16,-3 1-43-16,0-1-53 16,-3 2-68-16,3-1-78 0,-3-2-91 0,1 3-270 15,2-3-492-15,-1 0 136 0,2-3 112 0,-2-2 72 16,4-2 94-16,-4-1 22 15</inkml:trace>
  <inkml:trace contextRef="#ctx0" brushRef="#br0" timeOffset="111510.71">11697 13433 998 0,'0'0'345'0,"-2"-4"-27"0,0 2-47 0,2 2 6 16,-6-2-45-16,6 2 6 0,0 0-17 0,-12 2-29 15,12-2-18-15,-8 4-11 0,3 0 1 16,-1 2-23-16,2 1 8 0,-4-2-32 16,2 4 1-16,2 1-26 0,-2-1 5 0,-1 1-15 0,2 1 5 15,2-3-35-15,-3 5-1 16,4-4 18-16,-3 1-33 0,2-1 33 0,1 0-15 15,0-1-21-15,-1-1-8 0,3 1-12 0,-3 0 5 16,3-1 5-16,0-2 3 16,0 1-8-16,0-1-5 0,3-2 25 0,0 3-20 0,1-3-5 15,2 1 7-15,-2-2 57 0,2 1 0 16,4-2-29-16,0 0-20 0,-1 1-2 16,1-1-8-16,2-1-38 0,-2 0-37 0,1 1-43 0,1-1-5 15,-2-1-38-15,1 1-34 0,-1-1-96 31,-2 1-58-31,2-3-111 0,0 1-375 0,-2 1 36 0,0-1 147 0,-3 1 40 0,1-2 74 16</inkml:trace>
  <inkml:trace contextRef="#ctx0" brushRef="#br0" timeOffset="112220.36">11703 13569 1123 0,'-8'-2'384'16,"8"2"-33"-16,-8-2-13 0,8 2-57 15,-2-1-15-15,2 1-35 0,0 0-19 0,0 0-4 16,8-9-45-16,-1 7-32 0,-2-2-13 0,3 3-41 16,0-3-8-16,-1 1-69 15,1 0-46-15,0-1-39 0,0 1-2 0,-1 0-8 0,0-1-45 16,-1 1-4-16,-3 0-7 0,-1 1 51 16,0-1 1-16,1-1 27 0,-3 4-15 15,-3-5 18-15,-1 1 18 0,1 2 35 0,-2-2 32 16,0 1 12-16,-1 1 18 0,2-1 10 0,-2 0 46 15,1 0-2 1,-2 0 10-16,1 2 6 0,2-2 12 0,4 3-3 0,-9-3 3 0,7 0-18 16,-1 1-31-16,3 2-2 0,-2-4-5 15,2 4-6-15,0 0 4 0,7-4-22 0,-1 1-15 16,-1 2 3-16,2-1-33 0,1 0-6 0,0-1-15 16,2 0-48-1,3 1-11-15,0-1 10 0,-1-2 16 0,1 1-20 0,1 0 4 16,-2 0 16-16,0 1 10 0,-1 0 38 15,-1 2-7-15,-2-2 48 0,0 3 21 0,-8 0 10 16,10 1 24-16,-5 2-1 0,-2 0 15 0,1 1-4 16,-4 1 14-16,1 1-7 0,1 2 18 0,-4 0-23 15,1 4-7-15,-1 0-22 0,-3 1 22 16,0 1-21-16,-3 3-72 0,0-2-26 0,-2 4 6 16,0-1 10-16,0-3-11 0,2 0-12 15,0-1 3-15,-2-1-27 0,3-3-17 16,1-1 0-16,1 0-26 0,0-3-15 0,0 0-38 15,3-4-26-15,-4 1 43 0,6-3 11 16,-5 2 0-16,5-2 17 0,0 0 6 0,-8-8 10 16,6 3 13-16,-1-1 17 0,1-1 14 0,2 1 17 15,-1 0 1-15,2 1 35 16,-1-2 18-16,0 1 13 0,0 1-8 0,0 2 31 0,2-2 18 16,3 4 16-16,-5 1-9 0,5-2 14 15,-5 2-19-15,0 0 11 0,11 5-8 0,-6-2 7 16,0 1-4-16,2 0-11 0,-1 2-22 0,2 1 12 15,-3-2-18-15,2 0-2 0,-2 0-1 16,3 2 1-16,0-3-3 0,-3 2-15 0,3-1-26 16,-1-1-3-16,-2 0-50 0,3-1-21 15,-2 1-49-15,1 0-20 0,0-2-65 0,1 0-111 0,0-1-252 16,0 0-225-16,2-1 15 0,-3-1 136 16,4 0 59-16,-1-1 85 15</inkml:trace>
  <inkml:trace contextRef="#ctx0" brushRef="#br0" timeOffset="113155.19">12085 13471 1246 0,'-13'2'443'0,"5"1"-64"0,0 2-3 0,1 0-2 16,-1 1-42-16,1 1-45 0,1 2-13 0,1 0-125 15,-2 2 14 1,4 0-14-16,-2 1-39 0,2-1 18 0,3 2-31 0,0 0 8 16,0-1-8-16,2 0-20 0,1-1-21 0,2 0 6 15,3-1-6-15,0 0-28 0,2-2-10 0,-2-2 3 16,5 0-14-16,-1-2-9 0,1-1-11 16,0-2-5-16,-3-4 16 0,3 2-4 0,-2-2 1 15,-1-1 3-15,2-1-1 0,-2-2 3 16,-1 0-5-16,-1-2 18 0,-1 0 2 0,-2-1-5 15,-3 2-15-15,1-1 5 0,0 2-15 0,-3-1 12 16,2 0 6-16,-2 3-6 0,-2 0-12 0,2 0 13 16,0 5-11-16,-3-4 13 15,3 4 13-15,0 0 2 0,-7 0-13 16,7 0-9-16,-3 8 9 0,0-4 1 0,1 2 17 0,0 0-30 16,2-1 8-16,-1 2 7 0,2-1-16 15,-1 1 11-15,2-2 16 0,0 2-14 0,1-3 9 16,-1 0-11-16,1 1-8 0,-1-3 5 0,4 0 6 15,-6-2 23-15,5 2-24 16,-5-2 16 0,10-2-10-16,-10 2-21 0,10-2 18 0,-4 1-25 0,-2 0 12 0,4-2 0 0,-8 3-5 15,10 0 3-15,-4 0 25 0,-6 0-12 16,12 1 117-16,-7 2-30 0,3-2 12 0,0 3 3 16,-3-1-64-16,2 1 5 0,-1 0 13 0,-1 0-15 15,0 1-1-15,-2-2-2 0,2 2 5 16,-2-2 11-16,-1 0-32 0,0 0 6 0,1-1 15 15,-3-2-3-15,0 5 24 0,0-5-23 0,0 0-70 16,0 0 5-16,0 0-12 0,0 0-8 16,0 0 13-16,0 0-5 0,3-10 7 0,-1 5 21 15,-2-1-23-15,2-2 13 0,2 2-14 16,0-1-9-16,-1 0-13 0,2-1-11 0,0-1-22 16,0 0-26-16,3-1-41 15,-3 2-13-15,3-1-33 0,0 0-46 0,-1 0-44 0,4 0-30 16,-4 0 58-16,3 0-56 0,-2 1 16 15,0-1-13-15,0 1 96 0,-3 3 40 0,2-1 61 16,-2 2 56-16,-2 0 61 0,0 1 29 0,-1 0 31 16,-2 3 14-16,0 0 42 0,0 0 2 15,0 0 31-15,0 0-7 0,0 0 2 16,-8 13 2-16,4-6 24 0,1-1-39 0,0 2-3 0,-2 0-4 16,3-1-14-16,-1 0 11 15,0 2-8-15,1-1-25 0,0 0 0 0,2 1-1 0,0-2-12 16,0-2-5-16,2 2-11 0,-2-2-30 15,2 1 10-15,1-2 5 0,0-1-18 0,2 0-2 16,0-2-1-16,-5-1-4 16,7 0-24-16,-7 0-7 0,13-3 7 0,-8-1 36 0,1 1-33 0,-1-1 0 15,2-1 3-15,-1 2 2 16,-1 0 5-16,0-1 8 0,0 2 16 16,-3 0 22-16,1 0-18 0,-3 2 14 0,0 0 12 0,0 0-26 15,13 3 3-15,-13-3-3 16,2 5-2-16,1 0 0 0,-3 0-18 0,3-2 10 0,-3 3-13 15,0-2-38-15,0 1-30 0,0 1-47 0,0-2-67 16,0 1-89-16,0-1-156 16,0 0-169-16,2-1-243 0,-2-3 25 0,2 4 70 0,-2-4 84 15,3 2 59-15</inkml:trace>
  <inkml:trace contextRef="#ctx0" brushRef="#br0" timeOffset="113940.32">12648 13504 1110 0,'1'4'423'0,"2"1"-29"0,-1 1 15 0,-2 1-119 0,2-1-6 0,1 2-23 16,-3 0-23-16,3 1-15 0,-3-1 2 16,2 2-41-16,-2 0-2 0,-2-1 48 15,2 1-30-15,-3 0 5 0,0-1-41 0,1 1 2 16,2-2-20-16,-2 0-23 0,-1-2 5 16,2-1-26-16,1 2-30 0,-2-3-13 15,2-1-34-15,0-3 16 0,0 5-38 0,0-5-3 0,0 0-3 16,10 0-10-16,-10 0-17 0,8-5-9 15,-3 2-4-15,1-1 15 0,1 0-18 16,1 0 7-16,-3-1 24 0,3 0-18 16,-3 0-8-16,2 0 10 0,-1-2 13 0,1 1 0 0,-1 0-2 15,1-1 14 1,-2 1-9-16,1-2 10 0,-2 1-5 0,-1 0 7 0,2 0-5 0,0 0 24 16,-2 1 2-16,0 0 7 0,1 0 24 15,-1 2 7-15,0 1-10 0,-3-1-7 0,5 0 7 16,-5 0 26-16,3 2 20 0,-3 2-41 0,2-5 23 15,-2 5-12-15,2-4-16 0,-2 4-16 16,0-5-12-16,0 5 0 0,3-2 13 0,-3 2-3 16,0 0-15-16,3-6 18 0,-3 6-1 0,0 0 4 15,2-2-34-15,-2 2-3 16,0 0 16-16,0 0-11 0,0 0-2 0,0 0 23 0,3-2-7 16,-3 2-19-16,0 0 31 0,0 0-2 15,0 0-21-15,0 0 5 0,10 4 26 16,-10-4-23-16,0 0 18 0,0 0 10 0,5 3-31 15,-5-3 23-15,0 0 8 0,3 2-5 16,-3-2-3 0,0 0 18-16,0 0-28 0,0 0-2 0,0 0 10 0,2 2 4 0,-2-2 14 0,0 0 5 15,0 6 2-15,0-6-15 0,-5 5 23 0,5-2-15 16,-2 0-88-16,-1 0 6 0,0 1 25 16,1 0-4-16,-1-1 22 0,1 1-38 0,-1-1 17 15,3 1-12-15,-2-1 28 0,-1 1-15 0,3 0 8 16,-3 1 7-16,1-1-3 0,2 0-20 15,0 1 13-15,0-1-5 0,0 2-31 16,2-2-20-16,1 0-16 0,0 1 3 0,1-1-75 16,-1 0-20-16,4 0 3 0,-1-1-29 15,2-1-53-15,-1 0-69 0,1-1-193 0,2 1-442 16,-2-2 92-16,3 1 72 0,-1-2 71 0,0 0 97 16,-2 1 52-16,-1-1 72 0</inkml:trace>
  <inkml:trace contextRef="#ctx0" brushRef="#br0" timeOffset="114202.92">13028 13538 1740 0,'13'4'476'0,"-10"-1"-30"0,-1 0-16 0,0 1-36 0,1 2-20 0,-2 1-19 0,-2 0-22 0,-2 3 36 0,-1 0-47 16,1 2-81-16,-5 1-77 0,1 1-57 15,-1 0-109-15,3 0-80 0,-3 1-108 16,-2-1-322-16,7-1-435 0,-2-3 110 0,3-2 16 0,-4-2 86 16,4-1 95-16,2-2 92 15</inkml:trace>
  <inkml:trace contextRef="#ctx0" brushRef="#br0" timeOffset="115083.78">13405 13382 936 0,'0'0'277'15,"0"0"-31"-15,0 0 73 0,2-3-16 0,-2 3-30 0,0 0-9 16,0 0-23-16,0 0-42 0,3-3 4 16,-3 3-24-16,0 0 13 0,0 0-18 15,0 0-36-15,0 0 3 0,0 0-11 0,0 0-7 16,0 0-8-16,0 0-12 0,0 0-19 0,0 0 26 16,0 0-82-16,0 0-25 0,0 0 10 15,0 0 0-15,0 0-19 0,0 0 30 0,0 0-32 16,0 0 8-16,-3 12 15 0,3-5 1 0,1 0 4 15,-1 2-2-15,0 1 8 16,2 1-11-16,-2 3-2 0,0-1-13 0,0 1 18 16,0-1-13-16,-2 1 13 0,2 0 7 0,0-1-30 15,0 0 8-15,-1-1-29 0,1 0-2 16,0-3-54-16,-2 1-13 0,4-2-43 0,-4 0-39 16,2-1-81-16,2-1-118 0,-2-1-31 15,0-1-333-15,1 1-38 0,1-3 87 0,-2-2 117 16,5 3 44-16</inkml:trace>
  <inkml:trace contextRef="#ctx0" brushRef="#br0" timeOffset="115706.73">13459 13544 1203 0,'-3'-6'404'0,"-1"0"-12"0,0 0-39 0,-3 1-49 16,-1 1-14-16,1-1-9 16,-1 2-45-16,0-1-19 0,-2 3-22 0,2 1-13 15,-5 0-24-15,3 2-4 16,-3 2-24-16,1 0 24 0,-1 1-57 0,0 0 31 0,2 2-23 16,1 0-89-16,0-1 7 0,2 1 15 0,1 0-28 15,1 0-5-15,-1 0 11 0,4 0 2 0,1-2 5 16,0 1 2-16,2 0-20 0,2-2 1 15,0 0-9-15,4 1-10 0,1-1 3 0,-1-2-36 16,4 0-26-16,0-2-40 0,2 0 1 0,2 0-27 16,-1-2-31-16,4-2-43 15,-2 0 38-15,3-2-10 0,-2 1 7 0,1-2 21 16,-6 2-8-16,2-1 33 0,0-1 26 0,-3 1 54 16,0 2 49-16,-2-1 50 0,0 0 50 15,-3 2 22-15,0-1 26 0,2 1-8 0,-4 1 13 16,2 0-28-16,-5 2 7 0,3-1 37 0,-3 1 63 15,0 0-25-15,8 5-26 0,-8-2-5 32,2 1-15-32,-2 3 7 0,0-2-22 0,3 1-29 0,-3 1 20 0,2 0-42 0,-2 3-9 15,0-2-17-15,0 1-44 0,0 0-26 0,0 1-56 16,0-2-56-16,0-2-87 0,0 1-218 16,0 0-558-16,0-2 100 0,3-1 64 0,-3-1 85 15,0-3 74-15,5 2 53 0,-5-2 121 16</inkml:trace>
  <inkml:trace contextRef="#ctx0" brushRef="#br0" timeOffset="115843.72">13515 13465 780 0,'0'0'172'0,"0"0"-85"0,0 0-108 0,-5 8-532 0</inkml:trace>
  <inkml:trace contextRef="#ctx0" brushRef="#br0" timeOffset="116367.35">13664 13599 1110 0,'0'0'323'0,"2"-6"-31"0,1 3-39 0,0-2-10 0,1-1-30 0,-1 1-8 16,0-1-11-16,0 2-17 0,-1-3 12 15,1 2-20-15,0 0-15 0,-1 0 9 0,0 1-4 16,-2 0-18-16,3 1 64 0,-3 3-39 16,0-5-2-16,0 5 10 0,0 0 33 0,0 0-66 15,0 0-18-15,0 0 10 0,-8 10-18 0,6-6-5 16,2 2-28-16,-3-1 10 15,3 2-12-15,0 0-14 0,0-1-15 0,0 1 49 0,3-3-38 16,-3 2-26-16,3-2-42 0,1 2 12 16,-1-4-12-16,2-1-27 0,3 0-23 0,-8-1-31 15,15-3 5-15,-5 0-3 0,4-2 6 0,-4-2 0 16,4 0 2-16,0-3 10 0,-1-1 21 16,-3 1-7-16,3-2 14 0,-3 1-9 15,0-2 14-15,-2 1 24 0,-3 0 10 0,2-1 18 16,-1 2 0-16,-2 2 25 0,-1-1 29 0,0 2-13 15,-1 2-13-15,-1 0 15 0,-1 2 26 16,0 0-15-16,0 4 18 0,0 0-21 0,0 0 23 16,0 0 0-16,0 0-13 0,-8 10 11 0,7-2-21 15,-1 1 0-15,0 0 16 0,-1 2-31 16,3 1 10-16,-2 1-31 0,4 3-3 0,-2-3 32 16,3 0-36 15,-1 0-55-31,1 0-1 0,2-1-27 0,-2 1-50 0,2-2-26 0,-2-2-100 0,4-2-187 0,-4 0-581 0,1-1 67 0,2-3 53 15,-1 0 93-15,2-3 79 16,-7 0 79-16,8 0 54 0</inkml:trace>
  <inkml:trace contextRef="#ctx0" brushRef="#br0" timeOffset="116590.54">13785 13551 1292 0,'0'0'399'0,"0"0"-40"0,0 0-3 0,0 0-36 0,0 0-21 16,0 0-38-16,20-3-23 0,-12 2-2 0,4-2-34 15,1 1-36-15,1-1-22 0,0 1-34 16,2-1-39-16,-3 0-32 0,2-1-42 0,3 0-10 16,-2 2-53-16,-1-2-67 0,0 1-141 15,3-4-151-15,-5 4-381 0,0 2 43 0,-3-2 90 16,0 2 120-16,0 1 2 0</inkml:trace>
  <inkml:trace contextRef="#ctx0" brushRef="#br0" timeOffset="118984.12">14213 13575 1213 0,'0'0'335'0,"0"0"-33"15,0 0-25-15,0 0-37 0,0-4-15 16,0 4-33-16,0 0-10 0,0 0-46 0,0 0-52 0,0 0-53 16,-3 12-51-16,3-8-47 15,-3 1-64-15,3 1-71 0,-4 0-184 0,1 2-323 0,3 0 53 16,-3 0 40-16</inkml:trace>
  <inkml:trace contextRef="#ctx0" brushRef="#br0" timeOffset="124167.23">14558 13437 1059 0,'4'-6'400'0,"-2"3"-29"0,3-1-26 16,-5 2-22-16,0 2-37 0,0 0-22 0,0-5-26 0,0 5-10 15,0 0-23-15,-10-1-18 0,10 1-11 16,-11 3-22-16,4-1-19 0,1 1-12 16,-3 1-8-16,1-2-15 0,0 2-25 15,1 0 1-15,-1 0 6 0,2 0-23 0,-1-1 20 0,2 1-30 16,0 0-10-16,2-2 7 16,0 1 0-16,-1 0-16 0,4-3 1 0,0 6-5 0,0-6-3 15,2 6 10-15,3-3-25 0,0 0 4 16,0 0 6-16,1 1-2 0,2 0 4 15,1 0-7-15,-1 1-18 0,0 0-5 0,2 0 40 0,0-1-12 16,-2 2 8-16,0-1-31 0,0 1 23 16,-1-2 2-16,-2 2-2 0,0-2-3 15,0 1 14-15,-4 0-58 0,1 1-6 0,-2-2 29 32,0 2-11-32,-2-1-1 0,-1 0 0 0,-2 2-10 0,0-2 33 0,-3 3-16 0,-2-3 27 15,2 1-26-15,-2 1-13 0,-1-2 12 16,-1 1-4-16,2 0 0 0,-1-2-24 0,1 1-12 15,2 0-33-15,-2-3-16 0,4 2-21 16,-1-3-32-16,2 2-75 0,2-1-69 0,3-2-41 0,0 0-2 16,-5 1-108-16,5-1-320 15,0 0 13-15,13-9 128 0,-6 2 64 0,1 0 125 0</inkml:trace>
  <inkml:trace contextRef="#ctx0" brushRef="#br0" timeOffset="124961.4">14766 13358 1356 0,'3'-3'343'0,"-3"3"-2"0,0-3-39 0,0 3-13 16,0 0-36-16,0 0-2 15,0 0-5-15,0 0-44 0,-13 12 26 0,8-5-11 0,0 1-22 16,2 4-21-16,-4 0-13 0,4 1-15 16,-2 3-20-16,0 2-4 0,0 1-14 0,0-1-16 15,-1 1-12-15,4 0-1 0,0 0-23 0,-1-2 93 16,3 0-21-16,0-3-16 0,0 0-7 15,2-1-13-15,-1 0-10 0,3-1 5 0,-1 0-30 16,0-2-22-16,2-3-1 0,0 1-32 16,0-2-4-16,0-1-26 0,3 0 7 0,-3-4-7 15,0 2-57-15,2-3-27 0,1 0-11 16,-8 0-18-16,11-2-33 0,-3-1-36 0,-4 1-38 16,0-1-64-16,0 1-49 0,-1-1-28 0,-3-2-131 15,2 1-250-15,-2 0-6 0,-2-2 164 16,2 6 67-16,-5-7 350 0,-1 1 139 0,-1 2 36 15,1-1 63-15,-4 0 44 0,-2 1 44 16,2 0 22-16,-1-1 39 0,-2 1 21 0,0 1 7 16,1-1 5-16,2 0 6 0,1 1-11 15,2 0 102-15,-3 0-2 0,2 1-54 0,3 0-10 16,0 1-18 0,0-1-28-16,0-2 0 0,5 4-49 0,-3-3 6 0,3 3-6 0,0 0-18 15,8-6-2-15,-3 5-110 0,2 1 5 16,1-3-3-16,2 3-18 0,-2-2 6 0,3 0-26 15,-1 2 0-15,0-1-39 0,0-1-15 0,-2 1-12 16,2 1-52-16,-2-1-5 0,-1 0-41 16,1 1-8-16,0 0-15 0,-3-1 21 0,2 0 12 15,-1 0 31-15,-6 1 5 16,10-1 16-16,-10 1 48 0,10 0 23 0,-10 0 28 16,8 0 26-16,-8 0 31 0,8 2 5 15,-8-2 15-15,7 3 20 0,-4 0-7 0,0-1-5 0,1 2 7 16,-1 1 19-16,2 1 12 0,-2 0-15 15,-1 2-18-15,1-1-11 0,0 1 14 0,-1-1-11 16,1 2-2-16,2 0-13 0,-3 0-24 0,1-2 27 16,-3 2 56-16,3 0-3 15,-3-1-5-15,2-2 15 0,-2 1-40 0,2 0 35 0,-2-2-30 16,0-1-6-16,1 0 31 0,-1-4 6 0,-1 6-103 16,1-6 12-16,1 3-9 0,-1-3-3 15,0 0 0-15,0 0 2 0,0 0 1 16,0 0-16-16,-3-13-3 0,3 8 8 0,0-2-22 0,0 2-9 15,3-4 11-15,-1 1-34 16,3 0-2 0,-2-1 13-16,2-1-28 0,0 0-19 0,3 1 16 0,-3 0-15 0,3 0-29 0,-1 3-14 15,1-1-12-15,-3 1-4 0,1 0-23 16,1 2-13-16,-2 0-33 0,3 0-49 16,-3 3-67-16,0 0-25 0,0 1-108 0,-5 0-278 15,13 1 27-15,-10 2 75 0,4 0 59 0</inkml:trace>
  <inkml:trace contextRef="#ctx0" brushRef="#br0" timeOffset="125870.97">15044 13671 1108 0,'0'0'335'0,"0"0"-15"0,0 0-38 16,0 0-6-16,0 0-30 0,0 0 0 0,0 0-57 15,7-12 16-15,-7 8-21 0,0-1-25 16,0 2-16-16,0-2 18 0,0 0-20 0,0 1-59 15,0-1-15-15,-3 0 4 0,3 5-9 16,-2-6 4-16,0 3 19 0,-1 1-24 0,3 2 3 0,0 0 3 16,-8 0-3-16,8 0 112 0,0 0-43 15,-13 7 3-15,11-3 2 0,-3-1-10 16,2 3-20-16,-2-2-16 0,3 3 3 0,-1 0-11 16,0-1 26-16,1 2-28 0,2-3-3 15,0 1-9-15,0 0-1 0,0-1-13 0,2 1-43 0,1-2-31 16,2 1-23-16,0-1-18 0,0 0-25 15,3-2-3-15,0 1-26 0,-1-2-10 16,1-1-43-16,2-1-24 0,0-1-27 0,1 1-55 16,1-2-37-16,2 0-29 0,-2-1-31 0,-1 0-28 15,1-1 60-15,1-1 11 0,-2-1 58 16,-1 1 9-16,0 0 52 0,-3-2 110 0,1 2 35 16,-2 0 78-16,-4 0 50 0,3 0 47 15,-5 1 22-15,0 1-2 0,0-1 16 0,-3 1 2 16,1 0-18-16,2 4 15 0,-8-4 4 0,3 2-22 15,0 2-15-15,5 0-2 0,-10 0 5 0,10 0 10 16,-8 0-23-16,8 0-18 16,-11 4-6-16,9-3 7 0,0 2-17 0,-1-1-20 15,3 3 16 1,0-5-3-16,0 6-21 0,0-1 1 0,3-1 2 0,1 2 44 0,0 0-11 16,0 0 11-16,4 1-16 0,-3-2 18 0,1 2 8 15,-2-2-46-15,2 2 7 0,-1-1 13 0,-2 0-25 16,1-1 2-16,-1 2-10 15,-3-2 15-15,0 1-15 0,-3 0 87 0,-1 0-7 0,1 1-11 16,-2-1-44-16,-1 0 11 0,2-1-36 16,-2 0 2-1,3-1 1-15,-1-1-6 0,1 0-27 0,-2-1-19 0,-1 1-18 0,6-3-38 16,-7 3-46-16,7-3 8 16,0 0-18-16,0 0-19 0,0 0-22 0,0 0-26 0,5-13-59 15,1 9-50-15,-2-2-53 0,6-1-65 16,-2-2 50-16,0-3-38 0,3 0-153 0,1 0 53 0,-2-2 100 15,1 1 205 1,-1-2 85-16,0 1 35 0,-2 0 62 0,0 0 32 0,-1 4 91 0,-1-2 46 16,1 2 50-16,-4 1 11 0,-1 3-30 15,1 0 4-15,-3 2 6 0,0 0-24 0,0 4 1 16,-5-4 9-16,5 4-12 0,0 0-10 0,0 0-5 16,0 0-11-16,-10 9-18 15,7-4-4-15,0 0 24 0,3 2-32 0,0 0-16 16,0 0-12-16,0 1 4 0,3 0 22 0,-1 1-35 15,-1 0-7-15,1-2 11 0,0 3-6 0,1-2-2 16,-1 2 20-16,-2-2 69 0,1-2 3 16,-1 2-21-16,0-1-10 0,0 0 21 0,0 1-64 15,-3-2 22-15,0 1 1 0,-1-1-42 0,-2-1-17 16,1 1-28-16,0-1-16 0,-2 1-7 16,-1-2-52-16,2 1-51 0,-1-1-41 0,-1 0-53 15,0 1-121-15,-2-4-138 0,2 4-497 16,3 0 39-16,-4-1 97 0,3 1 79 0,-2-1 93 15,1 0 25-15</inkml:trace>
  <inkml:trace contextRef="#ctx0" brushRef="#br0" timeOffset="149997.5">15607 13582 1476 0,'0'0'451'0,"0"0"2"0,0 0-79 0,3 10-16 0,-6-4 6 16,1 0-50-16,0 4-35 0,-1 2 18 15,-2-1-71-15,-1 5-11 0,-4 4-11 0,0-1-42 16,-1 3-32-16,-1-2-20 0,-3 7-66 0,-3 1-21 16,5-7-85-16,0-2-63 0,2 0-16 0,1-2-204 15,2-1-554-15,1-3 26 0,2-3 64 16,0-1 111-16,2-2 96 0,1-4 62 15</inkml:trace>
  <inkml:trace contextRef="#ctx0" brushRef="#br0" timeOffset="150635.25">15966 13354 911 0,'0'0'366'0,"3"14"-13"0,-3-5-46 16,0 1-23-16,0 4-23 0,0 0-28 15,-3 1-41-15,3 5-7 0,0-1-6 0,0 1-38 16,0-2-16-16,-2 2-30 0,2-1-6 16,2-4-22-16,-2 1-8 0,0-1 12 0,0-5-12 15,0 0-5-15,0 0 10 0,3-2-15 0,-3-2 7 16,0 0-18-16,0-1 14 0,0-3-9 16,0-2 6-16,0 0-13 31,0 0 12-31,10-9 8 0,-5 1 14 0,0-1-14 0,1-1 10 0,1 0 57 0,-2-1-18 0,3 3 39 0,0-1-39 15,0 3 17-15,-3 1-12 0,3 2 16 16,-1 1 4-16,0 1-71 0,1 3-28 0,0 2 15 16,-3 0-10-16,3 2-10 0,0 2-11 0,-3 1 18 15,0-1-30-15,0 2 2 16,0 1 3-16,0-1-62 0,-2 0-23 0,1 0-7 0,0-2-39 16,-2 1-21-16,0-2-20 0,-1 1-10 0,4-2-41 15,-3 1-48-15,-1-3-55 0,1 2-45 16,0-4 15-16,3 0-269 0,-2-1-118 0,-3-1 29 15,6 1 109-15,-6-1 50 0</inkml:trace>
  <inkml:trace contextRef="#ctx0" brushRef="#br0" timeOffset="151134.26">16186 13710 166 0,'8'-3'100'0,"-7"1"40"0,-1 2 19 0,7-4 95 0,-4 1 4 0,-1 0-10 0,1-2-17 16,2 1 20-16,-3-3-118 0,1 1 5 0,2-1 16 16,-2-2-3-16,0 1 0 0,-1-1-8 15,1 0 0-15,-3 0-12 0,2-1 4 0,-2 1 9 16,3 2-11-16,-3-2 3 0,-3 2-11 0,3 2-2 15,0 0-18-15,0 0-23 0,-2 2-3 16,2 3 11-16,-3-3-31 0,3 3-16 0,0 0 21 16,0 0-13-16,0 0 16 0,0 0-21 15,-10 6-15-15,10-6-29 0,-3 6 11 0,3-6-13 16,3 6-3-16,-3-6 16 16,5 5-13-16,-2-4 5 0,1 1 11 0,-1 0-6 0,3 1-8 15,1-1-12-15,-2 2 23 0,3-2-18 0,-3 1 10 16,3 2-15-16,-1-2 23 0,1 1-6 15,-3 0-4-15,1 1 2 0,1-1 3 0,-4 0 12 16,1 1-5-16,2 0-15 0,-4-1 0 0,0 0 6 16,-1 0 4-16,-1-4-3 0,0 6 19 15,0-4-11-15,0-2 78 0,0 7-1 0,0-7-18 16,0 4 3-16,0-4 0 0,0 0-11 0,0 0-10 16,0 0-4-16,0 0-29 0,0 0-3 15,0 0-7-15,3-15 15 0,-3 9-30 0,2-1-14 16,1 0-15-16,2-1 24 0,-2 0-39 0,4-1 2 15,-2-1-4-15,1 3-4 0,-2-2 24 16,2 3-13-16,-1 1 5 0,2-1 1 16,-2 3-6-16,0-1 23 0,-2 3 10 0,3 0 13 15,-6 1 5-15,10 2-2 0,-6 2 18 0,-1-1 27 16,2 1 37-16,-2 2-29 0,2 0 9 16,0 1 19-16,-2 0-17 0,0-1-24 0,1 2 4 15,-1 0-19-15,-3-1 3 0,2 0-26 0,-1 0-7 16,-1 0-47-16,-1-1-10 15,1 2-76-15,-2-3-70 0,2 1-158 0,-5 0-167 0,5-3-335 16,0-3 33-16,-2 4 93 0,2-4 99 0,0 0 54 16,0 0 30-16</inkml:trace>
  <inkml:trace contextRef="#ctx0" brushRef="#br0" timeOffset="151281.21">16448 13480 837 0,'-2'-4'332'0,"2"4"-27"0,-2-6-21 0,1 3-51 15,1 3-54-15,-2-4-87 0,2 4-107 16,-3-4-157-16,3 4-519 0,3-5 77 0,-3 5 41 16</inkml:trace>
  <inkml:trace contextRef="#ctx0" brushRef="#br0" timeOffset="151747.91">16648 13371 1182 0,'0'7'435'0,"0"-1"-38"0,0 4-26 0,0 1-15 0,3-1-108 16,-3 0-35-16,0 4-24 0,0-1-2 16,2 1-23-16,-1-2-16 0,-1 1-20 15,2-1 3-15,0-1-11 0,2 0-41 0,-2-2-9 0,-2-1-24 16,2 1-11-16,0-3-1 0,-1-1-1 16,-1-1 0-16,0 0-20 0,0-4-8 0,-1 4-23 15,1-4 28-15,0 0-4 0,0 0-17 16,-14-3 4-16,14 3 4 0,-10 1-10 0,4 0 31 15,-4 1-25-15,2 1 14 0,1-1-12 0,-3 2 23 16,1 3-13-16,-1-2 11 16,2 2 14-16,-2 1-9 0,5-3 4 0,-2 1-9 0,4 0-1 15,-2 0 0 1,2-1 1-16,1 0 2 0,-1-1 18 0,3-2-19 0,0-2 12 0,6 5-37 16,-6-5-10-16,10 0 5 0,-10 0-15 0,18-5-13 15,-6 0 21-15,-1 0-24 16,4-1 6-16,-2-2 12 0,2-1-20 0,1 1 5 15,-4 1 33-15,4 1 3 0,-6 0 16 0,1 0 19 0,-4 4 14 16,0-1 9-16,1 3 24 0,0 0-8 16,-8 0 80-16,10 3 15 0,-7 2-54 0,2-1 5 15,-2 1-5-15,-1 2-18 16,-2-1-5-16,0 1-84 0,2 1-11 0,-4 0-18 0,2 0-35 16,0-1-31-16,0 0-41 0,-2-2-49 15,2 1-61-15,0-2-118 0,-1 0-251 0,2 0-233 16,-1-4 72-16,4 2 41 0,-4-2 146 15,0 0 28-15</inkml:trace>
  <inkml:trace contextRef="#ctx0" brushRef="#br0" timeOffset="152029.1">16830 13411 888 0,'-2'-5'294'0,"-1"0"-38"0,3 1-41 15,-2-1-56-15,-1 1-36 0,3-2-62 16,0 2 0-16,0-1 1 0,3-1-16 15,-3-1-8-15,2 1 3 0,1 1 34 0,-1 0 37 16,1 1 3-16,0 0 6 0,-1 1 19 16,1 1 32-16,-3 2-59 0,5-1 17 15,-5 1 70-15,0 0-49 0,8 6 105 0,-6-1 36 0,0 1-129 16,1 3 14-16,-2 0-8 0,1 3 23 16,0 1-31-16,-2 2-2 0,3 0-29 0,-3 4 62 15,3-1-43-15,-1 1 10 0,1-1-44 16,-3-2-64-16,2-1-33 0,1 0-44 0,-1 0-15 0,1-2-38 15,-3-1-36-15,2 0-54 16,-2 0-82-16,3-3-153 0,-1 0-543 0,-1-1 69 0,-1-2 97 16,0-2 79-16,2 1 42 0,-2-1 66 15</inkml:trace>
  <inkml:trace contextRef="#ctx0" brushRef="#br0" timeOffset="152200.84">16858 13632 1044 0,'-4'-4'376'0,"4"4"46"0,0 0-15 0,0 0-40 16,0 0-17-16,8-6-22 0,-6 4-39 16,3-1-10-16,0-1-41 0,0 2-33 0,3-2-21 15,-1-1-51-15,1 1-51 0,0-2-54 16,2-1-61-16,-2 4-36 0,0-4-59 0,2 2-146 16,-2 2-576-16,-1-2 90 0,-2 1 8 15,1 1 86-15,1-1 134 0,-7 1 12 0</inkml:trace>
  <inkml:trace contextRef="#ctx0" brushRef="#br0" timeOffset="152966.04">17061 13627 581 0,'0'0'325'0,"0"0"-26"0,-3-8 21 0,3 8-23 0,3-8-31 0,-3 4-23 0,0 0 21 0,0-1-18 15,3 0-31-15,-3 1 18 0,0-1-98 0,0 0 19 16,-3 1-36-16,3 4-16 15,0-7 26-15,0 4-23 0,-3-1-28 0,3 4 7 0,-2-5-12 16,2 5-16-16,-2-3 1 0,2 3-9 0,0 0-22 16,0 0 15-16,0 0-21 15,0 0 8-15,0 0-12 0,0 0-1 0,0 0-5 16,4 15-22-16,-1-11 9 0,0-1 13 0,1 1-25 16,0 0 15-16,0 1 13 15,-1-1-21-15,2 2 5 0,-2-1-2 0,-1-1 0 0,1 1 0 16,0 0 5-16,-1 0 10 0,0-1 16 0,1 1-31 15,-2-1 7-15,-1 0 11 0,2-1 5 16,-2 1 8-16,0-4-24 0,0 6-4 16,0-3-6-1,0-3 8-15,0 5 5 0,0-5-15 0,2 4 10 0,-2-4-13 0,0 0-30 16,0 3-9-16,0-3-27 0,0 0-16 0,0 0 1 16,0 0 1-16,0 0-6 0,13-2-37 0,-13 2-48 0,5-2 4 15,-5 2-58-15,8-3 26 16,-3 2-34-16,0-2 13 0,-2 1-15 0,4 0-49 15,-2 0 56 1,1 0 85-16,-2-1 77 0,2 1 61 0,-1 0 28 0,0 1 75 0,-5 1 12 16,8-3 41-16,-8 3 8 15,0 0 31-15,7 2-29 0,-7-2 1 0,6 1 4 0,-6-1-12 0,7 1 8 16,-7-1-1-16,5 2 6 0,-5-2-6 16,0 0 1-16,10 0-9 0,-10 0 37 0,9 0-34 15,-9 0 16-15,10 1-5 0,-3-1 2 0,-7 0-100 16,11 2 28-16,-3 1 11 0,-1 2 89 15,0-2 1-15,-1 3-19 0,-1 0-63 16,1 4-4-16,-4 1-1 0,0 1-19 0,-2 1-2 16,-2 2-18-16,-4 3-13 15,-1-2-10-15,-3 4-54 0,2 0-69 0,-5-1-52 0,3 0-55 16,0 0-75-16,-1-1-117 0,4-3-52 16,4-1-494-16,3-3 151 0,3-2 24 0,2 0 96 0,5 0 75 15,3-3 82-15</inkml:trace>
  <inkml:trace contextRef="#ctx0" brushRef="#br0" timeOffset="153399.01">17692 13244 1174 0,'-3'13'497'0,"1"-2"-29"16,-1 6-27-16,-2 2-73 0,0 4 14 0,-8 10-42 16,5 4-20-16,-4 0-46 0,-2 2 0 15,0 1-59-15,0 0 10 0,1-1-87 0,-4 1-46 16,2-1-40-16,2-5-57 0,0-1-29 15,5-6-7-15,1-5-66 16,1 0-42-16,1-5-76 0,0-2-190 0,3-1-498 0,-1-3 70 0,3-2 134 16,-3-1 54-16,3-3 97 0,3-1 36 0</inkml:trace>
  <inkml:trace contextRef="#ctx0" brushRef="#br0" timeOffset="153822.75">17882 13596 1105 0,'0'-5'415'0,"0"1"-44"0,0 4-20 16,-3-5-29-16,-2 2-38 0,5 3-20 0,-8 0-21 15,8 0-10-15,-15 3-31 0,5 0-10 16,-3 1-10-16,2 1-103 0,-1 1-20 0,1 0 0 15,1-1-8-15,0 1-15 0,0 0 15 0,2-1-17 16,3 1-4-16,0-1 4 0,0-1 4 0,0 0 6 16,4 1-19-16,-1-3-7 0,2-2 0 15,3 5-10-15,-3-5-1 0,7 3 9 16,-4-1-11-16,4 0 15 0,-2 0-9 0,3 1-6 16,-2 1 23-16,1 0 0 0,0 1-31 15,-1-1 24-15,1 2-6 0,-1 2 6 0,-1-1-3 16,0 0 30-16,-3 2-30 0,-2 1-2 15,0 1 14-15,-2 0-7 0,0 1 13 0,-1 0 5 16,-4 1-23-16,-1 0 5 0,-1-1 67 0,-1 2-52 16,0-3-7-16,0 0-57 0,2-1-43 0,3-3-28 15,-5 0-77-15,4-1-136 0,-1-1-304 16,4-2-259-16,-1 0 51 0,4-3 167 0,-3 2 15 16,3-2 110-16,0 0 11 0</inkml:trace>
  <inkml:trace contextRef="#ctx0" brushRef="#br0" timeOffset="154367.29">17941 13725 944 0,'5'-8'445'0,"3"1"-50"0,-1 2-50 16,-2-2-25-16,0 1-31 0,0 0-28 0,1-1 1 15,-2 1-35-15,-1-1 1 0,2 1-46 0,-2 0-13 16,-1 0-5-16,2 2-36 0,-3 0-3 0,0 0-17 16,-1 4-16-16,2-3-5 15,-2 3-8-15,0 0 16 0,0 0-16 0,0 0 1 16,0 0-29-16,-10 11 5 0,10-7-12 0,-2 1-27 0,-1-1 19 16,0 1-13-16,3 0-2 0,-2-1 7 15,2-4-15-15,0 7-6 0,0-4 22 16,0-3-1-16,0 5-26 0,0-5 14 15,2 2 4-15,-2-2 19 0,8 0-19 0,-8 0-7 0,0 0 10 16,13-2-21-16,-10 0 1 0,-3 2 17 16,10-2-20-16,-5 1 16 0,-5 1 25 15,9 0-3-15,-9 0-92 0,9 1 19 0,-4 1-4 16,-2 1-15-16,-1-1 16 0,3 1 2 0,-2 1-2 16,-1-1 17-16,2 0 11 15,-3 2-16-15,0-1 14 0,-1 0 9 0,2-1-7 0,0 1 18 16,-2-1-6-16,3 1 85 0,-3-4-2 15,0 5-1-15,0-5 8 0,3 4-46 16,-3-4 36-16,0 0-72 16,2 3 1-16,-2-3-24 0,0 0 5 0,0 0-5 0,0 0 1 0,11-2-4 0,-11 2 16 15,0 0-7 1,9-4 17-16,-9 4 0 0,6 0-33 0,-6 0-5 0,7-1-3 0,-1 0-7 16,-6 1-49-1,0 0-23-15,14 1-44 0,-14-1-23 0,6 0-48 0,-6 0-74 16,0 0-165-16,10 1-447 0,-5 1 105 0,-2-1 46 15,2 2 89-15,3-1 57 0</inkml:trace>
  <inkml:trace contextRef="#ctx0" brushRef="#br0" timeOffset="154646.07">18313 13682 1387 0,'2'-3'333'0,"-2"-1"-13"0,0 4-24 0,0-6-45 0,0 6-18 0,0 0-18 16,0 0-5-16,-8 0-31 0,8 0 82 15,-8 6-30-15,6-2-34 0,-3-1-26 16,0 2 9-16,2 0-50 0,-2 2 3 0,2 1-20 16,-1-3 5-16,3 1-11 0,-2 1-30 15,1-3-18-15,0 2 0 0,4-1-39 0,-2-1-35 16,2 0-11-16,1-1-12 0,0 0-42 0,2-1 9 15,3-1-19-15,0-1-25 0,2 2-72 0,0-2-123 16,-2 0-181-16,2 0-364 16,0-2 54-16,0 1 107 0,-2-1 113 0,1-1 38 15</inkml:trace>
  <inkml:trace contextRef="#ctx0" brushRef="#br0" timeOffset="155122.7">18548 13481 1233 0,'0'0'522'16,"0"0"-125"-16,0 0-33 0,-7 10-26 0,4-2-24 15,2 0-37-15,-3 2-29 0,1 1-2 0,1 1 25 16,-1 3 13-16,1-1-53 0,-1 2-21 16,0 3-24-16,-1-2-58 0,1 1-33 0,0-1-46 15,-1 0-36 1,-2-1-16-16,3-3-30 0,-2 0-26 0,0 0-15 0,0-3-21 0,0 0-5 15,-1-2-2-15,2-3 2 0,-2-1 18 0,2-2 8 0,1 2-3 16,-2-2 5-16,0-2 8 16,5 0 18-16,-8 1 15 0,8-1 8 0,0 0 34 15,0 0-9-15,-8-5-12 0,8 5 23 0,-2-5-16 16,2 5 1-16,5-7 17 0,-3 2-7 16,5-1-6-16,-1 0 1 0,2-3-8 15,-1 1 0-15,3 0 12 0,1 1 16 0,-3 0 18 0,2-2 10 16,0 3 24-16,0-1 17 0,0 1 8 15,0 1 28-15,-2 2-23 0,0 0 33 16,-3 1-10-16,3 2 2 0,-8 0 32 0,13 3-34 16,-8 0-21-16,0-1 16 0,0 1-21 0,-2 2-15 15,-1 0-20-15,-2 0-13 0,3 1 15 16,-3 1-21-16,-3 0-60 0,1 2-37 0,0-2-53 16,-1 0-34-16,0-1-25 0,1 0-39 0,1-1-99 15,-6 1-203-15,7-2-453 0,-3 1 67 0,3-5 166 16,3 3 46-16,-3-3 54 15,0 0 90-15,0 0 30 0</inkml:trace>
  <inkml:trace contextRef="#ctx0" brushRef="#br0" timeOffset="155516.24">18676 13613 1356 0,'-2'8'471'0,"2"-2"-118"0,-2 2-45 0,2 0-29 16,0-2-24-16,0 1-29 0,2 1-11 16,0-3-5-16,-2 1-34 0,3-2-17 0,0 1 15 15,2-2-46-15,-3-1-23 0,5 0-36 0,-1-1 0 16,-6-1-20-16,13-2-11 0,-8 0-2 31,4 0-13-31,-1-2 5 0,0 0-2 0,0-1-1 0,1-1 32 0,-3 2-27 0,2 0-4 0,0 1 25 16,-3 1 6-16,3-2 1 0,-3 4 32 15,-5 0 84-15,8 3-5 0,-8-3-64 0,10 3-21 16,-7 3 106-16,1-1-47 0,-1 1 13 16,2 0-127-16,-3 1 14 0,-1-1 11 0,-1 1-8 15,-1 2-13-15,-1-2-12 0,0 1-11 16,-1-1-87-16,-2 2-59 0,0 0-35 0,-2-3-108 15,1 1-213-15,1 2-498 0,-1-2 91 16,-1 1 50-16,2-3 116 0,3-1 78 0,-2-1 49 0,4 0 152 16</inkml:trace>
  <inkml:trace contextRef="#ctx0" brushRef="#br0" timeOffset="155675.93">19105 13869 1049 0,'4'-1'358'0,"-4"1"-12"0,11-2-49 15,-8 0-31-15,1-1-41 0,-4 3-17 0,6-4-47 16,-4 2-46-16,-2 2-43 0,3-4-59 16,-3 4-67-16,3-9-174 0,-3 8-509 15,0 1 20-15,0-5 128 0,0 5 72 0</inkml:trace>
  <inkml:trace contextRef="#ctx0" brushRef="#br0" timeOffset="156683.51">11093 13150 924 0,'-6'-2'340'0,"2"2"-15"16,1-2-56-16,3 2-26 0,0 0-10 0,0 0-21 15,0 0 1-15,0 0-26 0,0 0-13 0,27 4-8 16,-11-1-12-16,5 0-8 0,4-2-13 15,6 1-28-15,2 0-54 0,11 0-13 0,-6 0-35 16,-4-1-26-16,2-1-28 0,12 0-62 16,-7 0-123-16,-8-1-89 0,-2-1-146 0,0 1-286 15,-5 0 107-15,-5 1 17 0,-1-4 70 16</inkml:trace>
  <inkml:trace contextRef="#ctx0" brushRef="#br0" timeOffset="156877.64">11348 13241 793 0,'-12'1'325'0,"7"-1"-33"0,2 3 41 16,3-3-31-16,0 0-16 0,0 0-35 15,18 3-15-15,-5-3-21 0,5 0-8 0,5 0-28 16,10 0-38-16,13 0-46 0,3-1-16 16,0 0-51-16,2 2-61 0,-2 0-23 0,0 0-39 15,0 1-66-15,2-1-36 0,-2 2-44 0,1 1-332 31,-6-1-142-31,0 1 27 0,-3 4 84 0</inkml:trace>
</inkml:ink>
</file>

<file path=ppt/ink/ink2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42:04.775"/>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9408 580 1069 0,'0'0'489'0,"0"0"-10"16,0 0-54-16,0 0-56 0,0 0-26 0,-5-1-21 15,5 1-25-15,0 0-54 16,0 0-20-16,0 0 2 0,0 0-30 0,0 0-19 16,0 0-2-16,0 0-30 0,20 3-9 15,-15-2-22-15,5-1-11 0,1 1-7 16,-1 0 10-16,3 0-18 0,0-1 0 0,-1 1-26 0,2-1-68 16,1 2-1-16,1-2 3 15,-1 0 5-15,1 0 0 0,1-2-10 0,-4 2-16 0,-1 0-12 16,-1 0-8-16,-1 0 5 0,0 0-8 0,-2 0-30 15,0 0-1-15,-1 0-30 0,-7 0-20 0,13 0-24 16,-10-1-33-16,-3 1-76 0,8-5-165 0,-6 5-447 16,0-1 122-16,-2 1 8 0,0 0 103 0,0 0 61 15,3-4 18-15</inkml:trace>
  <inkml:trace contextRef="#ctx0" brushRef="#br0" timeOffset="341.83">9675 455 1128 0,'0'0'410'0,"0"0"-42"0,0 0-19 0,0 0-32 15,0 0-5-15,0 0-130 16,0 0-3-16,12 8-23 0,-4-5-12 0,0 0-14 15,2 1-17-15,0 1-6 0,3 1-15 0,0-1-7 16,-3 1 7-16,3 1-28 0,0 2 3 16,0-1-6-16,0 1-5 0,-3 1-12 0,0 0 7 15,-5-1-5-15,-2 2 5 0,2 0-5 0,-5 1-7 16,-2 0 12-16,-4 2-7 0,-2 2-11 16,1-1 3-16,-6 3-6 0,2-1 9 0,-3 0 17 0,0 0-30 15,1-2 4-15,-1 0-19 0,3-2-1 16,-2-2-36-16,3 0-33 0,2-2-7 15,1-2-49-15,-1 1-44 0,3-3-100 0,0-5-81 16,2 5-512-16,-2-3 53 0,5 0 116 0,0-2 35 0,0 0 64 16,0 0 124-16</inkml:trace>
  <inkml:trace contextRef="#ctx0" brushRef="#br0" timeOffset="1690.8">10442 430 775 0,'2'-3'343'15,"-2"3"-15"-15,5-4-6 0,-5 4-20 16,0-6-23-16,0 6-36 0,0 0-25 0,-7-3-6 31,7 3-20-31,-11 2-28 0,1-1 56 0,2 3-40 0,-7-1 6 0,4 3-19 0,-2 0-14 0,1-1-7 16,-4 1-30-16,4 0-19 0,-1 1-3 15,3-2-6-15,-1 1-12 0,1 1-7 16,2-1-5-16,0 1-10 0,1-1-21 16,4-1 21-16,-2 1-15 0,3 0 2 0,2-1-13 0,2 0 5 15,3 0-2-15,-2 1-6 0,5-1-9 16,2-1-4-16,0 0 6 0,3 2-18 0,2-1 21 16,0-1-1-16,1 1-17 0,-1-1 5 0,1 0 12 15,-3-1 3 1,2 2-5-16,-4-2 5 0,1 1-5 0,-4-1 0 0,0 0 18 0,-1-1-6 15,1 2-4-15,-6-1 2 0,3 1 11 0,-7 2 12 16,2-2-5-16,-5 3-5 0,2-1 13 0,-5 0-19 16,-2 1-9-16,0-1 12 15,-3 2-9-15,-3-1 1 0,-1 0-7 0,2-2-2 0,-1 1-19 16,1 0-4-16,-1-3-21 0,1 1-5 16,0-1-36-16,2 0-21 0,0-1-25 0,3 0-21 0,-3-1-30 15,5-1-72-15,-2-3-179 16,3 1-540-16,1 2 77 0,1-2 89 0,3-1 74 15,-1-1 95-15,2-1 75 0</inkml:trace>
  <inkml:trace contextRef="#ctx0" brushRef="#br0" timeOffset="2003.25">10713 352 1041 0,'0'0'425'0,"0"0"-54"15,5-1-28-15,-5 1-20 0,0 0-26 16,5 6-18-16,-5-2-23 0,0 2 53 0,0 2-29 0,-2 2-22 16,-1 0-28-16,-2 4-43 15,0 1 13-15,2 2-26 0,-5 0-31 0,1 3 8 16,0-2 0-16,-1 2-25 0,2 2-19 0,-1-1 1 16,1 0-8-16,-1-4-18 0,4 1 10 0,-1-1-21 15,0-1-17-15,2-3-8 0,0-2 0 0,2 2-33 16,0-4 2-16,2 1-12 15,0-1-44-15,2-1-20 0,0-2-1 0,2-1-22 16,1-1-29-16,1-1-25 0,0-2-34 0,2-2-94 16,2-3-164-16,-1 2-443 0,2-1 21 0,-3-1 76 15,3-1 52-15,-3-2 135 0,-2 1 18 0,-1 0 47 16</inkml:trace>
  <inkml:trace contextRef="#ctx0" brushRef="#br0" timeOffset="2249.07">10485 583 1044 0,'0'0'348'0,"0"0"-2"0,0 0-29 16,0 0-7-16,0 0-19 0,18-5-14 0,-10 4-19 16,2 0-35-16,0-1-21 0,3 1-22 0,2-1-19 15,1 1-5-15,-1-1-23 0,3 0-18 0,-2 1-23 16,1-1-25-16,-2 0-11 15,-2 1-40-15,3 0-42 0,-4 1-23 0,2-1-15 16,-2 0-64-16,-1 1-89 0,1-4-139 0,-2 5-458 16,-2 2 64-16,2-2 64 0,-1 0 85 0,1 0 40 15</inkml:trace>
  <inkml:trace contextRef="#ctx0" brushRef="#br0" timeOffset="2703.53">11013 607 1062 0,'-2'-3'350'0,"2"3"-1"0,-6-4-45 0,1 4-35 0,5 0-28 16,-13 0-14-16,6 2-14 0,-1 1-29 0,-2 0-15 16,0 3-3-16,0 0-27 0,2 1-16 15,-3 0-8-15,1 2-13 0,2-1-7 0,0 2-11 0,1-2-2 16,-1 1-15-16,3-2-11 16,0-1 3-16,2 1-31 0,1-1-15 0,2-1-13 15,2-2 2-15,3 0 14 0,-2-1-16 16,5-1 18-16,0-1-13 0,-1-2-8 0,1-1 21 15,5-1-5-15,-3-2-8 0,3 1 0 0,-3-3 26 16,0 0-3-16,1 1-7 0,-1-1 30 0,-2 1-18 16,-1 0 11-16,1 2-1 0,-1 0 1 0,-1 0 2 15,-4 1 41-15,1 2 28 16,2-1-15-16,-5 3-18 0,0 0-8 0,0 0-2 0,0 9-19 16,0-3-7-16,-3 1 16 15,1 1-16-15,-1 0-31 0,1 0-10 0,-1 2-41 0,1-1-43 0,1 0-26 16,1-1-59-1,0 1-145-15,0-2-505 0,3-1-75 0,0 0 68 0,0-2 127 16,4 0 26-16,-2-2 87 0,3-1 79 0</inkml:trace>
  <inkml:trace contextRef="#ctx0" brushRef="#br0" timeOffset="2963.71">11356 379 1121 0,'0'0'414'0,"0"-4"-22"0,0 4-13 16,0 0-44-16,0 0-15 0,-12 13 64 16,9-7-69-16,-4 6-23 0,1-1-95 15,1 7 0-15,-2 2-21 0,2 3-25 0,-3 1-28 0,2 2-5 16,-1 7 18-16,2-5-18 0,2-4 2 16,1-4-20-16,-1-1-16 0,3 1-51 15,0-4-12-15,3 0-24 0,-1-2-25 0,1-2-38 0,2-1-19 16,0 0-12-16,0-3-13 0,2-2-26 0,1-3-56 15,0 1-71-15,0-4-280 0,2 0-333 16,-2-4 80-16,0 1 82 0,2-5 108 16,-2 0 68-16</inkml:trace>
  <inkml:trace contextRef="#ctx0" brushRef="#br0" timeOffset="3211.24">11005 589 1151 0,'0'0'425'0,"0"0"-89"0,0 0-19 0,0 0 46 0,10 4 11 15,-2-3-49-15,2-1-43 0,1 0-19 16,4 0-37-16,3-1-19 0,0 0-12 0,3 0-11 0,1 0-13 16,2 0-22-16,1-2-8 0,-1 0-29 15,-1 1-20-15,-1-1-12 0,-3 1-37 16,1-2-22-16,-2 1-44 0,-3-1-36 0,1 1-49 15,-4 0-71-15,1 2-143 0,0-3-318 0,-2 4-266 16,-1 0 110-16,0 0 61 0,-2 3 108 16,-1-2 53-16</inkml:trace>
  <inkml:trace contextRef="#ctx0" brushRef="#br0" timeOffset="3678.61">11511 794 857 0,'10'-10'287'0,"0"3"-31"15,-3-3-8-15,3 3 46 16,-1-3-10-16,1-1-28 0,0-2-28 0,0-2 5 0,-2 2-64 16,0-2-15-16,-1 1-14 0,-2 2 14 0,-2 0-29 15,2 1 85-15,-4 0-2 0,-1 1 12 16,0 2-38-16,-1 2 12 0,1 1-30 16,-5 2-11-16,2-1 4 0,-2 3-27 0,5 1 1 15,-13 3-3-15,6-1-18 0,-1 2-18 0,-2 3-10 16,2 1-13-16,0-1 23 0,4 3-28 0,-4-1 3 15,5 2-8-15,-2-1 12 16,3-1-20-16,2 2 6 16,0-3-19-16,2 3-5 0,3 0 8 0,0-1-2 0,3-1 2 0,2 1-11 15,3-2-22-15,0-2-26 0,0-1-18 0,-1 0 8 16,1-1-51-16,0-2-39 0,0-1-18 0,-1-1-38 16,-1 0-87-16,2-4-212 15,-3 3-497-15,0-1 53 0,3-2 111 0,-3 2 76 0,-2-2 93 0,-1 1 28 16,1 0 69-16</inkml:trace>
  <inkml:trace contextRef="#ctx0" brushRef="#br0" timeOffset="4257.54">11828 599 1028 0,'0'0'479'0,"0"-4"-56"0,0 4-37 0,0 0-5 0,0 0-53 0,0 0-95 0,0 0-3 15,6 15-30-15,-6-10-18 0,2 1-24 0,0 2-7 16,1 0-7-16,-3 1-19 0,1 0-15 16,1 1 0-16,-2-3-38 0,2 1-5 0,-2 1-19 15,2 0-2-15,-2-3-5 0,1 0-18 0,2 0 0 16,-3-1 3-16,2 0-8 0,-2-2 10 16,2 0-2-16,-2-3 7 0,3 3-18 0,-3-3 3 15,0 0-2-15,0 0 12 0,8-7-16 0,-3 3 12 16,-2 0 6-1,1-3-9-15,0 2 20 0,0-1-29 0,2 0 1 0,-4 1 10 0,3 1-10 16,0 2-21-16,-3-3 24 0,4 4 4 0,-6 1-4 16,8-1-1-16,-8 1 3 0,0 0 5 0,10 3-10 15,-7-1-6-15,-1 2 16 16,0 0-5-16,1 0 5 0,0 0-15 0,-1 1 5 16,0 0 2-16,-1-1-17 0,2 1 9 0,-1 0 42 0,0-2-29 15,-2 2 11-15,3-2 31 16,-3-3-14-16,0 6 14 0,3-3-34 31,-3-3 23-31,2 2 0 0,-2-2-7 0,0 0 107 0,0 0-49 0,13-8 3 0,-8 5-8 0,0-2-17 0,1 0-6 16,1 0 0-16,-2-1-10 0,3 2-20 15,0 1-3-15,-3 0 5 0,3 0 5 0,-4 1 3 16,2 2-19-16,2 0-78 0,-8 0 2 0,10 2 13 16,-5 2 28-16,0 0-13 0,0 1 18 0,0 1-23 15,-2-1 16-15,2 1 12 16,-2 0-31-16,-1 1-20 0,0-3-12 0,1 3-39 15,-3-3-21-15,3 2-33 0,-1-1-28 0,1-1-49 16,-1 0-38-16,3-2-8 0,1 2-171 0,-1-3-517 16,2 0 79-16,1 1 105 0,-1-1 43 15,1-1 73-15,0 0 114 0,0-1 21 16</inkml:trace>
  <inkml:trace contextRef="#ctx0" brushRef="#br0" timeOffset="4625.16">12275 822 931 0,'0'0'379'0,"0"0"-100"0,0 0-2 0,0 0-19 15,0 0-28-15,0 0-17 0,15-6 2 0,-12 1-31 0,4 0-12 16,0 0 2-16,-4-1 13 0,3-3-18 16,1 0 30-16,1-2 24 0,-3-1-31 0,0 1-21 15,-2 0-7-15,1-1-10 0,0 1-19 0,-2 1 14 16,0-1-19-16,1 2-83 0,-3 1-12 0,0 2-1 16,0-1 4-16,0 1 11 0,0 2-11 15,0 4-5-15,-5-3 6 16,5 3-11-16,0 0 8 0,0 0 7 0,-13 7-15 0,8-2-2 15,3-1-8-15,-1 1-18 0,3 1-36 0,-3 1-25 16,3-1-57-16,0-1-2 0,3 0-34 0,0 1-15 16,-1 0-15-16,3-1-57 0,0 1-107 15,1-4-18-15,1 2-453 0,0 0 38 0,-1 1 98 16,1-2 25-16,1 2 95 0</inkml:trace>
  <inkml:trace contextRef="#ctx0" brushRef="#br0" timeOffset="5201.96">12497 681 1159 0,'0'0'389'0,"0"-3"-33"0,0 3-31 15,0 0-13-15,0 0-33 0,0 0-18 0,0 0-30 16,0 0-3-16,0 0-8 16,0 0-36-16,0 13 18 0,0-8-15 0,0 1 51 15,0 1-28-15,-2 0-28 0,2 0-11 0,-2 1-30 16,1 0 2-16,-1-2-27 0,2 2-1 0,-3-3-10 16,3 0-26-16,0 1 21 0,0-2-23 0,0 0-6 15,0-4-9-15,0 6 12 16,0-6 16-16,3 2-39 0,-3-2 8 0,0 0-3 0,0 0 3 15,17-8-11-15,-11 4-7 16,2-2 16-16,2-1-21 0,0 2-13 0,-2-1 12 0,2 0-12 0,-2 2-5 16,2-1 0-16,-2 1 8 0,0 2 2 15,-4 1-5-15,4 0 13 0,-8 1-8 16,11 3-15-16,-6 0-3 0,2 0 11 0,-2 2-11 16,0-2-26-16,1 1-17 0,-2 1-38 0,0-2-37 15,0 0-12-15,2-1-52 0,-4 3-25 16,3-4-36-16,0 2-120 0,-5-3-228 0,5 1-397 15,1 0 87-15,-6-1 75 0,12-4 109 0,-6 2 57 16,-2-3 44-16</inkml:trace>
  <inkml:trace contextRef="#ctx0" brushRef="#br0" timeOffset="5461.28">12892 420 1192 0,'0'0'505'0,"0"0"-11"0,0 0-116 15,0 0-14-15,-8 10-26 0,6-4 56 16,-1 3-15-16,1 2-52 0,-1 2-30 0,1 0-15 16,2 2-16-16,-3-1-25 0,3 2-8 0,0-2-13 15,0 3-41-15,3-3-31 0,-3 0-35 16,3 0 5-16,1-2-41 0,-1 0-31 0,0 0-44 16,-1-2-30-16,3-2-36 0,-2-1-5 15,2 0-72-15,-2-3-30 0,1-1-57 0,2 0-171 0,-2-2-600 16,0-1 62-16,-4 0 108 0,0 0 64 0,7-4 133 15,-7 4 35 1,0-6 54 0</inkml:trace>
  <inkml:trace contextRef="#ctx0" brushRef="#br0" timeOffset="5672.15">12590 583 1034 0,'0'0'440'15,"10"3"-28"-15,0-2 54 0,1 1-18 0,2-1-49 16,5-1-35-16,2 0-42 0,3 0-20 0,0 0-2 16,3-1-37-16,-3-1-101 0,3 1 1 15,-2 0-37-15,-3-1-26 0,0 0-3 0,2 1-43 16,-8-1-54-16,1 2-29 0,-4 0-47 16,-1-1-22-16,-3 0-58 0,-1 1-72 0,-4 1-245 15,-3-1-426-15,0 0 55 0,0 0 101 16,0 0 68-16,0 0 99 15,-21 4 36-15</inkml:trace>
  <inkml:trace contextRef="#ctx0" brushRef="#br0" timeOffset="6326.52">13436 223 1123 0,'0'0'435'0,"0"0"-48"15,2 12-21-15,-4-6-28 0,2 5-29 0,2 3-29 16,-2 1-9-16,0 4-18 16,0 1 36-1,3 1-30-15,-3 2-36 0,0 3-24 0,0 1-4 0,-3-1-34 0,3 1-23 0,0 0 1 0,-2-5-50 16,2 0-22 0,-2-3-34-16,2 2-33 0,0-2-46 0,0-4-8 0,0-1-58 0,0-2-45 15,0-2-99-15,0 0-215 0,2-3-435 16,0-3 113-16,1-1 35 0,0-3 121 0,-3 0-8 0,0 0 92 15</inkml:trace>
  <inkml:trace contextRef="#ctx0" brushRef="#br0" timeOffset="6607.64">13277 524 1343 0,'0'0'441'0,"-5"-3"-55"16,5 3-66-16,0 0-43 0,0 0-11 15,10-4-28-15,-10 4-3 0,15-1-35 16,-5 0-3-16,1-2-28 0,2 2-15 0,2-1-11 0,5-2 54 16,-1 1-36-16,3 2-7 0,-1-3-26 31,-1-1-51-31,4 1-26 0,1 0-36 0,-4-1-35 0,2-1-37 0,2-1-9 0,-4 3-44 0,-3-3-41 15,0 2-72-15,-3-2-51 0,-2 1-92 0,-2-2-20 16,-1 2-372-16,-3-1 49 0,1 0 54 16,-2 2 61-16,-2-3 36 0</inkml:trace>
  <inkml:trace contextRef="#ctx0" brushRef="#br0" timeOffset="6972.4">13682 270 1205 0,'-3'-3'312'0,"3"3"-22"0,-2-5-1 15,2 5-25-15,-3-3-19 0,3 3-19 0,0 0-19 16,0 0-38-16,0 0 25 0,0 0 42 0,-7 12-8 16,6-5-1-16,-1 1-17 0,2 2-15 15,-2 1-19-15,-1 1-4 16,3 3-34-16,0 2-2 0,-1 0-70 0,-1 2-7 0,2 0 0 0,-2-1-8 16,2 2-2-16,0-1-16 15,0-1-5-15,0-1 1 0,0-3-1 0,0 2 20 0,-2-3-27 16,2 0 2-16,0-3-8 0,0 0 13 0,2-1 3 15,-2-2-3-15,0-1-15 0,2-2 2 0,0 0 6 16,-1-2-3-16,-1-2 7 0,7 2 4 16,-7-2-11-16,0 0 10 0,10-4 0 0,-7 2-13 15,3-1 1-15,-1 1 27 0,-2 0-22 16,4 1-11-16,-4-1 5 0,-3 2 6 0,10 1-11 16,-5 1-8-16,0 0 21 0,0 3-10 15,1-2 5-15,1 2 10 0,-2 0-23 0,1 0-7 0,-2 0-24 16,4 1-22-16,-3-2-45 15,0 2-24-15,3 0-16 0,-3-2-36 0,3 0-49 0,-3 0-71 16,0-3-98-16,3 0-544 0,0 2 112 16,-1-3 35-16,1 0 155 0,-1 1 22 0,1-2 41 15</inkml:trace>
  <inkml:trace contextRef="#ctx0" brushRef="#br0" timeOffset="8052.75">14062 578 565 0,'0'0'177'0,"0"0"30"0,0 0 6 15,0 0 71-15,2-4 2 0,-2 4-25 16,0 0-97-16,0 0 5 0,0 0-13 0,0-4 8 15,0 4 8-15,0 0 61 0,0 0-8 0,0 0-18 16,-5-6-7-16,5 6-18 0,0 0 17 16,-5-2-50-16,5 2-8 0,0 0-3 15,0 0-33-15,-10 1-5 0,10-1-6 0,-8 3-14 16,5-1 1-16,-4 1-22 0,4-1-2 0,-2 1-6 0,-3 0 0 16,5 1 11-16,-4-1-1 15,2 2-23-15,-1-1 8 0,2 1-23 0,-2-1 0 16,4 0 3-16,-1 0-23 0,-2 0-3 0,3 0-11 15,1 0 11-15,1-4-2 0,0 5-26 16,0-5 15-16,1 5-10 0,-1-5 7 0,7 0-1 16,-7 0 4-16,0 0 8 0,11-1-6 0,-11 1 1 15,8-4-5-15,-1 3 20 0,-2-1-8 0,-5 2-2 16,8-2 13-16,-6 1-18 0,-2 1-8 16,8-2 10-16,-8 2-7 0,8 0 7 0,-8 0-2 15,7 2-11-15,-7-2-27 0,8 1 4 16,-2 0-12-16,-6-1 7 0,12 0-2 0,-7-1 25 15,3 0-22-15,0-1 4 0,2-2 19 16,0 0 7-16,0-2 33 0,1 1 24 0,-1-3 14 16,0 0-53-16,-2-2 11 15,2-1 12-15,-2-1 76 0,2-2-6 0,-3 0 47 0,-1 0-12 16,-1-1 0-16,0-2-69 0,0-2-3 0,-2 0 11 16,2-1-16-16,0 2 13 0,-3 0 8 0,1 5 17 15,-3 2-9-15,3 1-1 0,-3 1 16 0,0 2-8 16,0 4 20-16,-3 0-17 0,3 3 0 15,0 0-29-15,-10 13 21 0,7-3-23 0,-2 3 5 16,0 1-5-16,0 2-16 0,0 0-7 16,3 2 0-16,2-2-13 0,-1-1-21 0,2 1-17 15,1-1-23-15,0-1-37 0,4 1-17 16,-2 0-38-16,4-5-16 0,-3-1-23 0,3 0-36 16,2-2-18-16,-4-1-20 0,2-3-95 0,-2-1-199 15,3-1-408-15,-2 0 88 0,-2-1 135 0,1-4 13 16,1 1 67-16,-2-1 91 0</inkml:trace>
  <inkml:trace contextRef="#ctx0" brushRef="#br0" timeOffset="8274.81">14021 420 1213 0,'0'0'402'0,"12"3"-29"0,-1-3-45 0,1 0-23 16,1-1-26-16,7 0-16 0,1-1-30 0,3 0 33 16,4-1-20-16,-3 0-26 0,-2 1-28 0,1 0-56 15,0-2-31-15,-3 1-49 0,-3-1-51 0,-2 2-61 16,-3-1-208-16,2 2-637 0,-5-1 113 0,-3-1 74 16,1 3 41-16,-2-2 53 0,-2 1 80 15</inkml:trace>
  <inkml:trace contextRef="#ctx0" brushRef="#br0" timeOffset="8765.02">15123 227 1407 0,'-6'-2'389'0,"6"2"-25"0,-14 4-36 0,3-1-24 15,1 3 37-15,-3 2-16 0,-2 2-34 0,2 0-4 16,0 3-39 0,0 1-25-16,-2 3-10 0,2 0-29 0,0 2-13 0,3-1-9 0,0 1-32 15,2 1-4-15,3-4-16 0,2 1-13 16,0 0-23-16,1-4-18 0,4 2-12 0,-1-3-24 15,1 0-14-15,4-1-14 0,1-2-20 16,1 1-29-16,2-4-19 0,0 1-24 0,3-3-8 16,2-2-38-16,-2 0-92 0,2-4-192 0,1 2-504 15,-1-1 92-15,6-3 84 0,-5 3 49 0,-1-3 144 16,3-2 4-16</inkml:trace>
  <inkml:trace contextRef="#ctx0" brushRef="#br0" timeOffset="9560.27">15394 391 1400 0,'0'0'409'0,"-5"-1"-35"0,5 1-23 15,0 0-47-15,-10-1-20 0,10 1-20 16,-10 2 15-16,5-2-28 0,-1 3-46 0,-1 1-16 0,-1-2-7 15,-2 2-59-15,0 1-26 0,2 1-8 16,-2 0 6-16,0-1-21 16,0 2 3-16,2 1-18 0,0-2-8 0,1 1-7 0,1-1 25 0,-2 3-28 15,4-3 10-15,1 1-10 0,0-1-18 16,1 1 5-16,2-1-18 0,2-1-7 16,1 0-16-16,0 0 8 0,1-1-23 0,4 0 5 15,0-1-8-15,2-1 11 0,-2-1-6 0,2-1-10 16,1 1 16-16,-1-3-3 0,0 2-5 0,0-4 25 15,1 1 0 1,-1-1 1-16,0 0 17 0,0-3 3 0,0 1 3 0,-5 0-6 0,3 1 11 16,-2-1 12-16,1 1 13 0,-4-1-12 0,2 2-1 15,-3-1 8-15,1 1-8 0,-1-1 1 16,1 2 15-16,0 0-19 0,-3 3 12 16,2-4-19-16,-2 4 0 0,0 0-3 0,0 0-12 15,0 0 0-15,0 0-3 0,0 0-7 0,0 0 25 0,0 0-8 16,-10 11-2-16,10-7-5 15,0-4-10-15,-3 6-1 0,3-3 1 0,-2 1-11 16,2-4 8-16,2 6 0 0,-2-6 3 0,0 6-16 16,0-6 18-16,3 4-20 0,-1-2 15 0,-2-2-3 15,3 3 8-15,-3-3 0 0,7 0 6 16,-7 0-11 0,0 0 2-16,11-2 6 0,-11 2-8 0,8-3 2 0,-4 2 4 0,-4 1-9 0,11-1 6 15,-8 0 12-15,-3 1-20 16,10 0 12-16,-10 0 93 0,10 1-13 0,-10-1-12 0,8 3-11 15,-5-2-21-15,1 2-10 0,-1-1 11 0,0 0 10 16,-3-2-16-16,5 6 18 0,-3-3-20 16,1 1 0-16,-1-1-21 0,-2-3 24 15,2 5-21-15,-2-5 10 0,1 3 5 0,2 0-25 16,-3-3 20-16,2 4 5 0,-2-4 0 0,5 0-38 16,-5 0-2-1,0 0-24-15,10-5 113 0,-4 3 5 0,1-2 15 0,1 1 21 0,-1-1-20 16,-1 1-6-16,1 0-20 0,1-1-6 15,0 2 9-15,0 1-9 0,-3 0-7 0,2 0-18 16,-7 1 0-16,11 0 21 0,-4 2-29 16,-4-1 3-16,2 1-7 0,0 0-24 0,0 0-26 0,-2 0-50 0,2 1-26 15,-2-1-44-15,-1 1-66 16,1-1-41-16,2 0-41 0,-2 0-205 0,1-1-179 16,2 1-356-16,-1-1 56 0,0-1 152 0,-5 0 22 0,13 0 108 15,-4 0 95-15,-1 0-11 16</inkml:trace>
  <inkml:trace contextRef="#ctx0" brushRef="#br0" timeOffset="10103.84">16148 214 1146 0,'-4'5'423'0,"3"3"-32"16,-1 0-38-16,-3 5-40 15,2-1-37-15,1 1-28 0,-1 5-9 0,0-5-109 16,-2 4-25-16,2 0-28 0,1-2-16 0,0-1-7 16,-1 0 2-16,3-1-12 0,-3-3-16 15,3 1-5-15,-2-3 15 0,2 1-2 0,0-1 5 16,-2-3-15-16,4 0 12 0,-2-1 1 0,0-4 7 16,2 2 5-16,-2-2 10 0,0 0-7 15,0 0 10-15,0 0-15 0,18-6-11 0,-10 5 8 16,-3-1 0-16,3 0-13 0,0-1 11 0,0 2-6 15,-1 1 8-15,1 0-10 0,2 1 5 0,-2 0 74 16,0 1 19-16,2 0-27 16,0 3-66-16,-2-2 15 0,-1 2 3 0,1-1 0 0,-3 1 13 15,0 0-3-15,0 0-23 0,-5 0 28 0,-3 1-5 16,1-1-2-16,-3 1 4 0,-3-2-12 16,-2 2 3-16,0-1-1 0,-3-2-7 0,0 0 2 15,0 0-30-15,1-1-21 0,2-1-31 0,-1-1 3 16,-2-1-41-16,3 1-43 0,2-2-26 15,-2 2-36-15,3-3-51 0,1 1-98 0,1 1-194 16,2 0-419-16,3 1 65 0,0 0 96 0,0 0 76 16,0 0 67-16,0 0 41 0</inkml:trace>
  <inkml:trace contextRef="#ctx0" brushRef="#br0" timeOffset="10409.12">16515 464 1407 0,'16'-7'392'0,"-3"2"-21"0,-1-2-20 16,-2 2-82-16,-2-1 4 0,-3 1-17 15,2 0-28-15,-4 1-8 0,2 0-10 0,-4 0-8 0,-1 4-2 16,0 0-41-16,-9-5 15 16,2 5-41-16,7 0 10 0,-15 2-25 0,5 1-5 0,-1 1 10 15,-1 2-24-15,1-1 63 0,1 2-11 16,-1 0 2-16,4 2-32 0,-1-2-47 0,1 2 38 15,2-1 6-15,-1 1-23 0,4-2-8 16,2-1-10-16,2 0-29 0,4 0-9 0,1-2-37 16,1 0-58-16,4-1-31 15,4 0-46-15,-3-1-44 0,3-1-45 0,4-7-196 0,-5 6-593 16,1 0 69-16,-1-2 146 0,0 1 28 16,-4 1 100-16,1-1 72 0,1 0 38 0</inkml:trace>
  <inkml:trace contextRef="#ctx0" brushRef="#br0" timeOffset="11213.27">17579 160 1267 0,'0'-4'371'0,"0"4"-36"0,0 0-20 0,0 0-11 15,0 0-27-15,-5 14 12 0,3-5-61 16,-1 2-10 0,0 2-6-16,1 1 13 0,-1 4-30 0,-2-1-39 0,0 2-2 0,0 1 48 15,0 3-3-15,0-4-42 0,2 0-4 16,-2 0-27-16,2-1-16 0,1-1-34 0,-1-2 6 16,3 0-28-16,-3-2 2 0,3 0-27 0,0-2-17 15,3 0-37-15,-3-2-29 0,5-1-18 0,-3 0-20 16,1-1-26-16,3-2-97 0,1-1-212 0,-2 0-505 15,1-2 62-15,-2-1 92 16,-4-1 66-16,11 0 106 0,-11 0 30 0</inkml:trace>
  <inkml:trace contextRef="#ctx0" brushRef="#br0" timeOffset="11403.99">17379 416 1136 0,'0'0'346'16,"0"0"35"-16,0 0-18 16,0 0-53-16,0 0-13 0,0 0-18 0,24-2-33 15,-14 1-26-15,0-1-2 0,5 1-44 0,0 0-59 16,1 1-33-16,2-2-31 0,0 1-69 0,0 1-97 16,2-5-190-16,-5 5-532 0,6 0 69 15,-5 0 110-15,-4 0 39 0,4 1 69 0</inkml:trace>
  <inkml:trace contextRef="#ctx0" brushRef="#br0" timeOffset="11767.96">17710 512 870 0,'7'-4'335'0,"1"-1"-25"0,-3 0-21 16,3-4-28-16,0 2 3 0,-3-1-13 16,2 1 35-16,-4 0 1 0,2 1-31 0,-2-1 28 0,0 2-30 15,-1 0-24-15,-2 2-20 0,0 3-28 0,-2-8-8 16,-1 6-23-16,3 2-13 0,-8-1-90 16,8 1 22-16,0 0-35 0,-13 4 19 15,8-1-18-15,-2 2-5 0,1 0-1 0,1 0 4 16,0 2-14-16,0-2 8 0,3 2-5 0,-1-1-7 15,-2 2 9-15,5-2-27 0,0 0 17 16,0 0-12-16,5 0-11 0,-2 1-15 0,1-1-23 16,2-1-31-1,4 0-7-15,0-1-32 0,1-1-9 0,1 0-64 0,1-1-180 0,3-1-130 0,-4 1-351 16,1-2 80-16,4 0 63 0,-3-1 70 16,1-1 66-16</inkml:trace>
  <inkml:trace contextRef="#ctx0" brushRef="#br0" timeOffset="12063.96">17951 458 844 0,'-8'2'341'0,"2"-2"-32"0,-1 0-27 0,2 2 61 16,0 0-51-16,0 0-21 0,3 1-23 16,2-3-15-16,-3 7-46 0,3-2 20 0,0-1 14 15,3 1-52-15,1 1 2 0,2-1-20 0,-1 1-13 16,2 2 1-16,1-2-22 0,0 1-2 0,-1 0 13 15,3-1-2-15,-4-1-8 0,2 0 12 16,-3 1-10-16,-3-1-4 0,3 1-11 0,-4-1-13 16,-1-1 18-16,0 2-5 0,-3-3-8 15,-2 3-25-15,0-1-6 0,-3 0-2 0,-2 0-23 16,0 0-13 0,-1-2-20-16,1-2-57 0,-3 2-22 0,3-2-29 0,-1 0-23 0,1-1-64 15,0 0-64-15,5 0-192 0,-3-2-522 0,3 0 62 16,2-1 155-16,-1-1 14 0,4-1 81 0,0 0 80 15</inkml:trace>
  <inkml:trace contextRef="#ctx0" brushRef="#br0" timeOffset="12329.43">18164 287 1420 0,'2'-1'471'0,"-2"1"-107"0,0 0-6 0,0 0-20 16,0 0-51-16,6 7 7 0,-4-1 18 15,-2-1-10-15,0 5-20 0,0-1-6 0,0 2-45 0,0 3-11 0,-2 0-28 16,2 5-23-16,-2 0 2 16,-2 2-4-16,4-1-34 15,-2-1-23-15,-1 0 13 0,3 0-16 0,-3 0-28 0,3-3-33 0,0-1-25 16,3-1-39-16,-3 0-31 0,3-4 1 0,1 0-37 16,0-1-17-16,0-1-41 0,4-4-24 15,-3 0-158-15,-5-2-192 0,10-1-438 16,1-2 88-16,-4 1 70 0,3-4 81 0,-2 1 89 0,-2 0 48 15</inkml:trace>
  <inkml:trace contextRef="#ctx0" brushRef="#br0" timeOffset="12536.49">18005 495 1159 0,'0'0'422'0,"0"0"-17"15,0 0-24-15,0 0-20 0,0 0-113 0,0 0-12 0,0 0-31 16,23-4-3-16,-10 2-13 0,0 0-38 0,3-1-12 16,0 2 9-16,3-3 41 0,3 2-32 15,-1-2-9-15,3 1-30 16,1-1-11-16,-2 0-40 0,2 2-54 0,-4-3-24 0,0 2-65 16,-1 0-83-16,-2 1-197 0,-2 0-519 0,-1 1 61 15,0-1 59-15,-4 1 81 0,-1 1 114 16,0 0 27-16</inkml:trace>
  <inkml:trace contextRef="#ctx0" brushRef="#br0" timeOffset="12931.31">18466 605 924 0,'13'-6'394'0,"-5"0"-31"16,0-1-84-16,-1 2-28 0,-2-2-18 0,0 1 74 15,-2-2-41-15,2 2-2 0,-5-2-8 16,3 1-3-16,-3-2-22 0,0 3-21 0,0-1-90 16,-3 2-2-16,3 1-3 0,-5-1 0 15,3 1-15-15,-4 2-8 0,3 0 13 0,3 2-3 16,-12 0-15-16,12 0-7 0,-10 2-1 15,4-1-2-15,1 3-11 0,-2 0 16 0,4 1-13 0,-4 0 6 16,4 0-27-16,0 1 27 0,3 2-22 0,0-3-12 16,3 3 13-16,0-2 2 15,1 1-35-15,4 1-11 0,2-1-46 0,1-2-30 16,-1 0-47 0,3 0-33-16,0 0-36 0,-1-2-94 0,-4-2-259 0,5-1-425 0,1 0 105 0,-2-1 77 15,1-2 125-15,-1 0 42 0,1-1 50 16</inkml:trace>
  <inkml:trace contextRef="#ctx0" brushRef="#br0" timeOffset="13293.67">18884 323 1031 0,'0'-4'481'0,"0"4"-35"16,0 0 50-16,0 0-40 0,0 0-39 0,-8 17 0 15,6-9-66-15,0 1-92 0,1 4-14 0,-2 0-30 16,1 2-20-16,0 0-11 0,2 2-41 0,-1 0 6 15,1 0-36-15,-1-3-19 0,2 1-20 16,0-1-20-16,-1-1-13 0,2-1-15 0,0-3-16 16,1 0-2-16,-2-1-13 0,1-3 7 0,0 0-2 15,0-2-8-15,-1 0 19 0,-1-3-4 0,0 0-9 16,0 0-1-16,0 0 1 16,0 0 22-16,-11-12-7 0,7 8 15 15,-2-1 13-15,-1 2-20 0,-3 1-6 0,-1 2 21 0,1 0-18 16,-3 0 5-16,-2 2-5 0,2 2 30 0,-2 0 6 0,2 3-13 15,-3 1 2-15,6-1-9 0,-2 1 7 16,4 0-8-16,-1 0 11 16,2 0-11-16,2-1 15 0,0 1-22 0,5-3-11 0,0 1 11 15,3-2-18-15,2 0-47 0,2-1-12 0,1-2-54 16,3-1-48-16,-1-1-27 0,5-2-42 16,5-2-96-16,1 2-212 0,4-4-450 0,-2 3 107 15,-2 0 59-15,5-1 90 0,-3 1 92 16,0 0 51-16</inkml:trace>
  <inkml:trace contextRef="#ctx0" brushRef="#br0" timeOffset="13399.61">19123 583 1205 0,'6'-3'484'0,"-2"2"-39"0,0-2-15 0,0 1-7 0,-4 2-111 0,5-4-48 15,-5 4-24-15,5-4-50 0,-3 1-98 16,-1 0-92-16,-1 3-420 0,-6-4-443 0,4 2 126 16,2 2 43-16,-5-6 70 0,-3 3 115 0</inkml:trace>
  <inkml:trace contextRef="#ctx0" brushRef="#br0" timeOffset="36590.9">3944 3182 901 0,'11'-5'317'0,"4"0"0"0,8 2-27 0,2-2-11 0,17-2-11 15,-1 2 6-15,5 0-33 0,5-1 35 16,6 4-109-16,14-1-6 0,1 0 3 0,3 3-36 16,-12 0-8-16,12-1-15 0,-13 1-10 15,-1 0-8-15,1 0-23 0,-1-1-18 0,-4 2-10 16,-1 0-24-16,-2 0-19 0,-3 3-34 0,-5-4-16 15,-10 2-58-15,-2 1-72 0,-4-2-104 0,-9-1-24 16,2 2-456-16,-8-1 26 0,0 2 93 16,-6-3 55-16,-2 0 44 0</inkml:trace>
  <inkml:trace contextRef="#ctx0" brushRef="#br0" timeOffset="36869.32">4078 3334 895 0,'0'0'320'0,"0"0"-23"0,23 0-10 0,-8 0-26 0,3-1-13 16,10-2-28-16,16 0 57 0,10-1-103 0,15 0-13 16,8-2-12-16,-3 0-19 0,3 0 8 15,2 1-38-15,-2 2-8 0,1-2-7 0,1 1-3 16,-5 1-16-16,-2-2-12 0,-13 4 0 0,-5 0-18 15,0 1-11-15,-5-2-25 0,-11 4-28 0,-5-1-23 16,-7-1-44-16,-1 0-104 0,-4 1-91 16,-1 1 11-16,-4 1-496 0,-3-1 81 15,-1 1 82-15,-2 0 49 0,-2-2 41 0</inkml:trace>
  <inkml:trace contextRef="#ctx0" brushRef="#br0" timeOffset="39415.87">12134 3796 1249 0,'0'0'371'0,"0"0"-23"0,15 7-49 15,-8-4-12-15,1-2-26 0,0 4-33 0,2-3-33 16,1 3-24-16,1 1-7 15,-2 0-16-15,3-3-27 0,3 4-4 0,2-1-9 0,-5 1-8 16,5-1-1-16,-4 2-24 0,2-1-6 16,-5-3 5-16,3 1-5 0,-3 0-18 0,-1 0 1 15,0 1-24-15,1-3 18 0,-4 1-15 16,-1 1 12-16,-2-2-12 0,2 1 15 0,-4-1-15 16,-2 2 12-16,0-1 3 0,-2 0 16 0,-3 1-9 15,2 0 1-15,-5 1 28 0,1 0-105 16,-4 0-3-16,-1 1 16 0,1 0-5 15,-4-1 5-15,0 2 15 0,-1-2-13 0,-1 4 16 0,1-5-3 16,-2 2-8-16,3-1 1 0,-3 1-3 16,2-1-8-16,3 0-23 0,-1 0-3 15,3-4-25-15,-2 2-17 0,6 0-29 16,-1-1-49-16,0 0-64 0,3 0-97 0,5-3-36 0,-8 2-486 16,6 2 72-16,2-4 112 0,0 0 21 15,5 6 76-15</inkml:trace>
  <inkml:trace contextRef="#ctx0" brushRef="#br0" timeOffset="40394.01">12992 3774 1105 0,'1'-4'364'0,"-1"4"-21"0,0 0-26 0,0 0-28 15,0 0-38-15,0 0-20 0,0 0-16 0,0 0-18 16,-3 17-26-16,-2-9-12 0,2 3-13 15,-2-2 0-15,0 3-13 0,-1 0-8 0,-1 0-30 16,2 2-8-16,-1 2 10 0,-1-2-20 16,2 3 10-16,0-4-18 0,-1 2 0 0,2-4-28 15,-2 1 3-15,1-2 7 0,2 0-10 0,1-2 8 16,0 1-6-16,-1-1-5 0,0-1-7 0,3-3-18 16,0 2 23-16,3 0-13 0,-3-3 5 15,5 2 13-15,-2-3-13 16,4 2-15-16,-1-1-5 0,4-1 2 0,-3 0-8 0,3-2-17 0,1 0 10 15,-1 0-26-15,3 1-12 0,-2-2-21 16,1 1-21-16,1 0-7 0,-3 0-15 16,3-2-32-16,-2 0-37 0,-1 1-78 0,0-1-7 15,-3 0 0-15,1-2-100 0,-2 4-407 0,1-5 49 16,-2 4 48-16,-2-1 126 0,-1-1 15 16</inkml:trace>
  <inkml:trace contextRef="#ctx0" brushRef="#br0" timeOffset="40550.83">13023 3969 801 0,'-5'-3'348'0,"-3"1"-85"0,5 1 11 0,3 1-41 0,-7-1-15 0,7 1-11 0,-5-4-20 16,5 4-28-16,0 0-11 0,0 0-7 15,0-5-13-15,0 5-13 0,8-3-12 16,-1 3 1-16,1-3-14 0,0 2-23 0,2 0-3 16,2 0-21-16,-1-3-30 0,4 2-26 0,-2-2-48 15,3 2-67-15,-2-3-164 0,2 3-397 16,-3-2-61-16,0 2 116 0,0-3 47 0,-3 1 47 15</inkml:trace>
  <inkml:trace contextRef="#ctx0" brushRef="#br0" timeOffset="40761.18">13041 3785 1305 0,'-3'-3'384'0,"3"3"-31"0,0 0-25 0,6-7-21 0,-2 6-36 0,2-2-17 16,2 1-34-16,-1-1-3 16,1 3-27-16,2-2-19 0,0 1-38 0,1-2-33 0,4 2-38 15,-2 1-44-15,-1-1-67 0,2 1-84 0,-1 2-133 16,2 1-495-16,-2-1-12 0,1-1 44 0,-3 4 107 16,-1 0 56-16</inkml:trace>
  <inkml:trace contextRef="#ctx0" brushRef="#br0" timeOffset="41201.41">13415 3844 1497 0,'-5'-3'443'0,"5"3"-31"0,-10 0-31 0,10 0-25 16,-15 3-49-16,7-1-20 0,-2 2-39 0,2 3-25 15,-3-4-3-15,1 6-25 0,0-3-27 0,3 2-14 16,-4 3-13-16,1 1-8 0,2-2 0 0,0 5-28 16,1-6-18-16,2 2 0 0,-1 1-33 15,4-4-18-15,0-1 2 0,-1 2-17 16,6-2-1-16,-1-1-7 0,0-2 10 0,4 0-3 0,1-3-9 16,-1 0 22-16,2-1 0 0,2-1 8 15,-3-2 5-15,4-1 3 0,-1-2-6 16,-3 1 29-16,3-2-3 0,-2 0-66 0,0-1 2 15,-3-2 25 1,1 2-12-16,-2 2 3 0,2-2 40 0,-4 3-50 0,3-2 88 0,-4 1 6 16,3 1-15-16,-1 0 5 0,-3 2-13 15,3-1-1-15,-3 4-11 0,2-2-1 0,-2 2 20 0,0 0-40 16,0 0 7-16,0 0-25 0,5 9-16 16,-5-4 3-16,0 0-38 0,0 1-6 0,3 1-69 15,-3 1-30-15,0-2-31 0,0 4-41 16,0-2-98-16,2-3-201 0,-2 3-572 15,2-1 101-15,-1 0 107 0,2-1 100 0,-1-1 58 0,1-1 78 0,2-1 101 16</inkml:trace>
  <inkml:trace contextRef="#ctx0" brushRef="#br0" timeOffset="41493.33">13582 3944 808 0,'0'0'364'0,"0"0"51"15,0 0 9-15,0 0-40 0,0 0-33 16,5 7-13-16,-5-7-23 0,0 8-29 0,3-2-9 15,-3 1-21-15,0 2-5 0,0-2-39 0,0 1-2 16,0 2-41-16,-3-3-15 0,1 1-16 16,-1 0 3-16,0 1-21 0,0-3 10 0,1 0-14 15,0 0-9-15,-1-3-17 0,0 1-70 16,3-4 26-16,-4 2-12 0,4-2-4 0,0 0 24 16,0 0-10-16,-3-12-19 0,0 7 6 0,3-3-6 15,0 0 9-15,0 1-19 0,3-3-7 16,2 2 7-16,-3 0 0 0,4-2-25 0,-1 2-20 15,0-2-14-15,0 3-23 16,3-1-17-16,-3 2-41 0,2 0-32 0,1 0-19 0,-2 0-39 0,1 1-95 16,1-1-163-16,0 1-492 15,0 2 102-15,-1-4 87 0,0 3 90 0,1-1 95 16,0-1 105-16</inkml:trace>
  <inkml:trace contextRef="#ctx0" brushRef="#br0" timeOffset="41768.49">13848 3708 1300 0,'0'0'566'0,"0"-6"-129"0,0 6 3 0,0-3-33 16,0 3-38-16,0 0-18 0,-2-4-24 0,2 4-50 15,0 0-37-15,0 0-9 16,0 0-26-16,-3 15 84 0,1-6-43 0,-1 3-14 16,1 1-6-16,-1 5-39 0,1-1-8 0,-3 4-15 15,0-1-1-15,-1 4-37 0,1-3-14 0,0 3-14 0,-3 0-1 16,1-4-25-16,2-2-36 0,-1 0-19 15,1-2-19-15,0 0-39 0,0-4-56 16,3 0-6-16,-1 0-14 0,0-4-47 0,1 0-31 16,2-1-10-16,0-1-35 0,0-1-75 0,2-1-212 15,0-2-49-15,2 3-379 0,-2-5 80 16,-2 0 125-16,8 0 38 0,-8 0 52 0,10-5 94 16</inkml:trace>
  <inkml:trace contextRef="#ctx0" brushRef="#br0" timeOffset="42172.74">14041 3762 1264 0,'7'8'458'0,"-7"-3"-38"15,0 2-28-15,3-1-24 0,-3 2-22 0,0 2-26 16,0-1-31-16,-3 2-18 0,1 1-25 0,0 0-11 16,1 0-22-16,-4 2-31 0,3-1-21 15,-1 0 10-15,-2 1-35 0,3-3-10 16,-1 0 9-16,1-3-30 0,-1 2 8 0,2-3 2 16,-1-1 8-16,2 0-8 0,0 0 13 0,0-4-92 15,0-2-3-15,0 6 8 0,3-4 3 0,-3-2-6 16,5 5-7-16,0-5 7 0,0 4-2 15,0-3-5-15,1 2 20 0,2 1-54 16,-1 0 42-16,1-1 9 0,2 2-25 0,-2 0-20 0,0-2-26 16,2 1-23-16,-3 1-26 0,1-3-53 15,-1 3-8-15,-1-4-54 16,-1 2-39-16,0-1-106 0,0-2-249 0,0 0-436 0,-5 0 157 16,5-2 52-16,-5 2 109 0,0-5 38 0,0 5 73 15,-5-9 65-15</inkml:trace>
  <inkml:trace contextRef="#ctx0" brushRef="#br0" timeOffset="42411.3">13641 3831 1249 0,'0'0'453'0,"0"0"-36"0,0 0 36 0,0 0-26 15,18-4-50-15,-5 3-42 0,5 0-20 16,5 1-13-16,2-2-33 0,9 2-16 0,1 2-33 0,12-6-35 15,-6 4-24-15,-5 1-15 0,-3-2-34 16,0 1-37-16,-2-1-50 0,-3 1-25 16,-2 0-36-16,-5 1-56 0,-3-1-31 0,-3 1-158 15,-5 2-154-15,3-1-518 0,-5 2 93 0,1-4 85 16,-6 3 43-16,3 1 163 0,-4-1-19 16</inkml:trace>
  <inkml:trace contextRef="#ctx0" brushRef="#br0" timeOffset="42786.52">14846 3777 1287 0,'0'0'448'0,"0"0"-38"15,0 0-52-15,0 0-23 0,-8 10-30 0,6-3-24 16,2-1-7-16,-1 2-46 0,-1 2-33 0,0-1-9 16,2 1-19-16,-3 0-29 0,3 2-25 15,-2-1-39-15,1 0-18 0,1 1-53 0,0-3-26 16,0 2-49-16,0-2-38 0,-2 2-92 0,2-10-208 16,0 9-481-16,0-4 80 0,0 0 110 15,0 0 56-15,-3-4 94 16</inkml:trace>
  <inkml:trace contextRef="#ctx0" brushRef="#br0" timeOffset="42972.56">14784 3675 1223 0,'-2'-2'330'0,"2"2"-43"0,-5-3-39 0,5 3-23 16,0 0-68-16,0 0-52 0,-1 11-213 15,2-5-614-15,4 1 67 0,0 1 102 0,5 0 23 16</inkml:trace>
  <inkml:trace contextRef="#ctx0" brushRef="#br0" timeOffset="43247.52">14997 3852 1264 0,'-12'2'450'0,"4"1"-60"16,0-2-40-16,3 0-30 0,5-1-25 16,-8 3-24-16,8-2-33 0,0-1-8 0,0 6-45 15,0-6-24-15,6 6 8 0,-2-3-18 0,4 3-33 0,0-1 4 16,-1 0-6-16,4 2-24 16,-1 0 8-16,0 0-3 0,1 0-10 0,-4 0-5 0,3 1-13 15,-4-2 15-15,-1-2-20 0,0 5 23 0,-3-3-5 16,-2 0-23-16,-2 1-8 0,-4-1 1 15,-1 3-34-15,-3 0-24 0,-3 0-32 16,0-2-39-16,0 3-61 0,-4-6-74 0,4-2-231 16,0 4-550-16,0-3 104 0,2 1 83 0,1-2 112 15,0 0 60-15,2-2 129 0</inkml:trace>
  <inkml:trace contextRef="#ctx0" brushRef="#br0" timeOffset="43594.92">15907 3638 1069 0,'-4'-1'456'0,"4"1"-18"0,0 0-62 0,0 0 36 0,-3 10-30 15,0-3-6-15,3 2-46 16,-2 0-46-16,2 6-89 16,-3-2-26-16,0 5-21 0,1-2-12 0,-1 2-8 0,-2 0-18 0,3-3-51 15,1 3-44-15,-1-2-12 0,-3-3-70 16,5 1-38-16,-3-1-89 0,3-1-162 0,-2-2-568 15,2-2 94-15,0-1 73 0,0-1 153 16,-2-2-3-16,2-1 77 0</inkml:trace>
  <inkml:trace contextRef="#ctx0" brushRef="#br0" timeOffset="43800.49">15864 3612 1451 0,'5'-6'412'0,"0"1"-38"0,3 0-36 0,2 0-34 15,1 1-30-15,4-2-28 0,3 3-31 0,0-4-36 16,2 5-28-16,0-2-79 0,1 2-42 16,-3 1-65-16,0 1-109 0,-3 0-219 15,1 3-454-15,-3 1 36 0,-1-2 119 0,-6 5 65 0,-2-2 49 16</inkml:trace>
  <inkml:trace contextRef="#ctx0" brushRef="#br0" timeOffset="44013.25">15844 3771 1290 0,'0'0'468'0,"-3"3"-43"0,3-3-16 15,0 0-43-15,0 0-38 0,0 0-13 0,13 2-36 0,-5-2-44 16,2 1-7-16,2-2-31 0,4 1-58 0,-1 0-42 15,3-1-74-15,3 0-61 0,2-1-93 16,0 1-235-16,0-1-543 0,-2-1 88 0,4 0 73 16,-5-1 103-16,1 1 67 0,-3-3 38 0</inkml:trace>
  <inkml:trace contextRef="#ctx0" brushRef="#br0" timeOffset="44179.9">16356 3547 1016 0,'-5'1'430'0,"5"-1"38"0,-7 6-38 0,1-2-25 16,3 1-47-16,-1 3-84 0,0 0-31 15,0 3-13-15,1 2-27 16,-2 3-19-16,0 0-15 0,2 2 5 0,-1 0 31 0,-2 1-24 16,1 0-55-16,0 0-26 0,2-2-62 0,-2 1-53 15,3-1-62-15,-1-3-56 0,1 1-139 0,-1-3-229 16,6-2-403-16,-1 0 88 0,1-2 61 15,-1 0 110-15,3-3 58 0</inkml:trace>
  <inkml:trace contextRef="#ctx0" brushRef="#br0" timeOffset="44798.7">16603 3728 1223 0,'-6'-3'538'0,"6"3"-70"0,-8-3-28 0,3 3-30 15,5 0-39-15,-15 3-36 0,8 0-107 0,-2 0-21 16,-1 3-25-16,0-3-26 0,-3 3 8 15,3 1-36-15,-1 2 5 0,-1 0-15 0,2-1-21 16,-1 1-5-16,1 3-30 0,2-5-6 16,-2 2-17-16,3 0-6 0,1-1-18 0,1 0-5 0,2-2 11 15,3-1-8-15,-2 0-3 16,4-3-2-16,-2-2-11 0,8 4 0 0,-2-4 11 0,4-1 7 16,-3-1 1-16,3 0-8 0,4-2 2 0,-4-1-5 15,0 0 36-15,0-1 10 0,-2-1-10 0,2 2 41 31,-5 0-26-31,3-1 34 0,-3 4-11 16,0-3-28-16,-2 3 21 0,-1-1 43 0,4 0 6 0,-6 3-22 0,0 0 17 0,8 0-12 16,-8 0 4-16,4 6-18 0,-4-3-29 0,3 2 16 15,0 0-31-15,-1-1-49 0,0 0-22 16,-1 3-50-16,4-1-29 0,-3-1-53 16,1 1-24-16,4 0-65 0,-2-1-164 0,1-2-265 0,2 1-342 15,-1-3 114-15,4 0 53 0,-1-1 144 16,2-1 66-16,-1-4 51 0,2 2 62 0</inkml:trace>
  <inkml:trace contextRef="#ctx0" brushRef="#br0" timeOffset="45057.48">16917 3603 1264 0,'0'-7'463'0,"0"4"-7"0,0-1-18 0,0 4-42 0,-4-5-32 0,4 5-57 15,0 0-8-15,0 0-2 0,-14 13 54 0,9-4-8 0,-2 1-46 16,-1 3-23-16,1 2-16 0,1 3-17 15,-2-2-13-15,1 6-39 0,2-3-15 0,2 0-5 16,-2-1-15-16,5-3-21 0,0 4-5 0,0-5-23 16,0 1 5-16,5 0-20 0,-2-3-26 0,2 0-26 15,0-1-15-15,3-2-38 0,2-3-52 0,0 0-28 16,1-1-35-16,-1 0-29 0,0-5-58 16,2 1-27-16,-1-2-101 15,-1-1-188-15,3-1-516 0,-2-2 110 0,-1 2 96 0,0-3 40 16,-3 0 186-16,-1-4-8 0,1 2 75 0</inkml:trace>
  <inkml:trace contextRef="#ctx0" brushRef="#br0" timeOffset="45295.24">16672 3677 1397 0,'0'0'507'0,"0"0"-34"0,0 0-71 16,0-5-28-16,0 5-36 0,14-3-8 15,-3 2-28-15,2-3-28 0,5 3-13 0,5-3-18 16,5 1-38-16,3 0-46 0,3 0-6 0,9-1-32 16,3 2-65-1,-10-2-15-15,0 2-64 0,-5 1-72 0,-1-2-56 0,-7 3-115 0,-9 0-223 16,8 0-463-16,-4 0 105 0,-3 1 74 0,-4 1 120 16,2-1 41-16,-1 1 67 0</inkml:trace>
  <inkml:trace contextRef="#ctx0" brushRef="#br0" timeOffset="45407.85">17482 3734 1369 0,'5'4'581'15,"-5"-4"-5"-15,0 0-69 0,0 0-49 0,7 0-61 16,-7 0-80-16,0 0-81 0,0 0-124 0,0 0-122 16,3-4-471-16,-3 4-420 0,0 0 102 15,0 0 157-15,0 0-3 0,0 0 61 0</inkml:trace>
  <inkml:trace contextRef="#ctx0" brushRef="#br0" timeOffset="67750.92">12154 4602 1528 0,'0'0'501'0,"0"0"-58"0,-5 2-23 0,5-2-46 16,0 0-31-16,10 8-21 0,-3-5-27 0,1 2-47 16,3 0-8-16,-1 1-25 0,2 1-35 15,4-1-27-15,2 1-15 0,-3 0-25 0,3-1-8 16,1 1-8-16,-4-1 3 0,3 0-31 0,-3 1 0 16,0-2-7-16,-2 0-24 0,0 0 18 0,-3-2-4 15,-2 2-24-15,-1-3 13 0,-1 3 25 16,-4 1 3-16,-2-1-10 0,-5 2 10 0,-2 2-12 15,-4 2-16-15,-9 2 7 0,-11 6-27 16,-5 3-31-16,-10 3-42 0,-5 0-27 0,2-3-80 16,-2 2-12-16,2 2-172 0,0 2-248 0,1 0-438 15,-4-1 102-15,1 0 103 0,-1-2 102 16,1 1 100-16,0-2 82 0,0 1-8 0</inkml:trace>
  <inkml:trace contextRef="#ctx0" brushRef="#br0" timeOffset="151872.34">12959 4651 931 0,'0'0'348'0,"0"0"3"0,7-1-49 15,-7 1 10-15,6-1-43 0,-6 1-10 16,5-2-9-16,-5 2-24 0,8-2-6 16,-8 2 10-16,0 0-12 0,8 0-26 0,-8 0-74 15,0 0-19-15,4-1 40 0,-4 1-6 0,0 0-16 16,0 0-4-16,0 0 5 0,0 0-21 0,0 0 29 15,0 0-14-15,0 0-30 0,-22 7-8 16,14-5-7-16,0 3-13 0,0 1 4 0,-2 1 12 16,-3-2-24-16,3 2-13 0,-1 0-15 0,1-1 7 15,0 3-9-15,2-2-3 0,-2-1-42 0,3 0 17 16,-1-3 1-16,2 3-4 0,2-1-3 16,-2-1-2-16,4 0 15 15,0 0-6-15,1-2 9 0,-1 3-21 0,2-5 15 0,2 5 13 16,-1-2-23-16,3 1 34 0,2-2-19 0,-2 2-5 15,2-3 11-15,2 3-8 0,-1-1-3 16,1 1-2-16,0-2-8 0,2 3 28 0,-2-2-10 16,2 1 0-16,-2-2-10 0,-1 3 12 0,-1 0 9 15,1-4-1-15,-2 4 5 0,0-2 11 0,-4 1 2 16,1 2 8-16,0-4-3 0,-2 4 8 16,-2-2-2-16,0 2-9 0,-2-3 11 15,-3 1-13-15,2 2 6 0,-3-1-6 0,-2-3 13 0,2 3-13 16,-2-2-15-16,0 2-24 0,-3-3-19 0,3 1 4 15,-1-2-20-15,1 1-26 0,-2-1-22 16,1 1-21-16,1-2-42 0,-3 0-22 16,6 0-38-16,-4 2-62 0,4-2-57 0,-1 0-130 15,5 0-445-15,3 0 90 0,-8 0 60 0,8 0 116 16,0 0 57-16</inkml:trace>
  <inkml:trace contextRef="#ctx0" brushRef="#br0" timeOffset="152178.16">13084 4627 1169 0,'3'-2'453'0,"-3"2"31"0,3-4-51 0,-3 4-6 16,0 0-25-16,0 0-28 0,0 0-52 0,0 0-104 16,0 0 25-16,3 12-43 0,-6-5-39 0,3 2-13 15,-3 0-2-15,1 2 10 0,-1 2-48 16,0 0 12-16,-1 0-28 0,3 1 11 0,-1 1-24 15,-1-2-10-15,1 2 0 0,1-2-17 0,1 0-6 16,-2 2-23-16,2-5-18 0,0 0 8 16,2 1-47-16,-1-2-2 0,1 1-45 0,1-2-1 15,0 0-39-15,1-2-14 0,1 1-19 0,-2-3-33 16,3 1-38-16,-2 0-100 0,-1-4-54 0,4 0-548 16,-1 0 75-16,-1-1 82 0,0 0 58 0,-5 0 121 15</inkml:trace>
  <inkml:trace contextRef="#ctx0" brushRef="#br0" timeOffset="152381.4">12979 4822 1282 0,'-2'-3'394'16,"2"3"-18"-16,2-6 29 0,3 3-29 15,-2 1-38-15,3-3-44 0,1 2-12 0,0 0-26 16,1 0-16-16,2-1-25 0,-2 2-35 0,3-1-11 15,1 0-44-15,-2 2-51 0,1-3-43 16,2 2-21-16,-3 2-58 0,-3 0-37 0,4 0-68 16,-3 0-126-16,0 2-602 0,-1 2 3 0,3-3 123 15,-7 2 48-15,2 0 78 0,0-2 99 16</inkml:trace>
  <inkml:trace contextRef="#ctx0" brushRef="#br0" timeOffset="152756.37">13231 4777 1369 0,'0'0'430'0,"0"0"-26"15,-3-2-45-15,3 2-39 0,0 0-8 16,0 0-51-16,0 0 0 0,0 0-33 0,0 0-36 0,-5 12-15 16,3-9 63-16,2 1-2 0,-3 2-36 15,3 0-12-15,3 0-47 0,-1 1-5 16,0-1-28-16,1 2-12 0,2-1-29 0,0 0-8 15,3 2-4-15,0-3-4 0,2-2-7 0,1 0 1 16,1 1 9-16,1-4-8 0,-3 0 34 0,3-1-15 16,-2 0 2-16,1-2-51 15,1-3 5-15,-3 1 15 0,3 0 55 0,-3-2 9 0,-2 0-43 16,0-1-8-16,2 0 41 0,-2 3-41 0,-1-1 36 16,-2 0-15-16,1 2 0 0,-2 0 15 15,0 0 33-15,0 2-61 0,-4 1-33 0,6-2 7 16,-6 2 21-16,7 3-26 0,-4 0-41 15,-1 0-28-15,1 0-38 0,-3 1-26 0,0 2-39 0,2-1-48 16,-2-1-61-16,-2 2-67 0,2 0-246 16,0 0-527-16,0-1 113 0,0 0 76 0,2 0 165 15,1-3 32-15,-3-2 54 16,3 5 65-16</inkml:trace>
  <inkml:trace contextRef="#ctx0" brushRef="#br0" timeOffset="153166.28">13664 4656 1259 0,'0'-4'494'0,"0"2"-38"0,0 2-3 16,0 0-69-16,0 0-80 0,0 0-43 0,0 0-5 15,0 14-33-15,-2-6-26 0,2 2-8 0,-3 1-9 16,2 1-27-16,1-3-27 0,0 4-1 0,0 1-15 16,1-3-10-16,2 2-16 0,-3-3-9 15,2 3-17-15,0-4-9 0,1 0-23 0,0-2 15 16,-1-1-11-16,1 1-12 0,-1-1-7 0,1-2 12 15,-1-2 15-15,-2-2-12 0,1 3 9 0,-1-3-1 16,0 0 9-16,0 0-15 0,0 0-2 16,-8-9-6-16,0 4 3 0,3 3 0 15,-5-2-15-15,0 2 18 0,-3-3 4 0,0 4 4 0,0 1-1 16,1 0 0-16,-2 1-10 16,-1 2-10-16,3-1 8 0,-2 4 14 0,2 0 9 0,1-3 28 15,1 3-34-15,0-1-2 0,0 1-8 16,2 1 16-16,3-2-9 0,0 1-19 0,2 0 17 15,3 0-18-15,0-2-2 0,2 0 10 0,4 1 23 16,-1-2-41-16,3 0 3 0,4-2-26 16,-2 0-15-16,1 1-39 0,4-4-20 0,-4 2-18 15,1-1-41-15,4 0-28 0,-3-3-29 16,-1 2-40-16,1-1-62 0,0 1-120 0,-3 1-133 16,3-2-368-16,-3 1 88 0,0 0 124 0,0 2 10 15,-1-3 85-15</inkml:trace>
  <inkml:trace contextRef="#ctx0" brushRef="#br0" timeOffset="153748.31">13810 4863 1295 0,'0'-4'478'0,"3"0"-14"0,-3-1-29 0,2 1-38 15,-2-2-34-15,0 0-17 0,0 3-29 0,0-3-33 16,0 2-18-16,0-3-10 0,-2 5-15 0,2-2-47 15,0 4-7-15,0-8-5 16,-3 5-23-16,3 3-31 0,-3-4-8 0,3 4-12 16,-7-2-14-16,7 2 1 0,0 0-5 0,0 0 12 15,-10 8-30-15,5-6 4 0,4 0-4 0,-1 1-13 16,-1 1 0-16,1 0-8 0,2 1-23 16,0-5 11-16,0 6-19 0,0 0 18 0,2-4 6 15,3 1-26-15,-4 1 18 0,4-1-8 0,-2-1 10 16,1-1-7-16,2 0-5 0,-2 2 2 0,-4-3-5 15,11 0 13-15,-6 0 2 0,-5 0 3 16,10 0 0-16,-10 0-10 0,8 0 7 0,-3-3-25 16,-5 3 38-16,10-1-15 0,-10 1 10 0,8 0-15 15,-8 0-29-15,10 1 19 0,-10-1-14 16,8 3 24-16,-3-3-16 0,0 1 6 16,-2 1-13-16,2 1-1 0,0-2 1 15,0 1 20-15,-2 1-5 0,1-1-20 0,0 0 15 0,0 1-11 16,-1-2-17-16,2 4 20 0,-2-3 13 0,-3-2-102 15,5 4-5-15,-5-4 27 0,5 2 34 16,-3 0 23-16,-2-2 46 0,6 3 5 0,-6-3-10 16,0 0 34-16,10-3-63 0,-10 3 24 0,8-4 21 15,-3 4 12-15,3-5-33 0,-4 3-36 0,4-2 0 16,0 3 0-16,0-3 0 0,-3 3 0 0,2 1 0 16,-1-1 0-16,-6 1 0 0,12 0 0 15,-12 0 0-15,9 0 0 0,-3 1 0 16,-6-1 0-1,8 4 0-15,-2-4 0 0,-4 1 0 0,1 0 0 0,-3-1-236 0,8 0-81 0,-6 2-42 16,-2-2-165-16,0 0-247 0,6-2-327 16,-6 2 102-16,7-4 82 0,-4 2 131 0,1-2 36 15,-1-1 102-15,4 0 94 0</inkml:trace>
  <inkml:trace contextRef="#ctx0" brushRef="#br0" timeOffset="153916.03">14189 4713 970 0,'6'-13'442'0,"-4"0"-93"15,1 3-1-15,0 2 97 0,-1 2-10 0,-2 1-15 16,2 0-77-16,-2 2-64 0,0 3-13 0,3-5-2 15,-3 5-36-15,0 0 7 0,0 0-63 16,0 0-11-16,0 19 18 0,-3-11-18 16,3 3-12-16,0 0-21 15,0 1-10-15,0-2-39 0,0 5-25 0,0-2-26 0,0 0-41 0,0-1-30 16,3-1-47-16,-3 0-41 0,0 0-25 16,3 0-49-16,-3-3-33 0,0 0-35 0,0 0-119 15,0-1-10-15,0-1-532 0,2-1 112 16,-2-1 75-16,0 0 40 0,0-4 70 0</inkml:trace>
  <inkml:trace contextRef="#ctx0" brushRef="#br0" timeOffset="154300.47">14128 4806 1162 0,'-2'-4'394'0,"2"4"8"15,0-3-57-15,0 3-32 0,5-5-27 0,0 1-20 16,2 2-15-16,1-1-31 0,3-1-20 15,1-1-23-15,-1 1 58 0,1 0-53 0,4-2-16 16,-4 2-7-16,4-2-36 0,-3 3-5 0,-1-2-31 16,-1 0 7-16,1 0-17 0,-1 2 23 15,-4-1-3-15,1 3-15 0,-3-3 20 16,0 2 1-16,1 1 2 0,-6 1 13 0,5-4 12 16,-5 4-25-16,5-1-15 0,-5 1 12 0,0 0 13 15,0 0-46-15,7 4-61 0,-7-4 36 0,3 4-1 16,-2 0-22-16,1 1 35 0,-2 1-23 15,2-1 41-15,0 0 6 0,-2 4-24 0,4-3-2 16,-4 1 23-16,2-1-8 0,-2 0 7 0,0 1-19 16,0-2 61-16,0 2-6 0,-2-1-9 15,-4 1-27-15,2 1-60 0,-2-2-60 0,-4 4-51 16,2-3-63-16,-2 0-68 0,-1 0-93 16,1 0-173-16,-5 3-662 0,-1-4 117 15,2 1 103-15,-5-1 122 0,4-6 70 0,0 2 61 0,-1-1 113 16</inkml:trace>
  <inkml:trace contextRef="#ctx0" brushRef="#br0" timeOffset="155331.09">14697 4744 821 0,'0'0'425'0,"0"0"-21"0,5-5-22 16,-5 5-31-16,0 0-44 15,0 0 0-15,0 0-38 0,0 0-18 0,0 0-1 16,0 0-40-16,0 0 0 0,0 0-5 0,0 0-21 16,0 0-74-16,5 11-15 0,-5-9-16 15,3 3 3-15,-3-5-20 0,3 5-3 0,-1 1-6 16,1-3-7-16,-1 2 3 0,3 0 20 0,-2 2-23 15,2-5 3-15,-2 2-8 0,2 1-18 0,-2-3-5 16,4 0-8-16,-4 1 21 0,1-1-6 16,-4-2-4-16,11 0-1 0,-6 1-10 15,-5-1 3-15,11-1-10 0,-11 1 2 0,10 0 10 16,-10 0-7-16,8-2 20 0,-8 2-23 0,10 0 13 16,-10 0-10-16,7 0 2 0,-2 2 0 0,-5-2 1 15,10 1-1-15,-7 0 69 0,3 1-7 16,-6-2 5-16,10 1-11 0,-5 0-12 15,-5-1 5-15,10 0 23 0,-2-1 15 0,-1 0-56 16,-2-1-13-16,1 0 13 0,1 0 28 0,1-1-2 31,-3 0 38-31,0-2 12 0,1 1-19 0,1 1-19 0,-2-3-5 0,1 1 72 0,1 0-31 0,-4 1-10 16,1-2 11 0,2 1-50-16,-4-2-7 0,1 1-39 0,0 1-30 0,-1-1-23 0,-2 0-77 15,0 1-57-15,0 1-40 0,0-1-46 16,-2-1-103-16,-1 1-310 0,3 3-421 0,-3-3 93 0,1 0 109 15,-3 3 117-15,5 2 59 0,-5-5 53 0,2 4 124 16</inkml:trace>
  <inkml:trace contextRef="#ctx0" brushRef="#br0" timeOffset="155908.22">15110 4540 1203 0,'-7'10'450'15,"7"-5"-48"-15,2 3-28 0,-2-1-11 0,2 4-56 16,1-3-10-16,-3 3-13 0,0 0-28 16,3 3-38-16,-1-1-21 0,0 0-18 0,-1 0-30 15,1 0-6-15,1 0-7 0,-1 2-19 16,-1-4-22-16,1 0 18 0,1 0-21 0,-3-3 79 16,2 0-2-16,-2-1-18 0,3 0-7 0,-1-3 32 0,-2 1-96 15,3 0 60-15,0-3-27 0,-3-2 7 16,4 3-7-16,-4-3 0 0,10-2-37 15,-10 2 1-15,11-2 18 0,-6 0-16 0,0 2 1 16,1-1-4-16,-6 1-14 0,15 1 7 0,-8-1-13 16,1 1-23-16,0 1-12 0,0 1 28 0,-1-1-14 15,1 2-52 1,0-2 11-16,0 3-29 0,-1-3-40 0,-2 2-17 0,3 0-28 0,-3-1-16 16,2 0-25-16,1 0-26 0,-3-1-5 15,1-1 13-15,-1 1 7 0,2-1 16 0,-7-1 26 0,11 0 9 16,-4-1 17-16,-2-1 34 15,-5 2-1 1,8-1 32-16,-8 1 11 0,8-2 31 0,-8 2-11 0,0 0 5 0,10 2 27 16,-10-2 6-16,8 4 1 0,-5-3-13 0,-1 2 33 0,3 0-5 15,-2-1-15-15,2 2 15 0,0-1 15 16,0 1-9-16,3 1-6 0,-1-4 5 16,1 3 8-16,0-3 5 0,2-1 20 15,-3 0-33-15,4-1 26 0,-3-2 20 0,0 1 39 0,2-2 2 16,-3 1 21-16,-2-3-39 0,-2 1-35 0,2-2 86 0,-2 1-15 15,-3 0-17-15,-1-1 24 16,-3 1-19-16,-2 0-44 0,1 1-1 0,-3 1-14 16,-2 1-82-16,-2 1-3 0,2 0 0 0,-4 0-121 15,2 2-63-15,-4 1-72 0,3 2-79 0,-2 0-328 16,0 2-497-16,2-3 136 0,0 3 57 16,0 0 132-16,3 1 85 0,2-3 49 0,1 4 69 15</inkml:trace>
  <inkml:trace contextRef="#ctx0" brushRef="#br0" timeOffset="156675.87">15946 4677 1653 0,'0'0'504'0,"-10"0"-120"0,10 0-41 16,-13 5-15-16,3-4-29 0,0 3-48 0,-1 3-26 15,-2-4 1-15,3 5-27 16,-1-4-27-16,1 5-26 0,0-3-3 0,3 1-25 0,-1-1 2 0,0 1-10 16,3-1-33-16,0 1-8 15,2-2-13-15,1 2-30 0,2-4-8 0,0 2-5 0,3-1 5 16,1-1-3-16,2-2-5 0,1-1 6 0,1-1 9 15,5-1 6-15,-3 1-3 0,3-3 21 16,-1 2 7-16,-1-2-2 0,-3 3 7 16,2 0-4-16,0-2 27 0,-5 2-40 0,3 1 17 15,0 1-12-15,-1 2-1 0,-2-1-14 0,1 2-22 16,1-1-4-16,-2 2-39 0,1 0-2 16,-1 0-62-16,0 1-33 0,0-3-33 0,0 1-23 15,3-1-47-15,-1 0-45 0,1-2-13 16,4-2-39-16,-1-2 29 0,2 0 25 0,0-1 97 0,2-3 72 15,1 0 57-15,-4-4 68 0,1 0 21 16,0-1 61-16,-2-3 31 0,-1-4 29 16,-2-1 17-16,2-5-33 0,0-9 5 0,0 1 10 0,-2 6 90 15,-3 3-10-15,3 3-93 0,-4 4-23 0,-1 1 32 16,0 3 60-16,1 1 8 16,-3 3 16-16,2 2 7 0,-1 2-48 0,-2 2-34 15,0 3 29-15,0 0-39 0,0 0-8 0,-10 18 14 16,4-3-9-16,2 0-66 0,-2 2 18 0,-1 8-7 15,1-1-29-15,-1 2-8 0,2-1 1 0,0 0-62 16,0 0 0-16,5-4 0 0,-3 2 0 16,3-3-31-16,3-1-43 0,-1-2-37 0,1-2-6 15,2-4-39-15,-1 2-26 0,2-2-15 16,2-4-5-16,-1 0-16 0,3-3-38 0,0 0-23 16,-1-1-18-16,1-3-89 0,0-4-149 0,0 4-479 15,1-2 95-15,-1 1 69 0,3-2 113 16,-3 1 66-16,0-3 111 0</inkml:trace>
  <inkml:trace contextRef="#ctx0" brushRef="#br0" timeOffset="156964.9">16458 4475 1558 0,'-2'-3'438'16,"2"3"41"-16,-5-2-26 0,5 2-33 0,0 0-52 15,0 0 6-15,-13 10-34 0,10-3 1 0,-1 1-32 0,-2 5-19 16,1 4-39-16,2 1-29 0,-1 1 9 16,1 0-9-16,-2 1-40 0,3 0 13 0,1 3-24 15,-1-3-40-15,2 2-11 0,0-2-7 16,2 0-11-16,-1-2-23 0,1 0-25 0,3-2-28 16,-2-3-34-16,1 2-20 0,-1-7-34 0,2 3-30 15,1-4-38-15,-1-2-37 0,2-2-30 0,-2 1-54 16,1-3-40-16,1 0-160 0,-2-1-509 15,1 0-28-15,-2-1 95 0,-4 1 84 16,3-5 90-16,0 2 84 0,-6-2 118 0</inkml:trace>
  <inkml:trace contextRef="#ctx0" brushRef="#br0" timeOffset="157192.96">16079 4667 1159 0,'-5'-3'494'0,"0"2"-28"15,5 1-31-15,-3-3-2 0,3 3-47 0,0 0-12 16,8-4-134-16,-3 0 4 16,3 2-32-16,2 1-28 0,3-3-15 0,2 2-10 0,3-1-31 15,1 1 0-15,1-2-61 0,3 1-11 0,3-3-38 16,1 2-39-16,2 1-40 0,-1-2-36 16,1 3-26-16,1-1-59 0,-2 3-74 15,11-8-187-15,-8 8-478 0,-6 2 94 0,-5 0 64 31,1 1 157-31,-3 2 40 0</inkml:trace>
  <inkml:trace contextRef="#ctx0" brushRef="#br0" timeOffset="157902.49">16572 4816 1054 0,'0'0'317'15,"0"0"-25"-15,0 0-10 0,10-8-24 0,-8 6-14 16,1-2 1-16,2 1 62 0,0-2 21 0,0 0-36 16,-2-1-31-16,2 0-2 0,-2 0-27 15,1 0-42-15,-1-1 4 0,0 1-2 16,1 0-23-16,-3-1-13 0,2 3 1 0,-1 0-14 0,-2-1 11 15,2 1-37-15,-2 1-4 16,0 3-13-16,-2-5-11 0,2 5 6 0,0 0-5 0,0 0-24 16,0 0-7-16,0 0-3 0,0 0-2 15,-16 10 0-15,14-8-16 0,2 3 19 0,-2-3-45 0,-1 3 47 16,3 1-31 0,0-3-20-16,0 2 7 0,0 1 3 0,0-1-2 0,0 1 2 15,3 0-18-15,-1-4 2 0,0 3 1 0,-2-2 10 16,3 0-13-16,0 0 2 0,-3-3 6 15,2 6 5-15,1-3-16 0,-3-3 16 0,8 0-6 16,-8 0-9-16,10 0 25 0,-10 0 3 0,10-3 12 16,-4 1-5-16,1 0-2 0,0-2-13 15,-1 3-5-15,1-2 20 0,-1 1 21 0,1 0-34 16,-2 2-58-16,1-1 12 0,1-2-22 16,-7 3 17-16,13 0 5 0,-8 1 11 0,3 2 12 15,-3 0-2-15,2 1 21 0,-1-2-22 0,-1 2 19 16,0 2 67-16,0-3 9 0,0 2-17 15,-2 0-3-15,2 1-15 0,-2-1-70 0,-1-2 19 16,3 2-8-16,-4-1-18 0,1 0 18 0,0-1 0 16,1 0 43-16,-3-3 16 0,0 4 61 0,0-4-67 15,5 2 45 1,-5-2-37-16,0 0 72 0,0 0 5 0,0 0-13 0,15-6-91 0,-12 4-29 16,2-2 0-16,1 0 0 0,1 1 0 15,-2-1 0-15,1 1 0 0,1 1 0 0,-2-1 0 16,0 1 0-16,0 2 0 0,-5 0 0 15,11 0 0-15,-11 0 0 0,10 0 0 0,-5 2 0 0,2-2 0 16,-1 1 0-16,-2 2 0 16,-4-3 0-16,9 2 0 0,-4 0 0 0,-3 0 0 0,1-1 0 15,-3-1-116-15,5 2-257 0,-5-2-267 0,0 0-581 16,7-1 102-16,-4 2 136 0,-3-1 95 16,0 0 77-16,0 0 122 0,11-2 52 0,-5-1 56 15</inkml:trace>
  <inkml:trace contextRef="#ctx0" brushRef="#br0" timeOffset="158248.13">17228 4602 1185 0,'0'0'471'0,"0"0"-31"0,2 11-18 16,-2-5-20-16,-2 0-54 0,2 1-30 0,0 1-32 16,-1 3-25-16,1-3-40 0,1 2 11 0,-1 0-42 15,0-1-21-15,0 0-28 0,2 0-13 16,-2-1-26-16,3-2-25 0,-3 0-13 0,0-1-3 15,2 1 6-15,-2-4-16 0,0 3-5 0,0-5-8 16,-5 5-4-16,3-4-9 0,-3 1-12 16,5-2 20-16,-13 5 3 0,5-3 8 0,-5 2-19 15,3 1 3-15,-1-2 1 0,-1 2 14 0,1 0-4 16,-1 2 96-16,2-1-9 0,2 0-11 16,3 0-23-16,0-2 0 0,-1 2 3 0,2-1 15 15,3 0-113-15,-1 0 11 0,2-3 15 16,3 2 3-16,-3-4-11 0,8 4-5 0,-4-1 21 15,6-3-26-15,0 1 13 0,1-1-23 0,2 0-31 16,-3-1-54-16,7 0-27 0,-6-1-57 0,2 1-13 16,-2 1-62-16,3-3-24 0,-5 2-111 15,1-2-92-15,0 2-525 0,-2 0 89 16,0-3 101-16,-1 2 58 0,-2-2 111 0,0 2 74 16</inkml:trace>
  <inkml:trace contextRef="#ctx0" brushRef="#br0" timeOffset="158715.03">17705 4451 1451 0,'0'0'427'16,"0"0"-17"-16,0 0-31 0,0 0-21 0,-3 20-20 0,0-10-36 15,1 3-41-15,0 5-10 0,-1-1-39 16,-2 4-4-16,2 1 12 0,1 2-67 0,-4 0-17 16,2 0 61-16,0 1-53 0,0-4-24 15,1-2-56-15,-2 3-57 0,3-4-40 0,1-2-49 0,-1-1-43 16,-1-4-98-16,3 0-253 0,0-1-479 15,3-3 134-15,-3-1 32 16,3-4 60-16,1 4 66 0,-1-3 72 0</inkml:trace>
  <inkml:trace contextRef="#ctx0" brushRef="#br0" timeOffset="159040.54">17810 4812 1395 0,'7'-9'442'16,"1"5"-32"-16,0-2-36 0,0 0-19 15,-3 0-22-15,0 0-44 0,0-3-10 0,0 1-33 16,0 0-13-16,-1 2-20 0,-2-1-16 0,0 1 0 16,-2 0-8-16,0 0-17 0,0 2-3 15,0 4-41-15,-3-6 10 0,-2 6-36 0,5 0 21 16,-8-1-92-16,8 1 23 0,-10 5-11 0,5-4 3 15,-1 4-5-15,-1 1-15 0,0 0 20 16,4-2-31-16,-2 2 8 0,2 0-8 16,1-1 11-16,2 4-18 0,2-4-3 0,-1 4-13 0,3-3-23 15,4 1-61-15,0-1-25 0,2-1-19 16,3-1-41-16,1 1-43 0,0-3-26 16,1 1-102-16,1-2-112 0,-6-1 30 0,8 2-477 15,0-2 73-15,0-2 122 0,0 0 32 0,0-2 50 16</inkml:trace>
  <inkml:trace contextRef="#ctx0" brushRef="#br0" timeOffset="159447.79">18184 4725 1162 0,'0'0'422'0,"-8"-5"-10"0,4 5-13 0,-2-1-40 0,6 1-6 0,-12 1-38 16,4 3-16-16,0-2-40 0,0 3-11 0,1-1-20 16,-1 5-18-16,0-3-26 0,0 2-5 0,4 0-15 15,-2 1-28-15,1 0-82 0,3-2-6 16,-1 2 3-16,3-1-22 0,0 0-17 15,5 1-7-15,-2-2-25 0,2-2-24 0,0-1-12 16,5 1-16-16,-2-4 8 0,4 2 11 0,-1-3 4 16,2 0 8-16,2-4 8 0,1 2 5 15,-3-2 5-15,5-4 23 0,-3 1 20 16,0-4 6-16,3-1 22 0,-5-2 9 0,0-3 7 0,-1-2 23 16,-1 0 13-16,-1-5-19 0,-2 2 19 0,1-2 10 15,-1 2-23-15,-2 6 39 0,-3-2 17 16,4 0 52-16,-4 5 30 0,-1 1-28 15,2 1 8-15,-3 2-8 16,0 2-5-16,-1 3-31 0,0 2-10 0,0 2-15 0,0 0-8 0,0 0-34 16,-14 9-1-16,10 1 9 0,1 3-81 15,-2-1-21-15,2 1 0 0,1 1 0 0,2 3 0 16,0-2 0-16,2 2 0 0,1 1 0 16,2-4 0-16,0 3-3 0,0-3-161 0,4-1-53 0,-3-1-6 15,0-1-46-15,-1-3-43 16,0 2-72-16,0-3-182 0,1-1-519 0,-2-2 84 0,1 0 92 15,-2-2 98-15,2 1 156 0,-5-3-1 0,0 0 98 16</inkml:trace>
  <inkml:trace contextRef="#ctx0" brushRef="#br0" timeOffset="159923.94">18294 4713 1182 0,'-7'-4'415'0,"4"3"2"15,3 1-38-15,-5-3-26 0,5 3 0 0,-5-5-51 16,3 5-38-16,2 0-8 0,0 0-15 0,4-6-29 15,-4 6-20-15,8-4-5 0,0 1-36 16,-1-1-5-16,4 3-28 0,2-4-6 0,1 3-22 16,0-2-21-16,5 0-13 0,-2 0-28 0,-1 0-23 15,1 1 6-15,-2-1-1 0,-2 2-20 16,0-3 15-16,0 3-8 0,-3-2 8 0,-2 3 13 16,-1-3 21-16,1 4 2 0,-2-2 10 15,-2 1 3-15,-4 1-8 0,0 0 0 0,0 0 10 16,0 0 0-16,6 7 16 0,-6-4-39 0,0-3 24 15,-3 10 7-15,0-5-8 0,1 2 5 16,0-1-25-16,1 1 8 0,-1 0 2 0,4 0 5 16,-2-1-18-16,1 0-7 0,-1 1-13 0,2-2 12 15,3 0 3-15,-2 1-2 0,2 0-3 16,0-3 3-16,3 1-11 0,-1-3 3 16,3 2 20-16,-2-3-12 0,2 0-13 0,1-3 5 0,-3 2-18 15,4-4 7-15,-2 0 11 0,2 1 10 0,-4-5-5 16,1 3-7-16,-1-2 22 15,1 3-2-15,-2-1-36 0,-1 0 46 0,-3 3 36 16,4-2-39-16,-4 4 4 0,2-2-4 0,-5 3-7 0,5 0-5 16,-5 0 7-16,6 5-25 0,-4 0 0 15,-2 0-13-15,3 1-29 16,-3 1-17-16,2-1-38 0,-2 1-49 0,0-1-57 0,-2 0-32 16,4 0-39-16,-2 1-121 0,-5-1-207 0,8 0-465 15,-3-2 127-15,3 0 62 0,-1 0 115 16,3-1 69-16,-2-2 75 0,3 1 83 0</inkml:trace>
  <inkml:trace contextRef="#ctx0" brushRef="#br0" timeOffset="160242.44">18907 4651 1523 0,'0'0'481'0,"0"0"-100"0,0 0 1 0,10 5-22 0,-7-5-22 0,2 4-10 0,-1 0-26 15,-3 3-20-15,4-1-24 0,-3 1-20 16,-1 2-31-16,-1-2 57 0,0 1 5 0,0 2-28 15,-1-1-11-15,-1-1-5 0,0 1-28 0,-1-2-20 16,2 0-3-16,-1 0-87 16,0-2 72-16,0 0-67 0,2-2 20 0,0 1-7 0,0-4-15 15,0 0-21-15,2 5 23 0,-2-5 5 0,0 0-30 16,0 0 7-16,12-12 0 0,-6 6 31 16,-1-1-48-16,1-1-16 0,3 0-28 0,0 0-13 15,1-3 0-15,-3 3 0 0,6-2-13 0,-3 2-54 16,-2 1-48-16,2 0-28 0,-5 3-57 0,3 2-15 15,0-3-31-15,-5 4-40 0,4 1 55 16,-7 0-96-16,0 0-239 0,7 2-514 16,-4 3 99-16,-2-4 98 0,1 3 143 0,0 2 16 15,1-3 64-15,0 1 94 0</inkml:trace>
  <inkml:trace contextRef="#ctx0" brushRef="#br0" timeOffset="160499.57">19130 4731 816 0,'13'-3'376'0,"-8"1"-28"0,3-2-10 0,0 1-18 16,-4-2 5-16,4 0-94 15,-5 2-11-15,2-3 10 0,-2 1 6 0,-1 0-21 16,1 2 97-16,-3-1-43 0,0 4-21 0,-5-6 3 16,5 6-16-16,-8 0-30 0,8 0 18 0,-13 6 5 15,8 1-39-15,-3-2 11 0,0 2-52 16,0 3 6-16,1-2-26 0,2 3 0 16,3-1-21-16,-1-1 8 0,3 0-7 0,0 1-11 0,3-2 3 15,-1 2-23-15,3-4 0 0,0 1-18 0,3-4-57 16,3 2 13-16,-2-1-43 0,2-3-77 15,-1 0-10-15,3 1-44 0,-1-2-40 16,-1-2-21-16,2 2-41 0,0-1-113 0,-3 0-166 16,2-2-446-16,2 0 52 0,-4-1 82 0,-3 3 99 0,3-3 93 15,-2 1 48-15</inkml:trace>
  <inkml:trace contextRef="#ctx0" brushRef="#br0" timeOffset="162617.87">19938 4589 1338 0,'0'0'438'0,"-5"-4"-67"0,1 3-20 15,4 1-34-15,-16 1-28 0,2 2-20 0,3 3-97 16,-9-1-1-16,5 0 13 0,-5 2-20 0,2 1-25 16,0-2 4-16,3 0 49 15,-1 2-13-15,3-2 3 0,0 1-24 0,3-1-19 0,3-1-4 16,-1-2-27-16,2 0-11 0,4 2 8 16,2-5-8-16,0 0-10 0,0 0-15 0,15 1-11 15,-7-2-17 1,7-2-1-16,-2-1 24 0,3 1-23 0,2-2-11 0,-3 2-2 0,3 0-1 15,-3 2 4-15,1 1 19 0,-1 1-12 0,-2 2-7 16,0 0-1-16,-1 2-2 0,0 3 2 0,-3 2 10 16,-1 2 3-16,-3 0-5 0,-2 1 21 15,-3 1-16-15,-3-1 31 0,-2 4-80 16,-3 1 21-16,-1 1-13 0,-5-2-5 0,-1 0 10 16,-1-1-20-16,1-2-10 0,-3-1 15 0,5-2-8 15,-4-2-33-15,3 0-34 0,4-4-12 16,-3 0-38-16,5-2-37 0,-2-1-32 0,3 2-29 15,1-4-49-15,6 0-53 0,0 0-164 0,-10-4-456 16,8 2 67-16,2-2 69 0,0 4 108 16,5-8 109-16,0 3 22 0</inkml:trace>
  <inkml:trace contextRef="#ctx0" brushRef="#br0" timeOffset="163087.87">20005 4780 1105 0,'12'-10'430'0,"0"5"-35"0,-3-3-119 0,-1 1-25 16,2 1-18-16,-2-1-26 0,-1 1 6 0,4-5-29 15,-4 5-15-15,1-3-13 16,-1 0 0-16,-4 3-5 0,5-2-2 0,-6 1-14 16,3 1-9-16,-2 0-9 0,-1 1 60 0,0-1-13 15,-2 6 7-15,-2-2-25 0,2 2-18 0,0 0 8 16,0 0-24-16,0 0-17 0,-15 9 15 15,10-2-38-15,0-1 2 0,0 1-12 0,2 1 25 16,-2 1-54-16,5 0 5 0,0-1-30 0,0-1 5 0,0 0-21 16,3 0-18-1,2-2-20-15,3 0-2 0,0 0 17 0,2-4-28 0,2 0 8 16,4-2 7-16,-1 0 9 0,5-4 12 0,-1-1 15 16,1-5 16-16,1 3 4 0,-1-5 50 15,-2 0-3-15,-3-4 2 0,8-7 13 0,-10 3 21 16,0 2 0-16,0-10 15 0,-3 3-5 0,0 5-31 15,-2 1 74-15,-3 4-27 16,-2-2-78-16,-1 6-17 0,1 1 23 0,-1 2-16 0,-2 3 0 16,-2 2 5-16,-1 2-9 0,3 2-4 0,0 0 1 15,-13 9-1-15,7 1 4 0,-3 2-11 16,4 3 12-16,-3 2-17 0,1 4 15 0,3-3-35 16,0 1-4-1,1-1-35-15,3 2-33 0,3-2-34 0,1-1-28 0,3 1-40 0,2-4-22 16,-1-1-40-16,5 0-66 0,-3-2-55 0,1-6-86 15,-1 2-526-15,2-1 52 0,-1-1 169 16,-2-3 10-16,0-1 44 0,-2-1 99 0</inkml:trace>
  <inkml:trace contextRef="#ctx0" brushRef="#br0" timeOffset="163305.26">20266 4602 1156 0,'-5'-2'392'0,"5"2"-21"0,-7 0-23 15,7 0-17-15,0 0 91 0,0 0-46 0,0 0-43 0,0 0-46 16,0 0-13-16,0 0-8 0,25 1-46 16,-12-2-5-16,2 1-28 0,5 0-23 15,4 0-24-15,1-3-35 0,4 2-36 0,1-1-33 16,3-1-41-16,-4 1-49 0,4 0-20 0,-2-1-33 16,-3 2-67-16,3-1-203 0,-4 2-600 15,-3 0 68-15,2-4 118 0,-2 4 61 16,-7-1 75-16,6 0 56 0</inkml:trace>
  <inkml:trace contextRef="#ctx0" brushRef="#br0" timeOffset="163724.72">21025 4431 1121 0,'0'0'437'16,"-11"3"6"-16,4 2-49 0,2 0 44 0,0 3-31 15,2 2-15-15,-2 3-77 0,4 1-26 0,-3 3-20 16,2 2-34-16,1 1-7 0,-2-1-13 0,3 1-54 16,-2-2 13-16,2 1-56 15,0-2 2-15,0-3 1 0,0 1-32 0,0-3-4 16,0-1-1-16,0-1-5 0,0-3 14 0,2 1 6 16,-2-3-12-16,2 0-12 0,0-3 7 15,-2-2-44-15,6 1 26 0,-6-1-26 0,9-4 14 16,-4 0-9-16,2-1-12 0,1 3 12 0,0-3 8 15,0 3-27-15,-1-2 1 0,1 2 1 16,2 2-11-16,-2 0 21 0,0 0 0 0,-8 0 2 16,12 0 13-16,-6 2 24 0,-2 1-14 0,-1-1 6 15,0 4-21-15,-3-3 36 0,2 3 2 16,-4-1-30-16,-4 1-11 0,-1 0 8 0,0 2-79 16,-7 1 5-16,1-3 18 0,-4 3-8 0,2-3-20 15,-3 1-39-15,1-2-7 0,0 1-26 16,2-1-48-16,-1-3-39 0,6 2-52 0,-3-4-37 15,5 2-85-15,3-2-185 0,0 0-168 16,5 0-264-16,-3-2 95 0,3 2 115 0,0 0 44 16,0 0 71-16,11-6 92 0</inkml:trace>
  <inkml:trace contextRef="#ctx0" brushRef="#br0" timeOffset="164660.91">21186 4793 1077 0,'8'-4'458'0,"-3"3"-15"0,0-4-59 0,0 3-46 0,1-3-8 15,0 0-53-15,0 2-27 0,0-3-6 0,1 1-24 16,-4 0-18-16,2-1-13 0,0-1-20 16,-3 2-5-16,-1-1 10 0,1 3-13 0,1-2-30 15,-3 5 0-15,0-6-14 0,0 6-30 0,-5-1 23 16,5 1-20-16,0 0-6 15,0 0-89-15,-16 3 3 0,13 1 27 0,-4 1-40 0,2 1 20 16,2-3-5-16,-2 2-13 0,3 0 8 0,0 1 0 16,2 0-3-16,0-3-9 0,2 1 22 15,4 1-28-15,-2-3 5 0,6 0 5 0,0 1-10 16,1-3-3-16,7-3 21 0,0 1-5 16,-1-2-5-16,4 0 4 0,3-2 6 15,-2-4-15-15,-1 2 32 0,2-3 6 0,-4-2 16 0,-3 0 25 16,1-1-26-16,-1-2 23 15,-2-3 16-15,-2 0 79 0,-1-2 2 0,-1-2-27 0,-2 0-8 16,0 2 10-16,-1 0-6 0,-1 3-29 0,-2 5-68 16,0-2 24-16,-2 2-26 0,-2 5 31 15,2-2 4-15,-2 2-9 0,2 2-13 16,-4 0-5-16,2 4-6 0,0 2 14 0,0 0-1 0,0 0-15 16,-12 6 5-16,6 2-18 0,2 3 26 15,-3 2-28-15,0 5 25 0,2 3 6 16,-3 3-44-1,4 1-6-15,-2 1-32 0,4 1-11 0,0 0-15 0,1-2 2 0,2-5 24 16,0 0-8-16,2-1-3 0,3-1-10 0,1-1 8 0,2-2-19 16,-1-4-7-16,1 1 31 0,1-5-5 15,0 0 7-15,3-3 3 0,-3-2 16 0,5-1-14 16,-2-2-17-16,0-1 22 0,5-4 16 0,0-1 36 16,-2-2-21-16,4-4 11 0,-2 0-6 15,-1-1 14-15,-1-2 19 0,-3 1 29 0,3-4 3 16,-4 2 12-16,-1-1 0 0,-1-1-2 0,-2 4-16 15,-1-1 8-15,1 3-10 0,-3 0 12 16,0 2 3-16,1 2-17 0,-2-2 9 16,1 4 0-16,-2 0 6 0,1 1-8 0,-2-1 10 15,0 3-5-15,-2-1-5 0,2 2-23 0,-2 3-8 16,0-4 3-16,0 4 2 0,0 0-8 0,0 0-12 16,0 0 13-16,-8 15-6 0,4-7-2 15,3-2 5-15,-4 3 36 0,3 0-49 0,0 3-7 16,-1-2 2-16,0 1-2 0,1 2-14 0,1-2 4 15,-1 1-9-15,2-3-25 0,0 1-5 0,0-2-7 16,0 2 1-16,3-3 9 0,-3-1-1 16,2 1 3-16,1-5 16 0,2 1-11 15,1 0 10-15,-2-3 16 0,4 0-5 0,-8 0 2 16,12-3-2-16,-6 3 9 0,1-3 19 0,-1 2 5 16,-2 0-10-16,-4 1 12 0,11-3-9 0,-11 3 1 15,9 2 11-15,-5-1 26 0,0 1-36 16,2 2-8-16,-1 2 15 0,0 0 1 15,0 0-8-15,1 1-3 0,0-1-10 0,-2 1 13 0,1-2-8 16,2 2-13-16,-4-1-30 0,4-1-44 16,-1-2 10-16,-1 1-17 0,1-2-32 15,-2-1-32-15,2-1-49 0,-6 0-24 0,10-1-12 0,-5 0-59 16,0 0-133-16,-2-3-158 0,-1 2-426 16,-2-1 82-16,0 3 128 0,0-8 80 15,-2 6 43-15,-4-2 80 0</inkml:trace>
  <inkml:trace contextRef="#ctx0" brushRef="#br0" timeOffset="164824.97">21445 4570 1236 0,'0'0'417'0,"0"0"-43"0,9-2-59 15,-5-1-11-15,6 1-127 0,2 2-13 16,-3-4-41-16,8 2-42 0,-2 1-42 0,1-2-67 0,2 2-80 15,3-1-171-15,0 2-468 0,3-3 58 16,-2 2 24-16,3-1 125 0</inkml:trace>
  <inkml:trace contextRef="#ctx0" brushRef="#br0" timeOffset="165098.31">22023 4550 972 0,'8'5'443'0,"-4"2"10"0,4-3-48 15,-4 4-98-15,2-1-10 0,-3 1-31 0,2 3-10 16,-1-2-11-16,-1 2-24 0,1-3-19 15,-2 2-5-15,0-1-15 0,-2 0-13 0,2-1-3 16,0 2-23-16,-2-2-7 0,0-3 10 0,1 2 87 16,-1-1-34-16,0 0-32 0,0-3 17 15,0 1-15-15,0-4-92 0,0 6 23 0,0-6-39 16,5 0 13-16,-5 0-12 0,0 0 7 16,10-6-15-16,-4-1-18 0,-1 1-8 0,3-4-44 15,0 3-50-15,1-4-8 0,-1 1-39 16,0-2-15-16,2 1-46 0,-2 2-49 15,0-1-112-15,-4 2-264 0,2-2-407 0,-4 2 151 16,4 2 44-16,-4 1 107 0,3-1 51 0,-2-1 74 0</inkml:trace>
  <inkml:trace contextRef="#ctx0" brushRef="#br0" timeOffset="165782.91">21558 4604 1146 0,'-5'-3'394'0,"5"3"-53"15,-5-1-31-15,5 1-26 0,0 0-28 16,0 0-21-16,0 0-12 0,8-6-31 15,-3 3-23-15,2 0-5 0,3 2-21 0,0-3-13 16,1 2-22-16,5-2 7 16,4-1-33-16,1 2-46 0,4 0-46 0,-2 1-70 0,6-3-91 15,11-3-157-15,-6 8-501 0,-1-1 94 16,-1-2 47-16,0 2 66 0,-1-1 92 0</inkml:trace>
  <inkml:trace contextRef="#ctx0" brushRef="#br0" timeOffset="166125.26">22792 4512 1435 0,'0'0'390'16,"7"7"-50"-16,-7-5 6 0,3 4-55 0,-3 3-30 15,2 0-20-15,-4 1-11 0,2 0-35 0,-3 3-13 16,2 3-21-16,-3-2-15 0,-1 3-16 0,2-3-7 16,-2 0-10-16,2 0-11 0,1 0-17 15,-1-5-6-15,2 4-7 0,-3-3 5 16,4-1-13-16,0 0-11 0,4-1-4 0,-2-1-3 15,0-1-23-15,3-1-5 0,3 0-10 0,1-2-60 16,-1 1-9-16,1-2-18 0,1-1-13 0,4 2-70 16,-3-3-58-16,5 0-61 15,-2 0-98-15,-3 0-3 0,2 0-411 0,0-4 45 0,0 4 83 16,-3-2 20-16,-3-1 64 0</inkml:trace>
  <inkml:trace contextRef="#ctx0" brushRef="#br0" timeOffset="166736.03">22856 4709 860 0,'0'0'345'0,"-6"-1"-27"16,6 1-19-16,0 0-112 0,0 0-28 15,-2-3-11-15,2 3-15 0,0 0-20 0,13-4-19 16,-8 3-17-16,3 1-8 0,-1-4-48 16,4 2-37-16,-4 2-32 0,1-4-6 0,0 2-5 15,-4 1-2-15,1-3-1 0,-4 3 32 0,-1 1 25 16,0-7 30-16,0 3 49 0,-6-1 26 15,4 1-3-15,-6-2 24 0,3 1 25 0,-1-1-31 16,-2 0 5-16,-1 1-7 0,4 1 22 16,-3-1-12-16,4 0-10 0,-2 0-31 0,3 2-26 15,1-1 18-15,-1 2-17 0,3 2-6 0,3-6-13 16,0 2-15-16,-1 2-23 0,6-3-10 16,0 1-46-1,4 0-1-15,1 0-40 0,1 1-13 0,5-2-18 0,-3 1-23 0,4 1 18 0,2-2 41 16,-6 3 20-16,1-2 24 0,-1 3 27 15,-5-3 54-15,2 2 29 0,-3 2 38 16,-2-4-1-16,1 4 6 0,-5 0 3 0,-4 0 7 0,12 3 11 16,-9-2 4-16,0 2-17 15,-3 2 12-15,1 1-5 0,-2 1-12 0,-2 2 7 16,1 0-25-16,2 2 2 0,-3 2-5 0,-2-1-8 16,0 0-22-16,2 1-14 0,-4 1-17 15,1 2-34-15,-1-3-5 16,-1 0-30-16,2 1-67 0,-4-1-64 0,2-2-85 0,1 0-61 0,0-2-23 15,1-4 5-15,2 1 31 0,-2-3 59 16,4 0 22-16,1-2 88 0,1-1 64 0,0 0 71 16,0 0 47-16,-7-6 38 0,7 6 30 15,0-8 9-15,0 3 14 0,0 0 14 0,0 5-6 16,0-8-20-16,0 3 3 0,3 3 7 0,-3-2-16 16,0 4-7-16,4-5 3 0,-4 5-13 15,6-1 5-15,-6 1-26 0,7 0 1 16,-7 0-9-16,13 0-30 0,-5 4-5 15,0-4-28-15,2 2-34 0,5 0-40 0,0 1-45 0,2-2-114 16,0 2-113-16,4-1-527 0,1 0 102 16,1-1 75-16,-2 2 43 0,3-3 158 0</inkml:trace>
  <inkml:trace contextRef="#ctx0" brushRef="#br0" timeOffset="167527.17">23496 4645 977 0,'-5'-2'382'16,"-2"-1"-19"-16,-1 2-56 0,0 0-17 0,3 1 1 0,5 0-42 16,-16 1-37-16,9 1-5 0,-1 1-27 15,-1 2-24-15,1-2-3 0,-1 3-17 0,1-1-13 16,1 1-8-16,0-3-18 0,1 4-2 0,2-2-26 16,1 1 0-16,-2 0-2 0,4-2-6 15,2 2 3-15,-1 1-23 0,2-4 0 0,3 1-2 16,-2 0 12-16,5-1 49 0,-2 1 28 0,0-4-21 15,3 2-12-15,-2-2-16 0,-2 0 0 16,-5 0-7-16,16-2-3 0,-9-2 21 0,0 2-8 16,-1-3 10-16,2 0-13 0,-3 2 11 0,1-2-8 15,-2 1 0-15,1 1-87 0,-2-1 5 0,1 2 20 16,0 1 6 0,-2-2-3-16,-2 3 2 0,4-3-2 0,-4 3 8 0,0 0-26 15,0 0 16-15,0 0-3 0,0 0-18 0,0 0 23 16,1 9-21-16,-1-9-2 0,0 5-15 0,0-5 10 15,3 6 2-15,-3-4 6 0,2 2-3 16,-2-4-3-16,3 3-7 0,-3-3 10 16,5 4-8-16,-2-2 6 0,1 0 14 0,-4-2-1 0,11 0-4 15,-11 0-4-15,10-2 12 0,-3 0 8 16,-7 2-5-16,11-1-2 0,-3 1 14 0,-1 0-19 16,-7 0 9-16,11-1 0 0,-4 1 6 0,-7 0 15 15,11 0-18-15,-6 1-5 0,0-1 2 16,-5 0 1-16,11 3 7 0,-7 0-13 15,2-1 6-15,-2 2-3 0,-1-4 0 0,2 3-13 16,0 1 10-16,-2-3 8 0,1 4-12 0,-3-3-6 16,4-1 13-16,-2 2 10 0,-3-3-5 15,5 6-16-15,-3-5-7 0,-2-1 21 0,3 1 15 16,-3-1-11-16,5 3 3 0,-5-3-2 0,0 0-18 16,5 1 15-16,-5-1 43 0,0 0-17 0,0 0 18 15,0 0-32-15,0 0-6 16,8 0 22-16,-8 0-28 0,0 0 23 0,10-3-31 0,-10 3 13 15,5-1-20-15,-5 1 28 0,8 0-16 16,-8 0-7-16,8 0-10 0,-8 0 15 0,0 0-11 0,10 0-2 16,-5 1 11-1,-5-1-14-15,5 2 21 0,-5-2-23 0,5 1 3 0,-5-1 12 16,7 3 8-16,-7-3-15 0,6 0 7 16,-6 0 14-16,5 1 19 0,-5-1-12 0,6 3-10 0,-6-3-21 15,7 0 36-15,-7 0 23 0,3 1 7 16,-3-1 60-16,8 1-82 0,-6 3-49 15,-2-4 0-15,8 0 0 0,-4 1 0 0,-4-1 0 0,6 4 0 16,-2-3 0-16,-4-1 0 0,8 1 0 16,-8-1 0-16,7 0 0 0,-7 0 0 0,0 0 0 15,12-1-75-15,-8 1-219 0,-4 0-57 16,8-5-158-16,-2 5-666 0,-2-1 97 0,2 1 121 16,-1-4 61-16,3 2 115 0,-1 2 152 0,0-4 7 15,1 1 56-15</inkml:trace>
  <inkml:trace contextRef="#ctx0" brushRef="#br0" timeOffset="167930.08">24109 4594 1656 0,'0'0'522'0,"13"7"-159"0,-10-1-25 16,1 0-13-16,2 3-33 0,-1 1-16 0,0 2-17 15,0 0-41-15,2 1-21 0,-1 1-28 0,-3 0-16 16,3 1-15-16,-4-2-15 0,0-1-28 16,0-3 18-16,1 2-11 0,-2-3 6 15,0 2-21-15,0-4 79 0,-1 2 23 0,0-2-9 0,0 0 11 16,0-1-22-16,0-5-18 0,-1 4-5 0,1-4 8 15,0 0-31-15,0 0 2 16,0 0-7-16,0 0-34 0,0 0 34 0,1-15-36 16,1 9-8-16,0-2-33 0,2-3-13 0,2-1-33 15,-2 3-33-15,1-2 12 0,0 0-45 0,0 3-32 16,2-2-48-16,-2 4 23 0,1 0-33 16,2 3-21-16,-2-1-17 0,0 0-24 0,0 2-59 15,1 1-176-15,1 1-54 0,-1 3-494 16,0-2 82-16,1 2 144 0,-2 2 12 0,-1 0 92 0,2 1 74 15</inkml:trace>
  <inkml:trace contextRef="#ctx0" brushRef="#br0" timeOffset="168234.84">24396 4822 1090 0,'6'-3'440'0,"-2"3"-110"0,-1-5-20 0,0 3-28 0,1-2-16 0,-3-2-26 16,1 1-30-16,2 1-13 0,-2-1-5 0,-2-1-7 15,2 1-14-15,-2 0-20 0,0 2 5 0,0 3-12 16,0-7-19-16,0 7 13 0,-2-4-40 16,2 4 4-16,0 0-2 0,0 0-31 15,0 0 10-15,-16 8-10 0,14-5 8 0,-1 0-5 16,1 2-11-16,-1 1-12 0,2 0 76 0,-1-1-20 16,2 1-10-16,2 0 2 0,-1 0-25 15,2-1-16-15,1 0-35 0,2 0-34 0,-1 0-25 16,3-3-14-16,0 2-42 0,-1-1-21 0,3 0-26 15,-3-2-87-15,2 0-77 0,1-1-89 16,0 0-548-16,-2 0 80 0,0 0 160 16,-1-1-22-16,0 0 74 0,1 0 66 0</inkml:trace>
  <inkml:trace contextRef="#ctx0" brushRef="#br0" timeOffset="168488.67">24609 4759 901 0,'0'0'465'0,"0"0"-83"0,-1-3-42 0,1 3-28 0,0 0-22 0,-3-6-27 0,3 6-2 16,0 0-28-16,0 0-20 0,0 0-16 16,0 0 0-16,0 0-5 0,0 0-5 0,-1 13-13 15,1-7 56-15,0 0-12 0,0-1 15 0,0 2-26 16,0-1-81-16,0 0-27 0,-2 1 6 16,2 0-28-16,-3-1 15 0,3 0 6 0,-1 1 1 15,-3-2-30-15,2 2 13 0,-2-4-25 16,0 3-27-16,1-2 1 0,-2 2-33 0,0-3-4 0,-2 1-40 15,1 0-43 1,-2-1-39-16,3 1-33 0,0-2-34 0,0 0-35 0,-1 1-62 0,2-2-141 16,-4 1-25-16,5-1-463 0,3-1 73 0,0 0 119 15,0 0 58-15,0 0 54 0,0 0 39 16</inkml:trace>
  <inkml:trace contextRef="#ctx0" brushRef="#br0" timeOffset="169333.24">24688 4825 1105 0,'3'0'387'0,"-3"0"-21"0,5-3-10 0,-5 3-34 16,0 0-89-16,0 0-8 16,3-3-12-16,-3 3-19 0,0 0 16 0,0 0-31 0,0 0-20 15,0 0-13-15,0 0-26 0,0 0 3 0,0 0-3 16,0 0 1-16,0 0-39 0,0 0 7 15,-11 8-14-15,9-3-1 0,2-5-3 16,-3 2-7-16,3-2-20 0,-5 6 12 0,5-6-12 16,-2 3 12-16,2-3-12 0,0 3-19 0,0-3 6 15,0 0-6-15,0 0-9 0,0 0-3 16,0 0 15-16,5 4-15 16,-5-4 2-16,0 0 0 0,0 0-2 0,10-3-13 0,-10 3 13 0,0 0-5 15,0 0 7-15,11 0 0 0,-11 0-4 16,4 3 9-16,-4-3 64 0,3 3-2 15,0 0-10-15,1 0-16 0,-3 1 13 0,1-2-25 16,2 2-16-16,-2-1 11 0,2 1 2 0,0-3-11 16,0 3 11-16,1-4-10 0,0 2-13 15,-5-2 10-15,13-2-13 0,-5 2 3 0,0-3 18 16,2 1-13-16,0 0 23 0,0-3 0 0,0-1 54 16,1-1-31-16,-1 1 8 0,3-4 25 15,-3 2-27 1,3-3 7-16,-3-2-3 0,-2-1-7 0,3 1-21 0,-1 0 10 0,-3-3 6 0,1 2-6 15,0 2 16-15,-1 0-13 0,-2 4 18 16,-2-2-92-16,2 4-6 0,-3 0 3 0,-1 3 3 16,-1-1 26-16,0 4-9 15,0 0 11-15,0 0 21 0,-11 9-50 0,7-2 24 0,-4 2-8 0,0 2-10 16,3 3 0-16,-3 1-18 16,2 0 3-16,0-2-6 0,2 0 11 0,-3-1-11 0,6 1-2 15,-1 0-13-15,2-2-13 0,2-2-28 16,-1 0 0-16,2 0-5 15,1-2-18-15,0 1 0 0,3-1 11 0,0-5 4 0,0 2-2 16,1-3 5-16,1 0 23 0,1-2 0 0,-2 1-5 16,5-5 12-16,-2 3 17 0,1-4 4 0,-2-3-3 15,3 0 11-15,2-2-3 0,0-2 13 0,-2-1-2 16,3-3 28-16,-1 0-16 0,0 0 13 16,4-7-2-16,-2 5-3 0,-6 6 18 0,-1 1 2 15,-2 0 29-15,-3 5 4 0,2-3-6 16,-4 3-4-16,2 1 6 0,-5 4-8 0,0-2 0 15,0 4-11-15,0 0 16 16,0 0-7-16,-20 6 7 0,13-1-23 0,-2 1-5 0,-1 2 7 16,0 5-9-16,0-2-1 0,2 2 8 0,0 1-7 15,-2 2 9-15,2-3-15 0,3 0 1 16,0-1-9-16,0 0-7 0,0-3-15 0,0 2-16 16,4-1-44-16,-1-2-22 15,-1 0-21-15,3-1-41 0,-2-1-40 0,2 0-14 0,0-2-76 16,0-1-144-16,2 3-92 0,1-3-381 0,-3-3 38 15,3 2 120-15,-3-2 116 0,0 0 25 0,0 0 98 16</inkml:trace>
  <inkml:trace contextRef="#ctx0" brushRef="#br0" timeOffset="169648.8">25023 4825 993 0,'0'0'373'0,"4"-4"-32"16,1 2-44-16,-2-1-34 0,4 0-2 15,0 0-43-15,1 1-23 0,-1-3-6 0,0 2-30 16,4 0-16-16,-2 0-10 0,-1-2-33 0,2 1-3 16,-2 0-10-16,0 0-5 0,0 2 23 0,-1-2-13 15,0 2 11 1,-4-1 17-16,4 2-20 0,-7 1-3 0,9-3 36 0,-4 3-25 16,-5 0-67-16,0 0-8 0,7 3 28 15,-3 0-9-15,-2-1-1 0,0 3 36 0,-2 0 59 16,2 2 28-16,0-1-23 0,-2 1-13 0,-2-1 8 15,0 2-92-15,0 0-3 0,0 1-5 0,-2-2-8 16,0 1 8-16,1-1 8 0,-4 2-28 0,0-3-39 16,0 0-43-16,-1-2-62 0,1 1-74 15,-3 1-159-15,4-1-662 0,-4 0 65 0,3-2 111 16,-1 2 100-16,2-4 31 0,1-1 81 0,0 1 75 16</inkml:trace>
  <inkml:trace contextRef="#ctx0" brushRef="#br0" timeOffset="169788.08">25276 4875 957 0,'2'-3'233'0,"-2"3"-174"16,0-4-582-16,0 4-55 0</inkml:trace>
  <inkml:trace contextRef="#ctx0" brushRef="#br0" timeOffset="-124965.14">5334 11609 995 0,'0'0'325'0,"0"0"-35"0,0 0-24 16,0 0-31-16,0 0-4 0,0 0-9 15,0 0-30-15,2 12 5 0,-2-7-12 16,3 4-22-16,-3 0-24 0,0 3-1 0,3 0-15 0,-3 2-13 15,0 1 3-15,0 0-21 0,0 2-3 0,0-2-7 16,0 1-13-16,0 0-10 0,0-1-3 16,0-1-17-16,0 0-1 0,0-1-4 0,-3-2-37 15,3 0-46 1,3-3-43-16,-3 1-77 0,0 0-92 0,-5-1-141 0,7-2-440 16,-2-1 100-16,0-1 43 0,3 0 113 15,-1-2 112-15</inkml:trace>
  <inkml:trace contextRef="#ctx0" brushRef="#br0" timeOffset="-124544.7">5485 11652 1172 0,'0'0'304'0,"0"0"-7"0,-5 13-33 0,3-6-34 0,1 1-2 15,1 1-28-15,1 1-34 0,1 2-12 16,-2 1-11-16,5 0-23 0,-3 0-9 0,2-1-19 16,0 2-23-16,-1-3-3 0,3 2-4 0,1-2-21 15,-2 0-3-15,3-3-15 0,0 1 28 16,-3-2-35-16,5-2 2 0,-2-1-3 0,0-1-10 16,-1-2 10-16,0-2 1 0,1-1-8 0,-2 0 17 15,1-3 3-15,-1 0 11 0,1-3 4 16,-2 0 6-16,0-1 7 0,-4 1-5 15,1-1 29-15,0 0 55 0,-2-3-14 0,-2 3 1 16,2-1-14-16,-3-2-13 0,-2 3-6 16,0-1 3-16,2-2-15 0,-2 5 15 15,0-1-20-15,0-2-3 0,-3 3-13 0,3 0 3 0,0 2-43 16,0 0-24-16,0 2 3 0,0-1-16 16,0 3-25-16,2 0 8 0,3 1-26 0,0 0-38 15,0 0-34-15,-13 5-64 0,11-2-53 0,2 1-113 16,-3-2-67-16,6 1-450 0,2 1 123 0,2-2 43 15,-2 1 108-15,3-1 110 16</inkml:trace>
  <inkml:trace contextRef="#ctx0" brushRef="#br0" timeOffset="-124165.34">5970 11569 1008 0,'-8'4'348'0,"0"-2"44"0,-2 3-34 16,-2 0-30-16,1-2-16 0,1 3-38 16,2-1-23-16,0-1-31 0,0 0-8 0,1 1-30 15,2 1-10-15,0-1-29 0,2 1-5 16,3 0-5-16,0 0-28 0,3-1 0 0,-3 2-5 16,5 0-18-16,0-2-3 0,0 2 1 15,3-4-29-15,-3 4 10 0,5-2-22 0,-2 1 35 0,2-1-38 16,-2 1 2-16,0-2-7 0,-3 0 5 15,2 2-6-15,1-3 24 0,-3 1-15 16,-2 1-19-16,2-1 11 0,-3 0 5 0,-2 0 4 16,0 2 12-16,-2-1-9 0,-3 1-10 0,0 0-7 15,-3 2 2-15,0-1-2 0,-2 0-1 16,-3 3-7-16,0-1-5 0,1-2-26 0,-1-1-12 16,2 2-21-16,1-1-16 0,0-2-27 0,-2 0-16 31,4 0-54-31,0 0-66 0,3-3-177 0,2 3-507 0,-2-4 67 0,3 2 90 0,2-3 55 15,0 0 88-15,0 0 28 0</inkml:trace>
  <inkml:trace contextRef="#ctx0" brushRef="#br0" timeOffset="-122452.72">6108 11694 1174 0,'-10'10'415'0,"-1"-2"-36"0,4 1-31 16,-1 0-28-16,3-1-44 0,0 2-22 0,0-3-8 15,2 2-49-15,1 1-16 16,-1-3-9-16,3 4-26 0,0-3-11 0,3 1-9 16,-1-2-34-16,4 1-2 0,-3-2-29 15,4 0-10-15,0-3-17 0,1 1-6 0,2 0-10 16,-2-3 2-16,2 0-5 0,-1-2-17 0,1-1 12 15,2-1-10-15,1-3 5 0,-3 1 11 0,0-3-14 16,0 0 3-16,1-2 11 0,-1-2-14 16,-2-1 14-16,0 0 7 0,0 0 2 0,-4-4 11 15,2 3 0-15,-2-1-69 0,2-1 17 0,-4 3 6 16,1-2 87-16,-1 2-13 0,2 1-3 16,-2 0 21-16,-2 2-8 0,0-1-10 15,0 2 21-15,0-1-8 0,0 3-34 0,0 1 8 0,0-1-15 16,0 1 15-16,0 2-20 0,0 0 18 15,0-1-1-15,0 5-14 0,-3-5-1 16,3 5 0-16,0 0-18 0,0 0 9 16,0 0-12-16,0 0 6 0,-10 12-2 0,7-6 2 0,1 3 12 15,1 0-2-15,-1 1-2 0,2 0 2 16,-2 2-12-16,-1-1 9 0,1 1-2 0,1 0 0 16,-1 1-18-16,2-3-2 0,-2 0 2 15,2 3-2-15,-3-2 7 0,3-3-3 0,0 3 4 16,0-3-11-16,-1 2 18 0,1-2-6 0,0 0 1 15,0 0 0-15,0-1-10 0,0 0 2 16,0-2-3-16,0 2-4 0,0-2 4 0,0-1 32 16,-2 2-27-16,2-1 3 0,0-3-12 0,0-2 7 15,0 9 3 1,0-7-3-16,0-2 10 0,0 6-25 0,0-6 15 0,0 5 5 0,0-5-10 16,0 0 5-16,0 0-10 0,0 2 10 15,0-2 29-15,0 0-29 0,0 0 18 0,0 0-13 16,0 0 0-16,0 0 18 0,0 0-20 15,0 0 13-15,0 0-11 0,0 0-10 0,0 0-5 0,8-9 0 16,-6 5 0-16,1 2-6 0,0-3 14 16,1 1 5-16,-1 2 2 0,0-3-13 0,-1 4 1 15,1-2 9-15,2 0-27 0,-5 3 28 16,5-3-24-16,0 1 16 0,-5 2 13 16,8 0-21-16,-8 0-10 0,11 3-2 0,-7-2 17 15,2 1 1-15,-2 0-3 0,2 0 5 0,-1 0 2 16,0 1-7-16,0-1 10 0,1-1-2 0,-2 2-6 15,-1-1-4-15,4 0-14 0,-4-1 11 16,2 2-8-16,-5-3 5 0,5 1-10 0,-5-1-5 16,6 1-3-16,-6-1 18 0,0 0-33 15,10-1 18-15,-10 1-3 0,5-5 3 0,-2 3 23 0,1 1-5 16,-4 1-3-16,4-4 5 0,-4 4-12 16,4-2-6-16,-4 2 8 0,6-1-2 15,-6 1-11-15,0 0 21 0,10 4-5 0,-8 0 4 0,3 1-9 16,1-2 10-16,-2 2 5 0,2 1-11 15,-1 1 34-15,0-3-15 0,3 0-11 16,-3 0 16-16,1 0-19 0,1-1 1 0,0 0 18 16,-1-2-21-16,-1-1 8 0,2 0 0 0,-7 0-5 15,11-4 15-15,-4 1-13 0,-2-1 13 16,1 0 5-16,-4 1-10 0,0-2 3 0,2-2-3 16,-4 1 0-16,2 0-3 0,-2 1-4 0,-2-2 9 15,2 1 16-15,-4 0-8 0,2 0-7 0,0 3 12 16,-1-2-15-1,0 0-7-15,1 3 9 0,-1-1-7 0,-2 1 5 0,5 2-15 0,-5-1 22 16,5 1-14-16,0 0 2 16,-8 5 17-16,8-5-19 0,-5 5-3 0,2-1 12 15,3 1-7-15,-2-1-5 0,2 0 5 0,0 1 10 16,2 0-13-16,-2-2 3 0,1 1 7 0,1 1-9 16,1-2-3-16,0 2 12 0,2-3-12 0,-2 1 2 15,4-1 16-15,-2 0-21 0,0 0-7 16,2-2 17-16,1 0-28 0,-8 0-2 0,16-4-8 15,-9 2 5-15,1-3-5 0,2-1-10 0,-2 1 10 16,2-2 8-16,-2 1 0 16,0-1 15-16,-3 1-5 0,1 0 10 0,0-1 0 15,-2 1-20-15,0 0 7 0,-1 0 3 0,0 1 8 16,-1 1 10-16,0 0-8 0,-2-1-5 0,0 2 3 16,0 3 2-16,1-5 18 0,-1 5-18 0,0 0 13 15,0 0 8-15,0 0-18 0,0 0-1 16,0 0 14-16,0 0-8 0,0 0 5 0,-11 8 10 15,9-3-10-15,2 1 0 0,-2-1-13 16,2 0 8-16,-3 2 10 0,2 0-18 0,2-1 13 16,-1 1-2-16,3-2 4 0,-1 1 11 0,-2 1-8 15,3-4-7-15,2 3 4 0,-1-2-9 0,2-3-21 16,-1 0 17-16,3 1-12 16,-1-4 3-16,1 2 4 0,0-2 9 0,2-2-6 0,0-2 3 15,0-1-6-15,0 1 6 0,-1-1-8 0,0-3 18 16,0-1-20-16,-1-2 15 0,-1-1 22 31,0-1-22-31,-1-3 0 0,-1 2 3 0,0-2 4 0,-1 0-9 0,0-1-1 0,0 0 10 16,-1 2 9-16,0 2 9 0,-1 0 8 15,-2 2 18-15,1 4-10 0,1-1 10 0,0 2-28 16,-2 1 23-16,0 2-10 0,0 1-3 0,0 4 10 16,0 0 3-16,0 0-10 0,0 0 13 15,0 0-24-15,-5 16 24 0,5-7-11 0,-2 3-23 0,-1 0 29 16,1 1-19-16,1 5-7 15,1-5 0-15,-2 6 7 0,2-4-10 0,0 0 26 0,2-1-26 16,-2 0-10-16,0 0 8 0,3-5 2 0,0 4-2 16,-1-3-11-16,-1-3 14 15,1 0-11-15,3-1 7 0,-2-1 11 16,-1-3-15-16,3-2-6 0,-5 0 11 0,8 0-5 0,-8 0-1 16,13-1 13-16,-6 0-17 0,4 0-8 0,-4-1 2 15,3 2 21-15,-1 0 7 0,0 0 11 16,2 4 18-16,-3-3 12 0,0 2-15 0,-1 0 8 15,1 1-16-15,-1 0-7 0,-2 1-62 16,1 1-7-16,-1 0 5 0,-2-1 20 0,1 2-10 16,-1-1 10-16,-3 0-10 0,-3 0-5 15,1 1-41-15,-1-2-39 0,-2 1-43 0,0 0-90 0,-3 1-278 16,1-1-451-16,2-1 84 0,-1-1 70 0,1 0 94 16,0-3 143-16,0 0 8 15</inkml:trace>
  <inkml:trace contextRef="#ctx0" brushRef="#br0" timeOffset="-122311.22">7136 11769 967 0,'0'0'364'0,"3"-5"-34"0,-3 5-59 0,5-3-43 16,-5 3-62-16,2-1-53 0,-2 1-105 0,0 0-182 15,0 0-528-15,0 0 44 0,0 0 121 16</inkml:trace>
  <inkml:trace contextRef="#ctx0" brushRef="#br0" timeOffset="-122039.46">5960 12179 1451 0,'17'-6'445'0,"2"2"-25"0,1 1-41 0,1 0-31 0,4 0-59 16,4 0-23-16,14-1-7 0,3 0-54 0,2-2-100 16,1 2-36-16,0-1-15 0,2 1-26 0,-2-1-51 15,0 0-8-15,-2 0-33 16,-10 3-44-16,-6-1-48 15,0-1-125-15,-6 4 22 0,-6 0-516 0,-1 0 30 0,-3 0 82 0,-2 3 59 16,-3-1 35-16</inkml:trace>
  <inkml:trace contextRef="#ctx0" brushRef="#br0" timeOffset="-121821.78">6039 12362 1205 0,'0'0'422'0,"0"0"-40"0,0 0-14 16,0 0-30-16,13 3-43 0,-13-3-21 0,18 0-24 15,-5-1-14-15,5-1-39 0,2 0 64 16,6-3-28-16,4 0-49 0,14 0-51 0,-3-3-58 0,1 0-19 16,0-2-61-16,-1 1-67 0,0-2-115 15,1 3-250-15,-4-1-470 0,3-1 81 16,-5-1 99-16,-5 2 48 0,5-1 98 0</inkml:trace>
  <inkml:trace contextRef="#ctx0" brushRef="#br0" timeOffset="-121469.36">7608 11724 1044 0,'0'0'394'0,"0"0"-46"0,0 0-23 16,18-3-38-16,-8 1 56 0,0 2-59 0,3 0-15 0,3-1-39 15,-1 1-40-15,8-2-42 0,-2 1-33 16,0-2-46-16,1 3-51 0,2-2-61 16,-4 1-167-16,-2 0-136 0,0-1-483 0,-2 4 76 0,-4-2 80 15,0 1 46-15,-4 0 97 0</inkml:trace>
  <inkml:trace contextRef="#ctx0" brushRef="#br0" timeOffset="-121267.92">7677 11843 1356 0,'-4'0'361'0,"4"0"-21"0,-1 4-32 16,1-4-19-16,0 0-38 15,0 0 53-15,13 2-53 0,-5-2-31 0,4 0-35 16,1-2-55-16,3-1-33 0,4 0-35 0,-1-2-72 15,3 1-162-15,-1 2-184 0,2-5-478 0,2-1 43 16,-6 3 159-16,-1-2 7 0,-3-2 49 16</inkml:trace>
  <inkml:trace contextRef="#ctx0" brushRef="#br0" timeOffset="-121007.85">7883 11603 1121 0,'0'-3'481'0,"0"3"-51"16,0 0-49-16,0 0-7 0,0 0-31 15,23 5-41-15,-13 0-13 0,0-1-33 0,3 1 3 16,2 2-21-16,1 2-31 0,-1-1-2 0,-2-1-8 16,2 4-38-16,-2-3-13 0,0 3 2 15,0-2 3-15,-6 1-25 0,1 1-1 0,-3 0-18 16,-4 2-17-16,-2 1-3 0,-4 2-15 0,-5 3-34 15,-5 8-28-15,-6-2-40 0,3-1-75 0,-5 2-57 16,0-2-114-16,0 0-520 0,2-1-187 16,3-4 110-16,0-1 128 0,3-4 59 0,-1 1 77 15,6-3 23-15</inkml:trace>
  <inkml:trace contextRef="#ctx0" brushRef="#br0" timeOffset="-114665.14">9411 11612 982 0,'0'0'372'16,"0"-5"-24"-16,0 5-18 15,0 0-26-15,0 0-30 0,0-7-23 0,0 7-26 16,0 0-25-16,0 0-8 0,0 0-18 0,0 0-10 16,0 0-23-16,0 14-8 0,0-9-18 15,-3 5 13-15,1-2-23 0,1 2-8 0,-1 3-25 16,-1-1 2-16,1 2 0 0,1-1-7 0,-1 0-18 16,0 0 15-16,-1 2-34 0,0-2-17 0,1-1 8 15,2-1-37-15,-2 0-22 0,2-2-3 16,-3 0-49-16,3-2-25 0,0 0-49 15,2-1-53-15,-2-1-57 0,0 0-82 0,1-3-489 16,1 2 65-16,0-1 114 0,-2-3 18 16,6 4 96-16</inkml:trace>
  <inkml:trace contextRef="#ctx0" brushRef="#br0" timeOffset="-114109.52">9575 11605 1131 0,'0'0'343'0,"0"0"-31"16,-10 7-15-16,9-1-44 0,-1-1-9 0,2 1-32 16,-3 1-20-16,3 0-8 0,0 3-27 15,0 0-27-15,0 0 8 0,0-1-15 0,3 2-18 16,-1 0-13-16,1 0-7 0,-3-1-16 0,5 0-10 16,-2 0-3-16,-1 0-12 15,4-4-1-15,-2 2-10 0,-1-3-7 0,2 1 2 16,0-1-2-16,0-3-3 0,1 2 2 0,-1-3-9 15,2-1 7-15,-7 0-10 0,11-2 2 0,-6-1 10 16,0 0-1-16,0 0-14 0,-2-2 28 16,1 1-17-16,-3-2 4 0,1 1 21 0,1-1-23 15,-3 1 16-15,0-1-11 0,0 0-84 0,0-1 15 16,-3 1 20-16,1 0-2 16,1 2 8-16,-3-2 4 0,1 0 4 0,-2 1-19 0,-1 0 19 15,2 1 7-15,-2 0-6 0,2-1-4 16,-2 2-8-16,1 0 3 0,0 2 7 0,-3-3-5 15,5 3 6-15,-4-1-24 0,7 2-18 0,-8 0-4 16,8 0-19-16,-9 1-23 0,9-1-28 0,-6 2-22 16,6-2-27-16,-3 3-43 15,3-3-28-15,0 0-21 0,1 3-238 0,-1-3-176 16,7 5 0-16,-7-5 110 0,8 0 38 0</inkml:trace>
  <inkml:trace contextRef="#ctx0" brushRef="#br0" timeOffset="-113770.49">9728 11667 806 0,'0'7'340'0,"0"-1"-33"0,-2 3-30 0,2 0-19 0,2-1-27 16,-2 3-34-16,3-3-10 0,-3 3-21 0,3-3-20 15,1 3-13-15,0-4-7 0,3 3-22 16,0-3-9-16,2 0-5 0,1-3-16 0,0-1-2 15,2-2-11-15,-3 1 8 0,3-4-15 0,1 1 10 16,0-2 5-16,-1-1 5 16,-1-2 13-16,4 2 26 0,-7-3-13 0,2 0-8 0,-2 0 13 15,-1 1 25-15,-4-1-27 0,0 1 4 16,-3 0-79-16,-3-2-4 0,1 2 22 0,-1 0-34 0,-4 0 24 16,1 1-20-16,-1-1 1 15,-1 2-19-15,-2-1 12 0,2 1 0 0,-3 2 1 0,4-1-6 16,-4 2 61-16,1-1-20 0,0 2 0 0,0 0-66 15,0 1-41-15,2 0-26 16,1 3-123-16,-1-2-197 0,2 4-517 0,1-2 81 16,3 2 101-16,-1-3 72 0,3 2 32 0,0-1 67 15</inkml:trace>
  <inkml:trace contextRef="#ctx0" brushRef="#br0" timeOffset="-113321.49">10446 11520 1274 0,'0'0'341'0,"0"0"-19"0,0 0 39 16,-12 15-36-16,9-6-38 0,3 0-29 15,-3 3-20-15,1 2-23 0,2 0-15 0,-3 0-16 16,1 5-38-16,-1-1-18 0,0 1-25 16,1-2-32-16,0 2-37 0,2-3-27 15,-3-1-48-15,3 0-76 0,-1 0-129 0,-3-2-176 16,6-1-418-16,-2-1 98 0,0-3 30 0,0 0 103 15,2-3 97-15</inkml:trace>
  <inkml:trace contextRef="#ctx0" brushRef="#br0" timeOffset="-113066.75">10375 11553 1085 0,'5'-6'304'16,"0"-2"-14"-16,3 1-32 16,-1-1-15-16,1 2-30 0,5-1-14 0,0 0-19 0,2-1-22 15,0 2-7-15,1-1-30 0,1 3-22 16,1-2-11-16,1 1-58 0,-1-1-40 0,-1 5-49 16,-1-3-48-16,-1 2-139 0,0-3-5 15,-2 5-481-15,-3 2 41 0,1-1 102 0,-4 1 57 16</inkml:trace>
  <inkml:trace contextRef="#ctx0" brushRef="#br0" timeOffset="-112889.18">10375 11673 1149 0,'-6'1'384'0,"1"0"-28"16,5-1-26-16,-5 0-23 0,5 0-26 0,0 0-117 15,0 0 5-15,0 0-8 0,0 0-20 16,16 2-15-16,-16-2-19 0,15-2-10 0,-5 1-7 15,3-1-8-15,0-1-21 0,3 2-40 0,-2-1-19 16,4-1-25-16,-2 1-48 0,-1-3-60 16,3 4-84-16,-3-1-95 0,3-1-114 0,-5 3-321 15,3-1 56-15,-4 1 57 0,-1 1 69 0</inkml:trace>
  <inkml:trace contextRef="#ctx0" brushRef="#br0" timeOffset="-112049.16">10728 11728 967 0,'3'-5'264'0,"-3"0"-24"0,0-2-27 0,0 2-29 0,3-2 0 16,-3 2-17-16,0-2 17 0,0 4-5 0,0-1-23 15,-3-1-7-15,3 5-11 0,-3-6-23 16,3 6 8-16,0 0-26 0,-7 1-17 0,7-1-3 15,-8 7-1-15,3-2 6 0,0 0-15 0,0 2-13 16,2 2-11-16,-2-2 16 0,2 1-26 16,-2 2 18-16,3-2-10 0,-1-2-20 15,1 1 2-15,2-1 8 0,0 0-16 0,0 1 0 16,0-4 1-16,2 2-1 0,-2-2-7 0,3-1 4 16,-3-2-4-16,5 2 2 0,-5-2 8 0,0 0-7 15,12-3 12-15,-6 2-21 0,-1-4 1 16,2 2 38-1,-1 0-11-15,-1-3-19 0,3 3 9 0,-4-1-20 0,4-1 0 0,-2 2 10 0,-1-2 3 16,2 1-15-16,-2 2-11 0,1 1 26 16,1-3 2-16,-4 4-10 15,-3 0-2-15,10-1 15 0,-10 1-3 0,10 1-7 0,-7 3 12 16,2-2-12-16,-3-1-3 0,4 3 5 16,-4-1-10-16,1 1 3 0,-1 2-1 0,1-4 3 15,0 2-5-15,-1 1 5 0,0-2 6 0,2 2-1 16,-2 0-13-16,-2-3 1 0,2 2 17 15,1-2-15-15,-3 3 0 0,0-5 33 0,3 4-35 16,-3-4 10-16,2 3 4 0,-2-3-7 0,0 0 13 16,5 1-15-16,-5-1 10 0,0 0 76 15,0 0-20-15,0 0-2 0,8-4-3 0,-8 4 8 16,5-5-16-16,-2 1 0 0,-1 2-15 16,3-2-13-16,-2 1 3 0,-1-1-5 15,4 1-6-15,-2 0 11 0,-1-3-8 0,2 5-3 16,-2-3 21-16,2 2-25 0,-3-1-1 15,-2 3 11-15,8-3-6 0,-5 2 3 0,-3 1-54 0,10 0 21 16,-10 0 8-16,0 0 22 0,10 1-25 16,-4 0 15-16,-6-1 18 15,5 0-17-15,-5 0 73 0,7 3 3 0,-7-3 3 0,5 2-19 0,-5-2 24 16,0 0-23-16,6 2-6 0,-6-2 16 16,0 0-13-16,5 0-28 0,-5 0-61 0,0 0 40 15,0 0-9-15,0 0 14 0,5 2 14 0,-5-2 4 16,0 0-30-16,0 0 28 0,0 0-8 15,0 0 0-15,8 0-15 0,-8 0 3 16,0 0 7-16,5-2-13 0,-5 2-10 0,0 0 13 16,7-2-13-16,-7 2 88 0,8 0-17 0,-8 0 1 15,10 2-8-15,-10-2-15 0,10 0-28 0,-7 2-6 16,3-1-51-16,-6-1 3 0,10 1-56 16,-6 0-11-16,-1-1-28 0,4 3-33 0,-7-3 5 15,9 3-49-15,-4-2-27 0,0-1-160 16,0 2 1-16,-2-1-162 0,7-1-404 0,-5 0 120 0,3 1 43 15,0-1 131-15,1 0 52 0,0 0 68 16</inkml:trace>
  <inkml:trace contextRef="#ctx0" brushRef="#br0" timeOffset="-111444.33">11274 11731 785 0,'-7'0'338'0,"4"4"51"0,3-4-43 0,-8 3-26 0,4-3-18 16,-2 4-44-16,4-2-35 16,-1 1-5-16,-2-1-19 0,3 1-22 0,2-3-24 0,-3 5-22 15,0-1-26-15,3-4-5 0,0 4-13 0,0-4-5 16,0 4-18 0,0-4-11-16,5 5 4 0,-5-5-21 0,5 4-18 0,-2-3-6 0,-3-1 1 15,7 0-3-15,-7 0 8 0,11 0-18 16,-11 0 3-16,10-1 10 0,-2-1-21 15,-2-2 23-15,1 0-10 0,0 0 6 0,-1 0 9 16,2-1 13-16,-1-1 3 0,1-3 39 0,0 0-22 16,-1-1 16-16,0-1 13 0,1-1-77 15,-2 0 8-15,-1-4 26 16,2 1-6-16,-4-3-8 0,2 0 32 0,-2 2 12 0,2-1-10 0,-2 0-11 16,-1 2 11-16,0 2 74 0,-2 2 13 15,3-1 16-15,0 3-4 0,-3 0-25 0,2 2 0 16,0 1-15-16,-2 0-26 0,0 4 3 0,0 2-3 15,0 0-23-15,0 0-43 16,0 0-21-16,0 0 0 0,-4 13 13 0,1-7-5 16,3 2 10-16,-3 2-23 0,1-2 10 0,2 3 11 15,-2-2-14-15,2 1 4 0,0 1-6 0,0-1-5 16,2 0-26-16,-2-1 11 0,2-1-24 0,1 2-20 16,0-4 6-16,1 0-1 0,0 1 16 15,0-5-26-15,2 0 30 0,-3 0 9 0,-3-2 9 16,12-2-17-16,-7 0 5 0,2 0 0 15,-1-1 0-15,-1 1 15 0,0 0-13 0,0 1 13 0,1 0 8 16,-6 1 3-16,12 2-6 16,-6 0-12-16,1 0 17 0,0 1 6 0,1 1-9 15,0 1-4-15,2-1-23 0,-2 1-8 0,0 0-33 16,2-3-26-16,-2 3-41 0,0-1-36 0,0-1 3 16,-1-1-28-16,-2 1-61 0,3-2-142 15,-3 0-537-15,2 1 100 0,-6-1 69 0,-1-1 120 16,5 2 26-16,-5-2 90 0</inkml:trace>
  <inkml:trace contextRef="#ctx0" brushRef="#br0" timeOffset="-110900.55">9482 12496 1187 0,'-2'-2'371'0,"2"2"-35"0,0 0 45 0,0 0-28 0,-3 13-38 16,1-5-26-16,2 1-17 0,0 1-60 0,-2 3-15 15,1 1-23-15,1 0-7 0,-3 2-24 16,3 0-23-16,-2-1-28 0,0 3-40 0,1-3-6 15,-1-1-49-15,2 1-22 0,0-3-52 16,0-2-59-16,0 1-87 0,2-3-86 0,1 1-515 16,-1-4 30-16,2-1 88 0,0-3 48 15,-4-1 56-15</inkml:trace>
  <inkml:trace contextRef="#ctx0" brushRef="#br0" timeOffset="-110368.98">9583 12605 842 0,'0'0'320'0,"0"0"-62"0,0 0-12 16,0 0-16-16,-3 16 49 0,5-10-25 0,-1-2-4 16,-1 6-32-16,2-2-21 0,0 1-13 15,4 1-27-15,-2-3-9 0,2 2-12 0,-1-1-26 16,3-1 5-16,-1 0 3 0,1-2-21 16,-1-3 10-16,1 1-19 0,0-2-4 0,0-1 3 15,-8 0 0-15,13-3 5 0,-8 1-59 16,0-1 8-16,0-2-20 0,-2-1 7 0,-1 0-2 0,1-1 4 15,-1 1-4-15,1 0-8 0,-3-1 13 16,0 1-26-16,0 1 20 0,-3-1-9 16,3 2-21-16,-3-1 7 0,1 1-2 0,2-1-25 15,-2 2-11-15,2 3-13 0,-3-6-12 0,3 6 4 16,-3-4-4-16,3 4-26 0,0 0-13 16,0 0-20-16,0 0-39 0,0 0-15 0,0 0-23 15,0 0-3-15,0 0 16 0,13 8 2 16,-8-5 11-16,1 2 55 0,-2-1-9 0,2 0 30 15,-1 3 24-15,0-1 12 0,2 0 54 16,-1 1 7-16,-1-1 1 0,0 0 10 0,3 1-1 0,-3-2 27 16,0 1 9-16,3-1 11 0,-1-2 23 15,1 2-2-15,0-3 32 0,2-1-9 0,0-1 7 16,-2-2 5-16,3 1 5 0,-1-4 6 16,0 2 9-16,0-3 1 0,0 1-8 0,-5 0 20 15,1-2 8-15,-2 1-2 0,-1 0-11 0,-3 0 78 16,0-1-24-16,-3 2-21 0,-1 0 16 15,-4 0-13-15,0 1-40 0,-2 2 4 0,-1-1-38 16,1 1-44-16,-2 3-32 0,-1-2-53 16,3 3-50-16,-4-2-38 0,4 5-57 0,0-2-202 15,5 3-646-15,-3-2 173 0,3 2 7 0,2 0 102 16,1-2 95-16,4 0 46 0,-1 2 44 0</inkml:trace>
  <inkml:trace contextRef="#ctx0" brushRef="#br0" timeOffset="-109676.36">10311 12580 1128 0,'0'5'382'0,"-3"0"-39"0,2 3-51 15,1-1-6-15,-2 1-45 0,2 1-21 16,0 0-10-16,-2 1-31 0,2-2-20 0,0-2-18 15,0 3-11-15,0-4-10 0,0 1 8 0,0 0-25 16,0 0-19-16,2-2-12 0,-2-1 12 16,3 0-22-1,-3-3-3-15,5 3 10 0,-5-3-33 0,0 0 10 0,0 0 7 0,13-6-4 16,-8 3-3-16,0-2 0 0,1-1-13 0,1 1-4 16,-2-1 27-16,3 2-23 0,-3-1 3 0,3 0 23 15,-1 0-23-15,-2 3 7 0,1 0 3 16,1 1-5-16,-2 0-15 0,3 1 33 15,-8 0-31-15,11 2 0 0,-4 0 28 0,-2 0-27 16,1 1-4-16,-2-1 19 0,2 2-6 16,-4-2 0-16,3 2 3 0,0-1-5 0,-2-2-5 0,-1 2-64 15,-2-3 20-15,6 3 10 0,-4 0 24 0,-2-3 33 16,5 3-3-16,-5-3 64 16,5 1 3-16,-5-1-8 0,0 0 15 0,0 0-48 15,0 0 30 1,0 0-7-16,3-10-20 0,-3 7-14 0,0-1 6 0,0 4-21 0,3-5 3 0,-1 0 0 15,0 3-6-15,1-1-7 0,0 1 0 16,2 0-28-16,0 0 18 0,0 0-16 16,1 2 3-16,-6 0-3 0,12 0-17 0,-4 0-29 0,2 3-13 15,-2-2-12-15,-1 0-13 16,1 1-49-16,0-1-15 0,0 1-15 0,-1 1-21 0,1-1-49 16,-1 1-102-16,1-1-97 0,0 1-300 0,3-2-243 15,-1 1 111-15,-3-2 73 16,3 1 98-16,1-2 86 0,-1-1 81 0</inkml:trace>
  <inkml:trace contextRef="#ctx0" brushRef="#br0" timeOffset="-109069.98">10859 12590 1105 0,'-7'0'441'0,"7"0"-32"16,-10 3-38-16,4-2-28 0,1 3-43 0,0-2-24 15,0 2-22-15,-1-1-32 0,2 1 4 16,0 0-42-16,0 0-18 0,1 0-15 0,0 0-20 16,1-1-8-16,0 1-18 0,2-4-13 15,0 5 2-15,0-5-14 0,2 3-14 0,-2-3-14 16,0 0-14-16,8 0 26 0,-8 0-28 16,0 0-13-16,12-6 0 0,-6 6 10 0,-3-2-2 15,4-1-11-15,-7 3 8 0,7-1-17 16,-1 0 2-16,-6 1 2 0,10 0 5 0,-10 0-15 15,10 0 1-15,-10 0 29 0,11 0-29 0,-6 0-1 16,2-2 10-16,-1 0-20 0,-1-1 2 16,2-1 21-16,1-1-15 15,0 0-1-15,-1-3 19 0,1 1-11 0,0-2 11 0,2-1 12 0,-5 0-82 16,5-2 6-16,-4-2 30 0,1-1-2 16,-4 2 4-16,2-3 4 0,0 1 19 15,0 1-17-15,-2 1 13 0,-1 1 2 0,0 2 26 0,-1 1 0 16,-1 0 77-16,3 3-24 0,-3 0 1 15,0 3 4-15,0 3-1 0,0 0 6 16,0 0-19-16,0 0-9 0,-4 14-7 0,2-6 0 16,0 0-7-16,-1 1-27 0,3 3 4 0,-3 1 12 15,3 0-8-15,1-1-10 0,-1 1 8 0,2-2-51 16,1 1 25-16,-1-1-15 16,1 0-26-16,2-1-20 0,0-2-3 0,0-1 3 0,0-2 5 15,3-1 5-15,-2-2 3 0,-2 1-1 0,2-3 26 16,1 0-7-16,-7 0 17 0,10-1-9 15,-4-1 14-15,-6 2-12 0,8 0 53 0,-8 0-17 16,7 0-13-16,-7 0 0 0,10 0 2 0,-7 4-5 16,1-1-10-16,0 0 28 0,0 1-12 15,-1 2-1-15,3 0-7 0,1 0-13 16,-2 0-31-16,1-1-15 0,0 1-31 0,2-4-57 16,0 3-37-16,0-2-49 0,3-1-149 0,1 1-281 15,4-5-321-15,-1 1 142 0,0-3 25 0,0-2 192 16,3 2-15-16,-2-2 66 15</inkml:trace>
  <inkml:trace contextRef="#ctx0" brushRef="#br0" timeOffset="-108583.64">12456 11455 1126 0,'8'0'348'0,"-8"0"-33"0,10 0-34 15,-10 0-25-15,16 0-38 0,-9 2-34 16,1 2-69-16,2-1-66 0,-2 1-113 0,2-3-113 16,-2 4-138-16,-1 0-388 0,-1-1 47 0,-1 0 126 15</inkml:trace>
  <inkml:trace contextRef="#ctx0" brushRef="#br0" timeOffset="-108435.09">12467 11621 1016 0,'0'0'394'0,"-5"3"-18"0,5-3-12 16,-3 2-52-16,3-2-36 0,0 0-9 16,0 0-40-16,0 0-32 0,18 0-41 0,-10-2-14 15,2 1-53-15,2-3-51 0,2 3-69 0,-1-3-93 16,1 2-150-16,2-3-538 0,-1 3 82 15,-1-3 89-15,0 2 57 0,0-2 74 0</inkml:trace>
  <inkml:trace contextRef="#ctx0" brushRef="#br0" timeOffset="-108159.66">12656 11410 908 0,'0'0'346'0,"0"0"-54"16,0 0-11-16,8 13-25 0,-3-6 67 0,3 0-47 16,0 3-15-16,2 0-30 0,-2 2-6 15,2 0-28-15,-2 1-18 0,2-1-18 0,-3 2-12 16,-1 0-8-16,2-1-11 0,-6-1-15 16,3 0-10-16,-2 1-10 0,-3-2-16 0,0 1-17 0,-3 2-21 15,0-1-31-15,-2 2-28 0,-5 1-26 16,3 4-71-16,-2 0-123 0,-3 0-220 15,-1 10-397-15,-2 0 59 0,-3-2 115 0,5 2 54 16,-5-1 54-16,0 2 120 0</inkml:trace>
  <inkml:trace contextRef="#ctx0" brushRef="#br0" timeOffset="-107917.39">12297 12463 1443 0,'0'0'440'0,"0"0"-40"16,0 0-47-16,10-4-100 0,-10 4-32 0,11 0-17 15,-1 1-25-15,-2-1-38 0,4 1-8 0,-1-1-46 16,2 2-10-16,2 0-49 0,1-1-46 15,-1 0-79-15,0 3-166 0,-4-1-111 0,4 1-427 16,-5-1 117-16,-2 2 67 0,-2-1 41 0,1 2 59 16</inkml:trace>
  <inkml:trace contextRef="#ctx0" brushRef="#br0" timeOffset="-107720.73">12310 12631 1003 0,'0'0'409'0,"-3"3"-22"0,3-3-31 16,0 0 33-16,0 0-36 0,0 0-38 0,0 0-23 16,0 0-29-16,19-7-22 15,-11 3-41-15,4-1-34 0,4-1-25 0,-1-1-57 0,1 0-43 0,1-1-41 16,1 0-43-16,-2-1-106 0,-1 0-158 16,0 0-533-16,-2 0 21 0,-3 1 92 0,0-1 59 15,-2-1 113-15,0 2 40 0</inkml:trace>
  <inkml:trace contextRef="#ctx0" brushRef="#br0" timeOffset="-107458.9">12556 12312 1013 0,'3'3'512'0,"2"0"-18"0,-2 3-110 0,4 1-15 0,2 0-60 16,0 2-12-16,-1-1-15 0,2 5-36 15,3-2-16-15,-3 1-28 0,-2 1-2 0,3 0-6 16,-4 0-22-16,-2 1-29 0,0 0-17 0,-2 0-11 16,-3 0-28-16,-3 5-21 0,-2-2-37 0,-3 3-14 15,0-1-36-15,-2 0-40 0,-2 0-31 16,-1 1-64-16,0-1-123 0,0-2-231 16,3-3-421-16,-3 3 137 0,3-6 44 0,-3-2 103 15,5-1 35-15,0-1 51 0</inkml:trace>
  <inkml:trace contextRef="#ctx0" brushRef="#br0" timeOffset="-106014.96">12618 11285 870 0,'3'-4'312'0,"-3"4"-20"0,0 0-44 15,4 10-17-15,-3-4-22 0,4-1-14 0,-2 3-21 16,1 1-20-16,2 1-8 0,-2-2-13 0,4 5-13 16,0 0-15-16,0 1-8 0,2 0 11 15,-2 1-44-15,-1-2 74 0,3 2-2 16,-2 0-24-16,2-2-12 0,-2 3-5 0,3-2-3 0,-4-2-26 15,1 1 16-15,-1 0-25 0,-1-3 1 16,-1 1 1-16,0-1-28 0,0-2 2 16,-2 2-2-16,0-2 5 0,-3-1-5 0,2-1-3 0,0 3 5 15,-2-3-18-15,0 1 21 16,0 0-8-16,0-2-12 0,-2 1-1 0,0 0 3 16,1 2 0-16,-4-1 13 0,2 0-42 0,-2-1 29 15,0 2-18-15,0 0 8 0,0 0 7 16,0-2-25-16,0 2-23 0,-1-1-16 0,2 1-45 15,1-1-50-15,-2-3-73 0,2 3-80 0,1-2-39 16,-1 0-455-16,3-1 36 0,-2-1 72 16,1 0 28-16,1-3 71 0</inkml:trace>
  <inkml:trace contextRef="#ctx0" brushRef="#br0" timeOffset="-105597.43">12416 11449 924 0,'0'0'271'0,"2"-5"-23"0,-2 5-20 16,8-2-28-16,-1 1-8 0,-2 0-18 15,3-1-23-15,2 2-5 0,1 0-36 16,-1 2-28-16,3-2-49 0,0 1-64 0,-1 1-48 16,-1-1-113-16,-3-1-54 0,6 3-450 0,-3-1 69 15,2-1 76-15</inkml:trace>
  <inkml:trace contextRef="#ctx0" brushRef="#br0" timeOffset="-105385.3">12421 11600 949 0,'-5'0'405'0,"5"0"-52"15,-6 5-18-15,6-5-33 0,-2 0-15 16,2 0-49-16,0 0 8 0,0 0-44 0,0 0-23 15,17 2-23-15,-9-2-15 0,0 0-28 0,3 0-26 16,1-2-29-16,1 2-40 0,3 0-59 0,-1-3-58 16,3 1-145-16,-3 2-191 0,3-1-376 15,0 0 86-15,-2-3 50 0,1 3 114 0</inkml:trace>
  <inkml:trace contextRef="#ctx0" brushRef="#br0" timeOffset="-98712.91">13574 11388 952 0,'2'13'284'0,"-1"-8"-31"0,-1 1-28 16,0 0-15-16,2 1-28 0,-2-1-13 0,0 4-28 15,0-1 7-15,-2 1-20 0,4-1-59 16,-4 1-7-16,4-2-44 0,-2 2-87 0,0-1-93 16,-2-2-124-16,4 4-434 15,-2-5 127-15,3 1 65 0</inkml:trace>
  <inkml:trace contextRef="#ctx0" brushRef="#br0" timeOffset="-98366.79">13685 11459 880 0,'0'0'248'0,"0"0"-25"0,0 0-8 16,0 0-23-16,-3 13-31 15,5-9-2-15,-1 1-18 0,1 1-16 0,3 0-15 0,-2-1-7 16,2 2-1-16,5-2-30 0,-2 0-6 0,2-1 1 16,0-1-3-16,0-2-5 0,1 0 10 15,-1-1 15-15,0 0 1 0,-2-1 9 0,2-3 16 16,-2 3 70-16,-3-4 7 0,0 2 7 16,-2-3-30-16,0 2-5 0,-3-3 4 0,0 1-22 15,-3 0-33-15,0-1 15 0,-2 1-98 16,0-1 3-16,0 1 0 0,-3-1-2 0,1 1 2 15,1 1-7-15,-1-1-34 0,1 4-23 0,2-2-7 16,0 2-27-16,0 0-19 16,4 2-24-16,0 0-38 0,0 0-72 0,0 0-153 0,-8 4-494 15,8-4 94-15,0 0 70 0,0 0 74 0,13 6 94 16</inkml:trace>
  <inkml:trace contextRef="#ctx0" brushRef="#br0" timeOffset="-97303.92">14174 11348 990 0,'0'0'323'16,"-8"12"-11"-16,6-9-23 0,0 3-28 16,2 2-20-16,-3 2 38 0,0-3-13 15,3 5-23-15,0 0-38 0,0 1-16 0,0-2 6 0,2 2-52 16,2-2-7-16,-2 2-3 0,3-2-28 0,-2-1-5 15,2-1-21-15,2 0-15 16,-2-2 3-16,3-2-6 0,-2 1-5 0,1-3-15 0,0-2 8 16,-1 0-90-16,4-2 8 0,-2-2-8 15,-1 0 13-15,-1-3 15 0,-2 0-15 16,2-3 10-16,-3-1 2 0,2-1-1 0,-3-2 17 16,0-1-8-16,-1-1-7 0,-2 1 12 15,-1 0-7-15,0-2 7 0,-1 4-2 0,0-2 10 16,-1 3-15-16,-2-2 10 0,2 4-3 15,0 2 9-15,0-2-4 0,1 4 8 0,-4 1-12 0,4 1 4 16,-3 2 6-16,6 1 20 16,-8 0-36-16,8 0 14 0,-7 6-4 0,2-1-10 0,3 2 21 15,-1 0 0-15,3 3-5 0,0-2 2 16,0 3-13-16,0 1 6 0,3 1 0 0,-1 0 7 16,3-1-8-16,-2 1 6 0,1 0-11 15,-1-1-7-15,5-1 20 0,0 2-17 0,2-3 12 16,-2 1 10-16,2-1-15 0,0-1-2 0,0-3 9 15,-1 0-7-15,-2-3 13 0,3 1 8 16,-2-3-9-16,0 2-14 0,2-3 2 16,-2-1 2-16,2-1-2 0,-2-1 13 0,2-1-8 0,-3-1-17 15,1 1 19-15,0 0-7 0,-1-2 0 16,-2 1 5-16,1 2-2 0,-1-2 7 16,-3 2 6-16,3 1-1 0,-2-2-2 0,2 1 2 0,-5 3-2 15,3-2 5-15,-3 2-3 0,0 0 0 16,0 0-9-16,0 0 12 0,0 0-8 15,7 9-5-15,-6-6 3 0,-1-3 2 0,0 8-5 16,0-6 0-16,0 3-20 0,2-1 4 0,0-1-6 16,1-1 14-16,-3-2-2 0,7 3 18 15,-3-1-18-15,-4-2 12 16,10 0-22-16,-10 0 10 0,15-4 12 0,-7 1-12 0,0 0-5 16,2-3 0-16,0 1 0 0,0-1-1 0,0 1 9 15,-2-2-11-15,0 1 3 0,-1 2 17 0,1 0-9 16,-3-1 10-16,-2 2-8 0,2 1-3 15,0-1-5-15,-5 3 13 0,5-2-10 0,-5 2 3 0,0 0 27 16,0 0-22-16,6 7 7 16,-6-4-12-16,2 1 12 0,-2-4-13 0,0 7-12 15,2-5 17-15,-2-2-4 0,3 7-8 0,-3-3 7 16,3-2 6-16,-1 2-19 0,-2-4 3 0,8 5 13 16,-6-4-10-16,-2-1-13 15,8 3 18-15,-5-3-10 0,-3 0 10 0,7 4-3 0,-4-3-2 16,-3-1 5-16,5 1-1 0,-5-1-11 15,5 5 14-15,-5-5 11 0,6 0-21 0,-6 0-5 16,4 1 15-16,-4-1-12 0,3 5 10 0,-3-5 0 16,5 0-18-16,-5 0 0 0,0 0-3 15,5 2 1-15,-5-2 9 0,5 2 1 16,-5-2-6-16,0 0 6 0,5 3 10 0,-5-3-3 16,0 0-5-16,0 0 3 0,8-1 8 0,-8 1-6 15,0 0 3-15,8 1 0 0,-8-1 12 0,0 0-17 16,10 0 10-16,-10 0-5 0,5 0-3 15,-5 0 6 1,8 0-3-16,-8 0 2 0,8 0 0 0,-8 0 16 0,5 2-13 0,-2 0 18 0,-1 1-8 16,0 0-4-16,1-1 4 0,0 2-3 15,-1-1-4-15,0 0 20 0,2 0-2 0,-4 1-14 16,2-1 3-16,0 1-2 0,-2-4-5 0,3 6 7 16,-3-4 3-16,0-2-18 15,3 6-21-15,-3-6-20 0,0 4-18 0,0-4-18 0,0 3-84 16,0-3-152-16,0 0-145 0,4 1-382 15,-4-1 103-15,0 0 112 16,0 0 57-16,6-7 84 0</inkml:trace>
  <inkml:trace contextRef="#ctx0" brushRef="#br0" timeOffset="-97106.64">14913 11384 954 0,'-6'15'397'0,"6"-8"-36"0,0-1-28 16,-2 1-31-16,2 0-31 0,2 3-25 0,-2-2-88 16,0 1-14-16,3 0-47 0,-3 1 3 0,0-1-34 15,3 2-40-15,-3-3-39 0,2 2-81 16,-4-1-42-16,2-1-125 0,-3 1-226 0,3-1-250 16,-3-1 97-16,1 0 21 0</inkml:trace>
  <inkml:trace contextRef="#ctx0" brushRef="#br0" timeOffset="-96862.91">14848 11588 911 0,'0'0'251'0,"0"0"-34"0,0 0-9 0,3-7-45 16,-3 7 4-16,0 0-42 0,11-3-15 0,-7 0 85 16,2-1-31-16,1 1-8 0,1 0-23 15,0-1-15-15,0-1-8 0,2 3 0 16,-3 1-18-16,4-3-13 0,-4 3-7 0,1 0 17 15,-3 0-19-15,0-1 1 0,-5 2 19 0,13 0-6 16,-8 0-17-16,-5 0 5 0,8 0-26 16,-8 0 20-16,10 0-15 0,-7 2-12 0,-3-2-16 15,0 0-23-15,8 2-72 0,-8-2-171 16,0 0-627-16,2 3 94 16,-2-3 44-16,0 5 100 0,0-5 33 0</inkml:trace>
  <inkml:trace contextRef="#ctx0" brushRef="#br0" timeOffset="-96067.99">13390 12495 1021 0,'0'0'412'0,"0"-6"-46"0,0 6-10 0,0 0-36 16,0 0-28-16,0 0-1 0,0 0 27 0,-8 16-34 15,8-6-10-15,-3-1-41 0,3 4-16 16,0-1-20-16,-2 3-28 0,2 1-7 16,-2-2-22-16,1 1-32 0,-1 2-47 0,-1-2-20 0,3-1-41 15,0 0-15-15,0-2-16 16,0-1-41-16,0 0-15 0,3-5-58 0,0 1-32 0,1-2-46 16,2-3-61-16,1-1-115 0,1-2 25 0,-1-2-30 15,1-2-190-15,2 1 18 0,3-6 115 16,0 1 308-16,-5-4 78 0,5 2 6 15,-6-2 62-15,1 3 24 0,0-1 88 0,-3 1 46 16,2 2 36-16,-4 1 79 0,0 2-35 0,-1 0 9 16,1 3-30-16,-3 2-2 0,0 0 2 15,0 0-21-15,0 0-10 0,0 0-102 0,0 14 18 16,0-8-16-16,0 0-12 0,3 2-16 16,-1 0-8-16,0 0-4 0,-1 0-3 0,4-3 15 15,0 0-8-15,0 1 8 0,0-3 13 0,3 1 98 16,0-3-27-1,-3-1 11-15,2 0-5 0,1-2-69 0,0-1-11 0,-1-2 26 0,1 0 5 16,-3-1 6-16,0-2-1 0,-2 0-15 0,0 2 82 16,-3-3-11-16,2 0-38 0,-4 2-5 15,-1-1-5-15,0-1-15 0,-2 4 0 16,0-2-6-16,0 0-69 0,0 4-45 0,0-2-42 16,-1 2-36-16,1 1-78 0,2 0-203 0,1 1-625 15,2 1 98-15,0 0 86 0,0 0 83 0,0 0 66 16,0 0 59-16</inkml:trace>
  <inkml:trace contextRef="#ctx0" brushRef="#br0" timeOffset="-94841.21">14167 12536 1118 0,'-8'10'335'0,"5"-7"-20"0,3 3-36 0,-2-1-23 0,0 2-28 0,1 1-3 16,-2 1-43-16,3 1-5 0,0 0-24 15,0-1-20-15,0 2 0 0,0-1-33 0,0-2-15 16,4 0-14-16,-2 2-1 0,0-4-9 0,1 1-5 16,2-2-17-16,0-2 2 0,2-1-3 15,-4-1-18-15,-3-1 4 0,14-4-4 0,-7 1-7 16,0-2-11-16,-1-1 9 0,-1-1-11 0,0-3 0 15,-2 0-13-15,-1-1 0 0,1 0 21 16,-1-2-13-16,-2 0 2 0,0 2 3 16,-2-2-5-16,-1 1 7 0,0 0-2 0,1 3-5 15,-1 0 0-15,-2 2 10 0,0 0 0 0,2 1-5 16,-1 1 11-16,-2 3-4 0,2 0 6 16,0 0-3-16,4 2 3 0,-10-2-8 0,10 2 3 15,-7 2 15-15,7-2 15 0,-8 3-27 0,6-1 14 16,-1 2 1-1,3-4-1-15,-3 7-9 0,3-2-1 0,2-1 8 0,-1 2 5 16,2 2-17-16,-1-1 14 0,3 2 1 0,0-2-16 0,0 4 8 16,0 0 2-16,0 0-7 0,1-1-20 15,-1 1 22-15,2 0 8 0,-1-1-23 0,-1-1 5 16,2 0-8-16,-1 0 1 16,-3-2 10-16,4-1-3 0,-2 1 64 0,1-3 3 15,0 1-19-15,-2-2-2 0,1-1 8 0,0-1 5 16,-5-1-23-16,12 1-2 0,-7-2-6 0,-5 1-7 15,11-5 15-15,-4 2-16 0,-1-1 11 0,1 0-5 16,-2-1-8-16,1-1 10 0,-3 1-5 16,4 1 0-16,-4-3-12 0,1 4 30 0,0-2-28 15,0 2 17-15,-2 0 4 0,-1-2-6 0,4 4-2 16,-5 1 7-16,2-4-12 0,-2 4-8 16,6-3 25-16,-6 3-20 0,0 0 11 0,0 0-6 15,0 0-3-15,0 0-14 0,4 8 9 16,-4-8-2-16,0 7 28 0,0-4-18 15,1 1-23-15,-1 0 6 0,2-1 9 0,-2 0-25 16,3 2 0-16,-1-3 28 0,1 1-15 0,-3-3-3 16,8 3-13-16,-3-3-13 0,-5 0 11 0,10-3 8 15,-3-1-6-15,-1 1-2 16,2 0 2-16,-1-3 18 0,-1 1-28 0,1 0 21 0,0 0 2 16,-1 1 5-16,-1 0-15 0,0 0-5 0,-2 1 7 15,2 1-7-15,-2 0 5 0,-3 2-3 16,7-2-4-16,-7 2 1 0,0 0 11 15,0 0-5-15,11 5 23 0,-11-2-26 0,2 0-12 16,-2-3 17-16,5 5-2 0,-5-3 3 16,3 1-3-16,-1 0 2 0,1 0 1 0,-3-3 12 15,7 4 13-15,-4-2-33 0,-3-2 10 0,0 0-3 16,0 0-10-16,15-4 23 0,-12 1-17 0,2 1-11 16,-2-1 28-16,-1 0-18 0,1 1 6 15,2 0 17-15,-3-1-20 0,1 0-3 0,-3 3 19 16,5-4-27-16,-5 4 16 0,3-4 23 0,-3 4-25 15,0 0-8-15,0 0 22 16,0 0-22-16,0 0-5 0,0 0 15 0,0 0-3 0,8 6-17 16,-8-6 9-16,0 0 19 0,0 0-8 15,2 4 10-15,-2-4-10 0,2 2 0 0,-2-2 26 16,0 0-23-16,11 0 7 0,-11 0 3 16,7 1-16-16,-7-1 16 0,10-1 7 0,-10 1-10 15,9 2 3-15,-4-1-2 0,-5-1-6 0,10 1 5 16,-7 1 15-16,1-2-17 0,-1 3 23 15,2 0-11-15,-3-1-12 0,2 1-3 16,0 0-2-16,-1 1 17 0,-3-3-22 0,3 4 25 0,-3-5 5 16,2 5-23-16,-2-1-33 15,0-4-21-15,0 5 3 0,0-5-31 0,0 5-48 0,0-5-77 16,-2 4-180-16,2-4-636 0,0 0 127 0,0 0 143 16,0 0 29-16,0 0 66 0,0 0 108 15,7-16 25-15</inkml:trace>
  <inkml:trace contextRef="#ctx0" brushRef="#br0" timeOffset="-94633.91">14820 12411 1013 0,'3'-2'371'0,"-3"2"6"0,0 0-29 16,0 0-33-16,3 8 48 0,-3-2-23 0,0-1-30 0,2 3-31 16,-2 0-33-16,0 2-18 0,0-1-31 0,3 1-8 15,-1 1-33-15,-2 0-25 0,2-1-29 16,-1 1-58-16,1 0-31 0,-2-1-21 0,0-1-69 15,3 1-64-15,-3-4-143 0,-3 2-110 0,3-3-458 16,0 0 30-16,0 0 118 0,0-5 39 16,-2 5 94-16,2-5 79 0</inkml:trace>
  <inkml:trace contextRef="#ctx0" brushRef="#br0" timeOffset="-94448.63">14700 12552 1098 0,'0'0'401'0,"0"0"-37"16,0 0-26-16,0 0-36 0,0 0-23 0,0 0-21 16,23 0-109-16,-13-2-13 0,0-1 2 15,3 0-26-15,0 0-17 0,3-2-31 0,-1 1-26 16,2-3-43-16,1 1-77 0,-2-1-138 16,-1 0-130-16,3 0-426 0,3-3 31 15,-1 2 174-15,-1-3-5 0</inkml:trace>
  <inkml:trace contextRef="#ctx0" brushRef="#br0" timeOffset="-93944.74">15843 11344 1090 0,'0'0'345'16,"0"0"-27"-16,26 3-24 0,-16-2-35 0,3 1-13 16,0-2-39-16,2 1-33 0,1 1-44 0,-1-1-45 15,0 1-70-15,1-2-109 0,-1 3-104 0,1-2-554 16,-2 1 89-16,-3 2 77 0,-1-2 28 15</inkml:trace>
  <inkml:trace contextRef="#ctx0" brushRef="#br0" timeOffset="-93740">15754 11474 949 0,'0'0'330'16,"0"0"-28"-16,-3 4-46 0,3-4-7 15,0 0-22-15,0 0-32 0,18 1-24 0,-8-1-14 16,3 0 4-16,2 0-33 0,1 0 0 0,2 0-8 16,2 0-38-16,1-3-20 0,2 1-19 15,-1 1-56-15,2-3-28 0,-3 3-89 0,1-1-93 16,-6-2-181-16,5 3-318 0,-4-1 33 0,-3-2 90 16,0 4 57-16</inkml:trace>
  <inkml:trace contextRef="#ctx0" brushRef="#br0" timeOffset="-93395.94">15972 11278 959 0,'0'0'377'0,"7"-2"-37"0,-7 2-33 0,13 2-20 0,-5-1-36 15,2 0-29-15,0 3-7 0,3-2-33 16,0 2-18-16,3 0-8 0,-2 1-89 0,2-1-11 16,-1 2-12-16,1 0 2 0,-1 1 10 0,0 0-10 15,-4-1-2-15,2 2 9 0,-3-1 60 16,0 2 10-16,0-1 20 0,-4 0-28 16,-4 2-69-16,-2-1 0 0,0 3-7 0,-8-1-14 15,-2 3 32-15,-3 4-32 0,-13 7 14 0,-1 1-3 16,-15 4-52-16,1 0-7 0,-2 3-20 15,-4 0-60-15,4 3-73 0,-11 1-254 0,18-5-466 16,-2 3 130 0,-1-1 70-16,6 0 61 0,3-8 34 0</inkml:trace>
  <inkml:trace contextRef="#ctx0" brushRef="#br0" timeOffset="-91400.56">17061 11237 1103 0,'0'0'325'0,"0"-7"-8"0,0 4-35 0,0 0-19 16,0 3-25-16,-3-9-79 0,1 4-23 0,0 1-1 16,-1-1-4-16,0 2-8 0,1-1-16 15,0 3-7-15,-4-1-2 0,6 2-1 0,-8-4-5 16,8 4-15-16,-13 6-3 0,6-3 5 0,-4 2 57 15,1 4 15-15,0-2-20 16,-1 3-16-16,-1 0-13 0,1 2-10 0,-1 0-10 16,2 0-5-16,2 0-10 0,0-2-1 0,3 0-15 15,-2 0 23-15,4-1-35 16,-2-2 4-16,2 2-9 0,3-3 4 0,-2-2-2 0,4 2 7 16,0-6 6-16,1 4-28 0,-3-4 12 0,14-1-13 15,-7-2-7-15,0-2-5 0,4 1 15 16,2-2-13-16,0-4-10 0,-1 1 28 0,1-2-28 15,-3-1 3-15,3 0 20 0,-3 1-13 16,-2 3-20-16,0 0 23 0,0 1-13 16,-1 1 7-16,-2 2-2 0,0 1 11 0,-2 1 9 15,-3 2-2-15,0 0 0 0,5 10 13 0,-2-2 0 0,-3-2-13 16,0 4-2-16,0-1-6 0,0 4 0 16,-3-2 26-16,3 3-25 0,-3-2-14 15,1 3-9 1,0-1-17-16,-1 0-11 0,0-1-24 0,0 3-28 0,2-4-28 0,-2-1-11 0,0 1-58 15,1 0-128-15,1-1-172 0,1-4-458 16,0-1 120-16,1 1 39 0,1-4 107 0,-2-1 69 16,0-2 55-16</inkml:trace>
  <inkml:trace contextRef="#ctx0" brushRef="#br0" timeOffset="-91235.38">17158 11416 990 0,'0'-4'361'0,"0"4"-23"0,0-5-36 16,0 5-28-16,0 0-28 0,0-3-47 16,0 3-22-16,0 0-57 0,3-5-99 0,-3 5-147 15,0 0-178-15,0 0-421 0,8-1 72 0,-8 1 70 16,0 0 99-16</inkml:trace>
  <inkml:trace contextRef="#ctx0" brushRef="#br0" timeOffset="-90763.47">17420 11198 1190 0,'7'-4'371'0,"-1"4"-15"0,-6 0 28 16,12 2-29-16,-6 0-6 15,-1 3-42-15,0-2-5 0,0 4-23 0,-3 2-31 16,-1-1-28-16,-1 2-2 0,-3 1-24 0,-2 3-27 15,0 1-1-15,-5-1-38 0,2 2-15 16,-2 0 20-16,-1 1-105 16,1-4 0-16,0 1 8 0,0 0-21 0,5-4 6 0,-1 0 2 0,-1-2-10 15,4-1-11-15,1 0 19 0,-1-2-6 16,3 2 5-16,0-2 19 0,0-3-24 0,5 2-10 16,-2-3 8-16,2 1 3 0,0 1-24 15,3-3 3-15,0 0-13 0,2-2-8 0,0 1-22 0,0-1-6 16,1 1-20-16,-1 1-1 0,0-2-9 15,2 0-36-15,-1 1-6 0,-3 0-15 16,0 0-92-16,0 2-171 0,-4-1-430 0,2 1 14 16,-4 4 83-16,-2-2 85 0,0 2 1 0,-2 4 73 15</inkml:trace>
  <inkml:trace contextRef="#ctx0" brushRef="#br0" timeOffset="-90287.16">15692 12735 816 0,'8'-5'351'0,"2"0"-34"16,3 1-35-16,0 0-31 0,2-1-26 15,3 2-13-15,-2-2-38 0,4 2-23 0,-5-1-56 0,6 0-87 16,-1 1-141-16,-7 1-139 0,2 1-460 0,1 0 82 15,-4 1 49-15</inkml:trace>
  <inkml:trace contextRef="#ctx0" brushRef="#br0" timeOffset="-90083.32">15792 12816 1013 0,'-3'2'428'16,"3"-2"-52"-16,-5 3-38 0,5-3-21 0,-2 3-20 15,2-3-38-15,0 0-9 0,0 0-24 16,15 3-14-16,-7-5-20 0,4 1-5 0,2 1-18 16,3-2-36-16,4-2-2 0,-1 1-9 0,6-3-42 15,0 0-29-15,2-1-15 0,0-2-49 16,-2 1-56-16,-1 0-97 0,6-9-200 16,-5 7-512-16,-6 2 92 0,-2 2 84 0,-7-3 50 15,1 0 65-15,-6 2 63 0</inkml:trace>
  <inkml:trace contextRef="#ctx0" brushRef="#br0" timeOffset="-89801.29">16002 12538 1133 0,'0'0'366'0,"21"4"-30"0,-13-2-19 0,5 1-30 0,-1 1-29 15,1 0-96-15,2 0-14 0,4 2 1 16,3 2-34-16,1-1 0 0,-2 3 87 0,-1-1-30 16,1 2 2-16,-3 0-10 0,-5-1-8 0,0 4-18 15,-3-1 10-15,-2 0-12 16,-4 3-8-16,-1-2-13 0,-3 2-20 0,-5 3-11 0,-3 2 3 16,-2 2-33-16,-8 5-18 0,0-1-21 0,1-1-33 15,1-4-33-15,3-5-49 0,1 1-97 16,-9 5-238-16,11-6-471 0,4-6 69 15,1-1 97-15,2-2 82 0,1-3 72 0,2-3 36 16</inkml:trace>
  <inkml:trace contextRef="#ctx0" brushRef="#br0" timeOffset="-89117.14">17038 12453 1077 0,'-3'-4'376'0,"-2"3"-25"0,5 1-18 0,-10-1-41 0,10 1-103 16,-13 6 6-16,5-2-32 0,-2 2 4 16,0 2-14-16,-3 2-9 0,3 0-16 15,-2 1-11-15,1 1-17 0,-2-1-10 0,6 2-8 0,-1-3 2 16,2 2-7-16,2-2-5 16,1 0-16-16,3-1 16 0,0-2-24 0,0 0-9 0,5-3-1 15,-3-1 52-15,6 0-11 0,0-4 18 16,-8 1-22-16,21-5-17 0,-9 1 24 15,4-5-46-15,-1 1 8 0,1-3 17 0,1 0-28 16,-4 1 3-16,0-2 3 0,0 2 17 0,-3 2-18 16,-2-1 31-16,2 3-2 0,-3 0 2 0,-1 2-2 15,-1 0-8-15,-3 1-3 16,-2 3 5-16,6 0 29 0,-6 0-29 0,5 7 3 0,-5-3 3 16,0 2-3-16,0 0-13 0,-3 2-5 0,1 1-51 15,2 1-13-15,-2 1 10 16,-2-2-10-1,2 3 16-15,0 0-13 0,-1 0-19 0,0 0 4 0,1-1-9 0,-1-1-63 0,1 4-19 0,-1-4-32 16,3-1-37-16,-3 0-168 16,1 0-138-16,2-3-464 0,0 0 161 0,0-1 13 15,4-1 133-15,-3-1 44 0,-1-3 64 0</inkml:trace>
  <inkml:trace contextRef="#ctx0" brushRef="#br0" timeOffset="-89003.54">17197 12649 1164 0,'0'0'374'0,"0"0"-34"16,-2-5-40-16,2 5-67 0,0 0-75 15,0-5-114-15,0 5-218 0,2-3-517 0,0-2 48 16,4 5 14-16</inkml:trace>
  <inkml:trace contextRef="#ctx0" brushRef="#br0" timeOffset="-88762.1">17436 12385 1420 0,'0'0'402'0,"7"12"-41"16,-7-5-5-16,0 0-34 0,0 3 49 16,0 1-38-16,0 1 0 0,0 4-59 0,0 0-18 15,0 0-82-15,0 3-13 0,2-1-43 0,-2 1-16 16,0 0-20-16,0 0-36 0,1-1-30 0,-1-1-34 15,0-2-51-15,0 1-24 0,2 0-58 16,1-3-115-16,-3 0-335 0,2-1-254 0,-1-2 117 16,-1-2 17-16,0-2 129 0,0 0 32 15</inkml:trace>
  <inkml:trace contextRef="#ctx0" brushRef="#br0" timeOffset="-87739.94">17882 11056 1174 0,'10'4'336'0,"0"-1"-11"0,-2 4-33 0,-1 1-6 0,3 5-89 0,0 5-15 15,-2 3-8-15,-2 3-28 0,-1 3-15 16,0 9-3-16,0 3 7 0,-1 3-30 0,-6-3-8 15,0 4-12-15,0-1-16 0,2-2-18 16,-3-9-5-16,3-4 0 0,0-3-15 0,0-2 0 16,0-2-8-16,3-1 28 0,-1-5-25 0,0 1-11 15,2-3-5-15,-2-2 3 0,3-4-5 0,-2-1 7 16,1-3 3 0,-1-2-10-16,-3 0-3 0,10-1 10 0,-2-4-12 0,-2 3 15 15,-2-3 12-15,4 2-9 0,-5 0 7 0,2 0 5 16,-5 3 3-16,8 1 15 0,-8-1 6 15,7 11 76 1,-2-1 15 0,-2 7-7-16,2 7-10 0,0 13 25 0,0 1-18 0,-2 7-61 0,2 2-21 0,-2 14 5 0,-3 2-4 0,2 8-4 0,-2 0-1 15,3 1-11-15,-3 2 0 0,-1-2 0 16,-1 1 2-16,2-5-17 0,-2-1-1 16,2-2-2-16,-3-15-7 0,0-1 4 0,1-3-5 15,-2-4 1 1,-2-2-6-16,0-5 5 0,-1-7-4 0,1-5 7 0,-2-2-8 0,1-5-26 15,-3-1 6-15,3-2-38 0,-1-2-6 0,-2-4-33 16,2 2-16-16,-3-4 4 0,5-1-45 0,-3-2-12 16,2 2-28-16,1-4-52 0,-1 1-91 15,-1-1-73 1,3 0-488-16,0 0 56 0,5 0 100 0,0 0 79 0,-10-1 39 0</inkml:trace>
  <inkml:trace contextRef="#ctx0" brushRef="#br1" timeOffset="-79303.41">19061 11350 1052 0,'-3'-6'317'0,"3"3"-25"15,-4-3-16-15,1 0-7 0,-2 1-21 0,2-1-10 16,-2 0 54-16,0 3-31 0,-3-1-10 0,3 1-26 16,-3 0-7-16,-2 3-26 0,0 0 7 15,-3 1-101-15,2 2 9 0,-3 1-9 0,-2 2-19 16,1 4 5-16,2-2 11 0,-3 1-10 0,1 1-16 15,2 0 0-15,1 0-8 0,3 2-10 0,1-4 6 16,1 3-14-16,0-2-15 0,4 0 3 16,0 0 5-16,3-1-5 0,0-2-24 0,3 0 4 15,-3-1-17-15,5-1 9 0,3 0-13 16,2-3 64-16,0-1 7 0,1 0-18 16,1-2-2-16,1-3-10 0,3-1 0 0,2-1-6 15,-3-1 6-15,0-1 0 0,-2-1-16 0,3 1 1 16,-4-1 4-16,-1 1 8 0,-1 1 13 15,0 1 10-15,-2 0-10 0,0 2 11 0,-3 1-22 16,0-1 16-16,0 4-10 0,-5 1-5 0,7 0 17 16,-7 0-9-16,5 9-3 0,-5-5 7 0,4 5-15 15,-4-1 1-15,0 0-22 0,0 3 34 16,0 0-20-16,-1 0-11 0,-2 3-8 16,1-1 22-16,2 0-40 0,-2-1-7 0,2-2-51 0,0 0-13 15,-1 1-21-15,1-2-43 0,0 1-43 16,0-1-67-16,-1-1-215 0,3-1-510 0,-2-1 70 15,2-3 132-15,0 3 34 0,2-2 77 16,0-1 82-16</inkml:trace>
  <inkml:trace contextRef="#ctx0" brushRef="#br1" timeOffset="-79118.39">19184 11544 1256 0,'2'-1'484'16,"-2"1"-62"-16,1-6-56 0,-1 6-15 15,0 0-74-15,0-5-55 0,0 5-48 0,0 0-76 32,0-2-116-32,2-4-200 0,-2 6-604 0,0 0 85 0,7-5 56 0,-7 5 141 0,6-2 41 15</inkml:trace>
  <inkml:trace contextRef="#ctx0" brushRef="#br1" timeOffset="-78941.88">19379 11362 1228 0,'0'0'522'0,"0"0"-38"16,0 0-115-16,-1 13-39 0,1-6-23 0,0 2-25 15,-2 1-26-15,0 1-23 0,2 2-18 0,-2 2-34 0,2 0-30 16,0-2-36-16,-1 2-51 0,1 2-43 16,0-4-34-16,0 4-66 31,-3-3-75-31,1 4-268 0,2-1-456 0,0-2 87 0,-2 0 67 0,1-1 91 0,-1 0 80 0</inkml:trace>
  <inkml:trace contextRef="#ctx0" brushRef="#br1" timeOffset="-78017.42">18876 12599 1151 0,'0'-6'338'0,"-2"-1"-15"0,2 1-24 0,-2 0-33 16,-2-1-2-16,0 1-13 0,-2 0-16 15,1 1-9-15,-2 1-16 0,2 0-29 0,-3 4 14 16,-2-1-26-16,0 2-18 0,-1 1 13 0,-2 2 61 15,0 3-36-15,-2 0 31 16,0 3-33-16,-1 1-25 0,3 0 6 0,1-1-29 0,3 3-16 16,-1 0-3-16,3-3-10 0,0 0-23 15,3 1-10-15,2-3 0 0,2 1-31 0,4-2-8 16,-2 0 8-16,5-3-20 0,1 0-1 0,1-2-9 16,2-2-19-16,2-1-15 0,0-2 11 15,5-3-6-15,-1-2-85 0,2-3 6 16,1-1 26-16,0 0-1 15,-2 0 3-15,0-1 23 0,-5 2-10 0,0 1 18 0,0 0 17 0,-5 3 6 16,-1-1-8-16,1 3 13 0,-3-1 20 0,2 3 3 16,-3 1-7-16,-4 2 7 0,0 0 7 0,7 5-15 15,-9 1 11-15,4 1-16 0,-4 2 18 32,2 1 10-32,0 3-12 0,-1 1 2 0,-1 1-26 0,0 3 16 0,2 1 8 0,-3-1-21 15,3 1-6-15,-3 1-4 0,3-1-21 0,-2-2-33 16,-1 1-17-16,3-2-22 0,0-3-20 0,-1-1-38 15,2 0-33-15,-2-3-88 16,-8 1-192 0,9-4-465-16,3 0 120 0,-1-1 48 0,3-3 134 0,0 0 59 0,-2 0 30 0</inkml:trace>
  <inkml:trace contextRef="#ctx0" brushRef="#br1" timeOffset="-77854.8">19046 12812 1092 0,'-3'-9'397'0,"3"6"-44"0,0 3-17 0,0-6-39 16,-2 3-52-16,2 3-40 0,0-5-54 0,0 5-66 16,-3-5-124-16,-5 5-252 0,8 0-439 0,-1-3 39 15,1 3 112-15,0 0 32 0</inkml:trace>
  <inkml:trace contextRef="#ctx0" brushRef="#br1" timeOffset="-77554.01">19287 12565 1466 0,'7'-1'382'0,"-2"0"-24"0,-5 1-18 0,10 3-17 16,-4-2 58-16,-4 3-35 0,1-1-8 0,0 3-29 16,-3 0-96-16,-3 2-3 0,3 1-28 15,-7 1-29-15,1 1-4 0,1 3 7 0,-3 0-15 16,1-1-19-16,-1 1-19 0,3-3-14 15,-1 1-9-15,2 0-4 0,2-1-12 0,1-1 0 0,-2-1-12 16,6 1 4-16,-2-1-20 16,1-1 0-16,0 1-3 0,4-2-15 0,-2 0-3 15,2-2 3-15,1-1-15 0,3 1-29 0,-2-2-17 16,2 0-27-16,2-2 6 0,-4-1-20 0,3 0-6 16,-1-3-32-16,0 2-24 0,4-5-18 15,-2 1-84 1,3-1-167-16,-4 0-504 0,4-2 46 0,-2-1 92 0,0-3 52 0,-2 1 104 0,-1-3 19 15</inkml:trace>
  <inkml:trace contextRef="#ctx0" brushRef="#br1" timeOffset="-76755.16">19637 11004 1231 0,'16'1'402'15,"-5"1"-39"-15,1 4-7 0,1 3-34 0,-5 0-22 0,2 6-1 16,-2 1-9-16,0 6-24 0,-1 0-33 15,-2 6-18-15,-3-1-3 0,-1 2-12 0,-1 1-26 16,-1 11-15-16,-1-2-11 0,-3 1-102 16,4-2-10-16,-3-7 2 0,2-4-22 0,2-6 4 15,0 0-12-15,0-6-8 0,2-2 0 16,-2 1 31-16,4-4-34 16,-3-1 11-16,2-4 5 0,1 0-13 0,-1-3 23 0,3-2-6 15,-6 0-11-15,10 0 9 0,-10 0-10 16,12 0 5-16,-12 0-2 0,10 0 20 0,-4 5-7 0,-1 0 12 15,2 7 23-15,-1 5 29 0,5 16 7 16,-3 5 8-16,0 9 28 0,0 14-13 0,0 6 51 16,-2 4-53-16,-1 11-24 0,1 1-12 15,-2 1 18-15,-2 0-5 0,1-1-60 0,-3 0 19 16,0-2 10-16,-3-2-6 0,-1-5 14 0,-2-5-21 16,-1-4 8-16,-1-6-23 0,-2-2 12 15,2-13-12-15,-5-1-24 0,-2-4 17 0,2-3-35 0,-5-4-32 16,0-2 17-16,0-5-51 0,3-5-17 15,-1-6-39-15,6-3-36 0,-3-3-49 0,1-3-28 0,3-3-56 16,2-2-248-16,-1-3-448 16,1-2 71-16,3-3 103 0,-2-3 87 0,5-4 63 15,0-3 81-15,3-4 55 0</inkml:trace>
  <inkml:trace contextRef="#ctx0" brushRef="#br1" timeOffset="-48485.33">17425 835 1269 0,'-8'0'599'0,"1"0"-43"0,2 0-139 16,5 0-20-16,-10 2-34 0,10-2-2 15,-8 0-57-15,8 0-35 0,-5 0-18 0,5 0-31 0,0 0-18 16,-8 1-4-16,8-1-6 16,0 0-13-16,0 0-33 0,0 0-8 0,21 1-5 15,-9-3-26-15,6 0 6 0,5 2 66 0,11-4-30 16,11 0-37-16,4-1 21 0,3 2-10 0,2 0-8 16,2-1-15-16,3 1-20 0,-2 0-16 15,2 0-23-15,2 1-21 0,-2-1-20 0,-3 3-15 16,0 0-24-16,-6-1-48 0,-10 1-20 0,-5 0-29 15,-3 0 3-15,-6 1-26 0,0-1-35 16,-4-1 4-16,-3 2 4 0,-1-1-1 0,-3-1 10 16,-2 0-23-1,-6 1-109-15,1 1-45 0,-3-1 32 0,-5 0-126 0,0 0-18 0,0 1-368 16,0-1 94-16,0 0 5 0,0 0 152 16,-18 5 20-16</inkml:trace>
  <inkml:trace contextRef="#ctx0" brushRef="#br1" timeOffset="-47799.45">17420 951 1121 0,'0'0'332'0,"0"0"-35"0,0 0-18 0,-5 0-5 15,5 0-20-15,0 0-21 0,0 0-3 16,0 0-25-16,28 0 71 0,-15 0-15 0,7-2-36 16,3 2-20-16,5 0-13 0,6-1-18 0,0 1-2 15,17-1-11-15,0 1-12 0,5 0-14 16,-2 1-22-16,0 0 22 0,5 1-104 0,-3-2 0 15,3 0 5-15,-2 2 2 0,2 0 18 0,-5 1-17 16,2-1 27-16,-4-2-9 0,-4 1 9 16,-10-1-7-16,-4 0 3 0,-6 0 9 0,-5 1 1 15,0 1-8-15,-2-1 10 16,-3 0-5-16,-3-2-7 0,0 1 38 0,-2 0 15 0,-3 0-59 16,1 0 18-16,-1-1 18 0,-3 1-2 15,1 0 17-15,-8 0-9 0,13 0-11 0,-8 1 61 16,-5-1 1-16,11 1 4 15,-7-1-14-15,-4 0 6 0,8 0-45 0,-8 0-18 0,8 0-8 16,-8 0-68-16,0 0-6 0,8 0 0 0,-8 0 0 0,0 0 0 16,7 0 0-16,-7 0 0 0,0 0 0 15,0 0 0-15,0 0 0 0,8-1 0 16,-8 1 0 0,0 0 0-16,0 0 0 0,0 0 0 0,0 0 0 0,0 0 0 0,0 0 0 0,6 1 0 0,-6-1 0 15,0 0 0-15,0 0 0 0,0 0 0 16,0 0 0-16,0 0 0 0,0 0 0 15,0 0 0-15,0 0 0 0,0 0 0 0,0 0 0 16,0 0 0-16,0 0 0 0,0 0 0 0,0 0 0 16,0 0 0-16,7-2 0 0,-7 2 0 15,0 0 0-15,0 0 0 16,0 0 0-16,0 0 0 0,0 0 0 0,-3-7-236 0,3 7-56 0,-2-4-23 16,2 4-66-16,0 0-136 0,0-6-353 0,0 2-188 15,2 2 111-15,-2 2 67 0,3-6 145 16,-3 3 65-16,3 0 63 0,1-2 59 15</inkml:trace>
  <inkml:trace contextRef="#ctx0" brushRef="#br1" timeOffset="-31799.22">6359 4208 225 0,'-2'-6'87'0,"2"6"-23"0,0-4-5 15,0 4 7-15,0 0-7 0,0-5-21 16,0 5 6-16,0-5-34 0,0 5 8 16,0-4 38-16,0 4-35 0,0 0 5 0,0-6 2 0,0 6-8 15,0-3-2-15,0 3-41 0,2-4 26 16,-2 4-49-16,0 0-80 0,0-6-401 15</inkml:trace>
  <inkml:trace contextRef="#ctx0" brushRef="#br1" timeOffset="-30710.91">6403 3985 990 0,'0'0'346'0,"0"0"-39"0,0 0-23 0,0 0-20 16,0 0-21-16,5-4-38 0,-5 4 10 16,5 0-103-16,-5 0-7 0,8-4-10 0,-8 4-6 15,7-2-12-15,-3 2-8 0,-4 0-2 16,10-3-8-16,-6 1-3 0,-4 2 0 0,8-1 1 16,-8 1 2-16,3-1 15 0,-3 1 5 0,5-3-17 15,-5 3-9-15,0 0 9 0,0 0-14 16,0 0 1-16,0 0 7 0,-15 6-2 0,10-2-26 15,-3-1 3-15,-2 2 0 0,0 2-11 0,0 0 21 16,-3 3-20-16,2-2-6 0,-4 2 8 16,4-1-13-16,-1 2 8 0,-2-3 8 15,4 2-26-15,0-2 23 0,3 0-16 16,-1 0 1-16,0-1-16 0,0-1 11 0,3 1-8 0,0 0 0 16,0-2 12-16,2 1-14 0,-1 0-6 15,3-2 8-15,-1 1-5 0,2-1 5 0,0 2 38 16,2-4-51-16,-1 3 15 0,3 0 3 15,0-2-7-15,3 1 4 0,-2-1 8 0,3 1-15 16,0 1 2-16,2-3 11 0,0 2-11 16,-3-2 6-16,3 2-4 0,4-2 4 0,-4 1-6 0,-3-1 6 15,4 1-3-15,-4 0-1 0,1-1 17 16,-2 2-16-16,-2-3 22 0,-1 2 27 0,0 0 69 16,-1-1-6-16,-2 3 1 0,0-5-6 15,-5 8-7-15,0-4 7 0,-3 2-23 0,0 0-17 0,-2-2 20 16,0 4-16-16,-1-5-7 0,-1 3-13 15,2 0 13-15,-1-2-28 0,-1 2 15 16,2-4-8-16,-1 1-9 0,-2 1-29 0,3-1-3 16,0-1-10-16,2 1-20 0,-3 0 5 15,4-2-29-15,0 2-27 0,1-2-11 0,-1-1-51 16,1 3-53-16,2-3-37 0,4 0-74 0,0 0-125 16,-8 0-448-16,8 0 49 0,0 0 89 15,0 0 118-15,0 0 2 0</inkml:trace>
  <inkml:trace contextRef="#ctx0" brushRef="#br1" timeOffset="-30315.49">6514 4093 1080 0,'0'0'389'0,"0"0"-41"0,0 0-26 0,0 0-22 0,-11 7-42 15,9 0-20-15,-1 0-89 0,0 1-16 16,3 1-18-16,0 0-7 0,0 1-19 0,0-1 9 15,0 3-34-15,3-2-6 0,2-1-27 0,-3 1 0 16,4-1-6-16,-1 1 1 16,1-3-5-16,1-1-1 0,1-3 6 0,2 2-24 0,0-5 8 15,3 4 13-15,-3-5-5 0,3-2 31 16,0 1-5-16,-1-2 4 0,2 1 14 0,-4-3 9 16,-3 0 11-16,1 0 10 15,-2-1 0-15,-2 1-7 0,-1-4 12 0,-3 3-5 0,-3-1-20 16,1-2 5-16,-6 2 2 0,3-3-2 0,-3 3-10 15,0-2-11-15,-2 3-25 0,0 0 38 16,2 1 48-16,-2-1 4 0,0 3-9 16,2 1-30-16,-2-1-18 0,5 2-2 0,-3 1-11 0,0-1-36 15,1 2-10-15,7 0-35 0,-13 2-24 0,8-1 8 16,-1 1-36-16,4 3-21 0,-1-3-19 16,1 2-1-16,2-4-23 0,0 6-28 15,0-6-72-15,5 6-82 0,1-6-120 0,1 1-437 0,3 0 73 16,0-1 62-16,3-1 98 15,5 0 78-15</inkml:trace>
  <inkml:trace contextRef="#ctx0" brushRef="#br1" timeOffset="-29962.77">7021 3935 1226 0,'0'0'386'0,"-13"3"-25"16,6-1-33-16,-1 2-1 0,0-2-48 0,0 2-33 15,3-3-8-15,-4 4-33 0,3-2-18 16,1 2-16-16,-1 0-30 0,2 1 10 0,1 0-38 16,-2 1-8-16,5 1-8 0,-2-2-10 0,2 4-23 0,2-3 0 15,0 2-18-15,1 0-5 16,2-1-5-16,0 3 0 0,1-4 22 16,2 2-32-16,-1 1 0 0,0-2 4 0,-1-1 6 0,1 2-28 15,-1-2 23-15,-1-1-16 16,0 2 23-16,0-3-9 0,-5 3-65 0,2-2 8 0,-4 2 7 15,-1-2 8-15,1 3 6 16,-3-2-4-16,-3 1 4 0,0 2-1 0,-2-2 11 0,-1-1-6 16,-1 3 11-16,-1-3-11 0,-2 1-17 15,2-2-3-15,-1 1-21 0,2-1-12 0,-1-2-36 16,0 2-34-16,3-3-17 0,0 0-105 16,-1-2-165-16,4 1-467 0,2-1 84 0,0-1 46 15,5 0 112-15,0 0 63 0</inkml:trace>
  <inkml:trace contextRef="#ctx0" brushRef="#br1" timeOffset="-29689.97">7116 3869 1267 0,'2'-4'368'16,"1"1"-35"-16,-3 1-23 15,0 2-29-15,0 0 6 0,0 0-44 0,8 5-10 0,-6 1-28 16,-1 1-24-16,3 3-9 0,-4 2-18 15,0 2-6-15,3 4-17 0,0 1-11 16,-3 2-5-16,2 1-30 0,-2-1-9 16,2-2-24-16,-2 3-19 0,1-1-18 0,1-2-15 0,1 1-54 15,-3 1-20-15,2-7-38 0,-2 3-27 0,0-4-68 16,3 0-121-16,-1-6-15 0,1 5-476 16,0-1 44-1,-1-3 81-15,1 0 85 0,-1-2 23 0</inkml:trace>
  <inkml:trace contextRef="#ctx0" brushRef="#br1" timeOffset="-29222">6997 4179 1036 0,'0'0'353'0,"0"0"21"0,0-7-18 0,0 7-44 0,6-4-23 16,2 1-17-16,-1-2-37 0,1 2-7 0,2-3-23 15,0 1-41-15,3 0-6 0,3-3-25 16,-1 2-5-16,0-2-17 0,1 2 4 16,-5-1-18-16,3 1-7 0,-1 0-16 0,-2 2-5 0,-4-2 28 15,1 4-7-15,0-1 4 16,-4-1 40-16,2 3-55 0,-1-2-7 0,0 1 15 16,-5 2-18-16,0 0 2 0,0 0-14 0,5 6 4 15,-2-2 13-15,-6 1-17 0,3-1-24 16,0 2-5-16,-2 0 0 0,2 1 11 0,-2 0-9 15,1 1-7-15,1 1 16 0,0-2-101 0,0-1 11 16,0 0 20-16,3 1-9 16,-1-2-1-16,1-2 0 0,0 2 5 0,4 0 3 0,-2-5 17 15,3 1 1-15,-3-1-13 0,5-1 2 0,-2-2 11 16,0 1-1-16,2-3 1 0,-5 2 15 16,3 0-5-16,0 1 5 0,-1-4 5 15,-2 5 10-15,-2-3-17 0,4 4 2 0,-4-2 23 16,-3 2-21-16,8 0-4 0,-8 0 7 15,10 2 0-15,-5 2-25 0,-2-2-1 0,-1 3-22 0,2 0 2 16,0 2-64-16,-1-1-18 16,-1 0-49-16,1 1-89 0,-1-1-159 0,1 0-519 15,0 0 107-15,1-3 41 0,2 1 113 0,-3-1 76 16,4 0 72-16</inkml:trace>
  <inkml:trace contextRef="#ctx0" brushRef="#br1" timeOffset="-28674.04">7570 3989 1049 0,'0'-5'358'0,"2"2"-45"16,-2 3 42-16,0 0-14 0,0 0-39 0,0 0-13 15,-2 16-28-15,2-6-38 0,-3-2-8 16,3 5-21-16,0-2-30 0,-2 2-8 0,2 0-10 16,0-2-30-16,2 0-12 0,-2-1 1 0,3 1-15 15,-3-3-8-15,2 1 7 16,-1-1-25-16,1 0-2 0,-2-2-8 0,2-1-1 0,-2 1 17 15,0-2-22-15,0-1 3 0,0-3 11 16,-2 6-16-16,2-6 0 0,-3 4 0 0,-2-4-5 16,0 1 13-16,5-1-16 0,-8 3 1 0,0 1 1 15,1 0-11-15,2-1 1 0,-1 2 16 16,-1 0-10-16,0-2-20 0,1 3 19 0,1-1-29 16,-1 0-9-16,2 1 26 0,1 1-20 0,-2-2-1 15,3-2-7-15,2 2 2 0,-3 0-12 16,3-5 5-16,3 6-13 0,1-5 20 15,-4-1-30-15,8 1 7 0,-8-1 3 16,16-2-12-16,-9-1 22 0,3 0-13 0,-2-1 1 0,2-2 4 16,1 0 1-16,-1 1-3 0,-2-2 5 15,0 1 2-15,-3 2 14 0,2-2 22 0,-1 2-12 16,-2 0 5-16,2 0 23 0,-4 1-19 0,1 1-9 16,2 0 38-16,-5 2-43 0,3-3 2 15,-3 3 10-15,0 0-17 0,0 0 22 16,0 0-25-16,0 0 13 0,7 5 7 15,-7-5-20-15,1 5 2 0,-1-5 19 0,2 3-32 0,0 0 19 16,-2-3 2-16,6 2-23 0,-6-2 18 16,7 4 10-16,-2-4-10 0,0 0-5 0,0 2-8 15,1-1-71 1,-1 0 38-16,3 1-10 0,-3-1-1 0,2-1-2 0,-1 2 16 0,1-2-1 16,-1 1-4-16,1-1-3 0,-7 0-13 0,11 0-16 15,-4 0-27-15,-7 0-32 0,8-3-65 0,-1 0-93 16,-7 0-110-16,3 2-489 15,2-2 95-15,-2 1 35 0,2-1 139 0,-2-1 3 0</inkml:trace>
  <inkml:trace contextRef="#ctx0" brushRef="#br1" timeOffset="-28193.26">7846 3926 1318 0,'-2'-2'448'0,"2"2"-98"0,0 0-40 0,0 0-16 0,0 0-20 0,0 0-23 0,0 0-26 0,0 16 1 0,0-9-27 15,0 5-25-15,0-1-5 0,0 2-25 16,0 1-37-16,2 1-15 0,-1-2-30 16,1 2-47-16,1 1-12 0,-3-3-57 0,0 2-38 0,0-3-54 15,2 1-31-15,-2-2-51 0,0 0-17 16,0-2-14-16,-2 0 8 0,2-2 24 16,-3-1 22-16,3 0 13 0,-2-3 69 0,1 1 59 15,-1 0 31-15,2-4 56 0,-2 5 51 0,2-5 3 16,-3 3 23-1,3-3-11-15,0 0-2 0,0 0-15 0,0 0 12 0,0 0-12 0,0 0-3 16,0 0-10-16,5-16 2 0,0 13-9 0,0-3-1 16,0 0 10-16,3-1-17 0,0-1-16 15,2 1 5-15,-2 0 11 0,2-1-14 16,0 2-9-16,-2-1-1 0,2 1 1 0,-2 0 10 0,-1 2 12 16,-1-1-7-16,-1 3 23 0,2 0 7 15,-4-2 6-15,3 4 10 0,-6 0 5 0,7-1 5 16,-7 1 31-16,7 3-16 0,-1 1 9 15,-4 0 14-15,1-1 3 0,0 2-7 16,1 1-11-16,-3 1 5 0,1-1-2 16,1 1-3-16,-1-1-12 0,-1 0-14 0,1 1-30 0,-2-1 92 15,0 0-15-15,0 0-34 0,-3-1-35 0,1 2-52 16,-1-2-59-16,1-1-61 0,-1 1-76 16,3-5-216-16,-2 4-629 0,-2-1 61 0,4-3 138 15,-4 3 95-15,4-3 46 0,0 0 123 16,0 0 30-16</inkml:trace>
  <inkml:trace contextRef="#ctx0" brushRef="#br1" timeOffset="-28058.47">8314 4075 1080 0,'0'0'425'0,"4"-4"-54"0,-1 2-41 16,-3 2-18-16,2-6-63 0,-2 6-55 15,1-4-81-15,-1 4-147 0,0 0-229 0,0 0-510 16,0 0 48-16,0 0 106 0,0 0 97 0</inkml:trace>
  <inkml:trace contextRef="#ctx0" brushRef="#br1" timeOffset="-26927.38">6185 4838 1121 0,'6'-2'402'0,"-1"-2"-13"0,2-1-46 15,1 2-39-15,-3-2-7 0,3 2-33 0,-3 0-8 16,0-1-21-16,0 1 1 0,0 0-14 16,-3 2-19-16,-2 1-9 0,3-2-20 15,-3 2-20-15,0 0-11 0,0 0-23 0,0 0-4 16,0 0 1-16,-21 3-1 0,15 0-35 0,-2 0 17 15,2 2-32-15,-1-2-22 0,1 1 25 16,-2 0-26-16,4-2-4 0,1 3-14 0,-2-3 11 16,3 2-8-16,-1 2 3 0,3-4-10 0,0 3 2 15,2 1 10-15,-1 0-23 0,3-1 23 16,-1 1-12-16,4 1-13 0,-1-1 7 16,-1-2-2-16,5 2-6 0,-5-1-1 0,3 0-9 0,-1 0 8 15,-1 2 8-15,-1-1-62 0,0-1 11 16,-2 0 15-16,-1-1-13 0,1 2 28 15,-6 1-12-15,1-1 15 0,-1 0 5 0,1 1 0 16,-4 1 0-16,-2 0 5 0,1-1-13 0,-1 0-10 16,0 1 28-16,-1 0-35 0,1 0-16 15,0-2-28-15,3 0-26 0,-3-2-23 0,3-1-7 16,0 3-39-16,0-4-12 0,2 1-37 0,3-3-33 16,0 0-43-16,0 0-85 0,0 0 80 15,0 0 33-15,14-13 33 0,-5 7 31 16,2-3-10-16,1 1 40 0,1 1 24 0,0-5 30 15,0 3 29-15,0 0 38 0,2-2 25 0,-2 4 47 16,-3-1 51 0,1 3 7-16,-1-1 42 0,0 2-9 0,-2 2 1 0,0 0 15 0,-1 0 3 15,0 2-13-15,1 0-3 16,0 2-10-16,0-1 3 0,-1 0-21 0,1 3-15 0,2-2-3 16,-2 3 5-16,2-2-15 0,-2 0-15 0,3 1 2 15,-1-1-18-15,0-2 8 0,0-1 0 16,-2 2 16-16,5-4 32 0,-3 1-4 0,0 1 20 15,0-4 30-15,-1 1-86 0,1 0 12 0,-5 0 26 16,4-2 92-16,-3 1-2 0,-4 1 2 0,1-3-17 16,-1 1-11-16,-4 0-72 15,2 2-23 1,-3-3 3-16,-2 1-13 0,0-1 0 0,-2 4-5 0,-1-2 0 0,1 0-8 0,-4 0-30 16,1 1-6-16,-4 1-30 0,2 2-31 0,-1 0-23 15,0 0-49-15,0 2-38 0,1 1-41 16,-1 3-148-16,0-1-208 0,3-2-389 0,2 3 116 15,1-2 81-15,4 0 79 0,3-4 57 16,0 0 100-16</inkml:trace>
  <inkml:trace contextRef="#ctx0" brushRef="#br1" timeOffset="-26581.62">7005 4709 1274 0,'-7'0'479'0,"2"4"-41"16,-3-3-44-16,0 1-38 0,3 2-36 0,-3 1-16 16,3 1-27-16,0-2-34 0,3 3-23 15,-1 1-20-15,3-1-39 0,-2 2-72 16,4 0-7-16,1 4-18 0,0-4-10 0,1 2 5 0,1 0 71 16,1 2-4-16,-1-1-21 0,0-1 0 15,2-2 0-15,-4 3-23 0,3 0 7 0,-4-4-7 16,1 2-18-16,-3-1-5 0,0 1 13 15,0-3-6-15,-4 1-25 0,0 2 18 0,-1-1-13 0,0 1-31 16,-3-4 1-16,0 1-39 0,0-2-46 16,1 1-16-16,1-3-50 0,-1 1-50 0,2-2-94 15,-1-1-212-15,2 1-507 0,4-2 99 16,-8-5 103-16,6 1 49 0,2 4 114 16,0-9 24-16</inkml:trace>
  <inkml:trace contextRef="#ctx0" brushRef="#br1" timeOffset="-26396.52">7142 4611 1510 0,'2'-3'455'0,"0"1"-2"15,-2 2-112-15,3-2-37 0,-3 2-25 0,0 0-2 16,5 8-19-16,-5 0-20 0,3 2-20 0,-1 0-41 16,1 6 71-16,-2 2-33 0,1-2-18 0,0 6-18 15,1-3-43-15,-3 2-47 0,0 2-32 16,2-3-42-16,-1 1-30 0,-1 0-42 0,2-2-35 15,-2 0-5-15,2-5-33 0,1-1-65 0,-3 1-112 16,3 0-167-16,-1-4-455 0,0 0 110 16,1-4 87-16,0 1 46 0,-3-3 51 0</inkml:trace>
  <inkml:trace contextRef="#ctx0" brushRef="#br1" timeOffset="-25993.08">7118 4915 1343 0,'-5'-3'451'0,"3"0"-52"16,2 3-5-16,0 0-58 0,-3-3-42 15,3 3-20-15,5-6-31 0,-2 2-25 0,2 0-26 16,2 0-8-16,1-1-28 0,-2 0-10 16,4 1-18-16,-3-2 3 0,4 1-42 0,-4-1 24 15,1 2-24-15,0 1-14 0,-4-1 9 0,2 2-15 16,-1 1-15-16,0-1 18 0,-5 2-14 0,8-1-14 15,-8 1 7-15,7 0-7 16,-7 0-16-16,8 4 15 0,-5-2-9 0,0 2 1 16,1-2-12-16,-1 2 13 0,0-2-25 0,0 3 14 15,1-4-2-15,1 3-23 0,1-2 26 0,-1 0-16 16,3 1-5-16,-1-2 13 0,0 0-15 16,2-1-6-16,-1 4-10 0,2-8 23 15,-2 4 1-15,2-2-4 0,-3-3 1 0,1 4-8 0,-1 0-15 16,1-3 25-16,-3 3-13 0,1 0 1 0,-2-1-3 15,-4 2-13-15,9-1-15 0,-9 1-26 16,9 1-13-16,-9-1-12 0,6 3-60 16,-3-2-48-1,1 1-105-15,-4-2-135 0,6 2-526 0,-4-1 75 0,-2-1 136 0,8 1 28 16,-8-1 45 0,0 0 109-16</inkml:trace>
  <inkml:trace contextRef="#ctx0" brushRef="#br1" timeOffset="-25584.75">7552 4744 860 0,'3'-6'358'0,"-1"1"5"0,0 3 49 16,-2 2-22-16,3-6-42 0,-3 6-39 0,0 0-17 16,0 0-28-16,0 0-26 0,0 13-31 15,0-7-25-15,0 2-13 0,0 1-31 0,-3-1-25 0,3 3-24 16,0-3-7-16,0 1-28 0,3 0-10 16,-3-2-9-16,2 1-17 0,-2-2-10 15,1 0-11-15,1 1 11 0,-2-2 15 0,0 0-15 0,0-3 5 16,0-2 22-16,0 8-1 15,-2-4-4-15,0-2 6 0,1 2 0 0,-2 1 0 16,1-3 10-16,2 4-23 0,-3-2 0 0,1-2 3 16,-1 3-3-16,1-2-10 0,1 1 12 15,-1 1-10-15,2-5 9 0,0 5-12 16,0-1-4-16,0-4-3 0,0 0 8 0,2 4-5 0,-2-4-1 16,0 0-7-16,8-1-7 0,-8 1 35 15,8-5-100-15,-3 1-2 0,1 2 15 0,1-3 18 16,-4 3-10-16,2-2 12 0,0 2 32 15,-1 2-11-15,2-3 26 0,-6 3-14 0,8-2 9 16,-8 2 2-16,7 0 13 0,-7 0-10 16,6 3-1-16,-6-3 24 0,7 2-16 0,-2 0 1 15,-5-2 4-15,6 1-20 0,-6-1-7 0,5 3-27 16,0-3 6-16,-5 0-28 0,7 2-29 16,-7-2-22-1,8 0-129-15,-8 0-227 0,10-3-471 0,-7 1 63 0,2-1 127 0,0 1 91 0,-2-2 62 16</inkml:trace>
  <inkml:trace contextRef="#ctx0" brushRef="#br1" timeOffset="-24697.5">8218 3821 1264 0,'-2'-3'389'15,"2"-1"-38"-15,0 4-26 0,0 0-23 0,2-5-33 0,-2 5-19 16,8 0-22-16,-8 0-8 0,13 9-17 0,-6-2-14 16,1 2 0-16,3 3-35 15,-1 4-11-15,-2 3 6 0,2 3-29 0,-2 2 3 16,-3 2-36-16,0-2 18 15,0 5-21-15,-3-4-4 0,-2-4-3 0,3 2-24 16,0-4 6-16,-1 0-87 0,0-4 10 0,1 1-2 0,-2-4 7 16,3-3 5-16,-1 1-15 0,-3-2 3 15,3-1-8 1,1-2 10-16,-1-2 2 0,2-1 9 0,0-1-6 0,-5-1-8 0,11-1 14 0,-11 1 2 16,13 0-1-16,-9-2-6 15,-4 2 9-15,11 2-5 0,-4 0 6 0,-1 2 7 0,-1 4 23 16,2 3-2-16,1 4 22 0,-3 8 91 15,1 4-1-15,-6 13 10 0,0 1-10 0,0 3-7 16,-3 4-18 0,-8 10-3-16,4-3-3 0,-6 0-97 0,3-11-15 0,-5 7 21 0,2-9-14 15,-5-4 3 1,0 0-25-16,2-1-36 0,-1-5-26 0,1-1-18 0,-2-3-3 0,6-5-76 0,1-5-54 16,1-5-176-16,2-3-579 15,0-2 69-15,3-5 118 0,-3 0 79 0,4-3 77 0,4 0 64 16</inkml:trace>
  <inkml:trace contextRef="#ctx0" brushRef="#br1" timeOffset="-24160.97">8554 3962 1018 0,'0'0'377'0,"8"0"-42"0,-8 0-13 16,15 2-35-16,-5 3-28 0,0 1-24 15,1 0-28-15,-1 2 1 0,-2 2-27 0,-2-1-1 16,-2 3 1-16,-2 0 65 0,-2 1-36 0,-4 5-23 0,-2-4-5 15,1 3-34-15,-4-2 6 0,1-1 9 16,3 0-27-16,-3-1-92 16,2-3 12-16,-1 1 0 0,2-1 24 0,2-3-11 0,-2-1-13 15,2 1 3-15,-2-2 0 0,3-1-16 16,-1-1-7-16,3 0 0 0,-2 2 2 0,2-5-9 16,0 0-12-16,4 5-17 0,-1-4-25 15,-3-1-31-15,13 0-19 0,-5-1-17 0,2 0-18 0,-2 1-28 16,2-3-39-16,3 0-56 15,-3 3-66-15,-3-4-149 0,9-1-466 0,-6 1 90 0,1 1 59 16,1 0 114 0,-4-2 104-16,2 1 24 0</inkml:trace>
  <inkml:trace contextRef="#ctx0" brushRef="#br1" timeOffset="-22821.43">8790 3997 1336 0,'0'0'304'0,"0"0"-30"0,0 0-13 0,0 0-30 0,0 0-16 16,3 13-26-16,-1-5-20 0,0-1-10 0,-1 1-3 15,2 2-28-15,1-2-8 0,-1 4-15 16,0-3-13-16,0 1 8 0,1-2-28 16,-1 2-3-16,-1-4 13 0,1 2-26 0,-1-1-2 15,1-1-21-15,0 0 0 16,-3-1 11-16,2 1 2 0,0-4-3 0,-2 2 16 0,4-2 5 15,-4 3 67-15,0-5 2 0,2 3 5 0,-2-3 11 16,0 5-32-16,0-5 6 0,2 4-18 16,-2-4-15-16,0 0-16 0,0 3-7 0,0-3 20 15,0 0-39-15,0 0 9 0,0 0-6 0,0 0-15 16,0 0 2-16,0 0 13 16,0 0-2-16,0 0-24 0,0 0 11 0,0 0 10 15,0 0-18-15,0 0-7 0,8-10 17 0,-8 7-7 0,0 3-8 16,2-8-2-16,-1 4 7 15,1 1-18-15,-2-2 5 0,3 0-15 0,-1-1 31 16,1 1-26-16,-3 1 16 16,5-2-1-16,-4 1-10 0,1 0-2 0,0 2 13 0,1-2-4 15,0 0 6-15,-1 2-5 0,-2 3 0 0,5-3-7 16,-2 1 14-16,-3 2-2 0,0 0 13 0,0 0-95 16,0 0 11-16,13 5 9 15,-8-2-7-15,-3 0 3 0,1-1 22 0,-1 0-15 0,1 2 21 16,-1 1-6-16,1-2 3 0,-1 1 1 0,1-2 9 15,0 2-10 1,-3 0 8-16,2-1 5 0,0-1-1 0,-2-2-4 0,4 4 0 0,-4-4 20 16,2 6 0-16,0-5-7 0,-2-1-3 15,0 0 26-15,0 0-21 0,3 2 2 0,-3-2 6 16,0 0 0-16,0 0-5 16,0 0-11-16,7-9 1 0,-4 8 9 0,0-4 3 0,0 1-4 15,-1 1-9-15,3-2 8 0,-2 3-2 0,-1-2-8 16,1 2 15-16,2-1-10 0,-5 3 18 15,5-3-13-15,-2-1-10 0,-3 4 2 16,8-1-2-16,-8 1-5 0,5-1-11 0,-5 1 16 0,7-1-2 16,-7 1-11-16,8-3 18 15,-8 3-11-15,7 0-1 0,-7 0 1 0,6 0 24 0,-6 0-41 16,5-2 23-16,-5 2-3 0,7-1-15 16,-7 1 23-16,0 0-5 0,0 0-10 0,0 0 10 15,11 1 5-15,-11-1-13 0,5 2 13 16,-3 2 2-16,-2-4 21 0,5 3-25 0,-2 0 10 15,-3-3-26-15,3 6 20 0,-1-5-17 0,1 1 2 16,-3-2 10-16,7 5-22 0,-4-4 12 16,-3-1-10-16,7 4 0 0,-4-4 5 0,-3 0 8 15,8 0-6-15,-8 0 9 0,10 0-1 0,-5-3 8 16,0 1-15-16,-1 1 4 16,0-4 27-16,-2 1-14 0,2 0-7 0,-2-1 0 0,0 0 10 15,-2-1-2-15,0 1 2 0,-2 1-2 0,2 0-3 16,-2-1 0-16,-2 2-13 0,2-1 10 15,0 1 8-15,2 3-10 16,-8-3 0-16,8 3 2 0,-10 3-7 0,10-3 10 0,-8 0 3 16,8 0-19-16,-8 3-4 0,8-3-1 15,-5 4 6-15,5-4-23 0,-2 2-6 0,2-2 6 16,0 0 12-16,-3 4 1 0,3-4-11 16,0 0 0-16,0 0 8 0,0 0 0 0,18-5 12 0,-10 4-9 15,-3 1 7-15,2 0-3 16,1-1 1-16,0-1 4 0,2 2 22 0,0-1-19 15,-1 1 0-15,1 1 10 0,-3-1-7 0,3 2 13 0,-4-2-3 16,2 1-5-16,-1-1 20 16,0 0-10-16,-1 2-13 0,-1-2 16 0,2 1-10 15,-1 2-4-15,-6-3-6 0,10 0-14 0,-7 2 0 16,-3-2 19-16,10 0-24 0,-5 1-12 0,0 1 32 16,-5-2-37-16,8 1 12 0,-8-1 13 15,10 0-16-15,-10 0 14 0,10-1 2 0,-5-2 15 16,0 1 6-16,0-3 2 0,3 0 2 15,-2 2 13-15,-2-3 11 0,4-3 12 16,-3 2 6-16,3-2-1 0,-3-1 9 16,0-1 12-16,1 1 0 0,-2-3-8 0,-1 1 18 0,0-1 6 0,1 1-9 15,-3 1 3-15,1 0 3 16,1 3 84-16,-3 0 14 0,2 0-27 0,-2 0-74 16,0 2-10-16,1 1 10 0,-1 1-17 0,0 4-11 15,0-4-8-15,0 4 19 0,0 0-19 0,0 0-12 16,0 0-3-16,2 13 7 0,-2-6-12 15,0 2 5-15,0-2-30 0,3 2-37 16,-3 2-15-16,2-1-20 0,0-1-16 0,-1 3-33 0,4-1-15 16,-2 1-18-16,1-3-39 0,2 1-15 15,-2-3-18-15,0-1-31 0,0 2-120 0,2-4-89 16,-2 2-454-16,2-3 62 16,-3 1 115-16,4-3 59 0,-4 0 74 0,-3-1 72 0</inkml:trace>
  <inkml:trace contextRef="#ctx0" brushRef="#br1" timeOffset="-22142.09">9567 3815 1405 0,'8'7'397'0,"-8"-2"-37"0,0 0-27 16,2 2-31-16,1 1-13 0,0 2-68 16,-1 2 12-16,0-2-31 0,1 2-13 15,0 3-17-15,-1-2-21 0,0 1-54 0,-1-1-25 0,1 3-39 16,1-3-15-16,-1 0-39 0,-2-1-27 0,0-2-32 15,1 1-50-15,-2-1-85 16,1-2-115-16,0 1-57 0,-2-1-437 0,2-1 117 0,-3-4 11 16,1 2 107-16</inkml:trace>
  <inkml:trace contextRef="#ctx0" brushRef="#br1" timeOffset="-21785.95">9521 4012 967 0,'0'0'399'0,"-5"-5"52"0,5 4-65 15,-3-3 3-15,3 4-56 0,0-5-46 16,0 5-26-16,3-6-36 0,2 3-12 16,0-1-3-16,0 1-36 0,2-3-16 0,4 0-37 15,-3 1-24-15,2-1-13 0,0 1-22 0,0-2-16 0,0 1 5 16,-2 0-10-16,2-1-15 0,-2 4-3 16,-3-1 10-16,1-2 23 0,-1 4-35 15,2-2-52-15,-4 2 16 0,2-1-1 0,-2 2 6 16,2-1 18-16,-5 2 5 15,7 0-19-15,-7 0 14 0,6 2 15 0,-1 2-2 0,-2 3 12 16,-1-1 13-16,3 0 21 0,-2 2 12 0,-1-1 77 16,3 4 10-16,-2 1 16 15,0-2-31-15,2 1 8 0,-1-1 7 0,-1 3-84 0,0-5 46 16,-1 2-64-16,-2-2-20 0,0 0-3 0,-2 1-6 16,-1-1-32-16,1 0-26 0,-1 1-49 15,-5-1-22 1,1-1-29-16,-1 3-54 0,-2-3-20 0,-3 0-74 0,-2 1-159 0,-3 1-159 15,0-2-384-15,-8 1 80 0,-10 3 151 16,-3-3 10-16,-9 5 69 0,-11 0 115 0</inkml:trace>
  <inkml:trace contextRef="#ctx0" brushRef="#br1" timeOffset="-20440.39">5816 5006 1374 0,'2'-4'532'15,"-2"4"-17"-15,0 0-139 0,0 0 6 0,-5-6-52 16,5 6 82-16,-8-2-97 0,4 1 30 15,-4-1-37-15,0 1-32 0,-2-1-25 0,0 1-31 16,0 1-2-16,-1-1-34 0,-1 1-20 16,1-2-26-16,-2 1-5 0,0 1-28 0,1 0 0 0,-1 0-28 15,-2-1-13-15,4 1-26 0,-1 1-38 16,1-1-38-16,1 0 2 0,-3 0-61 16,6 0-49-16,-4 1-16 0,3 1-27 0,1-1-18 15,2 0-54-15,-1 1-175 0,-1-1-76 0,4 1-450 16,3-2 87-16,0 0 99 0,0 0 23 0,0 0 124 15,0 0 27-15</inkml:trace>
  <inkml:trace contextRef="#ctx0" brushRef="#br1" timeOffset="-20178.45">5649 4850 1103 0,'-3'-4'404'0,"3"4"-35"0,-2-2-13 16,2 2-49-16,-8-1-26 0,8 1 9 0,0 0-50 15,-15 4-15-15,5 1-15 0,2 2 51 0,-2 2-35 16,-3 0-4-16,3 2-25 0,-3 1-25 16,3 0 10-16,2 1-19 0,-2 0-35 0,2-1 3 15,3 0-21-15,0 0-15 0,2-3-16 0,1 2-30 16,1 0-26-16,4-2 10 0,0 2-46 16,0-2-20-16,4 1-11 0,-2-3-35 15,5 1-39-15,-2-1-7 0,2-2-80 0,1 1-148 0,1-1-620 16,-1 0 72-16,2-3 108 0,-3 1 120 31,0-1 20-31,-2-1 82 0</inkml:trace>
  <inkml:trace contextRef="#ctx0" brushRef="#br1" timeOffset="-19325.12">3652 4865 998 0,'2'-2'417'0,"-2"2"-7"0,0 0-19 15,0 0-94-15,0 0 0 0,1-4-31 0,-1 4-7 16,0 0-37-16,0 0-17 0,0 0-10 0,0 0-29 16,-19 6-28-16,12-2 1 0,0 1-14 15,-1-2-12-15,-2 3 2 16,1 0-26-16,-1-1-7 0,2 1 16 0,1 1-34 0,-3-2-8 0,4 2 3 15,2-4-21-15,-2 3 3 0,1 0-8 16,3-1-4-16,1 1-4 0,1-1-12 0,3 1-10 16,0-2-11-16,2 0-2 0,0 3 12 0,0-3-20 15,3 0 11-15,0 0-9 16,0 1 21-16,-1 1-10 0,3-4-5 0,-2 3 2 16,0 0 6-16,-1-2-6 0,-2 1 21 0,1 1 10 15,-1-3 13-15,0 3 0 0,-3-3-16 0,-2 2 24 16,0 1 2-16,0-2 20 0,-5 2-17 15,0 0 5-15,-2 1-3 0,-2-2-8 0,-1 2-12 16,-2 0 15-16,1-2-5 0,-4 2 3 16,5-3-6-16,-5 1-5 0,2 0-28 0,-1-2 0 15,4-1-53-15,0 3-9 0,-1-3-27 16,2-1-52-16,1 1-48 0,3 0-23 0,0 0-80 0,5-1-117 16,-5 3-441-16,5-3-23 0,0 0 111 15,0 0 27-15,0 0 62 0,0 0 130 0</inkml:trace>
  <inkml:trace contextRef="#ctx0" brushRef="#br1" timeOffset="-19001.43">3667 5071 1169 0,'6'-2'394'0,"-2"-2"-43"15,2 1-26-15,2-2-20 16,-3 0-121-16,2 0-17 0,1 0-11 0,-3 0-13 0,1-1-15 15,-2 0 15-15,2-1-25 0,-2 1-8 0,-1 0-7 16,0 0 4-16,-1 0-12 0,-1 2 10 16,0 0-16-16,-2 0 3 0,1 4-22 0,-1-6-12 15,1 6-6-15,-2-2-1 16,2 2 0-16,0 0-5 0,0 0-2 0,0 0 17 0,-13 7-33 16,10-5 3-16,1 2-8 0,-1-1-5 15,0 2 7-15,3 0-7 0,-2 1-10 0,2-2 10 16,0 0-15-16,0 1-1 0,0 1-4 0,2-3-16 15,-2 2 7-15,1 0-22 16,1-2-3-16,1 0-12 0,-1 0-37 0,1 0-2 0,-3-3-59 16,5 5-48-16,0-3-83 15,-5-2-96-15,3 1-500 0,-3-1 92 0,7 3 118 16,-1-3 33-16,-6 0 59 0</inkml:trace>
  <inkml:trace contextRef="#ctx0" brushRef="#br1" timeOffset="-18565.09">3894 4821 977 0,'0'0'412'0,"0"0"-33"0,0 0-36 0,0 0-28 16,0 0-38-16,-9 13 45 0,7-3-20 0,2-3-23 15,-2 5-20-15,-1-1-26 0,2 2-13 0,1 0-36 16,-2 2-10-16,0 1-10 0,-1 3-39 0,3 0-12 16,-3-1-44-16,3 0-41 0,-2-3-20 15,0-1-11-15,1 2-40 0,-1-4-3 16,2 1-41-16,-3-3-54 0,3-1-87 16,0-1-10-16,3-2-120 0,-3-1-144 0,2-2-358 0,1 0 105 15,-3-3 46-15,8 2 77 0</inkml:trace>
  <inkml:trace contextRef="#ctx0" brushRef="#br1" timeOffset="-18143.93">4055 4877 1405 0,'-3'-7'430'0,"0"2"-21"0,0 2-22 0,1-1-106 0,0 2-25 16,-1-2-20-16,3 4-19 0,0 0-32 15,-5-2-11-15,5 2-18 0,-7 6-18 0,4 1-12 16,0-1 4-16,0 0-20 0,1 3-15 0,-2 1-3 16,0 3-13-16,2-1-22 0,2 2 12 15,-2 5-15-15,1 0-8 0,1 0 2 16,0 3-9-16,1-1-9 0,1 2 19 0,-2-2-23 0,0 2 4 16,0-2-7-16,0 2-5 0,-2-3-5 15,1-1-13-15,1-1-18 0,-2 0-10 16,-4-2-13-16,4-1 23 0,-3-2-5 15,2-2-18-15,-2-1 5 0,0 0-12 0,0-1 2 0,0 0 5 16,0-3 15-16,0-2 3 16,2 0-10-16,-2-2 10 0,2 1 0 0,3-3 2 0,-5 2 1 15,5-2 7-15,-5 1 10 0,5-1-9 0,0 0 14 16,0 0-15-16,0 0 11 0,0 0 15 16,0-8-13-16,0 8-3 0,5-7 6 15,-2 3 2-15,0 1-5 0,4-3 7 0,-4 0 1 16,2 2-5-16,2-2-3 0,1 0 12 15,-3 2-22-15,2-2-10 0,1-2-37 0,0 1-30 0,0 1-28 16,-1-2-92-16,1 2-180 0,0 2-491 16,0-3 110-16,-1 4 11 0,-1-3 104 15,2 2 82-15</inkml:trace>
  <inkml:trace contextRef="#ctx0" brushRef="#br1" timeOffset="-17684.77">4229 4982 980 0,'-5'2'289'0,"0"1"-20"0,2 0-39 0,-2 1-5 16,2-1-7-16,-2 2-23 0,3 0-21 15,-1 1-8-15,1 0-25 0,1 0-11 0,1 0-7 0,0 2-28 16,3-1 7-16,-3 3-15 15,3-4-12-15,0 3 9 0,1 0-15 0,-1 0 28 16,2-3-12-16,-2 5-3 0,2-3 18 0,-3 0 74 16,1 2-28-16,0-4-8 0,-1 2 8 15,0-1-18-15,-2 0 2 0,-2 1-20 16,0-1-7-16,-1-1-6 0,0 1-30 0,-4-1-6 16,2 0-25-16,-3 0-3 0,0-3-59 15,1 3-27-15,-1-2-55 0,-2 1-66 0,2-4-92 16,0 1-469-16,3-1-132 0,-3-1 32 0,8 0 141 0,-12-3 60 15,7-2 50-15</inkml:trace>
  <inkml:trace contextRef="#ctx0" brushRef="#br1" timeOffset="-17473.27">4291 4894 1397 0,'4'-5'425'0,"-4"5"-23"15,0 0-98-15,0 0-22 0,9 8-23 0,-5-4-16 0,-1 2-33 16,2 2-21-16,-2-1 0 0,2 4-14 0,0 0-17 16,0 1-14-16,-2 3-32 0,2 0-35 0,-2 1-8 15,4 1-23-15,-4 1-59 0,4-3-35 0,-4 3-24 32,2 0-87-32,0-4-135 0,-3 0-103 0,1 1-465 0,2-5 96 0,-2 2 65 15,2-1 107-15,-3 0 46 0</inkml:trace>
  <inkml:trace contextRef="#ctx0" brushRef="#br1" timeOffset="-16981.83">4311 5122 883 0,'0'0'312'0,"2"-6"-25"0,1 3-21 16,-1-1-21-16,4 1 50 0,-1-2-29 0,0-1-36 16,3 0-9-16,-3 1-27 0,3-2 1 0,-1 1-21 15,1 1 0-15,-1 0-5 0,1 1-87 16,0-2 25-16,-3 2-35 0,0 1 7 0,0 1 16 16,-2-1-16-16,2 1-5 0,-3-1-15 0,-2 3 18 15,8-1-15-15,-8 1 12 16,0 0-15-16,8 4-18 0,-6-3 20 0,1 2-20 15,0 0-10-15,-1 2-1 0,-1-2 4 0,1 2-1 16,3-3 5-16,-4 1-27 0,3 1-4 16,-1-1-2-16,-1-1-2 0,1 2 0 0,-3-4-11 15,8 2 13-15,-8-2 8 0,10-1-13 0,-10 1-10 16,10-1 15-16,-2-3-5 0,-3 2 10 0,3-1-5 16,-1 0 13-16,1-1-5 15,-3 3-6-15,0-1 1 0,0-2 10 0,-2 3-10 0,-3 1 12 16,10-2 1-16,-5 2-9 0,-5 0 1 0,8-2-8 15,-8 2 3-15,7 3-23 16,-4-2-11-16,-3-1-15 0,5 6-56 0,-3-5-52 0,-2-1-86 16,4 4-147-16,-4-1-531 0,2 1 55 0,-2-4 124 15,3 2 50-15,-3-2 52 16</inkml:trace>
  <inkml:trace contextRef="#ctx0" brushRef="#br1" timeOffset="-16445.38">4726 4921 1405 0,'0'-5'399'0,"0"5"-15"16,0 0-26-16,0 0-35 0,0 0-13 0,0 0-47 15,0 0-7-15,0 0-38 0,3 14-29 0,0-11 3 16,-3 2-38-16,2-2-13 16,-2 1 7-16,2 1-46 0,-1-2-7 0,1 2-16 0,1-3 1 15,-3-2-26-15,2 6 4 16,-2-3-11-16,0-3-7 0,1 5 17 0,-1-5-1 15,0 3 8-15,0-3-15 0,0 0-19 16,-3 5 17-16,3-5-24 0,-6 4 2 0,4-2 11 0,-3 1-13 16,2 1 3-16,-2 1-1 0,0 0-9 31,0 0 17-31,0-1-20 0,0 2 2 0,2-1 0 0,-2 1 1 0,3-1-9 0,2-2 6 0,-4 2-13 16,2 0 3-16,2-3-3 15,0-2-5-15,0 6-8 0,0-6-13 0,2 2 11 0,4 0-21 16,-6-2 18-16,0 0 5 15,13-4-15-15,-6-1-3 0,-2 3 16 0,3-2 13 16,0 0-4-16,-3 0-1 0,2-1 14 0,0 3-7 16,0-2 23-16,0 2 16 0,-1-3-14 0,-2 4-7 15,4 1 5-15,-2-1 3 0,-6 1 12 0,10 1 24 16,-3-1-90-16,-2 3 23 0,0 1-1 16,3 1 9-16,-2 2 7 0,-2-1 16 0,-1 2 2 15,2 2 18-15,0 3 0 0,-2-1 5 0,-2 1 70 16,-1-2-27-16,0-1-14 15,0 1 12-15,0 1-46 0,-1-4 10 0,1 3 11 0,0-5-8 16,-3 0-13-16,3 0 5 0,0-4-15 16,-2 2 5-16,2-4-18 0,0 0-21 0,0 0-45 15,0 0-11 1,2-22-23-16,1 10-12 0,0-5-16 0,2-2-26 0,2-6-40 0,1-9-21 16,3-4-69-16,4 0-180 0,6-12-559 0,2 3 63 15,5 2 118-15,-3-1 71 0,6 3 90 16,0 1 36-16,2 2 105 0</inkml:trace>
  <inkml:trace contextRef="#ctx0" brushRef="#br1" timeOffset="-15938">5849 4210 1080 0,'0'0'404'0,"-7"-2"-22"0,1 1-42 0,-1 0-20 16,7 1-18-16,-13 0 51 0,2 0-38 15,1 0-18-15,-2-3-44 0,-1 3-2 0,3-1-10 16,-3 1-42-16,2 0-22 0,-1 0 5 0,-1 1-23 16,3-1-26-16,0 3-5 15,-3-3-39-15,2 0-35 0,1 0-11 0,0 1-45 16,0 0-31-16,2-1-42 0,1 1-27 0,-1 0-44 0,2-1-77 16,-1-4-178-16,1 5-488 0,2-2 1 15,4 1 102-15,0 0 80 0,-6-3 48 16,6 3 59-16</inkml:trace>
  <inkml:trace contextRef="#ctx0" brushRef="#br1" timeOffset="-15649.18">5662 4051 1249 0,'0'0'435'0,"-13"5"2"16,6-2-70-16,-1 2-27 0,0 0-38 0,0 2-15 15,-2 1-29-15,0 2-25 0,-1 0-15 0,-1 1-19 16,0 1-27-16,1 0-13 0,1 0-16 16,2 2-15-16,-2-3-26 0,4 1-15 0,1-3 5 15,3 0-12-15,-1 0-9 0,3 0-71 0,0-1-7 16,5 0-6-16,0 2 5 0,1-4 8 16,4 1-10-1,0-1-26-15,0 0 3 0,3-3-23 0,0 2-26 0,0-3-10 0,2 1-21 0,-1-1-20 16,0 0-28-16,-1 0-42 0,0-2-88 31,-2 0-60-31,-1 0-15 0,0 2-451 0,0-2 52 0,-2-2 89 0,-3 2 82 0,-5 0 52 0</inkml:trace>
  <inkml:trace contextRef="#ctx0" brushRef="#br1" timeOffset="-14465.65">3077 4188 1144 0,'0'0'422'0,"0"0"-38"15,0 0-36-15,0 0-38 0,-2 10-41 0,2-5-11 16,0 2-38-16,0 2-10 0,2-1-15 16,-2 2-37-16,0-1-22 0,0 2-5 15,4 1-47-15,-4 2-7 0,2-3-31 0,-2-3 0 0,0 2-23 16,2-1 8-16,-2 1 10 0,1-2-11 16,1-1-14-16,1-1-3 0,-3 0 12 0,2-2 1 15,-2-1 2-15,2 1 0 0,-2-4 5 0,1 2-2 16,-1-2 23-16,0 0 2 15,0 0-64-15,0 0-7 0,2-11 15 0,-2 7 18 0,3-6-13 16,-6 2 8-16,3-5 13 0,0 0 2 16,0-3 2-16,-2-2 16 0,2-1-10 15,0 0 13 1,-1 0-21-16,2 4-2 0,-1-2-3 0,2 3 0 0,1 1-3 0,-3 1 11 0,5 3 0 16,-5 1-6-16,5 2 16 0,-2 1 0 15,2 4-15-15,2 1 12 0,-7 0-7 0,13 6 23 16,-5 1-19-16,0 0-11 0,2 4 4 0,-2-1-26 15,2 3-12-15,-2 0-23 0,-1 0-11 16,-1 0-38-16,1 2-12 0,1 0-29 0,-3-2-15 16,-2-1-34-16,2 2-61 15,-2-3-54-15,-1 2-68 0,-2-5-27 0,2 2-496 0,-2-2 105 16,3-1 74-16,-3 0 49 16,0-2 79-16</inkml:trace>
  <inkml:trace contextRef="#ctx0" brushRef="#br1" timeOffset="-14143.53">3142 4331 972 0,'-6'-1'433'0,"6"1"-44"0,0 0-44 0,-7-2-25 0,7 2-33 15,0 0-26-15,0 0-23 0,0 0-25 16,0 0-6 0,0 0-100-16,0 0-9 0,0 0-21 0,18-3-8 0,-12-1-31 0,1 2-20 15,3-2-41-15,-2 1-28 0,2 0-47 0,0-2-88 16,3 1-73-16,-3-2-56 0,3-5-41 0,-2 5-337 0,-1-1 4 15,0 0 72 1,6 0 85-16,-6-2 522 0,-5 2 22 0,2-2 99 0,1-1 40 16,-3 2 53-16,-2-3 37 0,2 3 92 0,-3 2 5 15,-1-3-13-15,4 5-5 0,-5-2-95 16,2-1 10-16,0 3-20 0,-1 0 3 0,1 1-34 16,-2 3-25-16,3-2 10 0,-3 2-18 15,0 0-21-15,0 0-12 0,8 10-5 0,-6-4 56 16,0 4 10-16,1-3-36 0,0 2-10 0,-3 3-30 15,2 1-52-15,1 2-38 16,-3-3-36-16,2 2-75 0,-2-1-117 0,0 0-207 0,0 0-515 16,3 0 195-16,0-1 20 0,-1-2 13 0,1 0 100 15</inkml:trace>
  <inkml:trace contextRef="#ctx0" brushRef="#br1" timeOffset="-13878.01">3452 4146 1103 0,'-2'-5'384'0,"2"2"-34"0,-3 0-7 0,3 3-46 0,0 0-23 15,0 0-3-15,0 0-48 0,0 0-28 16,5 15-11-16,-4-7-15 0,3-1 51 0,-1 3 0 16,2 2-41-16,0-3-25 0,-2 2-23 15,1 1-44-15,2 0-52 0,-3-3-19 0,4 4-60 16,-2-2-71-16,0 0-103 15,-2-3-94-15,-3 0-110 0,5 1-461 0,-2-3 99 0,1-1 75 16,-1-1 77-16,0 2 74 0</inkml:trace>
  <inkml:trace contextRef="#ctx0" brushRef="#br1" timeOffset="-13718.7">3373 4304 903 0,'-5'-4'387'0,"5"4"-47"16,-1-4-35-16,1 4-37 0,1-5-14 0,1 2-19 16,5-2-27-16,-3 0-27 0,3 0-12 15,3 0-23-15,3 0-31 0,-2-2-25 16,3 1-52-16,0-1-68 0,1-2-83 0,1 4-140 0,-3 0-101 16,4 0-388-16,-4-1 18 0,2-1 140 15,-1 7 26-15</inkml:trace>
  <inkml:trace contextRef="#ctx0" brushRef="#br1" timeOffset="-12963.56">3626 4253 1395 0,'-2'-6'424'0,"0"3"-17"0,-1-1-35 0,2-1-22 0,1 5-45 0,-4-8-24 15,4 6 4-15,0 2-68 0,-3-4-40 0,3 4-6 16,0 0-25-16,-7 0-13 0,7 0-2 16,0 0-26-16,-3 10 15 0,0-6-38 0,3 1-15 15,0 1 14-15,0 1-35 0,0 2-17 0,3-3-14 16,-1 1-28-16,1-1-23 0,-1 1-7 16,4-1-11-16,-2-3-18 0,2 1-17 15,2 1-3-15,-1-3-11 0,1-1-27 0,2 1 15 16,-2-2 20-16,-3 0 3 0,3-2 12 15,0 2 9-15,-1-2 9 0,-2 1 14 0,0-3 35 16,0 2 18-16,1-2 41 0,-2 0-15 0,-1 0 20 16,0-1 39-16,-1-1-29 0,-1 2 29 15,1-1-11-15,1 1 3 0,-3-1 2 16,2 2-2-16,0-2-13 0,-1 4 11 0,-1 1-11 0,2-6-18 16,-2 6 18-16,3-4-28 15,-3 4 13-15,0 0-6 0,5-2 4 0,-5 2-11 0,0 0 17 16,0 0-11-16,8 6-65 0,-6-4-16 15,-2-2 11-15,5 4 10 0,-2-1-17 0,-1 0 14 16,-2-3 16-16,3 3-15 0,0 1 12 16,-3-4 16-16,4 2-2 0,-1 1 12 15,-3-3 5-15,0 0 72 0,5 2-8 0,-5-2 13 16,0 0-23-16,0 0-8 0,6 1-3 0,-6-1-7 16,0 0-12-16,0 0 4 0,0 0-10 0,12-2 5 15,-12 2-20-15,8-1-34 0,-8 1-12 16,10-2-21-16,-5 1-38 15,1 0-21-15,-2 0-23 0,4 0-40 0,0-4-34 0,0 2-74 0,-1 0-103 16,1-2-125-16,2-1 23 0,-2 1 72 16,0-3 94-16,2 2 126 15,-5-2 82-15,1 1 89 0,1-3 85 0,-2 2 33 0,-3-5 36 16,1 1 23-16,-3 0 30 0,3 0-17 16,-3-1 2-16,0 0-12 0,0 0-3 0,0 3 13 15,0 1-24-15,0-1-2 16,0 2 1-16,-3 1-109 0,3 1 1 0,0 1-6 0,0 3-12 15,0 2 7-15,0 0 8 0,0 0-17 0,0 0 12 16,5 13-3 0,-4-6-15-16,3 2 28 0,0 2-51 0,0 0-18 0,2-1-48 0,1 2-24 15,1 3-33-15,1-2-41 0,0-1-99 0,1-3-134 0,-2 4-506 16,2-3 81 0,-2-2 59-16,-4 2 95 0,2-1 36 0</inkml:trace>
  <inkml:trace contextRef="#ctx0" brushRef="#br1" timeOffset="-12584.4">4029 4200 1003 0,'0'0'476'15,"-8"-2"-54"-15,8 2-20 0,-10 4-64 0,5 0-21 16,-3-2-27-16,3 3-42 0,-1 1-20 0,2 0-11 15,-2 0-27-15,2 0-14 16,-2 1-12-16,4-1-26 0,-3 0-2 0,5 1-85 16,0-2-2-16,-3-1 2 0,6 1-30 0,-3-1-3 15,2 2 10-15,1-3-10 0,-1 1 0 16,4-4-41-16,-2 2-16 0,2 1-35 0,-6-3-44 16,11-2-23-16,-4 1-104 0,0-1-134 0,1 0-499 15,2 0 36-15,-2 0 194 0,2-2-17 16,-1 1 68-16</inkml:trace>
  <inkml:trace contextRef="#ctx0" brushRef="#br1" timeOffset="-12196.56">4253 3970 1223 0,'-1'-2'364'0,"1"2"-34"0,0-5-31 16,0 5-22-16,0 0-24 0,0 0 64 0,0 0 19 15,0 0-62-15,0 14-31 0,1-4-20 16,0 0-37-16,0 2-1 0,1 0-27 0,-2 1-22 16,3 3-3-16,-3-2-82 0,2 3-53 0,-1-3-32 15,1 0-60-15,-2 2-57 0,2-2-105 16,-2-1-26-16,3 3-48 0,-3-6-197 0,3 2-274 16,1 0 94-16,-1-4 26 0,0 1 57 15,1-4 158-15</inkml:trace>
  <inkml:trace contextRef="#ctx0" brushRef="#br1" timeOffset="-11636.02">4332 4253 358 0,'4'-3'302'0,"2"0"-3"16,-3 0 1-16,1-1-85 0,1-2 0 0,-2-1-5 16,2 1-8-16,0-1 0 0,-2-1 62 15,0 0-6-15,-1-1-12 0,0 1-10 16,1 2-16-16,-3-4-26 0,3 4 11 0,-1-1-13 16,-2 4-15-16,0-2-11 0,0 0-12 0,0 5-32 15,0-6-4-15,0 6-8 0,0 0-12 16,0 0-6-16,0 0-5 0,0 0-10 0,-5 11-11 15,5-5-10-15,0-2-2 0,-2 1 5 0,4-1-28 16,-2 2-26-16,0 0-10 0,5-2-16 16,-3 0-27-16,2 1-9 0,0-4-17 0,4 3-8 15,0-2-15-15,0-2 0 0,2 0-44 16,0-1 5-16,4-2 3 0,0 1 18 0,-3-3 5 16,4 2 5-1,-2-3 10-15,-3 0 16 0,0-1 17 0,0 2-2 0,0-2 44 0,-3 1 35 16,0 1 8-16,-2-1 13 0,0 4 20 0,0-4-4 15,-2 3-4-15,2 1 6 0,-5 2 13 16,3-1-19-16,-3 1-4 0,0 0 15 0,0 0-24 16,5 6 12-16,-5-6-12 0,2 6-37 0,-2-3 4 15,2 1-7-15,1-2-49 16,0 2-17-16,-3-4 12 0,7 2 0 0,-2-2 13 16,1 1-8-16,-6-1 3 0,15-3 8 0,-10 0 17 0,3 0 21 15,0-2 41-15,-1-1 20 16,1-1 21-16,-1 0 7 0,1-3 11 0,-2 1 12 15,-2-2 24-15,2-1-3 0,-3 1 0 0,1-2-13 16,-1 0-5-16,-1-1 23 0,1 1-28 16,-3-3-74-16,2 2 0 15,-1 1-8-15,1 3-8 0,-1 2 16 0,1-1-6 0,-2 3-12 0,0 0 3 16,2 2-4-16,-2 4 4 16,0 0-9-16,0 0 6 0,0 0 3 0,6 14 1 0,-4-5-4 15,0 0-5-15,1 3-26 0,2 1-20 16,-2 3-19-16,3-1-32 0,-2-2-37 0,1 3-50 15,0-2-27-15,-2 0-63 0,2-1-115 0,-3-2-13 16,1 0-479-16,-3 0 90 0,3-4 84 16,-1 1 43-16,-4-1 142 0</inkml:trace>
  <inkml:trace contextRef="#ctx0" brushRef="#br1" timeOffset="-11291.72">4777 4131 1185 0,'3'-12'348'16,"3"2"-21"-16,1 2-14 0,-4 2-96 0,2-1-17 0,-3 2-8 15,3-1-21-15,-2 1-9 0,0 2 9 16,1-1-35-16,-1 2 7 0,0-2-28 16,-3 4-23-16,5-3-7 0,-5 3-3 0,0 0 0 15,5 0-8-15,-5 0-7 0,0 0 2 16,8 3-13-16,-8-3-18 0,3 4-9 0,-3-4-1 15,4 3 2-15,-4-3 9 0,3 3-14 0,-3-3-2 16,3 2 8-16,-3-2-10 0,0 0 9 16,5 1-4-16,-5-1-13 0,0 0 25 0,0 0-33 15,0 0 8-15,10-3 5 0,-10 3-3 0,5-3 16 16,-5 3-8-16,0 0-13 16,0 0 8-16,10 3 5 0,-8-1 23 0,-2-2-10 0,6 5-49 15,-4-2 1-15,1 1-22 0,0-2-25 16,-1 1-20-16,-2-3-41 0,3 6-70 15,-1-4-137-15,-2-2-62 0,3 4-466 0,0-1 71 16,-3-3 106-16,0 0 84 0,10-2 49 0</inkml:trace>
  <inkml:trace contextRef="#ctx0" brushRef="#br1" timeOffset="-11020.75">5137 3809 1377 0,'0'0'509'15,"0"0"-41"-15,5 13-25 0,-3-8-64 16,-1 2-23-16,1 3-39 0,0-3-17 15,3 2-55-15,-4 0-40 0,4 3-74 0,-3-3-57 0,1 3-77 16,-1 0-55-16,-2 0-81 16,3-1-260-16,-3 2-499 0,0-1 63 0,-3-4 93 0,1 3 71 15,2-4 85-15</inkml:trace>
  <inkml:trace contextRef="#ctx0" brushRef="#br1" timeOffset="-10824.58">5108 4025 1064 0,'3'-6'418'0,"2"2"-29"0,0-2-49 16,3 1-17-16,-1-2-21 15,1 1-44-15,0-2-30 0,2 1-10 0,-2 0-29 0,5 1-2 16,-1-4-36-16,-1 4-13 0,-1-1-18 0,0 1-48 16,0 1-34-16,-1 0-30 15,0 0-64 1,-3 2-134-16,-4 0-191 0,3 0-471 0,-2 0 73 0,-3 3 76 0,7-1 37 0,-7-3 77 15</inkml:trace>
  <inkml:trace contextRef="#ctx0" brushRef="#br1" timeOffset="-10316.9">5332 3740 1018 0,'-8'-1'443'0,"8"1"-36"0,-11 1-26 16,11-1-38-16,-10 3-35 0,5-2-24 15,5-1-115-15,-7 2-16 0,3 2 14 0,2-1-29 0,0 0-20 16,2 3 12-16,0-2-48 0,2 4 0 16,1-2-8-16,0 1 3 0,2 0 5 15,2 0-26-15,-2 1 6 0,3 2 4 0,0-2-25 16,0-1 5-16,-3 3 13 0,2-3-13 0,-2 0-2 15,0 0-1-15,1-1 6 0,-4-1-16 16,1 2 16-16,-3-1-3 0,0-1-15 0,-3 2 7 16,-2-1 3-16,2 1-28 0,-5 0-3 0,-1-1 5 15,1 0-27-15,-3-2-29 0,1-1-21 16,0 3-27-16,-1-2-42 0,1-1-20 16,3-2-67-16,-1 2-132 15,0-3-375-15,8 0-145 0,-10-3 120 0,3 0 44 0,4-2 96 16</inkml:trace>
  <inkml:trace contextRef="#ctx0" brushRef="#br1" timeOffset="-10118.24">5395 3653 1105 0,'3'-4'397'0,"-3"0"36"16,0 4 4-16,3-5-58 0,-3 5-59 16,0 0-5-16,5 0-13 0,-5 0-31 0,0 0-22 15,8 11-32-15,-6-5-20 0,3 2-25 16,-2 2-16-16,-1 3-74 0,4-1-10 15,-4 0-34-15,0 2-10 0,4 0-41 0,-4 3-28 0,3-2-20 16,0-2-52-16,-2 3-38 0,2-3-110 0,0 0-130 16,0-1-436-16,0-1 61 15,1 1-19-15,-4-3 142 0,4-1 77 0,-2 0 37 16</inkml:trace>
  <inkml:trace contextRef="#ctx0" brushRef="#br1" timeOffset="-9678.61">5426 3819 1197 0,'0'-6'387'0,"3"2"-24"15,-3 4-32-15,3-6-32 0,1-1-17 16,2 4-29-16,-2-3 11 0,2 1-36 0,2-2-21 15,-3 2-7-15,0-1-6 0,0 0-43 0,0 1 0 16,0 2 3-16,-3-1-21 16,4 2 15-16,-4-3-22 0,1 4-16 0,-3 1-5 0,5-4-26 15,-5 4 21-15,0 0-23 0,0 0-13 16,0 0 15-16,8 6-12 0,-6-2-96 0,-1-1 14 16,1 1 5-16,0 1-6 0,1-4-4 0,0 2 2 15,2 1-15-15,-2-2 10 0,1 1-11 0,-1-1 11 16,3-1 0-16,-2 1 18 15,-4-2-8-15,11 1-10 0,-11-1-2 0,10-4 15 16,-5 2-11-16,0-1 26 0,2 0-5 0,-1-1-10 16,-3 1 10-16,4 0 23 0,-4 0-43 15,2 0 17-15,0 1 3 0,-3 0-8 0,2-1 11 16,-4 3-21-16,7-1-13 0,-7 1-15 0,5-1-33 16,-5 1-49-16,0 0-36 0,0 0-56 15,10 3-67-15,-10-3-161 0,5 2-407 16,-5-2 31-16,8 1 92 0,-8-1 97 0,8 0 57 0</inkml:trace>
  <inkml:trace contextRef="#ctx0" brushRef="#br1" timeOffset="-9150.45">5767 3584 537 0,'0'0'184'16,"0"0"-4"-16,0-5-24 0,0 5-5 0,0 0-16 16,0 0 16-16,0 0 5 0,0 0 16 15,3-5 20-15,-3 5-10 0,0-3 2 0,0 3-82 16,0 0 3-16,2-6 3 0,-2 6 10 16,0-5-3-16,0 5 79 0,3-5 19 0,-3 5-11 15,-2-4-15-15,2 4 10 0,2-4-10 0,-2 4-8 16,0 0-10-16,0 0-28 0,0 0-16 15,0 0-10-15,0 0 0 0,0 0 11 0,0 0-16 16,0 15-90-16,0-10 21 0,0 3 16 0,2 0 2 16,-2 0-16-16,1 2 8 0,4-1-28 15,-3 2 16-15,0 0 14 0,2 0 52 0,0-1-25 16,-1 1 25-16,2 0-31 0,-2-3-5 0,2 3-28 16,-2-4 15-16,-1 1-15 15,3-2-15-15,-2 0-18 0,-1-2-3 0,1 2 2 0,0-3-4 16,-1 1 20-16,0-1-8 0,-2-3-2 15,0 3-5-15,0-3-1 0,0 0 19 0,0 0-18 16,0 0 12 0,-10 1-15-16,10-1-2 0,-8 1-3 0,3 0 2 0,5-1-25 0,-9 3 11 15,3-1 14-15,3 2-25 0,-1-4 23 0,0 4-10 16,0-1 5-16,1 0 15 0,0 1-5 16,1 0-13-16,-1-2 24 0,3-2-1 0,-2 6-25 15,2-3 20-15,0-3-25 0,3 5-29 0,-3-5-9 16,5 0-37-16,-5 0-18 15,9 0-7-15,-9 0-74 0,14-3-82 0,-7 0-198 0,3 1-524 16,-2-1 89-16,0-1 185 0,2 1-13 16,0 0 74-16,1-3 72 0</inkml:trace>
  <inkml:trace contextRef="#ctx0" brushRef="#br1" timeOffset="-8807.82">6008 3621 1256 0,'0'0'366'0,"0"0"-41"0,0 0-17 0,0 0 42 16,0 0-25-16,-3 11-20 0,3-11-49 0,-2 8-18 0,2-4 5 15,-2 2-56-15,2 0-8 0,0-3-5 16,0 3-15-16,0-1-39 0,0 0 3 16,0-2-41-16,2 2 2 0,-2 0-40 0,0-5-11 15,3 3-7-15,-1 0 2 0,-2-3-18 16,8 1 11-16,-8-1-11 0,0 0-2 0,12-4-6 15,-6 1-7-15,-1 0 15 0,2-1-15 0,-1 0 5 16,-1-1-7-16,3 1-11 0,-3 0 5 0,0-1 5 16,0 3 3-16,0 1 5 0,-5 1-13 15,8 0 26-15,-8 0-10 0,8 7 9 16,-6-2 4-16,1 2 20 0,-1 0-8 0,1 2-15 0,-1 2 20 16,1 2-26-16,-3-2-14 0,2 3-19 15,-2-1-71-15,0 3-110 0,0-3-208 0,0 1-555 16,0-1 151-16,0 0 7 0,3 0 73 0,-2-2 117 15,1 0 33-15</inkml:trace>
  <inkml:trace contextRef="#ctx0" brushRef="#br1" timeOffset="-6446.04">9790 3659 995 0,'0'0'369'0,"3"-6"-26"0,1 2-36 0,-3 1 69 16,4 1-35-16,0 1-37 0,0-2-20 16,-5 3-15-16,13 6-13 0,-5-2-8 0,-3 5-35 15,5 4-6-15,-2 3-81 0,-1 3-21 16,-4 2-16-16,2 4 11 0,-4 1-18 0,-1 4 13 16,-1 10-21-16,-4 0-20 0,0-2-21 15,-1-1 0-15,2-7 0 0,1-5-15 0,0-5-7 0,1-1-22 16,0-2 37 15,2-2-18-31,0-1 2 0,0-3-8 0,0 0-12 0,2-2-3 0,-2 0 11 0,5-3-6 0,-2 1 16 0,1-5 2 0,-1 1-15 16,2-3 5-16,-5 0-3 15,11 0 9-15,-11 0-12 0,10-3 6 0,-5 3 6 16,2 0-1-16,-7 0-10 0,8 0 10 0,-2 1 13 16,-2 4-16-16,2 1 8 0,-1 4 6 15,0 5 25-15,0 4 5 0,1 6-10 0,1 12 30 16,-4 5-22-1,1 3-1-15,-1 4-2 0,0-1-5 0,-1 1 18 0,1 4-31 0,-1-7 5 0,-2 4-3 16,0-1 73-16,0-3-24 0,-2 0-23 16,0-6-2-16,-1 3-21 0,-2-5-10 15,0-1-28-15,-3-2-21 0,0-8-41 0,0-3 3 16,1-3-26-16,-3-2-33 0,2-3-20 16,-2-3-87-16,-1-1-144 0,-2-3-128 0,6-3-461 15,1-1 118-15,2 0 85 0,-4-4 54 0,2 0 78 16,2 0 65-16</inkml:trace>
  <inkml:trace contextRef="#ctx0" brushRef="#br1" timeOffset="-356.77">10431 3893 1159 0,'-3'-5'440'0,"-1"5"-92"0,4 0-28 15,0 0-35-15,0 0-45 0,-3-4-20 0,3 4-18 16,0 0-35-16,0 0-11 0,0 0-13 0,3 11-20 16,1-4-15-16,-1 0 9 0,0 4-27 15,1 0 18-15,2 2-19 0,-1-1-12 0,0 0-5 16,0 2-14-16,0 0 1 0,-2-1-10 0,-1-1 2 16,-2 1-10-16,0 1 3 0,-2-2-11 0,-1 2 13 15,-2-4-26-15,0 2 4 0,0-1 9 16,-2 0-5-16,1-2 0 0,-2-2-10 15,4 0-13-15,-2-2 8 0,3 0-21 0,-1-2 3 0,1 0 3 16,3-3-14-16,0 0 6 16,0 0-5-16,0 0 38 0,0 0-28 0,7-16 25 15,1 7-33-15,0-2 0 0,5-1 11 0,2-2-1 0,1 0 11 16,-1-3 5-16,0 1 0 16,1 1 12-16,-3-3 6 0,2 3-6 0,-7 0 11 15,2 0 8-15,-2 1-1 0,-1 1 19 0,-2 1-1 16,-2 0 3-16,-3 0 10 0,0 2 77 15,0 2-25-15,-5 0-21 0,2-2 0 0,-2 4 2 16,-3 0-45-16,1 1 4 0,-1 1-38 16,0 1-43-16,-2 2-23 0,2 1-31 0,1 0-39 0,-3 3-5 15,2-1-76-15,0 4-93 16,3-3-132-16,-2 2-528 0,1 1 31 0,3 2 163 16,-2 0 3-16,3-1 64 0,-1 0 90 0</inkml:trace>
  <inkml:trace contextRef="#ctx0" brushRef="#br1" timeOffset="2020.66">10452 4564 1435 0,'0'0'446'0,"0"0"-31"0,-3-6-119 0,3 6-27 0,0 0 0 0,0 0-46 15,0 0-11-15,-13 12-33 0,8-5-7 0,0 4 4 16,0 1-35-16,-1 1-20 0,-1 2 7 15,2 2-29-15,0 1-9 0,2-4-16 0,1 5-12 16,-1-1-1-16,3-4-20 0,-3 2-13 16,6-2 0-16,-3-1 3 0,3 1 0 0,1-2-6 15,2-1 1-15,-1-2-24 16,2 0 9-16,-1-2 2 0,1-3-1 0,-1 2 9 0,2-4-1 16,-1 0-4-16,0 1 2 0,-1-3 2 0,-6 0-5 15,7-4 11-15,-1 2 20 0,-4-1-33 16,-2-1 23-16,3 0-3 0,-3 4-2 0,-3-7-21 15,0 2 21-15,-2 1-26 0,1 0-3 16,1-1-2-16,-3 3-10 0,-1-3-49 0,2 3-25 16,-1-2-42-16,2 4-25 0,4 0-41 0,-11 0-135 15,11 0-106-15,-10 5-396 0,5-3-1 16,2 2 137-16,-2-2 50 0,3 3 47 0</inkml:trace>
  <inkml:trace contextRef="#ctx0" brushRef="#br1" timeOffset="5090.8">10497 5637 1169 0,'10'-10'451'15,"-9"7"-29"-15,2-2-25 0,-3-1-103 0,2-1-22 0,0-3-6 16,-2 2-13-16,0-3 70 0,1 3-34 0,-2-6-41 16,1-1-5-16,-2-1-40 0,0-2 4 15,-4-4-59-15,4 0 26 0,-4-3-38 16,2 0-5-16,-2 1-14 0,1-2-14 0,0 2-42 16,2 5 6-16,1 0 7 0,-3 3-36 0,3 3-4 15,-1 0-42-15,0 0-23 16,1 6-20-16,1-3-44 0,-1 3-17 0,2 2-11 0,0 1-31 15,0 4-38-15,0 0-89 0,0 0-131 0,0 0-538 16,0 0 62-16,5 9 138 0,-5-5 33 16,3 4 64-16,-1-2 57 0</inkml:trace>
  <inkml:trace contextRef="#ctx0" brushRef="#br1" timeOffset="5369.49">10575 5393 877 0,'2'2'448'0,"-2"-2"-35"0,0 0-24 16,0 5-21-16,0-5-20 0,0 0-97 0,0 0-8 16,0 0-20-16,0 0 7 0,0 0-15 15,5-12-2-15,-5 5-13 0,0 1-26 0,0-4-23 16,0 2-13-16,-2-3-18 0,-1-2 11 16,1-1-16-16,-4-2-26 0,4 0 9 0,-3 0-11 15,2 1-26-15,0 1-10 0,1 0 3 0,-3 1-26 16,2 0-12-16,1 0-34 0,2 5 5 0,-2-3-25 15,-2 5-24-15,4-2-38 0,-2 2-23 16,2 2-10-16,0 1-7 0,0 3-27 0,0 0-73 16,0 0-134-16,-2-2-141 0,2 2-363 15,0 0 100-15,-3 9 44 0,0-3 109 0,3 0 70 16</inkml:trace>
  <inkml:trace contextRef="#ctx0" brushRef="#br1" timeOffset="5791.14">10365 5445 1328 0,'-1'-5'397'0,"1"-2"53"0,0-2-53 0,0-2-18 0,0-2-18 15,3-3-54-15,-1-2-10 0,1-2-23 16,0-4-6-16,4-2-42 0,1-9-34 0,-1-1-11 16,3 3-27-16,-1 3-13 0,3-1-8 15,1 6-15-15,-5 6-16 0,2 0 0 16,0 3-7-16,1 3-36 0,-1 5 20 0,-2-3-35 0,2 6-8 15,0 3-6-15,0 1 4 0,0 1-14 16,1 1-33-16,2 3-22 0,-1-1-29 0,-1 4-6 16,2 3-40-16,2-1-30 0,-2 2-19 15,-1 1-48-15,-1 0-90 0,4 1-164 0,-10 1 3 16,6-1-456-16,-1-1 97 0,-3 1 93 16,1 1 48-16,0-4 136 15</inkml:trace>
  <inkml:trace contextRef="#ctx0" brushRef="#br1" timeOffset="69333.89">18966 13596 1438 0,'0'19'364'0,"0"-2"-65"0,-2 0-51 0,2-2-86 15,-1-1-88-15,0 0-110 0,-5 2-207 0,6-1-464 16,-2 0 49-16,-1-2 54 0</inkml:trace>
  <inkml:trace contextRef="#ctx0" brushRef="#br1" timeOffset="69621.7">19062 13444 1420 0,'0'0'525'0,"0"0"-52"0,2 15-114 16,0-7-6-16,-2 3-56 16,2 2-36-16,2 4-23 0,-2 2-25 15,3 2-34-15,0 5-3 0,-2 0 57 0,2 0-31 0,-1 2-30 16,-1-3-41-16,0 3-19 0,-3-3-35 0,2 0-13 15,-2-2-51-15,1-3-8 0,-1-1-31 16,0 0-38-16,0-2-15 0,0-3-44 16,-3-1-48-16,3-2-137 0,-6-1-175 0,4-2-459 0,0-2 120 15,-1 0 49-15,1-5 97 0,2-1 93 16</inkml:trace>
  <inkml:trace contextRef="#ctx0" brushRef="#br1" timeOffset="70021.7">18927 13474 1154 0,'8'-17'366'16,"2"3"-41"-16,-2 3-31 0,0 3-15 16,-1 0-38-16,-1 3-11 0,2 0-15 0,2 1-23 15,-3 3-2-15,3 1-26 0,1 4-24 0,-1 0-4 16,1 2-8-16,2 4-38 0,-3 2-14 0,2 0 1 15,-1 5-38-15,4 1-4 0,-4-2-24 16,-1 2-19-16,2 1-33 16,-2 0-2-16,-1 0-24 0,-1-2-2 0,-2-2-21 0,-2 1-2 0,0-2-41 15,-1 1-41-15,0-1-54 16,-3-1-84-16,0 2-190 0,0-4-243 0,0-1 82 16,0 0 57-16,-3-2 50 0</inkml:trace>
  <inkml:trace contextRef="#ctx0" brushRef="#br1" timeOffset="70408.09">18974 13500 1576 0,'-2'14'481'0,"2"-5"-114"16,-1 0-30-16,1 6-22 0,0 0-31 15,-3 5-23-15,3 1-35 0,0 6 42 16,0-1-24-16,-2 4-17 0,0-2-9 0,0 11-49 16,-4-2-38-16,3 0-39 0,-2-6-26 0,3-4-25 15,-1-1-15-15,-2-5-42 0,4-1-27 0,-3-1-24 16,1-1-12-16,3-2-108 0,-5-4-100 16,0-1-127-16,2-4-495 0,3-2 34 0,-2-3 140 15,2-2 98-15,0 0 35 0</inkml:trace>
  <inkml:trace contextRef="#ctx0" brushRef="#br1" timeOffset="70801.03">18804 13528 949 0,'6'-19'341'0,"-1"3"-39"0,3 3-5 0,-1-1 43 15,4 1-12-15,-4-1-24 0,3 0-15 0,0 1-43 16,4 2 18-16,0 1-44 16,-3 3 3-16,2 1-13 0,0 3-8 0,0 3-20 15,3 1-6-15,-2 2-25 0,6 2 3 0,-4 2-24 0,1 3-17 16,0 0-6-16,1 3 16 15,0 1-31-15,2 1-5 0,-2-2-15 0,0 3-5 16,0-2-8-16,-2 0-6 0,-1 1-14 16,2-1-16-16,-1 2 5 0,-3-5-31 0,0 2-4 15,-1-2-14-15,-2-1-22 0,1 1-19 16,-3-1-2-16,1-1-18 0,-1 0-17 0,-3-1-17 0,1 0-22 16,-1-1-62-16,0-1-99 0,0-5-136 0,0 6-525 15,-2-2 92-15,-1-2 90 0,3 0 82 16,-4 0 61-16,-1-3 126 0</inkml:trace>
  <inkml:trace contextRef="#ctx0" brushRef="#br1" timeOffset="130113.49">3780 1422 1331 0,'-10'0'391'0,"7"0"-17"16,3 0-36-16,0 0-31 0,0 0-18 16,19-10-5-16,6 4-30 0,19-3-19 0,9 0-20 0,19-1-2 15,8 1-19-15,9 0 19 0,6-1-21 16,6 1-44-16,24-1-12 0,0 0-16 16,-2 1 0-16,-19 5-27 0,23-5 1 0,-30 5-22 0,-1 0-6 15,-6 2-17-15,-1 0-18 0,-7 0-39 16,-2 2-10-16,-6-3-28 0,-15 2-18 0,-5 1-36 15,-3-1-2-15,-10 1 33 16,-8 1-49-16,-7-1-18 0,-3 1-173 0,-5-1-73 0,-3 1-552 16,-1 1 77-16,-9-2 73 0,-3 2 91 0,-2-2 68 15</inkml:trace>
  <inkml:trace contextRef="#ctx0" brushRef="#br1" timeOffset="130503.14">3642 1630 1046 0,'-28'4'366'0,"8"-1"-30"0,7-1-32 0,5 1-30 0,5-3-8 16,3 0-12-16,0 0-21 0,38-6-13 16,7-2 28-16,26-3 6 0,13-3-16 15,9 0-28-15,30-3-16 0,7 1-76 0,7-2-21 0,1 3-15 16,-2 0-18-16,2 3 13 0,-5-1-3 0,-6 2-18 15,-28 2 6-15,-7 0-6 0,-7 3-23 16,-6 0-12-16,-9 1-13 0,-16 1-24 16,-5 2-27-16,-11 0-1 0,-10 1-43 0,-5 1-23 15,0 1-13-15,-5-1-15 0,-5 2-36 0,-2 0-46 16,1 2-113-16,-6 0-82 0,1 1-427 16,-5 0 54-16,-1-1 97 0,-1 2 92 0,-3 0 33 15</inkml:trace>
</inkml:ink>
</file>

<file path=ppt/ink/ink2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52:18.440"/>
    </inkml:context>
    <inkml:brush xml:id="br0">
      <inkml:brushProperty name="width" value="0.05292" units="cm"/>
      <inkml:brushProperty name="height" value="0.05292" units="cm"/>
      <inkml:brushProperty name="color" value="#0070C0"/>
    </inkml:brush>
  </inkml:definitions>
  <inkml:trace contextRef="#ctx0" brushRef="#br0">2806 5658 1428 0,'-5'1'445'0,"5"-1"16"0,0 0-21 0,0 0-53 16,0 0-39-16,0 0 15 0,15-9-50 0,-7 3-27 15,7-1-22-15,1-3-36 0,4 1-31 0,3-3-82 16,8-7-18-16,3 3 6 0,1-3 22 15,1 0-28-15,-3 1-33 0,1-1 3 0,2 0-24 16,0-2-30-16,-3 2-51 0,0 3 12 0,-2-2-56 16,-5 7-15-16,-3 0-10 0,-5 0-37 15,-2 3-40-15,-4 3-131 0,-2-1-56 0,-2 2-57 16,-3 3-462-16,-2-1 71 0,-3 2 74 0,0 0 56 16,0 0 90-16</inkml:trace>
  <inkml:trace contextRef="#ctx0" brushRef="#br0" timeOffset="261.36">2544 5757 801 0,'-8'6'348'0,"6"-5"-5"15,4 2-13-15,-2-3-15 0,18 0-13 0,-5-3-23 16,6 1-13-16,9-5-10 0,11-4-13 16,4-2-25-16,13-4 76 0,3-2-23 15,0 4-17-15,3-6-124 0,-6 3 6 0,1-1-10 0,-1 0-27 16,-3 2-1-16,1-1-1 0,-10 2-15 15,-3 2-16-15,0-3 14 0,-5 4-24 0,-3-1-12 16,-7 3 2-16,-3 2-8 0,-5 0-12 0,-3 2-8 16,-2 2 5-16,0-2-31 0,-3 2-18 15,1 1-4-15,-4 0-34 16,1-2-16-16,-2 4-22 0,-2-1-21 0,-1 0-41 0,0 2-61 16,-3 1-59-16,0 0-123 0,0 0-502 0,0 0 72 15,0 0 102-15,-16 3 72 0,11 1 52 16</inkml:trace>
  <inkml:trace contextRef="#ctx0" brushRef="#br0" timeOffset="1200.9">11644 5652 1144 0,'0'0'486'0,"0"0"-41"0,0 0-43 0,8-13-97 0,2 7-29 0,3-1-22 0,2-2-39 0,5-2-8 15,4-1-30-15,6-7-13 0,3 0-6 0,4-3-17 16,-2 3-26-16,3-3-5 0,7-3-15 0,-7 3-13 16,-2 1-8-16,0 2-12 0,-1-2-6 15,-1 2-31-15,-3 0-2 0,0 3-33 0,-6 3-5 16,-7 1-26-16,0 2-10 15,-5 4-13-15,-1-1-10 0,1 1-21 0,-5 3-18 0,-1-2-22 0,-1 5-34 16,-3-1-77-16,-3 1-38 0,0 0-59 16,0 0 79-16,-1 7-53 0,-1-1-124 15,-6 0-206-15,0 1-8 0,-4 4 73 0</inkml:trace>
  <inkml:trace contextRef="#ctx0" brushRef="#br0" timeOffset="1535.93">12133 5419 332 0,'-26'14'238'0,"4"2"3"0,1-5 12 15,1 3-94-15,2-2 10 0,-1-1 38 16,5 0 62-16,-2-1-3 0,5-2-15 0,1-1-15 0,2-1 12 15,1 0 0-15,2-1-117 0,0-2 17 16,2 0 16-16,3-3-28 0,0 0 17 0,0 0-9 16,0 0-11-16,18-1-3 0,-5-3 21 15,0-2 57-15,2 0-42 0,3-1 5 0,3-4-12 16,-1 1-31-16,3-1-74 0,8-6-16 16,-5 4 6-16,4-1-1 0,-4 1-9 0,-3 2-1 15,-2 0 8-15,-1 1 2 0,0 0-14 0,-4 2-4 16,-1-2 19-16,-2 2-9 0,2 2-6 15,-4-1-4-15,1 1-9 0,-1 0 7 0,-1 0 2 16,-2 1 3-16,-2 2-17 0,1 0 12 0,-2-2-16 16,0 3 9-16,0 0-11 0,-2-2-5 15,2 3-5-15,-5 1 0 0,5-4-8 0,-5 4 0 16,5-1-7-16,-5 1-4 0,0 0-16 0,0 0-17 16,0 0-22-16,0 0-16 15,0 0-17-15,0 0-32 0,0 0-25 0,0 0-59 16,0 0-69-16,0 0-143 0,0 0-491 0,-10 6 127 0,10-6 28 15,-5 7 106-15,2-6 63 0</inkml:trace>
  <inkml:trace contextRef="#ctx0" brushRef="#br0" timeOffset="2765.04">19458 5607 1049 0,'0'0'338'0,"0"0"-11"16,0 0-30-16,0 0-15 0,0 0 48 0,24-5-15 15,-12-1-28-15,3 0-21 0,3-1 5 16,11-7-53-16,4-3-16 0,1 0 0 0,1-2-30 15,4-1-11-15,-1 0-15 0,6-6-18 0,-8 6-13 16,2-2-28-16,-2 1 10 0,-2 2-25 0,-1 0-5 16,-1 1 17-16,-3 2-20 0,-6 6-26 15,-2-1 9-15,-6 4-22 0,-2 2 11 16,0-1-41-16,-2 1-34 0,-3 3 16 0,-2-1-33 0,-3 1-10 16,2 2-27-16,-5 0-19 0,0 0-26 15,0 0-34-15,0 8-22 0,-5-3-29 16,-2 2-31-16,-4 3-14 0,-4-1-75 15,-3 5 12-15,-10 5 60 0,-1 1 20 0,-4-1 26 0,-1 0 69 0,-1 1 25 16,1 0 83-16,-1 1 55 16,1-2 62-16,6-2 29 0,5-2 14 0,5-5-4 15,5-1 7-15,1 1-13 0,2-3 29 16,4-2 5-16,1 0 10 0,2-2 15 0,1-2-8 0,2-1 1 16,0 0-18-16,15 0-8 0,-4-4 25 15,3 1-17-15,4-3-6 0,5-4 57 16,11-2-10-16,0-1-13 0,2-1 0 0,-1 1-52 15,3-3 8-15,-4 2-86 0,7 0 4 16,-5-1-15-16,2 2 10 0,-4-1 11 0,-1 3-13 16,-5 2-34-16,-4 0 3 0,-1 0-8 0,-3 2-2 0,-2 1-3 15,-3 0-10-15,1-1-18 0,-4 3 0 16,-1 2 1-16,-2-3-32 0,0 3-15 16,-1-2-26-16,-1 3 1 0,-4-2-16 0,3 2-31 15,-6 1-54-15,0 0-71 0,0 0-23 0,0 0-166 16,0 0-385-16,2 5 93 0,-2-5 58 15,0 0 65-15</inkml:trace>
  <inkml:trace contextRef="#ctx0" brushRef="#br0" timeOffset="30028.09">10783 6748 913 0,'0'0'382'0,"12"-5"-42"0,-2 2-17 0,3 1-21 0,11 0-26 0,8-3-30 0,15 0-13 15,7 0-13-15,17-1-36 0,1 2 1 0,5 0-29 16,2-2-13-16,4 3-20 0,4-1 51 16,0-2-5-16,0 2-26 0,2 1-15 0,-3 2-5 15,-4-3 0-15,-5 3-51 0,-1 0-24 0,-17-3-2 16,-5 4-35-16,-2-2-11 0,-4 1-13 16,-12-1-33-16,-6 1-16 0,-6 1-12 0,-6 0-31 15,0-1-2-15,-2 1-19 0,-4 0-99 0,-2-1-82 16,-2 0-241-16,-3-1-310 15,-2 0 119-15,-3 2 32 0,0 0 139 0,-13-6 46 0</inkml:trace>
  <inkml:trace contextRef="#ctx0" brushRef="#br0" timeOffset="30336.23">11118 6750 1016 0,'-23'5'379'16,"5"-4"-21"-16,5 1-46 0,3-1 6 15,2-1-50-15,6 2-24 0,2-2 11 0,0 0-121 0,0 0 14 16,23 2-17-16,0-2-1 0,8-1-7 16,20 0-15-16,3-2 9 0,20 1-14 15,3-2-6-15,2 2-36 0,-1-3 8 0,3 3-7 16,-1-2-19-16,-1 2 16 0,-7-3-15 0,-13 5-6 16,0-1-15-16,-7 1-10 0,-1 0-16 15,-11 0-2-15,-6 0-13 0,-8 0-10 0,4 0-2 16,-6 1 1-16,-4-1-29 15,-2 2-14-15,-5 0 8 0,0-1-26 0,-3 0-7 0,0-1 2 0,-5 1-38 16,-2 2-28-16,-3-3-77 0,-3 6-26 16,-2-3-71-1,-5 4-407-15,-3 4 33 0,-7-3 46 0,-9 9 87 0</inkml:trace>
  <inkml:trace contextRef="#ctx0" brushRef="#br0" timeOffset="30786.39">10542 7399 737 0,'0'0'327'0,"10"6"-32"0,-3-4-34 0,9 0-15 16,6 1-34-16,9-2 8 0,5-1-25 0,18-1-19 16,8 0 26-16,15-1 11 0,4 0-29 15,4 1-2-15,0-4-23 16,7 5-19-16,-5-2-29 0,3 0-76 0,-1 1 4 0,-3-1-26 16,-2 2 2-16,-2 0-18 0,-3 0-15 0,-4 0 1 15,-16 2-27-15,-3 1-25 0,-7-3-41 0,-8 2-34 16,-8-2-76-16,-2 0-43 0,-6 1-75 0,-6 1-392 15,-4 0 24 1,1-1 56-16,-6-1 99 0</inkml:trace>
  <inkml:trace contextRef="#ctx0" brushRef="#br0" timeOffset="31062.15">10774 7594 801 0,'19'-5'291'0,"-5"3"-29"0,5-2-14 0,7 2 62 0,17-3-37 16,8-1-45-16,6 3-8 0,12-1-22 16,5-2-12-16,1 3-17 0,1 0-33 15,2-1-11-15,-4 3-25 0,0-1 3 0,-14 2-47 16,-1 0-2-16,-1 0-39 0,-6 2-53 0,-1-1-42 15,-5 1-81-15,-8 0-46 0,-9 3-70 16,-4-4-473-16,-4 4 21 0,-6-3 79 0,0 2 33 16</inkml:trace>
  <inkml:trace contextRef="#ctx0" brushRef="#br0" timeOffset="31433.65">10238 8307 911 0,'36'0'325'0,"-2"-1"-26"15,17 1-30-15,6-4-10 0,14 3-42 16,6-4-12-16,0 1-18 0,3-2-34 0,-1 1-25 15,3-1-28-15,-2 0-5 0,-4 0-57 0,-1 1-33 16,-16 2-102-16,-5-1-79 0,-16 4-114 0,13-3-462 16,-7 0 43-16,-8-4 105 0</inkml:trace>
  <inkml:trace contextRef="#ctx0" brushRef="#br0" timeOffset="31696.42">10203 8551 944 0,'13'0'335'0,"7"0"-38"15,6 0-31-15,10 0-10 0,20 0-30 0,5-2-29 0,14 1-18 16,-3-2-18-16,7 3-53 0,-2-3-44 15,-5 0-16-15,-10 2-40 0,-3 1-36 0,-3-1 36 16,-2 1-57-16,-6 1-143 0,-6-1-8 0,-15 0-115 16,7 0-422-16,-6 1 74 0,-5 1 59 15</inkml:trace>
  <inkml:trace contextRef="#ctx0" brushRef="#br0" timeOffset="35952.98">20705 6694 1008 0,'10'-2'323'15,"5"-1"40"-15,8 2-30 0,6-1-18 16,16-1-34-16,9 1-12 0,5-2-23 0,18 2-6 16,5 1-35-16,5-3-28 0,1 4-83 15,4-3-9-15,0 1-11 0,5 1-12 0,-5 2 7 16,-6 1-26-16,-2 1-17 0,-4-3-1 0,-1 0-20 15,-7 4-12-15,-13-3-29 0,-2 0-10 0,-4-1-18 16,-4 4 10-16,-9-4-53 0,-11 1-47 0,-3-1-17 16,-3 2-62-16,-5-2 61 0,-1 1-76 15,-4-2-47-15,-10 2-140 0,7-1-292 16,-7 0 72-16,-3 0 54 0</inkml:trace>
  <inkml:trace contextRef="#ctx0" brushRef="#br0" timeOffset="36351.4">20802 6826 1113 0,'-5'1'374'0,"2"2"-111"0,3-3-9 0,0 0-16 0,23 3-23 15,-5-2-21-15,8 1-17 0,20 0-8 16,11-1-16-16,17 4-2 0,5-1-23 0,10-2-7 15,2 0 43-15,8 1-11 16,2-2-7-16,-2 0-18 0,-3-1-23 0,-6 0 8 0,-1 0-31 0,-4 1 5 16,-2-2 2-16,-7 1-9 15,-15 0-27-15,-2 0 14 0,-6 0-21 0,-6-1-10 16,-8-2 5-16,-7 3-8 0,-5-1-10 0,-4 0 0 16,-1 0 0-16,-4 1-2 0,-1 0-4 0,0 0 12 15,-7-1-11-15,3 1-16 0,-2 0 8 16,-2 0-12-16,-1-1-8 0,-1 1-3 0,-7 0-31 15,11 0 1-15,-11 0 15 0,10 1-36 16,-10-1-21-16,6 1-38 0,-6-1-38 0,0 5-123 16,0-5-146-16,-1 2-476 0,1-2 115 0,-5 5 64 15,5-5 115-15,-5 5 39 0</inkml:trace>
</inkml:ink>
</file>

<file path=ppt/ink/ink2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53:22.534"/>
    </inkml:context>
    <inkml:brush xml:id="br0">
      <inkml:brushProperty name="width" value="0.05292" units="cm"/>
      <inkml:brushProperty name="height" value="0.05292" units="cm"/>
      <inkml:brushProperty name="color" value="#0070C0"/>
    </inkml:brush>
  </inkml:definitions>
  <inkml:trace contextRef="#ctx0" brushRef="#br0">18797 11669 1215 0,'5'-25'400'0,"-2"0"-29"16,2 0-67-16,-3-2-14 0,-1-3-24 0,1-11 0 16,0 0-43-16,-2 8-29 0,3-5-12 0,-3 7-26 0,3 4-25 15,-3 0-8-15,2 6-8 16,-2-1-18-16,2 1-23 0,0-1 3 0,-1 3-21 31,-1 1-17-31,3-1-19 0,-3 4-17 0,2-1-26 0,-2 2-23 0,2 5-36 0,-1-1-23 0,-1-1-41 16,0 2-125-16,3-2-111 0,-3 5-473 15,2 3 80-15,-2 0 48 0,0 3 112 0,0 0 52 16</inkml:trace>
  <inkml:trace contextRef="#ctx0" brushRef="#br0" timeOffset="287.52">18963 11452 1062 0,'5'-8'432'15,"-2"2"-35"-15,-2 3-21 0,1-7-45 0,0 3-22 0,0-4-14 0,2 0-24 0,-2-3-10 0,1-3-15 16,4-2-26-16,-4-3-15 0,2-2-18 0,0-1-11 15,0-1-15-15,0-10-35 16,1 7 4-16,-2 5-12 0,-1-1-10 0,2 6-21 0,1-1-11 16,-2 1-14-16,-1 2-26 0,0 1 5 15,0 3-23-15,1 0-21 0,0 2-28 0,-2 2-25 16,-2-1-18-16,2 3-21 0,0 1-43 0,2-1-23 16,-4 1-31-16,2 4-36 0,0-2-118 15,-2 4-365-15,2 0-175 16,-2 0 100-16,0 0 67 0,0 0 89 0,0 0 31 0</inkml:trace>
  <inkml:trace contextRef="#ctx0" brushRef="#br0" timeOffset="717.38">18646 11210 1343 0,'0'-10'382'0,"0"2"-103"0,5-2-16 0,-3 2-14 0,3-4-11 16,3-1-28-16,0-1 53 0,4-3-2 15,1-2-33-15,3 2-31 0,-1 0-15 16,8-5-8-16,-4 5-89 0,1 3-4 0,-2 1 4 0,2 2-13 15,-2-1 2-15,2 4-5 16,1-3-3-16,-3 5 4 0,0 2-6 0,-2 1 5 0,1 0-5 16,-3 3-18-16,0 0 18 0,-1 3-5 15,1 1-24-15,-2 4 19 0,1-2 0 0,-3 4-18 16,4-1 0-16,-4 4-8 0,0-2-8 16,2 2 3-16,-2 0 8 0,-1-1-5 0,1 1-34 15,-3 0-13-15,1 2-4 0,0-2-24 16,0 0-30-16,0 2-6 0,-2-2-25 0,2 1-13 0,-2 2-22 15,1-3-19-15,1 0-77 0,-3-2-94 16,5 3-571-16,-5-1 102 0,5-1 51 0,-2-2 49 16,0-2 90-16</inkml:trace>
  <inkml:trace contextRef="#ctx0" brushRef="#br0" timeOffset="1374.27">20248 11678 1146 0,'-2'-4'377'16,"2"4"-34"-16,0 0-31 0,0 0 49 16,2 12-23-16,-2-4-21 0,-2 3-41 0,4 2-20 15,-4 3-41-15,2 0-12 16,-1 3-45-16,-4 3 9 0,5-2-42 0,-5-1-12 0,3 0-26 15,-1 0-46-15,-2 0-23 0,3-1-29 0,-4 0-22 16,4-1-36-16,-1-3-56 0,-2-1-96 16,3-6-88-16,1 6-549 0,-4-1 65 0,3-1 94 15,-1-2-2-15,3-2 76 0</inkml:trace>
  <inkml:trace contextRef="#ctx0" brushRef="#br0" timeOffset="1716.05">20212 11793 980 0,'11'-17'384'0,"1"3"-26"16,-1 2-20-16,4 4-33 0,0 0-8 0,1 1-39 16,1 1-30-16,1 2-5 0,0 2-21 15,0 3-23-15,3 1 10 0,-3 1-17 0,2 4-21 16,-2 3-23-16,3 1-3 0,-4 2-7 0,-3 4-10 15,1-2 2-15,-5 2 0 0,0 0-28 16,-4-1 30-16,-4-2-27 0,-2 1 76 0,0 0 3 16,-2 2-44-16,-6-3 13 0,0 0-105 0,-2 0 1 15,-3 2-12 1,0 1 19-16,-2-4 10 0,2-1-38 0,-5 0 23 0,3-2-13 0,-1-1 10 16,1-1-23-16,-3-2-8 0,5-1-32 15,2 1-29-15,-1-3-26 0,2 1-53 0,0-3-8 16,2 2-57-16,0-3-48 0,8 0-143 0,-10-4-581 15,7 2 99-15,3-2 72 0,0-1 141 0,3 0 8 16,0-2 61-16</inkml:trace>
  <inkml:trace contextRef="#ctx0" brushRef="#br0" timeOffset="1893.66">20664 11900 1371 0,'2'7'420'15,"-4"0"-18"-15,2 0-118 0,-1 1-41 16,-1 1-17-16,-3 0-14 0,2 3-20 0,-2-2-15 16,2 1-24-16,-4-1-22 0,4 1-31 0,-2-1-31 15,-2-2-26-15,1 3-30 0,1-3-23 16,-2 2-62-16,1-3-53 0,3-1-131 0,-1 1-425 16,1-3-115-16,2-2 120 0,-3 2 8 0,4-4 105 15</inkml:trace>
  <inkml:trace contextRef="#ctx0" brushRef="#br0" timeOffset="2012.98">20717 11865 860 0,'0'0'179'0,"5"-4"-136"0,-4 2-286 0,-1 2-376 0</inkml:trace>
  <inkml:trace contextRef="#ctx0" brushRef="#br0" timeOffset="2257.69">20830 11860 1315 0,'0'0'369'0,"-5"9"-29"0,3-3-15 16,1 3-35-16,-4-1-6 0,3 0-33 0,0 3 43 15,-2 1 18-15,0 0-33 16,1 0-15-16,0 1-8 0,1-1-108 0,-1-2-10 0,-2 2-12 15,0-1-19-15,1 1-17 0,-2-1 2 0,0-2 8 16,1-1-41-16,-2 2-11 0,2-4-14 0,-1 1-39 16,-1-1-36-16,2-1-34 0,-1-2-40 15,1-1-33 1,0 0-62-16,5-2-192 0,-8-2-555 0,8 2 81 0,-2-4 78 0,2 4 127 0,0-8 39 16,2 4 53-16</inkml:trace>
  <inkml:trace contextRef="#ctx0" brushRef="#br0" timeOffset="2786.12">20930 11900 1039 0,'-5'9'361'16,"2"-4"-39"-16,1 2-15 0,-3 0-40 0,-1 0-22 15,2 1-14-15,1 0-34 0,0 1-26 0,1 0 54 0,-1-1 6 16,1 1-52-16,-1 1-20 15,3-2-16-15,0 1-15 0,3-3-18 0,-1 3-23 0,1-2-2 16,-1-2-1 0,4 0-17-16,1-1 17 0,-2-3-17 0,3 1-16 0,0-2-8 15,2-2 6-15,0 2-8 0,-2-1 13 0,2 1 12 16,-3 0-4-16,-1 0-3 0,-6 0 7 0,13 0 1 16,-5 1-14-16,-4 4 11 0,2-3-10 15,-1 3-13-15,-2-1-5 0,1 2 25 0,-1-2-15 16,0 3-2-16,1-2 23 15,-1 1-32-15,4 2-1 0,-3-4 4 0,1 2 3 0,2-1-18 16,1-2-13-16,1 1 6 0,0-3 19 0,-1-1-29 16,4 0 6-16,0-1 1 15,0-3 20-15,-2 0-33 0,2-1 16 0,-3-2-14 16,1-3 4-16,0 1-12 0,-5 0 9 0,2-2 5 0,-4 1 15 16,4 0-13-16,-7 2-15 0,1 0 15 15,-2 1 18-15,-3 2-18 0,-1 0 3 0,-3 1 13 16,1 2-11-16,-2 1-12 0,-1 2 17 0,0 1 3 15,-3 1 3-15,3 2-13 0,1 0-6 0,0 2 4 16,1 1-6-16,1-3 18 0,2 3 23 16,2-2-46-16,2 1 13 0,-1 0-13 15,5 0-21-15,0 0-7 0,2 0-36 0,0-3-8 0,5 4-61 16,1-4-31-16,1 1-28 0,1 0-161 0,3-2-676 16,2 0 59-16,-3-1 128 15,2-2 138-15,-1 0 31 0,2-2 25 0,2-3 116 16</inkml:trace>
  <inkml:trace contextRef="#ctx0" brushRef="#br0" timeOffset="3415.9">21607 11888 1423 0,'-13'6'389'0,"7"-1"-54"0,-2 3-38 16,0 4-10-16,-3 3-11 0,-2 4-48 15,4 2-3-15,-8 9-43 0,-1 0-5 0,2 1-21 16,-1 0-44-16,0 1-32 0,2-1-27 0,1 0-27 16,3-6-11-16,1-3-2 0,0 0-26 15,4-1-10-15,0-3 5 0,0-3-2 0,2 1 5 16,-2-4 4-16,4-1 9 0,-4-1 2 0,4-1 13 15,1-1 25-15,-1-4-5 0,0 0 3 0,-1-3 15 16,3-1 16-16,0 0-6 16,0 0 31-16,3-14 3 0,1 4 8 0,-1-5-22 0,7-7 9 15,3-9-26-15,2-2 74 0,4 0-12 16,6 1 7-16,-1 2-18 0,1 1 0 0,1 3-10 16,2 4 21-16,-3 2-19 0,-5 6-7 15,-2 5-13-15,-3 2 8 0,-3 2-14 0,2 0 9 16,-3 5-16-16,-3-1 11 0,0 2 7 0,-1-1-72 15,-4 5 9-15,-3-3-6 0,0 5-8 16,-2-2 21-16,-4 5 12 0,-2-2-30 0,-2 2 26 16,-1 0-49-16,-3 0-8 0,0-2-13 0,1 3-35 15,-4-3-26-15,4 3-16 0,3-4-40 0,-1-1-10 16,3-1-39-16,0 2-13 0,2-3-51 16,0-1 0-16,4 0-77 0,2-3-82 0,2 1-514 15,-2-1 54-15,10-1 110 16,0-1 27-16,-1 1 109 0,3-4 83 0</inkml:trace>
  <inkml:trace contextRef="#ctx0" brushRef="#br0" timeOffset="3988.79">21927 12049 1121 0,'3'-4'427'0,"-3"4"-40"0,0 0-19 0,0 0-32 0,0 0-24 16,0 0-38-16,0 0-39 0,-26 8-7 0,16-4-108 15,-2 0 21-15,2 3-33 0,-4-2-16 16,4 0 5-16,1-1-28 0,0 2-13 15,1-1 1-15,1-1-11 0,1 0-10 0,3 0 10 16,-1 0-18-16,-1-2 0 0,5 0 8 0,0-2-8 16,0 0-10-16,0 0 18 0,7 6-21 15,-2-5 13-15,-5-1-5 0,14-1 11 0,-7 1-4 16,3 1 9-16,-2-2 4 0,2 2-4 0,-2 1 9 16,0 0 3-16,0-1 11 0,-1-1-6 15,0 5-12 1,-1-1 20-16,-1-1-21 0,2 1 8 0,-4 1-2 0,2 0-5 0,-4-2 4 0,1 1 16 15,0 1-2-15,1-2-14 0,-3 0 16 16,0 1 0-16,0-4 8 0,3 6 7 16,-3-6 88-16,2 2-6 0,-2-2 28 0,0 0-56 15,0 0 36-15,0 0-41 0,0 0-15 0,0 0-3 0,12-5-110 16,-11 0 13-16,4 1 0 16,3-1-11-16,-3-2-12 0,3 0-31 0,0-2 21 15,-1 0-44-15,3-1-36 0,3 0-15 16,-2-2-54-1,1 1-13-15,1 0-38 0,4-4 5 0,-1 2 2 0,1 0-43 0,-1-3-25 0,1 4 7 16,-5 1 82 0,3 1 18-16,-1-1 18 0,-2 3-75 0,-2 2 47 0,-2 0 41 0,-1 1 40 0,-1 1 52 15,1 0 36-15,-2 0 7 16,1 3 44-16,-4-1 23 0,-2 2 23 0,0 0 2 0,0 0 3 16,5 8 3-16,-5-5-1 0,0 3 1 0,0 1 2 15,-1 0 0-15,-3 2-18 0,4 2 6 0,-2-1-19 16,2 3-10-16,0-3-15 15,-1 2-8-15,0 2-17 0,1 0-27 0,-1-1-37 16,1 0-32-16,-3-2-35 0,3-1-34 0,-2 1-102 16,2 0-153-16,-2 0-497 0,2-1 125 15,-1-1 82-15,-2 0 67 0,3-3 61 0</inkml:trace>
  <inkml:trace contextRef="#ctx0" brushRef="#br0" timeOffset="4457.42">22245 12104 1251 0,'5'-3'353'0,"1"1"-35"16,1-1-39-16,-2 0-26 0,5 2-12 15,-2-3-31-15,2 2-3 0,0 0-35 0,-2-1-14 16,1 1-17-16,0 1-16 0,-2-1-12 16,-1 0 0-16,-1 2-3 0,-5 0 5 0,13 0-8 15,-10 2-7-15,2 1 5 0,-2-1-13 0,-1 2-5 16,-2-4 6-16,2 8-14 0,-2-4-10 16,0 0 3-16,2 1-11 0,-2-1-10 0,1-1 16 15,-1 1-31-15,0-1-3 0,0-3-10 16,5 5-8-16,-2-2 16 0,4-1 10 0,1-2-15 15,3 0-3-15,1 0-16 0,4-2 11 0,2 1-2 16,-3-1-1-16,1 2 18 16,-2 2-2-16,-1-1 7 15,-1 1 34-15,-3 3 74 0,1 0 8 0,-2 3 12 0,0 1 13 0,-3 2 13 0,-2 2-18 16,1 5-38-16,-4-3-3 0,0 4-23 0,-4 0 23 16,-2 3-20-16,-1-2-19 0,-1-1-22 15,-2-1-36-15,0 1-10 16,0 0-62-16,0-1-33 0,-1-3-52 0,1 2-63 0,-1-3-54 15,1 0-126-15,0-2-754 0,2-2 58 0,2 0 203 16,-1-3-1-16,2-1 83 0,1-1 86 16,0-2 75-16</inkml:trace>
  <inkml:trace contextRef="#ctx0" brushRef="#br0" timeOffset="9151.89">3527 5926 1151 0,'0'0'361'0,"0"0"-43"0,5 12-9 15,-5-6-19-15,-3 5-40 0,3 2-19 16,-2 0-14-16,1 3-40 0,-3 3-11 0,0-1-12 16,0 1-23-16,-2 3-26 0,1 1-16 15,0-4-20-15,1 1-28 0,1-3-41 0,-2-1-31 16,2 1-35-16,1-3-29 0,-2-1 21 0,2-1-187 16,0-1 0-16,2-3-492 0,0 2 13 15,0-6 57-15,2 1 33 16</inkml:trace>
  <inkml:trace contextRef="#ctx0" brushRef="#br0" timeOffset="9571.32">3803 5958 1069 0,'8'3'390'0,"-1"-2"-32"0,1 2-20 0,-2 1-21 0,-2 1-92 0,-3-1-22 15,1 5-4-15,-2-1 3 0,0-1-35 0,-5 4 4 16,0 0-12-16,-2-2-36 0,1 2-10 16,-4 0-1-16,5-2-15 0,-3 2-4 0,1-5-17 15,4 2 1-15,-3-1-15 0,2-1-4 16,1 0-1-16,0 0-11 0,3 0 20 0,0 0-32 15,0-1-4-15,3 1-1 0,0-1 9 16,-1 2-5-16,4-2-7 0,-1 2 12 0,0 0 8 16,-1-1 26-16,2 1 10 0,-4-1-16 0,1 1 45 15,2 0-27-15,-4 1 0 0,-1 0 6 0,0 0 74 16,-1-2-28-16,-2 2-14 0,-2 1 22 16,-3-1-34-16,1-2-23 0,-1 2-26 0,1-2-50 15,-3 0-32-15,0 1-63 0,1-1 4 0,1-1-63 16,-1-1-52-16,0 0-76 0,3-4-259 15,0 5-501-15,-2-4 96 0,3 4 106 0,0-5 102 16,5 0 62-16,-5 2 91 16</inkml:trace>
  <inkml:trace contextRef="#ctx0" brushRef="#br0" timeOffset="9951.01">4046 6155 1187 0,'0'8'417'0,"1"-1"44"0,-2 4-18 0,0 0-41 15,1 2-26-15,-1 0-33 0,-1 0-18 0,-1 2-28 16,0 1-56-16,-1 2-1 0,-4-3-35 16,2 3-33-16,-1-1-44 0,0-2-67 0,-1 0-23 15,3 0-50-15,-3-2-52 0,0-1-57 0,3-1-94 16,-2-5-189-16,1 3-564 0,2-3 113 15,-2 0 47-15,3-2 139 0,-2-1 37 0,2-3 84 16</inkml:trace>
  <inkml:trace contextRef="#ctx0" brushRef="#br0" timeOffset="10229.76">4287 5980 1323 0,'0'0'479'0,"0"0"-24"16,0 0-35-16,0 0-95 0,9 10-28 0,-7 0-3 16,1 1-35-16,0 2-21 0,-1 0-13 15,3 6-28-15,-5-1-20 0,0 2 10 0,0-1-54 16,2 2-3-16,-4 1 16 0,2-3-28 0,-3 1-36 15,1-1-33-15,-1 0-44 0,1-2-28 0,-3 0-29 16,4-4-27-16,-3-1-41 0,1 0-34 0,2-3-30 16,-1-2-82-16,0 1-154 0,-1-3-530 15,3-1 116-15,0 1 74 0,0-5 81 16,0 0 103-16</inkml:trace>
  <inkml:trace contextRef="#ctx0" brushRef="#br0" timeOffset="10602.71">4516 6026 957 0,'10'5'430'0,"-4"-3"-13"0,-4 2-30 0,0 2-29 16,1 1-15-16,-3-1-26 15,-3 1-22-15,-1 4-16 0,-2-2-44 0,-2 4-15 16,1-1-30-16,-3 0-14 0,2-1-2 0,1 0-25 16,-2 1-31-16,5-2 10 0,1 1-16 15,-2 0-2-15,2-1-18 0,1 0-10 0,2-2 0 16,-3 3 0-16,3-3 31 0,0 0-103 16,0 1 36-16,0 0 8 0,0 1 12 0,0-3-25 0,0-1 23 15,0 1-5-15,0 1-20 16,0 0 2-16,0 0 69 0,-4-2 7 0,0 1-58 15,2 0-31-15,-3 2-38 0,0-1-54 0,0-1-77 16,-1-1-71-16,-2 1-167 0,3-2-681 0,0-1 83 16,1-2 83-16,1 0 126 0,3-2 75 15,0 0 73-15,0 0 32 0</inkml:trace>
  <inkml:trace contextRef="#ctx0" brushRef="#br0" timeOffset="10795.57">4595 6282 1351 0,'3'6'438'0,"2"1"48"16,-2-1-43-16,2 6-16 0,-2 0-38 16,1 0-20-16,-3 2-49 0,2-1 0 0,-3 0-67 0,0 4-12 15,-3 0-41-15,2-2-70 16,-1 4-50-16,-3-6-65 0,2 4-77 0,1-5-53 16,-1 2-105-16,-5-1-189 0,6-1-567 0,4-4 91 15,-2 2 109-15,0-5 75 0,3-2 71 16,2 0 105-16</inkml:trace>
  <inkml:trace contextRef="#ctx0" brushRef="#br0" timeOffset="11085.09">5165 6070 1208 0,'0'0'455'0,"0"0"-14"15,0 11-27-15,0-5-22 0,0 1-41 0,-2 4-24 0,1-1-25 16,1 5-41-16,-2 2-7 0,-1 0-44 0,1 2-11 16,1 1-30-16,-4 1-25 0,1-1-37 15,1-2-40-15,-3 1-57 0,2 0-26 16,-2-1-47-16,2-2-37 0,-2 1-59 0,1-4-112 15,0-1-116-15,2 0-547 0,-2 0 140 0,3-5 42 16,1-1 68-16,-3 1 75 0</inkml:trace>
  <inkml:trace contextRef="#ctx0" brushRef="#br0" timeOffset="11554.42">5367 6124 1090 0,'10'7'420'0,"-4"1"-41"0,-2 0-34 0,2 1-22 16,-4-2-16-16,-2 0-41 0,0 4-15 15,-2-4-23-15,-3 5-29 16,2-3-17-16,-4 2-3 0,4 0-30 0,-2-1-1 0,0 0-15 15,0 1-18-15,2-2-10 0,1 2-20 0,2 0 17 16,0-2-7-16,2 2-8 0,3 0 8 16,-2 1 7-16,2-2 11 0,0 1 10 0,0 2-11 15,0-2 3-15,1 2 3 0,-4-2-13 0,0-3-13 16,-1 3 5-16,-1-3-2 0,-1 2 0 16,-3-1-23-16,-2 1-16 0,-2-2-77 0,1 3-40 15,-3-4-57-15,-1 1-66 0,4-2-59 16,-1 0-146-16,0 0-668 0,3-4 79 0,0 0 123 15,5-2 95-15,0 0 35 0,0 0 93 16</inkml:trace>
  <inkml:trace contextRef="#ctx0" brushRef="#br0" timeOffset="11744.84">5463 6430 1313 0,'7'7'494'0,"-5"-4"64"0,1 5-64 0,-3 0-90 0,2 0-33 0,-2 4-41 0,0 1-22 16,-2 2-47-16,-1 1-21 0,1 2-43 0,-5 0-51 15,4 0-74-15,-3-3-44 0,-2 4-69 16,1-2-66-16,2 0-80 0,3-3-264 0,-1 0-516 0,3-1 127 16,3-2 62-16,-1-2 146 15,3-1 12-15,0-2 75 0</inkml:trace>
  <inkml:trace contextRef="#ctx0" brushRef="#br0" timeOffset="12095.63">5963 6088 1548 0,'0'0'540'0,"0"0"-38"0,0 0-57 0,-1 19 1 15,1-8-55-15,0 1-30 0,-2 3-38 16,2 1-8-16,-3 1-49 0,0 4-31 0,1-2-7 16,-1 1-26-16,0 0-30 0,1 0-31 0,-3 3-36 15,2-4-31-15,-1 0-41 0,1-1-36 0,0 0-50 16,1-4-9-16,-1 2-40 15,0-3-26-15,3-3-15 0,-2 0-75 0,2-3-143 0,0-1-670 16,0-1 101-16,2-2 88 0,1 1 100 16,-3-4 82-16,3 1 66 0</inkml:trace>
  <inkml:trace contextRef="#ctx0" brushRef="#br0" timeOffset="12755.47">6213 6118 1497 0,'15'2'520'0,"-1"3"-55"16,-1-4-35-16,-1 4-33 0,-4-2-23 15,2 2-16-15,-2 1-53 0,0 1 7 0,-5 0-41 16,-1 2-22-16,-3-2-32 0,-1 1-12 16,-3 3-21-16,0 0-12 0,-1-2-21 0,-1 2-10 15,2-2-21-15,0 1-18 0,2-2-9 16,1 1-4-16,0-1 1 0,2 0-34 0,2 2 13 16,-2-2 3-16,2-1-1 0,1 3 22 0,-1-2 4 15,1 4-59-15,-1-4 21 0,1 2-41 16,0-3 5-16,-3 4 92 0,0-3-2 0,-3 3-31 15,3-3 25-15,-5 3-35 0,0-3 0 0,0 2-24 16,-1-3-14-16,-1 2-50 0,-1 0-40 0,0-2-62 16,0 0-76-16,1-1-52 0,-1-2-54 15,3 0-145-15,0-1-732 0,0-1 114 16,2-1 109-16,3-1 94 0,0 0 86 0,0 0 81 16,0 0 55-16</inkml:trace>
  <inkml:trace contextRef="#ctx0" brushRef="#br0" timeOffset="12923.32">6377 6391 1528 0,'8'4'504'0,"-2"2"-51"0,-1 1-10 0,3 4-62 0,-1 1 1 0,-2 2 55 0,0 3-104 15,0-1-51-15,-3 2 15 0,-2 1-54 16,0 3-13-16,-2-2-12 0,0-1-42 0,0 3-63 16,-2-2-67-16,0-2-72 0,1 2-53 0,-3-3-41 15,4-2-57-15,-3-3-66 0,5-6-213 16,-3 5-537-16,3-4 82 0,0-2 74 0,0-2 102 15,0-3 80-15,3 2 76 0</inkml:trace>
  <inkml:trace contextRef="#ctx0" brushRef="#br0" timeOffset="13190.28">6793 6206 1305 0,'0'0'599'0,"0"0"-51"16,8 11 12-16,-8-3-17 0,2 0-118 0,-2 3-5 16,2 2-113-16,-2 0-5 0,0 4-41 0,0-2-15 15,-2 4-47-15,2 2-12 0,-2-1-26 16,-2-1-30-16,2 0-82 0,-3 0-55 0,3 0-63 16,-3-1-46-16,2 0-54 0,0-5-43 0,1 1-149 15,-3-2-192-15,2-5-448 0,1 3 110 0,0-4 82 16,1-3 83-16,1 2 70 15,-3-1 80-15</inkml:trace>
  <inkml:trace contextRef="#ctx0" brushRef="#br0" timeOffset="13715.73">7042 6200 1889 0,'7'1'527'0,"-1"4"-15"15,1 1-28-15,-2-3-36 0,1 4-34 0,1 1-40 16,-4 0-39-16,-1-2-40 0,-2 3-1 0,-2 0-48 15,-1 0-47-15,3 1-43 0,-5-1-20 16,3 1-39-16,1-2-43 0,-1 3 10 0,2-3-13 0,0 2-2 16,2-2 0-16,-2 2-14 15,3-1 1-15,2 2 31 0,-2 0 4 0,2-2 29 16,2 3-13-16,1-1 21 0,-3-2-3 0,0 2-3 16,-2 0 31-16,-1-2-51 0,1 0 0 0,-3-1 3 15,0 0-24-15,0 1-79 16,-7 0-2-16,1 0-26 0,-1-1-44 0,-1-1-71 0,-2 1-49 15,0-2-56-15,2-1-83 0,0 0-247 0,0-3-528 16,3 2 129-16,0-2 81 0,-2-2 85 16,7 0 109-16,-6-5 80 0,6 5 85 15</inkml:trace>
  <inkml:trace contextRef="#ctx0" brushRef="#br0" timeOffset="13889.24">7244 6475 1453 0,'5'12'574'0,"0"-3"-26"0,-2 1 17 0,-3 1-53 0,0-2-25 16,0 4-57-16,-2 1-31 0,1 2-48 0,-4 2-42 16,0 0-43-16,-3 3-35 0,-2 2-80 0,0-2-110 15,2 3-72-15,-2-4-84 0,0 2-85 0,5-2-84 16,-1-5-205-16,6 0-553 16,0 0 111-16,3-4 106 0,4 0 75 0,2-3 88 0,3-2 65 15</inkml:trace>
  <inkml:trace contextRef="#ctx0" brushRef="#br0" timeOffset="14262.13">7862 6271 1308 0,'0'0'560'0,"0"0"-33"15,3 13-35-15,-1-7-8 0,-2 5-19 0,0 1-27 16,0 0-54-16,-2 5-15 0,1 0-34 15,-1 1-66-15,-1 3-6 0,1-1-106 0,-1 0-17 16,-2 0-37-16,2-1-11 0,-1 0-46 0,1-1-28 16,0-1-46-16,-2-2-29 0,2 0-30 0,1-5-43 15,0 1-24-15,-1-3-35 0,3 2-47 0,-3-4-101 16,3-4-160-16,0 2-476 16,3-2 93-16,-3-2 76 0,5 3 141 0,-5-3 13 15,0 0 71-15</inkml:trace>
  <inkml:trace contextRef="#ctx0" brushRef="#br0" timeOffset="14781.48">8124 6300 1610 0,'10'5'450'0,"0"-2"-46"0,-2 3 57 16,-3-1-36-16,0 0-26 0,0-1-45 15,-2 1-19-15,-1-1-48 0,-1 3-13 0,1-2-24 16,-4-1-6-16,1 2-35 0,-1-1-19 0,2 1-29 16,-3 0-20-16,3 1 0 0,0-1-11 0,0 1-32 15,3 2-1-15,0-2 0 0,1 1-28 0,-1 3 11 16,4-3 30-16,-1 4-31 0,-2 0-59 15,2-1 65-15,-3 1-29 0,2-2-15 16,-3 1 49-16,-4 2 68 0,2-2-101 0,-5 2-24 16,0-2 13-16,-3 2 5 0,-2-1-17 0,-1-3-27 15,-4 3-35-15,2-2-49 0,-3-2-69 0,1 0-69 16,-1 1-89-16,-1-5-88 0,1 2-258 16,1-1-458-16,2-1 109 0,-2-2 98 0,2 3 118 15,-2-4 89-15,5 0 31 16,-1 0 100-16</inkml:trace>
  <inkml:trace contextRef="#ctx0" brushRef="#br0" timeOffset="15524.84">8797 6580 1523 0,'4'7'550'15,"0"-1"-15"-15,-1 3-44 0,0 3-61 0,-1 2-33 16,-2 1-57-16,-2 1-12 0,-4 2-13 0,-4 5-54 16,-10 6-51-16,-1-2-36 0,-7 4-87 15,-8 2-110-15,0 4-77 0,-5-5-117 0,1 3-295 16,1-4-484-16,6-6 103 0,-1-2 86 0,3-2 101 16,0 0 51-16,1-3 86 0</inkml:trace>
  <inkml:trace contextRef="#ctx0" brushRef="#br0" timeOffset="16098.49">9464 6326 1195 0,'0'0'425'0,"1"-3"-28"0,-1 3-39 0,0 0-30 15,0 0-16-15,2 10-41 0,-4-1-15 16,2 0-31-16,-1 3-15 0,-1 0-20 0,2 2-16 15,-3 4-21-15,0 1-58 0,-1 0-31 16,1 5-59-16,-4-1-51 0,-1-1-59 16,2 2-130-1,-14 3-154-15,15-4-538 0,0-3 131 0,2-2 82 0,1-4 35 0,-1 0 93 0</inkml:trace>
  <inkml:trace contextRef="#ctx0" brushRef="#br0" timeOffset="16373.72">9693 6568 1126 0,'4'2'473'0,"-1"2"-38"0,2 1-35 0,-2 0-34 0,0 3-26 15,-1 0-10-15,-2 1-35 0,0 1-32 0,-2 4-27 16,-3-1-36-16,-1-2-49 0,1 6-44 0,0-3-53 16,-3-1-67-16,1-1-43 0,-1 1-70 15,3-3-96 1,-8-1-213-16,6 1-472 0,1-3 96 0,1-2 84 0,0-3 74 0,2 0 75 16</inkml:trace>
  <inkml:trace contextRef="#ctx0" brushRef="#br0" timeOffset="16635.75">10069 6306 1428 0,'6'0'417'0,"1"3"-25"0,1 1-31 16,-3 2-16-16,3 1-35 0,0 3-26 0,-3 0-5 15,2 4-33-15,1 1 51 0,-5 1-31 0,1 1-13 16,0 1-27-16,-2 1-32 0,-2-5-48 16,-2 7-49-16,-1-2-35 0,2-1-24 0,-3 1-58 15,1-3-32-15,0 1-24 0,-2 1-58 16,3-5-63-16,-1-5-156 0,0 4-622 0,-1 0 69 16,1-2 115-16,1-1 66 0,1-3 55 0,1 2 66 15</inkml:trace>
  <inkml:trace contextRef="#ctx0" brushRef="#br0" timeOffset="18008.09">4411 6205 854 0,'0'0'323'16,"0"0"-82"-16,0 0-42 0,-18-9-35 0,18 9-97 15,0 0-73-15,0 0-119 0,0 0-540 0,0 0 96 16</inkml:trace>
  <inkml:trace contextRef="#ctx0" brushRef="#br0" timeOffset="18860.21">6975 6380 453 0,'0'0'-64'15</inkml:trace>
  <inkml:trace contextRef="#ctx0" brushRef="#br0" timeOffset="19077.64">7924 6544 1149 0,'0'0'376'0,"4"-2"-51"0,-4 2-56 15,0 0-77-15,0 0-161 0,0 0-223 0,-10-4-548 16,10 4 85-16,-5-2 66 0</inkml:trace>
  <inkml:trace contextRef="#ctx0" brushRef="#br0" timeOffset="23310.36">10503 6589 1361 0,'0'9'417'15,"0"-1"-30"-15,-3 3-59 0,0 0-14 0,-1 3-32 16,-4 0-26-16,0 0-36 16,0 4-53-16,-2 0-60 15,0 0-63-15,-3-2-85 0,1 0-197 0,1 2-638 0,-4-4 126 0,4-1 39 16,1-1 119-16,0-5 29 0</inkml:trace>
  <inkml:trace contextRef="#ctx0" brushRef="#br0" timeOffset="23533.14">10895 6381 1323 0,'2'7'496'0,"1"0"-42"0,0 3-45 0,-3-1-30 15,2 4-28-15,0 2-47 0,-2 1-35 0,0 1-3 16,-2 1-64-16,0 1-58 0,-3-4-57 16,2 3-57-16,-2 0-50 0,0 0-105 15,0-1-247-15,0-1-557 0,-1 2 95 0,2 0 71 0,-2-4 126 16,1-1 33-16</inkml:trace>
  <inkml:trace contextRef="#ctx0" brushRef="#br0" timeOffset="23779.99">11113 6670 1443 0,'0'0'522'0,"0"0"-40"15,11 5-37-15,-9 0-53 0,0 1-8 16,1 2-39-16,-3 1-43 0,0 2-23 0,-3 1-33 16,1 2-49-16,-1 1-36 0,-4-1-61 0,-1 3-82 15,0-2-67-15,-2-2-74 0,2 3-186 16,-2-2-641-16,0-2 93 0,0-1 27 16,2-2 114-16,0-4 96 0,-2 2 29 0</inkml:trace>
  <inkml:trace contextRef="#ctx0" brushRef="#br0" timeOffset="24046.58">11521 6438 1290 0,'2'7'430'15,"-2"0"-11"-15,0 4-55 0,0 3-39 0,-2 2-46 16,2-2-18-16,-3 6-43 0,0 1-47 0,-1 2-71 16,0 1-82-16,-3-5-13 0,0 4-351 15,-1-1-514-15,0-1 85 0,0-3 48 16,3-3 161-16,-3 2 13 0</inkml:trace>
  <inkml:trace contextRef="#ctx0" brushRef="#br0" timeOffset="24295.12">11744 6706 1766 0,'12'5'542'0,"-9"-2"-107"0,0 2 6 15,-3 2-75-15,0 3-36 0,0-1-33 0,0 1-26 16,-5 2-30-16,2-1-36 0,-3 4-44 16,0-1-36-16,0-1-53 0,-2 3-52 0,1-2-76 0,-1-1-41 15,0 0-98-15,0-2-222 16,1 0-517-16,0-3 61 0,1 0 128 0,-2-1 31 16,1 2 110-16,-1-6 30 0</inkml:trace>
  <inkml:trace contextRef="#ctx0" brushRef="#br0" timeOffset="24680.79">12174 6439 1615 0,'8'1'473'0,"-8"-1"-50"0,5 10-22 0,0-2-45 16,-2 3-33-16,2 2-31 0,-2 1-34 0,-1 4-22 16,1 1-55-16,-1 1-78 0,1 2-47 0,-6-2-76 15,3 4-75-15,-3 2-43 0,-4-1-298 0,2-1-485 16,2 0 99-16,-2-4 100 0,0-2 70 15,2-1 43-15</inkml:trace>
  <inkml:trace contextRef="#ctx0" brushRef="#br0" timeOffset="24834.07">12344 6925 1732 0,'4'2'517'0,"-4"2"-48"0,4-2-31 16,-2 1-62-16,0 0-110 0,1 1-46 0,-3-4-33 15,0 6-62-15,3-4-58 0,-3 2-46 0,0-4-73 0,-3 8-86 16,3-6-251-16,-3 3-494 0,1 0 79 16,-3-3 134-16,2 2-11 0,-2 2 71 0</inkml:trace>
  <inkml:trace contextRef="#ctx0" brushRef="#br0" timeOffset="30449.54">19223 4341 1126 0,'0'0'389'0,"0"0"-33"15,-10 0-31-15,10 0-33 0,0 0-19 0,0 0-22 16,0 4-28-16,0-4-13 0,0 0-98 16,10 5-19-16,-3-5 19 0,0 2-32 0,2-2-6 15,1 1 0-15,0 2-15 0,0-3-3 16,1 2 3-16,1-2-18 0,1 0 15 0,-2 1-2 0,1-1 8 16,-2 0 4-16,-1 0-10 15,-1 1 1-15,-2-1 9 0,2 0 83 16,0 0-39-16,-8 0 2 0,12 3-19 0,-9-3 14 0,0 3-28 15,0 0 8-15,-3 0-5 0,2 2-12 0,-2 2-9 16,-2 2 5-16,1-2-19 16,-4 6 4-16,2-1 0 0,-1-2-25 0,-4 5 9 15,2-3 4-15,0 2-3 0,-2 0-8 0,2-1-3 0,-1 0-4 16,1 0-1-16,-1-2-4 16,2-1 2-16,-1-1-29 0,2 2-7 0,-2-4-35 0,2 1-6 15,3-1-18-15,-4 0-25 0,3-2-19 0,-1-1-27 16,0 1-42-16,1 0-66 15,1-2-74-15,-3 1-125 0,4-2-475 0,-3 1 99 16,3-3 63-16,0 0 105 0,0 0 74 0</inkml:trace>
  <inkml:trace contextRef="#ctx0" brushRef="#br0" timeOffset="30746.73">19246 4476 1054 0,'0'0'328'0,"0"0"33"0,-3-4-39 15,3 4-22-15,0 0-37 0,0 0-27 16,8-2-24-16,-8 2-22 0,11 1-11 0,-11-1-36 15,12 0-23-15,-4 4-20 0,2-4-43 0,0 0-52 16,0 0-13-16,-2 0-51 0,5 0-53 16,-3 1-62-16,3 1-59 0,-6-2-108 15,4 2-457-15,-1-1 112 0,2 0 51 0,-3-1 26 16</inkml:trace>
  <inkml:trace contextRef="#ctx0" brushRef="#br0" timeOffset="31331.38">19796 4559 1046 0,'0'0'325'0,"0"0"-30"16,0 0-37-16,0 0-9 0,0 0-16 15,0 0-39-15,17-2-30 0,-17 2-10 0,14 1-16 16,-6-1-20-16,0 0-24 0,3 1-35 0,1-1-38 15,-2 3-52-15,3-3-46 0,0 1-64 16,2-1-69-16,-2-4-87 0,2 4-432 0,-2 0 25 16,0 0 115-16,-2 0 90 0</inkml:trace>
  <inkml:trace contextRef="#ctx0" brushRef="#br0" timeOffset="31694.69">20025 4459 990 0,'0'0'302'0,"8"0"-46"0,-8 0-13 15,10 3-7-15,-5-3-37 0,3 3-19 0,0 0-9 16,-1-1 52-16,-2 0-13 0,3 2 10 0,-3 1-38 15,2 1-26-15,-4-2 13 0,3 1-31 16,-4 1-18-16,0 0 0 0,2 2-2 0,-2-2-26 16,0 3 11-16,-2-3-24 0,-2 3 26 15,2-2-38-15,-2 3-6 0,-2-4 8 0,2 2-18 16,-1-1-10-16,-2 3-2 0,3-4-27 0,-3 1-19 16,2-2-32-16,-2 2-40 0,0-1-46 15,2 0-85-15,1 0-120 0,-1-3-234 0,3 1-250 16,-3 1 21-16,3-5 115 0,3 4 84 0,-3-1 31 15</inkml:trace>
  <inkml:trace contextRef="#ctx0" brushRef="#br0" timeOffset="32410.49">20694 4437 847 0,'0'0'297'0,"0"0"-23"16,0 0-29-16,0 0 1 0,0 0-31 15,-5 9-18-15,0-3-23 0,2 0-18 0,-2 1-7 16,0 0-14-16,0 3-12 0,2-2-18 0,-4 2-5 16,2-1-28-16,1 1-11 15,-3 0-25-15,2-1-13 0,0-1-15 0,0 1-80 16,2-1-28-16,-2-2-61 0,3 0-54 0,0 0-59 16,-2 0 3-16,4-1-449 0,0-1 32 15,0 0 117-15</inkml:trace>
  <inkml:trace contextRef="#ctx0" brushRef="#br0" timeOffset="32784.06">20835 4461 819 0,'0'0'289'0,"0"0"-38"0,0 0-18 0,0 0-3 0,0 0-28 15,-10 11-10-15,8-5-20 0,-1 0-11 0,0 0-13 0,1 3-4 16,0-2-34-16,1 0 0 0,-2 2-8 16,3 1-17-16,3-2-3 0,0 2-18 15,-3-4 25-15,5 2-25 0,-2-2 5 0,4 1 75 16,-2-1-9-16,0-1 4 0,2-1-4 16,0-2 14-16,0 0-14 0,0-1 14 0,-1-1 7 15,2 0-15-15,-8 0-57 0,12-3-15 0,-7-2-10 16,1 0 3-16,-2-2 7 0,0 0-16 0,-2 1 1 15,0-2-5-15,-2-2 5 0,-2 2 56 16,2-1 0-16,-2-1-10 0,-4-1-18 0,3-1 2 16,-2 4-17-16,-2-4-11 0,1 4-38 15,-4-2-28-15,2 2-24 0,-2 0-25 16,0 1-38-16,-3 3-13 0,1-1-36 0,-2 1-69 0,1 1-113 16,-3 2-160-16,-1-1-457 0,1 5 57 15,-4-3 125-15,2 0 92 0,1 1 44 16,1 0 54-16</inkml:trace>
  <inkml:trace contextRef="#ctx0" brushRef="#br0" timeOffset="33302.61">18917 3881 1272 0,'6'10'373'0,"-4"0"-14"0,-2 2-16 0,-2 8-46 0,-1 4-31 16,-2 3 0-16,-5 10-51 0,1 5-10 0,-3-2 0 16,-4 9-31-16,2-7 30 0,1-1-12 15,1 1-41-15,-2-4-43 0,1 3 5 16,0-7-44-16,0 1-21 0,3-3-43 0,0-6-17 0,2-3-19 16,1-4-28-16,1-1-20 0,1-3-52 15,-2-1-63-15,4-3-19 0,0-3-178 16,1 0-454-16,0-5 67 0,2 2 46 0,0-3 97 15,0-2 69-15</inkml:trace>
  <inkml:trace contextRef="#ctx0" brushRef="#br0" timeOffset="34317.93">18720 3895 883 0,'0'0'401'0,"5"-6"-24"0,0 5-16 0,2 0-41 15,2-2-26-15,7 1-35 0,1 2-98 16,9 1-15-16,7 0-8 0,18 3-5 0,6-1-10 16,10 2-5-16,7 1-16 0,3-1-20 0,2 3 5 15,3-1-26-15,6 2 3 0,4-2-5 16,2 2 0-16,3 1-13 0,-4 1 10 15,7-2-27-15,0 1 1 0,-3-1-12 0,-1 2 13 0,-4-3-16 16,-2 5 1-16,-7-3 4 16,-3-1-15-16,-5 0-2 0,-6-1 2 0,-15-3 0 15,-1 1-2-15,-4 0 2 16,-5-3-8-16,-6 0-4 0,-7 0 19 0,0 2-9 0,-8-3-18 0,0 1 17 16,-3 0 13-16,-2 0-17 0,-2-2 2 15,-3 1-18-15,0 2 10 0,-3-2 6 16,0 2-14-16,-2-1 16 0,0 1-2 15,-1 1 4-15,-2-2 6 0,-2 3 7 0,0 0-15 0,0 2 3 16,-2 0 7-16,0 0-15 0,-1 1 3 0,0 2 2 16,-1 0-11-16,0 3 4 0,-2 2 9 0,3 0 1 15,-4 3 4-15,2 2 4 16,0-1-14 0,-3 3-10-16,2-1 24 0,-2 2-11 0,2 1-6 0,-1 1 22 0,-2-1-32 0,2 1 14 15,-5 8 10-15,2-6-14 0,-1 6 9 0,0-8 17 16,-2-1-27-16,5-3 9 0,-3 0-2 15,1 2 18-15,-4-3-13 0,4-2 6 16,-3 0-14-16,2 0 24 0,0-2-4 16,0-3-17-16,1 3 18 0,-1-4-20 0,0-1 2 0,3-1 2 15,-2-2 3-15,-1 2-7 0,3-3-1 0,-1 3 19 16,-1-5-21-16,2 1 5 0,-1-2 23 16,1 2-23-16,-2-1-5 0,-1-3 20 15,0 1-18 1,1 1 1-16,-3-3 25 0,-4-1-33 0,1 2 12 0,-5-2-2 0,-2 0 0 0,-5-1 23 15,-4 0-18-15,-4-1-5 0,-15-2 5 0,-1 0 26 16,0-1-23-16,-5 1-1 0,0-3 17 16,-10-4 45-16,-1 2 2 0,-3-2 21 15,-2 1-33-15,-2-2-5 0,-2-1 5 0,-5 0-18 0,-3 2-3 16,2-2 19-16,-4-2-32 0,-1 3 8 16,-4-2 3-16,-1 1-5 0,0 0-3 0,3 0-7 15,3-1 12-15,6 2-25 0,5 0-1 16,3 2 24-16,8-1 0 0,11 3-3 15,5 1-3-15,2-1 19 0,11 1 2 0,6 3-10 16,5-2 0-16,2 3 2 0,5-1 1 0,-1 1-4 0,3-1-9 16,3 0 7-16,0 3-7 0,0-3-18 15,2 2 4-15,-2 0 14 16,4 0-16-16,1 0 16 0,0-1-16 0,5 2 3 0,-11-2 7 16,11 2-7-16,-7-1 0 0,2 1 15 15,5 0-10-15,-8-1 0 0,8 1 7 0,-5-2-4 16,5 2 10-16,0 0 2 0,-10 0-7 15,10 0-26-15,0 0 15 0,-5-1-15 0,5 1 0 16,0 0 10-16,0 0-7 0,0 0 7 0,-8-1 18 16,8 1-18-16,0 0 24 0,0 0-19 0,-3-1 0 15,3 1-10-15,3-7 1 0,0 1-1 16,1 0-21-16,2-5-12 0,2-1-46 0,2-3-54 16,3-7-46-16,5-6-228 0,-1-1-683 15,1 3 145-15,-5 6 62 0,-6 1 100 0,-3 2 92 16,-4 3 39-1,-6-2 55-15</inkml:trace>
  <inkml:trace contextRef="#ctx0" brushRef="#br0" timeOffset="35454.21">1347 6475 1139 0,'10'1'396'0,"-2"-1"-32"0,3-1-39 0,4 1-36 0,2-1-12 16,4-2-45-16,0 1-37 0,6-3-54 15,2 4-46-15,-3 0-55 0,2-3-60 16,0 1-93-16,-2 2-194 0,-4-2-476 0,2 2 43 16,-8 1 103-16,1-1 58 0</inkml:trace>
  <inkml:trace contextRef="#ctx0" brushRef="#br0" timeOffset="35634.75">1443 6619 1197 0,'0'0'390'0,"0"0"-53"0,0 0-1 0,0 0-47 0,0 0-46 15,0 0-33-15,22-1-59 0,-12 0-79 16,6-3-111-16,-1 4-63 0,1 0-87 0,1 0-47 16,4 1-514-16,-3 2 97 0,2 0 16 0,1 4 81 15</inkml:trace>
  <inkml:trace contextRef="#ctx0" brushRef="#br0" timeOffset="36136.11">1665 9082 1269 0,'0'0'443'0,"0"0"-57"0,28 0-35 0,-17 0-36 0,7 0-57 16,2 1-32-16,3-2-57 0,7 0-36 15,1 1-44-15,3 0-32 0,14 0-57 16,-3-5-98-16,3 5-165 0,-13 0-293 0,-3 0-201 16,-5 0 66-16,0 0 58 0,-7-1 65 15</inkml:trace>
  <inkml:trace contextRef="#ctx0" brushRef="#br0" timeOffset="36338.61">1742 9271 1530 0,'-7'3'389'16,"4"-3"-33"-16,0 1-36 0,0 3-18 0,3-4-28 15,0 0-8-15,6 6 44 0,-2-3-64 0,4-3-13 16,3 3-29-16,1-3-65 0,4 0-45 0,5-3-2 15,4 3-74-15,6-5-51 0,10 0-90 16,8-2-130-16,-8-1-223 0,7-3-405 16,14-2 98-16,-6-2 58 0,1-2 98 0,2-4 46 0</inkml:trace>
  <inkml:trace contextRef="#ctx0" brushRef="#br0" timeOffset="131570.41">12421 6827 1371 0,'0'0'420'16,"2"-2"-31"-16,-2 2-46 0,0 0-33 0,0 0-8 15,0 0-46-15,0 0-15 0,0 14-34 16,0-8-10-16,0 2-18 0,-2 1-35 0,-4 3-9 16,1 0-35-16,-2 2-59 0,-3 5-33 0,-6 11-52 15,-2-3-104-15,0 5-211 0,-2-1-495 0,-1 0 32 16,3 0 92-16,-2-1 72 0,-1 0 98 15</inkml:trace>
  <inkml:trace contextRef="#ctx0" brushRef="#br0" timeOffset="133893.5">19382 4306 1034 0,'0'0'345'16,"0"0"-4"-16,0 0-116 0,0 0 0 0,0 0-12 16,0 0-19-16,0 0-30 0,0 0-5 0,0 0-8 15,0 0 15-15,0 0-7 0,2-4 38 0,-2 4-18 16,0 0 8-16,0 0-21 0,0 0-17 16,0 0 2-16,0 0-10 0,0 0 17 0,0 0-43 15,0 0 3-15,0 0-8 0,0 0-23 16,0 0-5-16,0 0-8 0,0 0-17 0,0 0 2 0,0 0-6 15,0 0-9-15,0 0 12 16,0 0-15-16,3-2-18 0,-3 2 23 0,0 0-15 16,0 0 0-16,0 0-13 0,0 0 15 0,0 0-5 15,0 0-15-15,0 0 12 0,0 0 16 0,0 0-23 16,0 0 5-16,0 0-2 0,0 0-3 16,0 0 2-16,0 0-7 0,0 0-5 0,0 0-3 15,0 0 20-15,0 0-9 0,0 0 2 16,0 0-3-16,0 0 3 0,0 0 2 0,0 0-2 0,0 0-30 15,0 0 17-15,0 0 18 0,0 0-21 16,0 0-4-16,0 0 4 0,0 0 1 16,0 0 12-16,0 0-15 0,0 0 13 0,0 0-34 15,-3-6 24-15,3 6 10 0,0 0 10 0,0 0-26 16,0 0 3-16,-2-5 0 0,2 5-7 16,0 0 7-16,0 0 10 0,0 0-10 0,-3-4 10 15,3 4-5-15,0 0 11 0,0 0-9 0,0 0 21 16,0 0-20-16,-3-2-21 0,3 2 34 15,0 0-26-15,0 0 20 0,0 0-23 0,0 0 13 16,0 0-5-16,0 0 3 0,0 0-13 0,0 0 7 16,0 0-7-16,0 0 20 0,0 0-12 15,0 0-11-15,0 0 15 0,0 0-2 0,0 0 16 0,0 0-11 16,0 0 3-16,0 0-3 16,0 0-21-16,0 0 11 0,0 0 3 0,0 0-1 15,-10 5 3-15,10-5 5 0,0 0-18 0,0 0 11 16,0 0-3-16,0 0 2 0,0 0 6 0,0 0-14 15,0 0 1-15,0 0 10 0,0 0-2 16,0 0-9-16,0 0-1 0,0 0-19 0,-3 2 0 16,3-2-12-16,0 0-19 0,0 0-17 0,0 0-26 15,0 0-8-15,0 0-17 0,0 0-42 16,0 0-15-16,0 0-56 0,0 0-74 16,0 0-123-16,-5 2-441 0,5-2 75 0,-2 2 89 0,2-2 75 15,0 0 2-15,-2 5 92 0</inkml:trace>
  <inkml:trace contextRef="#ctx0" brushRef="#br0" timeOffset="139068.13">4337 8708 1382 0,'0'0'417'0,"-5"-2"-51"16,5 2-26-16,0 0-38 0,0-5-17 0,0 5-27 15,0 0-35-15,10-1-3 0,-3 0-36 0,4-1-15 16,-1 0-28-16,0 0-13 0,5-2-3 16,-2 3-9-16,3-1-11 0,2-2-16 15,-3 2-15-15,1 0 8 0,-3 0-8 0,2 0-12 16,-5-1-3-16,3 1 0 0,-3 2 15 0,0 0-33 15,-2 0 31-15,0 4-14 0,-1-1 70 0,-4 1-74 16,2 2 28-16,-5 3-74 0,2 2-6 16,-4 2 42-16,2 0-11 0,-2-1 28 0,-1 7-9 15,-4-1-9-15,1 1 1 0,1 5 7 0,-1-1 8 16,2-1-46-16,-4 1 5 0,3-1 5 0,-3 1-21 16,3-1-10-1,0-5-4-15,0 1-24 0,0 0-21 0,2-5-22 0,0 0-41 0,1-1-6 16,2 0-40-16,-2-4-54 0,2 1-62 0,-4-3-135 15,4-2-220-15,0 0-257 0,1-3 68 0,-1-1 88 16,0 0 86-16,0 0 53 0</inkml:trace>
  <inkml:trace contextRef="#ctx0" brushRef="#br0" timeOffset="139302.96">4367 8989 1067 0,'-5'-1'420'0,"5"1"-44"0,-5-2-43 16,5 2-34-16,0 0 26 0,0 0 34 0,0 0-14 16,0 0-30-16,13-4-33 0,-5 3-24 15,5-1-84-15,-1 1-15 0,3-2-23 16,1 1-8-16,2-2-24 0,0 1 4 0,3-2-31 16,-1 0-34-16,1 3-12 0,-1-2-62 0,-2-2-33 15,3 1-30-15,-4 1-40 0,1 0-60 0,-5-1-134 16,0 3-122-16,0-3-433 0,-3 4 66 15,-2-3 106-15,0 3 58 0,-1-1 54 0</inkml:trace>
  <inkml:trace contextRef="#ctx0" brushRef="#br0" timeOffset="139516.87">4885 8807 1466 0,'0'0'461'0,"1"-5"-57"0,-1 5-27 0,1-2-16 0,-1 2-41 15,1-6-54-15,-1 6-36 0,3-2-51 0,-3 2-66 16,2-4-54 0,-2 4-46-16,8-2-88 0,-8 2-104 0,7-3-200 0,-1 2-470 15,1 0 73-15,1 1 82 0,2 0 103 0,3-2 33 16</inkml:trace>
  <inkml:trace contextRef="#ctx0" brushRef="#br0" timeOffset="139767.37">5332 8631 1267 0,'-10'0'430'16,"2"0"51"-16,-3 0-46 0,3 0-36 15,-2 1-20-15,3 0-38 0,1 2-45 0,1-1-24 16,1 2-14-16,1-1-50 0,0 2-24 16,3 2 10-16,3 2-30 0,2 1-5 0,0 2-21 15,2 1-5-15,4 3-7 0,-1-1-11 0,3 2 21 16,-2 1-49-16,1-2 43 0,0 1-25 15,-4-3 0-15,0 1-5 0,-3-3-18 0,0 1 18 16,-2-3-21-16,0 1-25 0,-3 2-11 0,-1-7 6 16,-1 5-16-1,-3-3-43-15,2 4-31 0,-4-4-28 0,-1 3-44 0,0-3-35 0,0 3-24 16,-2-1-58-16,-3-1-90 0,-2 3-230 16,4 0-497-16,-6 1 89 0,-1 2 109 0,0-1 106 15,-10 6 88-15,-1-1 36 0</inkml:trace>
  <inkml:trace contextRef="#ctx0" brushRef="#br0" timeOffset="140061.4">4383 9398 1533 0,'0'0'453'16,"2"-6"13"-16,4 1-62 0,6-1 72 0,3-1-56 15,11-1-44-15,13-2-10 0,4-2-56 0,6 4-10 16,2-3-52-16,16 0 36 0,0 1-66 0,2-1-21 16,3 1-13-16,0 1-5 15,0 1-25-15,-1-1-31 0,-2 2-39 0,-12 5-15 0,-4-2-18 16,-4-3-30-16,-5 6-57 0,-6-3-10 0,-10 3-51 16,-5 1-24-16,-2-1-7 0,-5 1-12 15,-1 0-22-15,-2 0-30 0,-1 1-56 0,-4-1-128 16,-8 1-146-16,3 2-474 0,-1-1 100 0,-2-2 113 15,0 0 81-15,-13 10 37 0,1-7 84 0</inkml:trace>
  <inkml:trace contextRef="#ctx0" brushRef="#br0" timeOffset="140334.1">4395 9600 1203 0,'0'1'332'0,"0"-1"-7"0,0 0-5 15,16 0 52-15,-6 0-14 0,5 0-10 16,6-3-33-16,9-2-44 0,12-1-15 0,2-5 0 16,4 4-15-16,1-5-13 0,15-1-21 0,0 0-7 15,5-2-103-15,0-1-13 16,1 4 14-16,-1-3-19 0,-2-1 0 0,-1 4-28 0,-4-1-5 16,-16 5-5-16,-2-3-12 0,-6 4-19 15,-7 1-23-15,-6 1-5 0,-7 4-13 0,1-1-15 16,-6-1-7-16,-1 1-34 0,1 2-21 0,-5 0-7 15,0 0-34-15,-1 2-45 0,-2-1-60 0,0 3-160 16,-4-3-490-16,1 4 65 0,-2 0 94 16,0-1 77-16,-3 0 71 0,-2 2 24 0</inkml:trace>
  <inkml:trace contextRef="#ctx0" brushRef="#br0" timeOffset="146348.26">20145 3369 875 0,'-5'16'361'0,"3"-6"-34"0,1 3-30 16,-1 1-20-16,-3 5-47 0,0 4-5 0,0 1-30 15,-2 2-34-15,-4 8-35 0,1-1-37 16,2-7-30-16,0-1-33 0,0-3-57 0,2 1-64 16,-1-3-102-16,-5 2-61 0,6-4-479 0,2-5 63 15,1 0 63-15,-2-2 40 0</inkml:trace>
  <inkml:trace contextRef="#ctx0" brushRef="#br0" timeOffset="146610.54">20251 3378 1371 0,'0'-5'390'0,"2"4"-27"0,-2 1-17 0,0 0-26 0,0 0-41 16,0 13-23-16,0-3-26 15,-2 3-18-15,-1 1-25 0,1 4-2 0,-1 4-14 0,-3 0 47 16,-1 3-26-16,0 0-34 0,-4 6-22 0,1-2-18 15,2-7-49-15,0 2-8 0,0-1-30 0,-2-2-3 16,0 2-48-16,0-4-55 16,2 1-14-16,1-3-26 0,-1-1-88 0,4-1-76 15,-2-6-199-15,0 2-410 0,1 1 76 0,-2-3 80 16,2 0 161-16,1-4-48 0</inkml:trace>
  <inkml:trace contextRef="#ctx0" brushRef="#br0" timeOffset="147014.31">19997 3606 954 0,'-1'-6'417'0,"1"6"-22"0,0 0 22 0,0 0-25 0,0 0-26 16,0 15-34-16,0-5-124 0,0-1-6 16,-2 7-13-16,2-2-27 0,0 3-6 0,-2 2-31 15,2 1 3-15,2-1-8 0,0-2-7 0,-1 1-34 16,1-4 3-16,4-1-5 0,-2 0-5 16,0-2-3-16,4-1-3 0,0-1-4 15,-2-3 17-15,5-4-33 0,-2 3-5 0,2-4-7 0,2-1-6 16,4-2 82-16,-4-3-28 0,8 0-36 15,0-4-8-15,-1-1-40 0,3 1-32 0,-2-3-17 16,1 1-26-16,-1-1-48 0,3 0-85 16,3-14-179-16,-3 15-586 0,-2 1 102 0,-6 1 90 15,2-1 63-15,-3 1 121 16,-2 1 26-16</inkml:trace>
  <inkml:trace contextRef="#ctx0" brushRef="#br0" timeOffset="154426.01">18646 11244 883 0,'0'0'337'0,"2"4"-34"15,-2-4-1-15,0 0-54 0,0 0-5 0,0 0-23 16,0 0-10-16,0 0-33 0,0 0 7 0,0 0-18 0,0 0-89 16,10-7 10-16,-4 3-5 15,-4-3-3-15,4 1-2 0,1-2 5 0,-2-2 5 16,3 1 59-16,-1-1 8 0,1-3-21 0,0-1-64 16,0-2 13-16,2 0-28 0,0-3 2 0,1 1 0 15,-1-3 16-15,-2 2-13 16,2 3-6-16,-3-3 14 0,3 3-23 0,-4 1 9 0,2-1 4 15,-4 4-11-15,2 2 7 0,1 0 1 16,-2 0 15-16,1 2-28 0,1-1 5 0,-2 3-2 16,0-1-1-16,0 2 6 15,0-1-31-15,1 1 2 16,2 1-2-16,-1 1 10 0,0 1-20 0,-1-1 36 0,4 2-19 0,-2 1-7 0,2 0 0 0,1 1 18 16,2 3-11-16,1-1 6 0,2 2-3 15,2 0-7-15,0 2 12 0,0-2-20 16,2 3-11-16,0 1 14 0,1 0 12 15,0 1-18-15,2-1 11 0,-2 2-6 0,-1-3 11 0,-2 2-11 16,0-1 5-16,-3-2 1 16,1 3 10-16,-3-3-19 0,2 1 9 0,-2 1 5 0,-3-2 2 15,1-2-15-15,-1 2 7 0,0-2-15 0,0 2 16 16,-2-1 2-16,-1-3-3 16,-1 1-38-16,2-1 8 0,-6 1-64 0,2-3-29 0,0 2-50 15,-4-3-47-15,4 3-99 0,-4-3-175 16,3 0-499-16,-3 2 106 0,0-2 76 0,0 0 92 0,0 0 77 15,0 0 79-15</inkml:trace>
  <inkml:trace contextRef="#ctx0" brushRef="#br0" timeOffset="154967.59">19046 10901 1361 0,'-1'-5'456'0,"1"5"-49"16,0 0-33-16,0 0-37 0,0 0-6 0,0 0-42 16,1 17-64-16,1-5-28 0,-2 6-18 0,0 1-2 15,0 4-16-15,0 3-28 0,-2 3-2 16,-1 10-3-16,1 1-41 0,-4 1 10 16,1-1-23-16,-2 1-10 0,-1-2-28 0,2-1-23 0,1-3-21 15,-2-6-20-15,2-5-20 0,0 0-16 16,2-5-23-16,1 0-29 0,-1-6-35 15,2-1-94-15,-1 1-65 0,-2-6-146 0,4 2-393 16,0-4 124-16,0-2 14 0,0-3 117 0,0 0 31 16</inkml:trace>
  <inkml:trace contextRef="#ctx0" brushRef="#br0" timeOffset="155314.51">18876 10892 1018 0,'0'-5'412'0,"0"5"-33"0,-2-6-49 0,2 6-28 16,0 0-10-16,0 0-8 0,2 16-17 16,-4-3-98-16,4 5-6 0,-2 3-27 0,0 8-8 15,0 0-10-15,-2 14-1 0,2-2-12 0,0 2-5 16,-2-3-8-16,2-8-28 0,-4-1 3 16,4-3-1-16,-2 0-7 0,0-2-25 0,0 1-22 15,1-1-4-15,-2-5-44 0,-1 4-30 0,4-6-34 16,-3-1-77-16,3-4-115 0,-5 1-104 15,5-5-467-15,0 2 90 0,0-2 74 0,0-3 116 16,0-2 37-16</inkml:trace>
  <inkml:trace contextRef="#ctx0" brushRef="#br0" timeOffset="174889.06">3360 6456 1356 0,'0'0'415'0,"0"0"-34"0,-3-4-38 15,3 4-20-15,0 0-31 0,0 0-39 16,0 0-15-16,0 0-28 0,0 0 5 16,0 0-33-16,0 0 4 0,0 0-22 0,0 0-20 0,-7 9-9 15,4-6-14-15,1 2-88 0,1 1 16 16,-1 1-21-16,2-1-8 0,-3 5 11 16,3-4-21-16,-2 1 21 0,1 2-16 0,0-1 1 15,1 1 4-15,0-2 3 0,1 2 5 0,0-2-23 0,-1-1 0 16,2 1 16-16,1 1-13 15,-1-2-14-15,-2 1-4 0,3-2 0 0,0 0 0 32,0 1-11-32,1-1 3 0,-1-2 6 0,-1 2-11 0,1-3 10 0,0 2-10 0,2-2 7 15,-1-1 6-15,0 1-13 0,0 1-3 16,-1-3 11-16,-3-1-3 0,10 3-2 0,-5-2 2 0,0 1 2 16,1-2 9-16,-6 0-6 0,10 0 8 0,-10 0 2 15,12 0 3-15,-6 0 3 16,2-2-16-16,-8 2 8 0,12 0 15 0,-4-1-5 0,-1-1-7 15,1 1-11-15,0 0 15 0,2 0 4 0,-2 0-1 16,-1-3 10-16,2 4-7 0,0-1 2 16,2 0 18-16,-3-2-12 0,2 2-1 15,-2 1 10-15,2-1-14 0,-2-3 7 0,2 4 2 16,-3-1 11-16,3 0-11 0,-2 1-9 0,2-1 14 16,-1-2 1-16,1 2-13 0,0-1 2 15,0 2 3-15,0 0-3 0,0-1-10 0,1 1 0 16,-1-3-2-1,1 2 12-15,1 1-4 0,3-1-1 0,-2 0 8 0,1-1 12 0,-1 2-19 16,1 0 7-16,0-1-6 0,3 1-4 0,-2 1 0 16,1-1 10-16,-1 2 7 0,1-2-9 0,-1 2-9 15,1-2 37-15,-1 1-47 0,3 2 11 16,-3-2-6 0,3-1 4-16,-3 2 22 0,1 2-8 0,0-2 1 0,1 2-16 0,-2-2 13 15,1-1 5-15,-1 3-21 0,1-1-2 0,-3 1 8 16,2 0 2-16,0-1 26 0,1 2-13 0,-4 0-15 15,1-2 5-15,1 2-1 0,0 0-19 16,-1-2 7-16,0 2-3 0,-2 1 8 0,1-1 0 16,-1 1-2-16,1-3 10 0,-2 3-3 15,1-1 0-15,-3 2 3 0,1-1-13 0,-1-1-5 0,0 0 15 16,0-1 0-16,-1 1 8 0,1 1 5 31,-2 0-7-31,1 0-3 0,-1-1-3 0,1 1 5 0,-2-3 8 0,0 2 10 0,0 0-17 16,-2 2 4-16,0-5-4 0,1 3-4 0,-1-1-14 15,0-2 2-15,-1 2 18 0,-1-1 2 16,3 1-2-16,-1-2-15 0,-2 2-1 0,-1-4 9 16,4 2 14-16,-1 1-27 0,-3-3 2 0,2 3 10 15,-2-3 5-15,1 4-5 0,-1-4 3 0,4 2 61 16,-4-2 13-16,0 0-15 16,0 0 0-16,6 0-11 0,-6 0-25 0,0 0-3 0,0 0 16 15,0 0-13-15,0 0-5 0,7-2-11 0,-7 2 3 16,5-5-5-16,-3 4-5 15,-2 1 17-15,8-5-6 0,-2 3 4 0,-1-2-13 0,0 2 6 16,2-3-9-16,1 4 4 0,0-4-4 16,2 3 6-16,0-3 11 0,1 1-27 0,1-1 13 15,2 2-2-15,-1-2 21 0,1 0-24 16,2 2 5-16,-3-3-10 0,5 1-5 0,0 1 13 16,0 0 8-16,0-1-24 0,2 0 26 0,-2 2-23 15,2-2-5-15,-1 0 2 0,1 2-2 0,1 0 5 16,2-3 8-16,0 4 2 0,-2-3-12 15,4 2 2-15,3-1-80 0,0 0 29 0,-2 2 15 16,5 0-25-16,-3-2 35 0,3 3-12 0,-3 0 17 16,3-3-4-16,-4 4 20 0,0-1-36 0,-2 0 12 15,6-2 27-15,-6 2-16 0,1 0 21 16,-2 1-3-16,1 0-29 16,-2 0 14-16,0 0 12 0,0 0 1 0,0 1-3 0,0 0 0 15,-5 0-3-15,3 1 8 0,0-1 8 0,1 0-8 16,-2-1-5-16,-1 1 2 0,4 2 21 15,0-3-16-15,0 1-19 0,0-1 27 0,1 1-13 16,0 1-2 0,3 0 8-16,1-1-3 0,0 0 15 0,3 0-20 0,0-1 15 0,0 1 3 15,-1 2 15-15,1-2-23 0,-1 0 11 0,-1-1 7 16,2 1-5-16,1 1 5 0,0-1-13 0,1 0-10 16,0-1 15-16,0 1-20 0,-2-1 18 15,0 2-5-15,0 0-1 0,2-1 21 0,-4 0-28 16,-4-1 0-16,3 0-10 0,-2 1 5 0,-1 0 25 15,1 2-20-15,-1-1-23 0,-1-2 18 16,1 0 8-16,-2 4 5 0,1-3 2 0,-1 0 10 16,-1-1-25-16,-1 4 23 0,0-4 20 0,2 1-25 15,-2 1 8-15,1-1-24 0,-1 2 16 16,2-2 10-16,-3 0 0 0,1 3 3 0,2-3-34 16,-2 1 34-16,1 1-11 0,2-2-20 0,1 1 5 15,-2-1 5-15,1 2-5 0,1-2-3 0,1 0 3 16,-1 2 11-16,1-2-11 0,0-1 0 15,-1 2-3-15,1-1-2 0,-1 2 13 0,-1-2-13 16,1 0-3-16,-2 0-13 0,3 2 29 0,-3-2 5 16,0-1 0-16,0 1 2 0,0-1-5 15,-4 0 0-15,3 0 8 0,-2 0-20 0,1-1 12 16,3 0 23-16,-3-2-25 0,1 2 84 16,1 0-33-16,0-3 43 0,-2 3-9 0,2-1-27 15,-1 1 3-15,2-3 21 0,-3 3-1 0,-1-3-19 16,1 2 17-16,-6-2-11 0,1 2-47 15,1 1-29-15,-4-3 0 0,0 3 0 0,-3-1 0 16,0-1 0-16,0 3 0 0,0-2 0 0,-2 1 0 16,0-2 0-16,-3 2 0 15,1 0 0-15,-6 1 0 0,10 0 0 0,-5-1 0 0,-5 1 0 16,7-1 0-16,-7 1 0 0,8-3 0 0,-8 3 0 16,5 0 0-16,-5 0 0 0,8 0 0 15,-8 0 0-15,0 0 0 0,6-2 0 0,-6 2 0 31,4-1 0-31,-4 1 0 0,0 0 0 0,6-2 0 0,-6 2 0 0,0 0 0 0,0 0 0 0,4-2 0 16,-4 2 0 0,0 0 0-16,0 0-149 0,0 0-148 0,0 0-28 0,0 0-136 0,-10-4-181 15,10 4-441-15,-10 5 57 0,7 1 104 0,-4-3 103 16,-1 0 64-16,1 4 82 16,1-2 61-16</inkml:trace>
  <inkml:trace contextRef="#ctx0" brushRef="#br0" timeOffset="177335.81">9500 6963 962 0,'0'0'322'0,"-7"-4"-12"15,4 2-51-15,3 2-16 0,0 0-18 0,0 0-15 16,-7 6-23-16,7-6-16 0,0 7 73 0,0-2-35 16,0 3-17-16,2 1-2 0,0-1-21 15,1 3-13-15,2-1-92 0,3 5-8 16,0-1 1-16,-1-1 7 0,3 1-21 0,1 1 8 16,2-1 3-16,0 0-8 0,2 3-5 0,0-4-8 15,1 0-10-15,1 0-2 16,1 0 7-16,0-1 3 0,-2-5-19 0,1 3 12 0,1-4 6 15,-2 0-12-15,2-3 3 16,-2 2 4-16,1-5 6 0,-2 1-28 0,1 0 17 0,2-1 6 0,0-1-16 16,-3 0 5-16,4-4 6 0,1 4-3 15,0-4-18-15,-1 1 2 0,1-1 29 16,-2 0-18-16,0-2 7 0,2 2 13 0,0-1-22 16,-2 0 78-16,1-1-7 0,1 2 18 0,-2 0-33 0,0-2 2 15,3 5-16-15,-4-4 4 16,4 0 4-16,0 0 3 0,-1 5-13 0,1-4 8 15,-1 3-10-15,1-2-16 0,1 4 23 0,-3-2-7 16,1 2-3-16,1 0 0 0,1 2-10 0,-1-1-13 16,3 2 8-16,-2-2 5 0,1 4-13 15,5-2-3-15,-5 2 1 0,3 1-1 0,-3 2-2 16,1 1 8-16,-4-1 4 0,3 3-2 16,-3-2-17-16,-4 3-4 0,1-1-1 0,-3 0-6 15,-1 0 23-15,-1-1-13 0,-1 1 13 16,-1 1-5-16,-2-4-8 0,-1 0 21 0,1 3-16 31,-3-4 11-31,-2 0 2 0,2-2-13 0,0 1-2 0,0 0 7 0,-2-1 50 0,-1-3-9 0,3 3-15 16,-4-4-10-16,-1-1 2 0,7 1-15 15,-7-1 21-15,0 0-8 0,7-4 5 0,-3 1-6 16,0-4-4-16,2 1 0 0,-1-2-13 0,3-2 7 16,2-2-4-16,0 2-83 15,3-2 9-15,4-1 4 0,-1 1 6 0,-1 2-6 0,3 3 18 16,0-1-2-16,0 1 10 0,5 3 8 15,-2 3-14-15,2 0-4 0,0 2 18 0,2 0 2 0,2 3 8 16,0 0-16 0,1 1 26-16,1 1-17 0,-1 1 12 0,1-1-5 0,-1 0-13 15,-1 1 10-15,1-1 0 0,-1 0-15 0,1-2 39 16,0-3-9-16,-3 1-12 16,1 0-8-16,2-2 8 0,0-2 8 0,1 0 2 0,1 1 5 0,1-3-18 15,-3-2 26-15,1 2-23 0,-4 0 16 0,3-2-1 16,-2-1 13-16,-3 1-26 0,0-1 24 15,-3 2-8-15,1-2-3 0,-3 2-10 0,0-2 0 16,0 1 5-16,0 1-3 0,-5-1 11 0,-1 0 18 16,-1 4-21-16,2-3-7 0,-3 0 12 15,-3 4-5-15,1-1 1 0,0-3 1 0,-3 4 6 16,1-3-5-16,-2 3-8 0,2 1-12 16,-6 0-27-16,5-6-9 0,0 5-37 0,-5 1-9 15,2-4-47-15,1 2-30 0,-3 2-19 0,0-6-9 16,0 6-29-16,-3-5-25 0,3 3-41 15,0 2-116-15,-4-7 26 0,4 2-557 16,-4 0 83-16,4 0 78 0,0 1 91 0,-2-2 83 0,0 2 58 16</inkml:trace>
  <inkml:trace contextRef="#ctx0" brushRef="#br0" timeOffset="185001.09">3242 12677 1098 0,'-10'0'353'16,"2"0"69"-16,3 1-51 0,-2 0-30 15,7-1-31-15,-6 0-34 0,6 0-20 16,0 0-10-16,0 0-26 0,23 5-23 0,0-5 15 0,10 1-25 16,17 0-20-16,8-3-1 0,19-2-2 15,8-2-39-15,10 3-2 0,4-4 2 0,4-2-25 16,-3 3-10-16,2-1-24 0,1 1 6 15,-3 1-18-15,-5-2 7 0,-5 2 3 0,-3-1-30 16,-8 1-32-16,-4 1 8 0,-19-1-51 16,-4 4-33-16,-7-1-26 0,-11 0-53 15,-8 1-42-15,-4 1-40 0,-8 1-106 0,-7 2-89 0,0-1-476 16,-4 1 72-16,-3-1 107 0,0-2 18 16,-12 8 112-16,-3-3 34 0</inkml:trace>
  <inkml:trace contextRef="#ctx0" brushRef="#br0" timeOffset="185399.13">3377 12891 1059 0,'-32'5'423'0,"9"-2"-6"16,4 1-43-16,4-3-106 0,5 1-30 0,2 0-15 16,3-1-31-16,0 1-15 0,5-2-21 0,0 4-5 15,0-4-23-15,17 2 2 0,1 0 1 16,13-2-16-16,16 2-13 0,7-5 19 0,20 1-42 15,6-3 3 1,9-2-15-16,3-1-3 0,1-2-3 0,-1 1 0 0,0-2-4 0,1 1 22 16,-7-2-12-16,-3 3-1 0,-9-1 3 0,-7 3-12 15,-16 0 4-15,-10 1-5 0,-8 4-4 16,-5-2 12-16,-7 3-21 0,-3-1 6 0,-5 1 15 16,2 0-5-16,-2-1-13 0,-3 2 2 15,0 0 11-15,-2-1 10 0,0 1 0 0,-1 0-20 16,-1-1 2-16,-6 1 69 0,10 1 47 0,-10-1-44 15,5 1-8-15,-5-1 5 0,0 0-40 0,6 0-27 16,-6 0 6-16,0 0-10 16,0 0-1-16,0 0-60 0,0 0-37 0,0 0-48 0,8-2-47 15,-8 2-27-15,7-1-16 0,-2-1-61 0,0 1-136 16,8-4-248-16,0 2-374 0,5-2 133 0,7-1 64 16,3 0 72-16,13-1 74 0,6-4 69 15</inkml:trace>
  <inkml:trace contextRef="#ctx0" brushRef="#br0" timeOffset="188053.05">7357 12619 1371 0,'-5'-2'328'0,"5"2"-34"0,-8 0-14 0,8 0-27 16,0 0-2-16,0 0-44 0,0 0 6 0,0 0-9 16,26 5 4-16,-9-1-4 0,9 1-27 15,3 1-5-15,12 2 71 0,4-3-36 0,4 4-10 16,16 0-18-16,6-2-10 0,-1 2-10 0,1-1 0 16,3 0-1-16,1 1-7 0,-1-1-5 0,1 0-10 15,4 1-8-15,-2 0-23 0,2 1-16 16,-1-3 11-16,-1 1-23 0,-1 0-15 0,-1-3-11 15,-4 1 10-15,3-1-10 16,1-1-15-16,2-1 20 0,-3 1-25 0,0-2-5 0,-1 1 17 16,-15-1 1-16,1-1-21 15,-2 0 8-15,-3 1-31 0,2-1 23 0,-5-2-3 0,0-1-5 16,-4 1 1-16,-6 1-1 0,-10 0-10 0,2-2 13 16,-2 1-15-16,-6-2 2 0,-2 1 15 0,-2-1-9 15,-1 2 1 1,1-1 1-16,-6 0 3 0,1-1 19 0,-1 0-19 0,-2 0-11 0,-3-2-3 15,0 4 9-15,1-2-11 0,-4-2 7 0,1 0 14 16,0 1-11-16,-3 0-7 0,2-1 2 16,-1 0-8-16,-1-1-17 0,0-1 15 15,2-2 10-15,-3-1-13 0,3-1 0 0,-2-1 1 0,0-3 7 16,0 1-34-16,0-4 27 0,1-2 2 16,-1-3-8-16,0-3 0 0,0-12-5 0,0-2 13 15,3 0-21-15,-3-1 8 0,0-4-2 16,3 0-8-16,-5-1 5 0,1-1-5 15,-1-1 30-15,2 1-15 0,1 0-12 0,-4 2 9 0,0 1-14 16,1 2 25-16,0 3-8 0,-3 7-13 16,0 6 19-16,0 3 14 0,0 2 3 0,-3-1 1 15,3 3-22-15,-3 0 6 0,1 6 28 0,0-1-15 16,-2-2-8 0,2 3-3-16,0 4 1 0,-1-2 10 0,0 2-14 0,-1 1 14 0,1 0 2 15,-3 1-25-15,4 1 20 0,-5 1-10 16,1-1-5-16,-1 2 5 0,-1 0 5 0,0 3 5 15,0-3-8-15,-2 3 3 0,-3 1-10 16,1-1 5-16,1 2 18 0,-7-1 5 0,0 1-21 16,-4 1 3-16,-1 1 5 0,-6-1-5 0,-1 2-5 15,-1-2 5-15,-13 3 3 0,1 0-1 0,-1 0-7 16,-2-1-3 0,-3 1 8-16,-2 0 5 0,2-1 1 0,-2 0-27 0,-1 0 24 0,2-2 15 15,0 4-21-15,4-5-12 0,3 5 7 16,4-5 11-16,6 2-14 0,-1-1 29 0,1 0-2 15,-13 1-22-15,2-1 9 0,1 1 7 0,-6 0-17 16,1 1-4-16,-1-2 14 0,-3 1-6 16,1 1 3-16,0 2 23 0,0-1-28 0,-1-3 18 15,1 2-15-15,2 2 4 0,1-4-4 16,1 3-1-16,1 0 0 0,0-3 11 0,8 2-13 16,2-2 2-16,3 1-9 15,2 0-1-15,-2-1 18 0,2 0 5 0,0 0-10 0,3 1 0 16,2-2-2-16,0 1-4 0,3-1-1 0,-2-1 9 15,1 5 6-15,2-4-21 0,1 2 16 16,-2-1 10-16,5 0-19 0,0 0 9 16,3 0 5-16,-1 0-13 0,1-2-1 0,2 3 22 0,1-1-11 15,3-2-13-15,-3 2-5 0,4-2 1 16,-2 2 22-16,2-1-15 0,0 0 10 0,3-1 3 16,-2 2-14-16,2-2-1 0,5 0 12 0,-10 1-13 15,6 1 11-15,4-2 10 16,-10 2-24-16,10-2 14 0,-5 0 5 0,5 0-16 0,-8 3 10 15,4-2-4-15,4-1 10 0,-8 2-6 0,8-2 1 16,-6 2-3-16,6-2-8 0,-7 2 26 16,7-2-33-16,-5 2 15 0,5-2 7 15,-5 1 1-15,5-1-8 0,-8 2 5 0,8-2-7 16,-5 2 2-16,5-2-11 0,-8 2 16 0,8-2 3 16,-5 1-18-16,5-1 5 0,-5 2 15 15,5-2-10-15,-8 2 23 0,8-2-15 0,-7 1-19 16,7-1 4-16,-6 2 20 0,6-2-24 0,-10 0-4 15,7 2 23-15,3-2-8 0,-9 1 15 0,9-1-23 16,-9 1 8-16,5 0 16 0,4-1-9 16,-8 0-12-16,8 0 5 0,-8 2-5 0,3-2-5 15,5 0 18-15,-8 2-24 0,8-2 14 16,-7 1-14-16,7-1 11 0,-5 1-3 0,5-1 6 16,-6 0 15-16,6 0-16 0,-7 3 11 0,7-3-24 15,-5 2 9-15,5-2 4 0,-3 1-7 0,3-1 25 16,-7 4-12-16,7-4 2 0,-3 3-18 15,0-1-2-15,3-2 25 0,-5 4-2 0,3-1-8 16,2-3 2-16,-4 4-12 0,2 0 8 0,0-2 4 16,-1 3-4-16,1-4 14 0,1 4-12 15,-1-3-10-15,0 3 36 0,-1-1-26 0,3-1 7 16,-3 1-9-16,1 1 10 0,-1-2-21 16,1 0 20-16,2-3 1 0,-5 7-13 0,4-5-3 15,0 2 3-15,1-4 0 0,-4 7 18 0,2-5-3 16,2 3-5-16,-3-1 13 0,3-4-8 15,-2 7-20-15,-1-4 0 16,3 2 2-16,-3-3 3 0,1 2 0 0,0 1 13 0,-1-2 7 0,3 2-15 16,-3 0 8-16,1 0-11 0,-1-1 24 15,0 2-9-15,-1 0 1 0,1 0-8 16,0-1-10-16,3-1 15 0,-4 1-2 0,1 0 2 16,0 0 8-1,1 1-25-15,1-2 19 0,-1 2-12 0,0-1 6 0,-2 1-9 0,2-1-7 0,2 1 15 16,-2 0-3-16,-1-1-2 0,0 0 0 15,3-1 11-15,-2 2-6 0,0-2 2 16,2 0-7-16,-3 1-2 0,3-1-19 16,0 0 19-16,-3 0 10 0,3 0-21 0,-2 0 28 0,0 0-15 15,1 0-2-15,1-1 2 0,0-3 0 16,-2 8 2-16,-1-6-2 0,3 2-8 0,-3-1 11 0,3-3 0 16,-1 6 4-16,0-2-4 0,1-4-13 15,0 7 25-15,-3-5-25 0,3 2 12 16,0 1 11-16,0-2-21 0,0-3 6 0,-2 8-1 0,4-4 11 15,-4 1 2-15,2-2-7 0,2 1-6 0,-2-4 1 16,0 8-9-16,0-4 27 16,0 0-6-16,0 0 3 0,0 0-13 0,3-1 12 15,-3-3-6-15,1 7-9 0,0-2 11 0,0-2 5 16,1 2-16-16,1-1-10 0,-3 0-2 0,2-1 10 16,-1 2-13-16,1-1 15 0,-2 0 19 15,2 1-19-15,1-1 6 0,-3 0 2 16,3 0-16-16,-1 1 24 0,-2-2-18 0,2 2 13 0,-1-2-3 15,1 2 0-15,-2-1-15 0,3-2 2 0,-1 3 16 16,-2-2 2-16,0-3-23 16,2 7 26-16,-1-4-5 0,-1-3-16 0,3 6 29 15,-3-1-11-15,0-2-13 0,0-3 1 0,2 8 9 16,-2-5-2-16,0 0-2 0,0-3-6 16,0 8-4-16,2-6 22 0,-2 3-10 0,0-2 3 15,0 0-3 1,0-3-15-16,0 7 10 0,1-3 0 0,-1-4-13 0,0 6 10 0,0-3 6 0,0-3 0 15,2 6 9-15,-2-3 4 16,0-3-19-16,3 4-5 0,-3 0 21 0,0-4-13 0,0 5 5 16,0-5-5-16,2 4 6 0,-1 0-24 0,-1-4 20 15,2 4 6-15,0-1-8 0,-2-3 5 16,0 5-5-16,0-5 8 0,3 2-6 16,-3-2 1-16,0 6 4 0,0-6 6 0,3 4-10 15,-3-4-6-15,2 4 6 0,-2-4-3 16,2 4 2-16,-2-4 3 0,1 6 1 0,-1-6 1 15,2 3-25-15,-2-3 21 0,1 3 10 0,1 1-6 16,-2-4-22-16,0 0 25 0,2 6-12 0,-2-3 22 16,0-3-7-16,0 5-3 0,0-5-7 0,0 6-1 15,3-3 16-15,-3-3-7 16,0 6-11-16,0-2-6 0,0 0 17 0,3 0 9 0,-3 1 13 16,0-2 1-16,2 2-14 0,-2-1 1 15,0 0-1-15,0-1 6 0,2 2-21 0,-2-1 0 16,0 0 10-16,1-1-10 15,-1-3-7-15,2 7 12 0,1-5-2 0,-3 2 2 0,0-4-20 0,2 4 28 16,-1 0-8-16,-1-4-13 0,4 4 29 16,-1-3-16-16,-3-1 11 0,5 3-21 15,0-2 5-15,0 0-21 0,-5-1-42 0,13 0 9 16,-5 0-38-16,5-1-41 0,-3 1-59 16,1 0-33-16,3-1-39 0,-1 2-114 0,1-1-208 15,3 1-469-15,1-1 65 0,0 0 125 0,5 1 110 16,-2 0 51-16,2-1 72 0,0 2 74 0</inkml:trace>
  <inkml:trace contextRef="#ctx0" brushRef="#br0" timeOffset="189020.43">9234 13336 542 0,'0'-6'169'0,"0"0"-36"0,0 1-5 0,0-1-8 15,0 0-43-15,0 1-43 0,0 1-55 16,0-2-25-16,-2 2 2 0,1 0-145 0,1 0-384 16</inkml:trace>
  <inkml:trace contextRef="#ctx0" brushRef="#br0" timeOffset="189285.72">9164 13013 1105 0,'0'-4'323'0,"0"4"-13"0,0 0-26 15,0 0-13-15,0 0-12 0,0 0-4 0,0 0-24 16,9 18-21-16,-5-5 53 0,-1 2-17 15,2 3-8-15,0 6-41 0,0 1-15 0,3 10-13 16,0 1-21-16,-3 0-22 0,0 2-3 0,-2-1-26 16,-1-2-33-16,0-6-23 0,-4 1-23 15,4 1-18-15,-4-3-3 0,2-1-27 0,0-1-19 16,0-4-10-16,0-3-28 0,2-2-36 0,-2-1-33 16,0-2-26-16,0-1-38 15,0-5-118-15,3-1-504 0,-2 0 31 0,1-4 161 16,-2 0 2-16,0-3 77 0</inkml:trace>
  <inkml:trace contextRef="#ctx0" brushRef="#br0" timeOffset="189547.19">9264 13115 975 0,'0'-7'358'0,"-2"2"-10"0,2 3-38 0,0 2-13 15,0 0-31-15,0 0-2 16,0 0 53-16,2 21-7 0,1-9-39 0,-1 3-10 15,2 2-30-15,3 7-21 0,-4-1-31 0,1 3-3 16,-1 1-22-16,2 1-24 0,0 9 9 16,0-6-19-16,-4-4-28 0,1 0-2 0,1-1-29 15,-3-1-20-15,2-2 0 0,-4-3-44 0,4 1-20 16,-2-4-35-16,0-3-9 0,0 1-20 16,0-4-38-16,0-1-29 0,-2-1-110 0,2-3-127 15,0-2-515-15,0 0 38 0,0-4 179 0,0 0 8 16,0 0 59-16,0 0 52 0</inkml:trace>
  <inkml:trace contextRef="#ctx0" brushRef="#br0" timeOffset="189880.56">9038 13279 895 0,'-2'-24'405'0,"0"3"-29"0,2 0-38 0,2 0-21 0,0 0-20 0,2-4-15 0,3 0-24 0,0 2-17 15,4-8-3-15,2 7-31 16,-3 5 14-16,3 1-37 0,0 3-13 0,-1 3-20 0,4 2 13 16,-3 5-18-16,2 1-10 0,0 4-3 15,1 1-21-15,4 6-7 0,-1 2 11 16,3 1-37-16,-1 2-13 0,7 5 9 0,-3 3-22 15,-6-2-14-15,-1-3-16 16,0 2-31-16,4 5-25 0,-3-3-34 0,-4-3-4 16,1 0-29-16,2-1-10 0,-4 0-54 0,2 0-54 15,-3-3-91-15,0-5-80 0,2 4-505 0,-2 0 55 0,0-1 102 16,0-1 97-16,-1-2 71 0,-4 0 16 0</inkml:trace>
  <inkml:trace contextRef="#ctx0" brushRef="#br0" timeOffset="209653.19">5295 9432 1837 0,'0'0'535'0,"0"0"-20"0,0 0-39 0,0 0-20 16,6 9-62-16,-6-3-33 0,2 3-46 0,0 3-19 15,-1 1-34-15,1 0-30 0,1 5-14 16,0 1-36-16,1 0-24 0,-1-1-47 16,-2 1-47-16,1 0-18 0,0 0-49 0,1 0-51 0,-3 0-25 15,3 0-29-15,-3-1-37 0,2-1-42 16,0-3-57-16,-2-1-239 0,0-1-93 16,0-1-384-16,0-3 90 0,0-2 109 0,0 1 60 15,1-6 125-15,1 3 23 0</inkml:trace>
  <inkml:trace contextRef="#ctx0" brushRef="#br0" timeOffset="209880.47">5387 9544 908 0,'0'0'374'0,"0"0"-11"0,4-3-38 0,-4 3 3 0,0 0-26 0,0 0-33 15,7 15-21-15,-2-8-28 0,-2 4 3 0,2 1-34 16,0 1-27-16,0 0-16 0,-2 0-11 0,2 5 37 15,-2-1-19-15,-1-1-32 0,0 0-39 0,-1-2-39 16,-1-1-15-16,2 4-43 0,-2-3-39 16,3-2-43-16,-6 1-64 0,3-2-88 0,0-5-101 15,0 2-513-15,0-1 49 0,-2-2 146 16,1 1 36-16,-1-2 30 0</inkml:trace>
  <inkml:trace contextRef="#ctx0" brushRef="#br0" timeOffset="210176">5287 9599 1011 0,'-2'-13'343'0,"2"1"-29"16,2 1-22-16,2 2-5 15,-2-1-21-15,0 3-20 0,4-4-6 0,-2 3 52 0,2 0-28 16,-1-1-11-16,3 2-22 0,-3 1-14 0,3-1-25 15,0 1-18-15,1 4-10 0,-1-2-18 16,0 2-10-16,-1 0-13 0,3-1-1 0,-1 3-47 16,0 0-14-16,0 2-12 0,1 2-34 15,0-3-35-15,-2 5-26 0,2-1-42 0,0 3-16 16,-2-2-7-16,2 5-101 0,-3 0-134 16,2 2-365-16,0 0-177 0,-3 0 81 0,4 1 114 15,-2 2 71-15,2 0 79 0</inkml:trace>
  <inkml:trace contextRef="#ctx0" brushRef="#br0" timeOffset="211773.13">19843 4569 852 0,'-3'-3'271'15,"3"3"-7"-15,-5-2-18 0,5 2 66 16,-5-1-13-16,5 1-27 0,-5-4-24 0,5 4-13 0,-4 0-20 16,4 0-17-16,0 0-17 15,0 0-25-15,-12 3-5 0,12-3 11 0,-4 1-4 16,4-1-37-16,0 0 2 0,-6 2-13 0,6-2-8 16,0 4-2-16,0-4-16 0,0 0-4 15,6 5 22-15,-2-4-40 0,2 0-19 0,1 0 18 16,1-1-4-16,0 1-14 0,2 2 3 0,0-3-5 15,3 0 8-15,0 0-18 0,0 0 2 16,-1 0 3-16,4 0-18 0,-3 0 7 16,2 0-17-16,-4 0-13 0,1-3-5 0,1 2-36 0,-5 1-6 15,2 0-22-15,0 0-15 0,-2-1-24 16,0 0-25-16,-3 1-93 0,-5 0-89 16,8-6-89-16,-3 6-495 0,-5 0 90 0,0 0 67 15,0 0 115-15,5 0 51 0</inkml:trace>
  <inkml:trace contextRef="#ctx0" brushRef="#br0" timeOffset="212200.55">20040 4384 911 0,'-2'-3'348'0,"2"3"-23"16,0-5-43-16,0 5-16 0,0 0-31 0,0 0-20 16,0 0 3-16,0 0-31 0,0 0-8 0,10 8-13 15,-7-2-22-15,1-1-19 0,-1 0 13 16,3 2-38-16,1 1 0 0,0 2-13 0,1-2-5 15,0 1 7-15,0-1-17 0,-1 1-13 0,1 2 2 16,0-1-15-16,2-1-5 0,0 2 0 16,-4-3 13-16,1 3 5 0,-1-3-18 15,-4 1 25-15,0-1-14 0,-2 0 1 0,0 3 1 16,-2-4 5-16,-2 4-5 0,-3-3-16 0,-2 2 1 16,-2 0-21-16,-1 1 2 0,-2 0-17 15,-1 2-24-15,0-1-10 0,0-4-38 0,-1 3-33 16,1-3-26-16,3 3-49 15,-2 0-130-15,3-4-113 0,-1 0-453 0,4 0 93 0,-2 0 66 0,2-2 71 16,1-1 34-16</inkml:trace>
  <inkml:trace contextRef="#ctx0" brushRef="#br0" timeOffset="212682.08">20012 4396 1195 0,'0'0'322'0,"0"0"-25"0,0 0-13 16,0 0-30-16,0 0-6 0,-16 1-20 16,8 2-31-16,-2 0 0 0,-2 0-15 0,0 3-16 15,-4-3 8-15,1 2-25 0,-3 2 2 0,-1-1-16 16,-1 1-22-16,0 3-18 0,1-3 20 15,1-1-23-15,5 2-13 0,-4-1-7 0,6-2-21 16,1 1 1-16,3 0 17 0,-1 1-41 16,2 1 15-16,2 1-4 0,1-3-11 0,3 2 0 15,0-1 3-15,3 3-34 0,-1-1-15 16,3 2-10-16,1 0-26 0,-1 2-7 16,2-3-49-16,1 4-36 0,-3-1-61 0,3 1-154 0,1 0-277 15,-1-1-219-15,-2 2 112 0,-1-2 62 16,-3-1 66-16,2 1 112 0</inkml:trace>
</inkml:ink>
</file>

<file path=ppt/ink/ink2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57:09.43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054 3156 1210 0,'29'-3'402'0,"0"0"-21"16,3-2-30-16,18-1-41 0,19 1-34 0,10-1-15 15,5 3-35-15,3-2-11 0,8 2-16 0,3-1-9 16,7 1-47-16,0 1-7 0,1 1-11 0,-4-1-17 16,-2 2-26-16,-6 0-18 0,-1 2-16 15,-1-2-12-15,-7 2-18 0,-3 1-23 0,-7 0-105 16,-16-1-36-16,-6 2-31 0,-2-3-4 0,-13 2-145 16,-9 1 1-16,-1-2-496 0,-7 1 91 0,-3-1 31 15,-6 0 75-15,-3-2 86 16</inkml:trace>
  <inkml:trace contextRef="#ctx0" brushRef="#br0" timeOffset="299.31">4306 3282 1090 0,'-5'-1'384'0,"5"3"-26"0,0-2-17 0,0 0-19 16,28 0-33-16,-2-1-22 0,12 1-22 0,18 1-7 15,21 0-30-15,8-1-21 0,7 4-24 0,11-3-6 16,4 1-24-16,25 1-3 0,-28 0-15 16,-1 2-25-16,-1-3-11 0,-4 3-38 15,-6 1-23-15,-7-1-13 0,-3 0-23 0,-13 2-38 0,-17-2-67 16,-7 0-76-16,-11-1-121 0,-9 0-180 15,-4 2-354-15,-6-3 73 0,-2 1 110 0,0-1 29 16,-6 0 56-16</inkml:trace>
  <inkml:trace contextRef="#ctx0" brushRef="#br0" timeOffset="4511.72">2076 5913 1548 0,'0'0'494'0,"0"0"-41"0,-6-3 21 15,6 3-57-15,0 0-28 0,0 0-56 0,-5 5 0 16,3 0-57-16,-1 2 0 0,3 3-37 15,-3 1-22-15,1-1 3 0,2 6-46 0,-3-2-2 16,1 3-26-16,-3-2-16 0,2 3-27 0,0 0-14 16,-1 0-43-16,1-1-15 0,-3 0-5 0,2 0-29 15,-2-3-20-15,2 1-18 0,0-1-36 16,2-2-33-16,-3-3-36 16,5 2-20-16,-3-5-52 0,0 2-71 0,2-2-97 0,-5 0-157 15,9-2-412-15,-3-3 93 0,3 1 73 0,-3-2 106 0,7 3 61 16,-7-3 66-16</inkml:trace>
  <inkml:trace contextRef="#ctx0" brushRef="#br0" timeOffset="4792">2301 6112 1374 0,'0'0'502'0,"0"0"-67"0,0 0-23 0,0 0-18 16,7 8-25-16,-6-2-44 0,-1-2-21 0,0 3-25 0,0 1-15 15,0-2-49-15,-1 5-8 16,1-2-15-16,-2 3-33 0,-3-1-13 0,0 1-13 16,0 0 0-16,-1-1-30 0,2-1-29 0,-4 2-38 15,0-2-31-15,0-1-36 0,1 2-46 0,-4-4-43 16,4 0-41-16,-1 0-77 0,0-3-177 15,0 3-558-15,3-4 49 0,0 0 149 16,2-2 22-16,3-1 60 0,-7 1 91 0</inkml:trace>
  <inkml:trace contextRef="#ctx0" brushRef="#br0" timeOffset="5143.54">2578 5946 1533 0,'0'0'409'0,"0"0"-22"16,0 0-42-16,5 11-4 0,-5-6-29 15,0 2-41-15,0 1-12 0,0 3-18 0,0-4-39 16,-2 4-8-16,2 2-4 0,-3 0-39 0,2 0-23 16,-1-1 2-16,0 1-20 0,-1 0-41 15,0 0-15-15,1-1-26 0,-3 0-43 0,2-1-16 16,1 1-30-16,0-4-49 0,1 2-36 16,-4-2-77-16,5-2-127 0,-11 2-98 0,10 2-428 0,0-4 90 15,1 0 39-15,0-2 104 16,0 1 57-16</inkml:trace>
  <inkml:trace contextRef="#ctx0" brushRef="#br0" timeOffset="5428">2768 6174 1377 0,'0'0'537'0,"0"0"-30"16,0 0-62-16,0 0-27 0,9 6-27 15,-9-4-112-15,1 3-41 0,2 1-15 16,-3 1-31-16,2-1-5 0,-4 2 7 0,2 2-32 16,-4-1-32-16,2 2-12 0,-3 1-11 15,2 0-45-15,-2-2-19 0,0 1-30 0,0 0-64 16,-2-2-26-16,1 0-41 0,1-2-45 0,0 0-124 15,0-2-212-15,0 0-453 0,2-3 115 0,-1 0 48 16,0 2 113-16,4-4 54 0,0 0 103 16</inkml:trace>
  <inkml:trace contextRef="#ctx0" brushRef="#br0" timeOffset="5746.21">3091 5963 1190 0,'2'-2'496'0,"-2"2"-53"15,0 0-41-15,0 0-36 0,0 0-23 16,0 0-31-16,0 10-35 0,0-4 30 0,0 4-41 15,0-2-12-15,-2 2-16 0,2-1-18 0,-3 3-41 0,0 1 0 16,1 0-18-16,0 2-2 0,-2-1-34 16,2-1-68-16,0 1-19 0,-3-1-43 15,2 1-23-15,0 0-18 0,1-2-39 0,-3 0-61 16,3-1-66-16,-1-1-118 0,-3 1-192 0,4-2-425 16,2-1 122-16,-3 1 9 15,3-2 127-15,0-1 101 0,0-1 24 0</inkml:trace>
  <inkml:trace contextRef="#ctx0" brushRef="#br0" timeOffset="6049.07">3273 6214 1515 0,'0'0'571'0,"0"0"-146"0,0 0-49 0,10 4-13 0,-8-2-27 0,-1 3-45 0,0 0-22 16,0 3-28-16,2-2-1 0,-3 3-19 0,0 0-32 15,-3 0-10-15,0 2-25 0,1 2-19 0,-3-2-17 16,2 2-36-16,-2-4-28 0,0 2-34 16,0 0-63-16,0-4-21 0,2 4-28 0,-2-4-57 15,2-1-61-15,-2 0-110 0,0-4-148 0,3 3-474 16,2-3 82-16,0-2 84 0,-5 3 126 15,5-3 64-15,0 0 69 0</inkml:trace>
  <inkml:trace contextRef="#ctx0" brushRef="#br0" timeOffset="6444.98">3673 5967 1492 0,'0'0'430'0,"0"0"-13"0,8 7-2 0,-6-4-59 16,-2 2-44-16,2 1-8 0,-2 1 57 16,1-1-38-16,-1 1-42 0,1 3-20 15,-1-3-7-15,0 2-52 0,0 1 5 0,0 1-30 0,-1-2-18 16,0 2-24-16,1-3-19 0,-2 3-27 0,0-3-45 16,-1 2-21-16,2-1-46 15,-1 1-31-15,2-2-54 0,-2 2-48 0,-1-3-31 16,3 0-99-16,-3 0-195 0,3 1-525 0,-2-2 87 15,2-1 110-15,-2 0 54 0,1 1 94 0,-1-3 103 16</inkml:trace>
  <inkml:trace contextRef="#ctx0" brushRef="#br0" timeOffset="6805.2">4008 6168 1622 0,'0'0'507'15,"0"0"-56"-15,4 8-9 0,-2-3-47 0,0 0-119 16,0-1-7-16,-2 2-28 0,0 1-9 16,0 3-17-16,-2-3-23 0,0 3-10 0,-1 1-26 15,0 0-5-15,-2-1-20 0,-2 3-31 16,2-4-24-16,-1 2-17 0,-2-1-38 16,1-2-39-16,2 2-36 0,-3-2-48 15,4-2-44-15,-2 0-59 0,3 0-192 0,-2-3-570 0,2 1 56 16,-1-1 122-16,1 1 90 0,3-4 59 0,-5 1 67 15</inkml:trace>
  <inkml:trace contextRef="#ctx0" brushRef="#br0" timeOffset="7189.83">4354 5971 1144 0,'0'0'473'0,"0"0"-43"0,0 0-7 0,0 0-24 15,0 0-51-15,0 0 67 0,0 0-11 0,3 18-43 16,-3-12-18-16,0 1-41 16,0 2-8-16,0-1-56 0,-2 3-15 0,1-3-31 0,1 4-13 15,-2 0-30-15,-1 0-34 0,0 1-18 0,1 0-43 16,-3 2-39-16,2 1-43 0,-1 0-33 0,-2 1-57 15,-1 0-25-15,-1-3-57 16,3 4-161-16,-3-4-384 0,3 2-263 0,-3-2 109 16,3-3 88-16,2-2 145 15,1 2 14-15,0-4 55 0</inkml:trace>
  <inkml:trace contextRef="#ctx0" brushRef="#br0" timeOffset="7565.03">4903 6220 1331 0,'3'6'524'0,"-1"-1"-25"0,-2 3-28 15,3-1-48-15,-6 4-34 0,1 0-59 0,-1 1-20 16,-5 3-47-16,-2 3-66 0,-5 1-89 0,-3 6-111 15,-8 1-125-15,1-2-419 0,-3 1-380 16,-1 4 103-16,-4-3 71 0,0 0 101 16,1-1 40-16</inkml:trace>
  <inkml:trace contextRef="#ctx0" brushRef="#br0" timeOffset="10157.21">5295 6055 1133 0,'0'0'456'0,"0"0"-52"0,0-4-43 0,0 4-7 15,0 0-42-15,0 0-7 0,-2 17-44 16,2-10-21-16,-2 2-2 0,-1 3-41 16,2 1-17-16,-1 2-6 0,0-1-28 0,-1 2-29 15,0 1 19-15,1 1-13 0,-1 0-18 0,1 0-11 16,-3 0-32-16,2-3-8 0,1 1-29 16,-1-3-25-16,0-1-30 0,1-2-40 0,2 0-47 15,-3-2-22-15,0-1-86 0,3-1-113 0,-1 0-593 16,1-2 76-16,0-4 64 0,4 1 87 15,-4-1 84-15,0 0 90 0</inkml:trace>
  <inkml:trace contextRef="#ctx0" brushRef="#br0" timeOffset="10681.82">5462 6060 1169 0,'8'-1'481'0,"2"2"-43"0,1 1-49 16,-4-1-23-16,1 1-20 0,0 3-36 0,0-1-29 16,-1 1-7-16,-4 2-33 0,1 1-19 0,-3-1-9 15,-2 3-14-15,-1 0-45 0,0 1 18 16,-4 2-27-16,2-3-40 0,0-1 16 0,-1 2-11 16,0-3-16-16,2-1-1 0,1-1-19 15,-3 0-15-15,5-1 7 0,-2 1-17 16,1-1-3-16,1-3 3 0,0-2-19 0,0 9 14 15,3-7-21-15,0 3 10 0,-1-2-10 0,3 2 26 16,-2-1-13-16,2 0 2 0,0 1-2 16,-2 0 25-16,2 1-27 0,-2 0 17 0,-1-3-5 15,0 2-10-15,-2 2 2 0,0-1-5 0,-2 0-86 32,0-1 7-32,-4 2 20 0,1-1-2 0,-2 0-41 0,-1 1-3 0,-2-2-48 15,1 1-11-15,-1 1-48 0,0-2-46 0,-3-1-93 16,4-3-178-16,0 3-523 0,2 0 100 0,-1-2 87 0,3-2 108 15,0 2 69-15,5-2 143 16</inkml:trace>
  <inkml:trace contextRef="#ctx0" brushRef="#br0" timeOffset="10905.23">5670 6226 1415 0,'3'3'545'0,"2"1"-120"0,0 2-18 0,-1 1-28 0,2 3-31 0,-4-3-41 16,1 6-30-16,0-1-19 0,-1 1-22 0,-2 2-39 16,0 0-13-16,0-1-48 0,-2 4-31 15,-1-5-46-15,1 4-47 0,1-3-40 16,-1-1-43-16,-3-1-68 0,4 1-58 0,-1-2-161 16,0-3-489-16,2-1-39 0,-3-1 98 0,3-1 109 15,0-1 37-15,0-4 56 0</inkml:trace>
  <inkml:trace contextRef="#ctx0" brushRef="#br0" timeOffset="11155.15">5965 6081 1144 0,'0'0'504'0,"2"-4"-7"16,-2 4-42-16,0 0-43 0,0 0-107 0,6 12-29 16,-4-7-9-16,3 3-12 0,-5 2-27 15,3 3-10-15,-1 0-11 0,-2 0-40 0,0 5-4 16,-2 0-29-16,-1 1-37 0,3 0-36 0,-5 0-38 16,3-1-30-16,-1 1-29 0,0-1-67 15,1-3-37-15,0 2-40 0,1-4-55 0,1-4-77 16,0 1-118-16,1-3-477 15,1-1 106-15,0-1 56 0,1 1 105 0,-1-4 65 0</inkml:trace>
  <inkml:trace contextRef="#ctx0" brushRef="#br0" timeOffset="11759.61">6267 6112 985 0,'0'0'427'0,"3"-3"9"15,-3 3-70-15,5-1-13 0,-5 1-33 0,8 0-36 16,-8 0-23-16,10 5-5 15,-8-1-31-15,1 0-17 0,2 2-22 0,-5 1-22 16,0 2-18-16,-2-2 10 0,-1 4-30 0,-2-2-11 16,-1 3-5-16,2-4-15 0,-2 3-16 0,-1 0-25 15,4-3-3-15,1-1-15 0,-1 0 18 16,0 2-26-16,1-3 15 0,2 0-9 16,2-3-14-16,-2 2-5 0,4 1 19 0,0-1-1 0,-1-2-7 15,4 2 7-15,-1 1 21 0,2 1-6 16,-4-2 8-16,2 0 37 0,-2-1-27 0,2 1 8 15,-3 1-56-15,1-1-2 0,-4 2-3 16,0-2 15-16,0 2-21 0,-2-1-7 0,-1-1-2 16,-2 0 12-16,0 2-48 0,-2-2 4 15,2-1-37-15,-1 3-37 0,-2-2-38 0,1 0-46 16,-1-2-102-16,0 1-213 0,0 1-483 0,1-3 132 16,2 0 59-16,-1 0 78 15,6-2 91-15,-6 0 44 0</inkml:trace>
  <inkml:trace contextRef="#ctx0" brushRef="#br0" timeOffset="11961.57">6477 6274 1702 0,'8'2'530'0,"-3"2"-141"0,-2-2-5 16,0 5-21-16,2-1-30 0,-3 3-31 15,1 1-23-15,-1 1-31 0,1 1-23 0,-3 2-35 16,0 2-37-16,0-2-58 0,0 3-41 15,-3-3-67-15,3 1-46 0,0 1-74 0,0-1-31 16,0-3-71-16,3 1-159 0,-3-1-507 0,0-2 48 16,0-2 90-16,2-1 70 0,-2-1 58 15</inkml:trace>
  <inkml:trace contextRef="#ctx0" brushRef="#br0" timeOffset="12303.41">6713 6075 1750 0,'0'0'523'0,"5"13"-76"0,-5-7-9 0,3 2-44 15,0 5-30-15,-1 0-3 0,0 4-57 0,1 1-27 16,-2 2-57-16,1 0 10 0,-2 2-30 16,2-1-26-16,-2 1-41 0,1-1-48 0,-1-1-37 15,0 1-40-15,2-2-44 0,-2-4-28 0,0 0-31 16,0 0-63-16,0-3-62 0,3-4-131 15,-6 3-135-15,3-5-459 0,3 1 57 0,-1-5 140 16,0 3 85-16,-2-5 62 0,3 0 30 0</inkml:trace>
  <inkml:trace contextRef="#ctx0" brushRef="#br0" timeOffset="12886.8">6973 6088 1236 0,'7'0'440'0,"-7"0"-66"16,13 1-39-16,-8 3-15 0,0-3-46 16,-2 4-18-16,-1-2-5 0,-2 3-44 0,0 1-15 0,-3-1-15 15,1 4-36-15,-4-2 17 0,2 3-9 0,1-3-29 16,-2 0-18-16,3 1-15 16,-1-2-12-1,0 0-9-15,3-1-22 0,0 0 4 0,0-1-12 0,0 1-8 0,3-3 16 0,0 4-16 16,1-2-5-16,2 2 26 0,-3 0 2 0,2 0 10 15,0 1 8-15,2-2 44 16,-4 1-41-16,2 0-1 0,-5-1 1 0,3 1 7 16,-3-1 6-16,-3 1-26 0,3 3-18 0,-3-3 15 0,1-1-5 15,-3 1-20-15,0 0-41 16,0-1-52-16,-1 0-48 0,-1 0-72 0,2-1-76 16,-1-5-231-16,1 5-502 0,-3-2 111 0,3 2 63 15,0-3 142-15,0 1 78 0,2-2 1 0</inkml:trace>
  <inkml:trace contextRef="#ctx0" brushRef="#br0" timeOffset="13073.55">7201 6313 1469 0,'4'3'504'0,"-3"0"-36"0,1 3-43 0,1 2-53 16,-3 1-6-16,2 0-36 15,-2 2-54-15,-2-1-35 0,-1 4-59 0,0 0-83 0,-1 1-76 0,-4 1-66 16,0-2-116-16,-7 3-299 0,8-3-458 16,3-3 97-16,0 3 71 0,1-2 90 0,0-5 90 15</inkml:trace>
  <inkml:trace contextRef="#ctx0" brushRef="#br0" timeOffset="13504.65">7505 6111 1684 0,'0'0'466'0,"0"0"-41"16,0 0-8-16,0 0-33 0,0 0-31 0,3 17-33 15,-3-7-26-15,3 3-22 0,-3 2-39 16,0 1-18-16,0 2-29 0,0 2-27 0,-3-1-59 16,1 1-51-16,1 2-67 0,-1-2-67 0,2-1-48 15,-2 1-72-15,-1-1-110 16,-7 2-161-16,9-7-427 0,1 0 79 0,0-4 38 16,1-2 118-16,-1-2 87 0,2-1 51 0</inkml:trace>
  <inkml:trace contextRef="#ctx0" brushRef="#br0" timeOffset="13939.27">7736 6132 1489 0,'10'3'461'0,"-2"1"-57"0,0 2 3 16,-3-1-20-16,0 1-29 0,0 2-35 0,-2 1-44 15,-6 0-18-15,1-1-13 16,0 3-46-16,-1 1-10 0,-2-3-107 0,4 0-6 0,-4-1 1 15,3-1-24-15,0 0-13 0,1 1 11 0,1-2-18 16,0-2-3-16,1 2 11 0,3-1-11 0,-1 2-7 16,-1-1 9-16,4-1-4 0,-3 1 18 0,1 0-3 15,2 0 5-15,-4-1 5 16,3 0-2-16,-2 0 13 0,-1-1-6 0,-2 3-2 16,0-1-8-16,-2 0 3 0,-4 1-34 0,2 0 29 15,-2-1-54-15,-1 1-3 0,-4-1-66 0,1 0-72 16,3 0-51-16,-4 1-154 0,1-2-501 15,2 0-105-15,0-3 91 0,0-1 106 0,1 2 61 16,2-2 49-16,5-1 62 0</inkml:trace>
  <inkml:trace contextRef="#ctx0" brushRef="#br0" timeOffset="14114.34">7987 6357 1802 0,'8'8'483'0,"0"3"-19"0,-3 2-50 0,-2-2-27 0,-3 1-39 0,-3 2-36 16,0-1 47-16,-1 6-78 0,-7-1-86 0,1 2-108 0,-3 2-113 15,3-13-232-15,-1 14-746 0,1-3 126 0,5-3 69 16,-2-3 93-16,1-2 88 16,4-1 40-16</inkml:trace>
  <inkml:trace contextRef="#ctx0" brushRef="#br0" timeOffset="14541.06">8306 6127 1415 0,'0'0'484'0,"0"0"-36"0,0 0-49 0,0 0-20 15,-1 18-34-15,1-8-48 0,-2 3-13 0,2 0-35 16,0 0-21-16,0 3-36 16,-2 0-13-16,-1 2-38 0,2 0-37 0,-1 1-34 0,0 0-40 15,-1-1-42-15,3-3-35 0,-3-2-45 0,3 3-59 16,-2-4-71-16,2-3-127 0,-5 2-101 0,5-4-431 15,0 0 96-15,3-3 37 16,-1 1 101-16,-2-5 73 0</inkml:trace>
  <inkml:trace contextRef="#ctx0" brushRef="#br0" timeOffset="14904.25">8487 6119 1159 0,'10'0'507'0,"-2"2"-41"0,0 1 0 0,0-1-47 16,-1 3-37-16,-1-2-21 0,-1 2-41 15,0 1-29-15,-3 1-24 0,-2 2-22 0,0-1-27 16,-2-1-18-16,0 1-34 0,-2 2-15 0,0-3-28 16,1-1-5-16,0 1-31 0,3-1-41 15,-2 0 2-15,0-1-22 0,4 0 23 0,-2-5 4 16,2 8-32-16,1-6 12 0,0 2 8 0,1-1-3 15,2 1 9-15,-1 1 29 0,0-2-22 16,3 3 31-16,-3-1-24 0,0 0 18 16,-2 2 24-16,-1 0-27 0,1-1 12 0,-3 1-17 0,-5 3-4 15,2-3-3-15,-4 1-11 0,-2 3-101 16,-1-2-6-16,-2 1-46 0,1-1-35 16,-1 0-16-16,-2-2-49 0,4-1-46 0,0 0-43 15,0 0-177 1,0-4-586-16,2 2 92 0,3-3 100 0,0 1 67 0,-2 0 132 0,7-2 39 15,-6 0 41-15</inkml:trace>
  <inkml:trace contextRef="#ctx0" brushRef="#br0" timeOffset="15117.2">8708 6343 1540 0,'15'7'574'0,"-7"0"-111"0,-1 3-15 0,1-1-23 0,-2 2-59 0,-2-2-54 15,-3 6-20-15,1 0-13 0,-2 1 56 0,-3 3-33 16,1 0-58-16,-3 1-60 0,0-2-61 16,-1 1-103-16,2-1-63 0,-2-2-75 0,2 1-97 15,3-4-264-15,-1-2-486 0,2-3 46 0,0 0 105 16,0-3 64-16,2-1 70 0,-1-2 78 0</inkml:trace>
  <inkml:trace contextRef="#ctx0" brushRef="#br0" timeOffset="15467.45">9052 6176 1510 0,'0'0'491'0,"0"0"-45"0,0 0 4 0,0 0-56 0,0 13-17 16,2-6-45-16,-2 3-45 0,2 1-5 16,-2 2-37-16,1 1-48 0,1 3 26 15,-2-2-54-15,0 4-33 0,0 0-60 0,0 3-50 16,0-7-69-16,-2 4-47 0,1-2-41 15,1-3-73-15,-2 0-78 0,2-2-181 0,0 0-454 16,2-1 83-16,-2-5 69 0,1 2 45 0,1-3 83 16</inkml:trace>
  <inkml:trace contextRef="#ctx0" brushRef="#br0" timeOffset="16166.28">9344 6139 1308 0,'0'0'583'0,"15"1"-104"0,-7 2-44 0,0-1-8 0,2 0-45 0,-2 2-42 15,-1 1-10-15,1-2-33 0,-3 2-18 0,0 1-20 16,-2 0-24-16,-3 0-27 0,0 0 2 16,-3 1-54-16,1-1 18 0,-1 2-31 0,1-2-20 0,-1-1 5 15,0 1-18-15,3-1-5 16,-2 0-10-16,4 0-29 0,-2-1 29 0,3 2-36 15,2 1 13-15,3 0-21 16,-3 3 10-16,5-3 6 0,-4 3-29 0,4-1 144 0,-3 1-44 0,-1-2-69 16,1 3 34-16,-2-3-22 0,-2 0 4 15,-1 2-31-15,-2-1-13 0,-2 1 82 16,-3-2-123-16,-3 3 0 0,-3-2 0 0,-1 1 0 0,-4-2 0 31,-4 3-103-31,2 2-171 0,-3-6-123 0,1 4-383 0,-1-1-357 0,4-2 83 0,-1-2 112 16,0 1 79-16,-1 0 113 0,1-2 56 0,3 3 57 15</inkml:trace>
  <inkml:trace contextRef="#ctx0" brushRef="#br0" timeOffset="20028.93">952 6230 1095 0,'19'-8'320'0,"-12"6"-31"0,3 2-17 0,5 0-37 15,-2-3-22-15,5 0-55 0,-2 2-58 16,2-3-67-16,2 1-122 0,-2 2-162 0,2-3-422 15,-1 4 12-15,-2-2 85 0</inkml:trace>
  <inkml:trace contextRef="#ctx0" brushRef="#br0" timeOffset="20238.77">1068 6308 1149 0,'0'0'343'0,"0"0"-28"0,-3 1-21 0,3-1-23 15,0 0-25-15,0 0-3 0,0 0-30 16,16 0-6-16,-16 0-33 16,20-3-38-16,-7 1-42 0,0-1-35 0,5-3-59 0,2 1-84 15,-1 0-193-15,1 1-552 0,0-1 79 0,-2-2 90 16,0 1 48-16</inkml:trace>
  <inkml:trace contextRef="#ctx0" brushRef="#br0" timeOffset="20504.82">1181 6056 1177 0,'7'1'458'15,"6"1"-38"-15,-2 2-57 0,4 3 1 0,1-1-29 16,1 1-5-16,4 4-17 0,-1 0-32 15,-2-1 6-15,2 6-36 0,-2-2-26 0,-2 3-25 16,-5 1-24-16,0-2 14 0,-5 2-37 0,-3-1-27 16,-3 2-44-16,-1 1-44 0,-4 3-38 15,0 0-51-15,-2 0-72 0,-1 2-43 0,0-1-126 16,-2-1-289-16,0 8-361 0,-1-9 79 0,-1 0 93 16,2-4 38-16,1-2 110 15,-1 2 51-15</inkml:trace>
  <inkml:trace contextRef="#ctx0" brushRef="#br1" timeOffset="25854.12">4277 6518 1162 0,'0'0'337'16,"-12"0"-11"-16,7-1-32 0,-3 1-100 16,-2-2 4-16,0 1-27 0,-1 0-10 15,1 0-12-15,-5-4-1 0,2 4-7 0,-3 0 0 0,1-3-18 16,-3 3-13-16,0-3 10 0,-3 2-15 16,1 0 66-16,-3-2-17 0,0 2-18 0,-3-1-3 15,0 2-31-15,-2 0 31 0,-3 0-35 16,-1 1-6-16,1-2-3 0,-2 1 6 0,-2 1-18 15,1 1 7-15,-13 1-22 0,6-2 7 16,-6 1 0-16,7 0-5 0,6-1-15 0,-12 1-11 16,5-1 3-16,8 0 2 0,-16 3-4 15,10-6-11-15,6 6 5 0,-2-6 13 0,2 2-30 16,1 1 7 0,-1-1 15-16,2-2-30 0,3 1 20 0,2 1-2 0,-2-3 12 0,3 2-25 0,1 2 2 15,1-5 13-15,0 4-7 0,0 1-3 16,3-2 0-16,-1-1 23 0,4 3-24 0,-1 0 22 15,2-2-3-15,-2 2 0 0,5 0-11 16,-2 2-4-16,2-2-1 0,2 0 3 0,-1 1 0 16,0 2-7-16,3-3-4 0,-1 1 11 15,0 0-15-15,2-1 2 16,3 3-12-16,-3-2 4 0,1 0-7 0,2-1 15 0,0 1-4 0,5-1 6 16,-11 3-7-16,6-2-2 0,5-1 12 15,-8 1-33-15,3 0 13 0,5-1 13 0,-7 1-13 16,7-1 0-16,-6 3-8 0,6-3 8 15,-8 1-21-15,8-1 1 0,-4 1-11 0,4-1-18 0,0 0-5 16,-8 1-30-16,8-1-34 16,-5 3-8-16,5-3-30 0,0 0-39 0,-5 1-66 15,5-1-138-15,-3 0-569 0,3 0 87 0,0 0 75 16,0 0 94-16,0 0 118 0,0 0 10 0</inkml:trace>
  <inkml:trace contextRef="#ctx0" brushRef="#br1" timeOffset="26279.25">2698 6342 1287 0,'0'0'399'0,"-5"-3"-86"0,5 3-34 0,0 0-31 0,0 0-25 15,0 0-6-15,-16 5-35 16,14-3 2 0,-5 2 1-16,2-2-32 0,-1 3-25 0,-1 0 10 0,-4 0-7 0,4 2-24 0,-4-1-7 15,2 1 0-15,-2 0-8 16,-2 1 11-16,2 2 50 0,-3-1-7 0,1 2-23 0,-2 0 0 16,-1 1-5-16,-2 1-24 0,3-3-2 15,2 1-7-15,0 1-6 0,0 0-7 0,0-2-13 0,3-2 10 16,0 0-33-16,2 2 7 15,3-2-12-15,-1 0 0 0,4 2-6 0,0-4 6 16,2 2 2-16,0 3 3 16,2-3-10-16,0 1-6 0,4-2 3 0,-3 2-18 0,2 1 29 15,2-2-29-15,1 0-5 0,-3 1 15 0,2-1-10 16,0 0 16-16,2 2-26 0,-6-4 2 16,4 1-35-1,-1 3-9-15,-1-2-24 0,0-1-19 0,2 1-30 0,-4 2-64 0,3-1-77 0,1 0-162 31,0 0-557-31,1 1 79 0,2 3 120 0,-1-2 62 0,3-2 74 0,3 2 97 0</inkml:trace>
  <inkml:trace contextRef="#ctx0" brushRef="#br1" timeOffset="27303.25">6070 6564 1057 0,'0'0'317'16,"-5"-1"-30"-16,5 1-18 0,-5-1-26 15,5 1-23-15,0 0-5 0,0 0-13 0,0 0-15 16,0 0-8-16,0 0-25 0,13 9-6 15,-3-5-10-15,0-3-5 0,2 2 16 0,4-1-26 16,2 1-31-16,5 1-2 0,3-2-14 16,4 3 4-16,4 0 63 0,9-1-25 0,4 0 2 15,-4-1-20-15,6-1 5 0,2-1-18 0,0 4-5 16,1-5 0-16,4 2-13 0,1 0-10 0,4 0-6 16,11 0-12-16,-1 1 11 0,-9-2 9 0,13-1-28 15,-1-1-2-15,-13 2 7 0,1-1-15 0,-5 1-15 16,2-1 33-16,0-1-13 15,2 1-18-15,-2-3 26 0,2 2-25 0,-2-1 9 16,0 2-2-16,-2-1 20 0,-3 1-15 0,-1-1 16 16,-4-1-14-16,-11 2 1 0,-5-2 12 15,-6 2-10-15,-2 0-4 0,-2 0-9 0,-5 0 0 16,-2 0 3-16,-1-1 8 0,0 0 12 0,-5-2 11 16,1 3-8-16,-1 0 33 0,0 0-25 15,-2 0-78-15,-3 0 27 0,2 0 7 0,-7 0-5 16,11-1 23-16,-11 1 3 0,8 0-19 15,-8 0 4-15,5-1-1 0,-5 1 10 0,7-1 3 0,-7 1-5 16,0 0 0-16,0 0-2 0,6-3 7 16,-6 3-16-16,0 0-2 0,0 0-2 15,0 0 2-15,0 0 3 0,0 0-11 0,0 0-7 16,0 0-8-16,0 0-8 0,0 0-4 0,0 0 12 16,0 0-13-16,0 0-20 0,0 0 12 15,0 0-35-15,0 0-15 0,0 0-6 0,0 0-36 16,0 0-9-16,0 0-29 0,0 0-16 0,0 0-19 15,0 0-42-15,0 0-153 0,0 0-241 16,0 0-269-16,0 0 128 0,0 0 49 16,0 0 126-16,0 0 45 0</inkml:trace>
  <inkml:trace contextRef="#ctx0" brushRef="#br1" timeOffset="27719.23">8195 6513 1026 0,'0'0'325'0,"0"0"-13"0,0 0-12 0,0 0-47 0,0 0-17 0,10 10-19 15,-2-8 47-15,-3 0-29 0,1 4-12 0,2-3-33 16,-1 0-11-16,3 2-15 0,0-1-13 15,3 1-31-15,-2-1 3 0,1 0 0 0,-2-2-24 16,1 2-4-16,-1-2 2 0,0 3 6 16,-2-3-1-16,0-1-2 0,-3 3 0 0,3-3-49 15,-3 1 31-15,0 1-26 0,0-1 13 0,0-1 8 16,-2 4-26-16,2-5 8 0,-3 5 10 16,-2-5-2-16,0 6 10 0,-2 0-13 0,2 0-3 15,-5-1-5-15,2 4-12 0,-2-2-6 16,0 4-7-16,0-2 2 0,-6 2-5 0,4 3-2 0,-3 0-34 15,-1-1-25-15,-2 2-18 0,0-2-39 16,-2 4-33-16,2-4-30 0,0 0-49 16,1 0-75-16,2-7-204 0,-1 6-499 0,-2-1 117 15,1-2 54-15,1 1 133 0,1-3 52 0,0 0 38 16</inkml:trace>
  <inkml:trace contextRef="#ctx0" brushRef="#br1" timeOffset="28671.66">4995 5884 1077 0,'0'0'397'0,"0"0"-21"0,0 0-28 0,0 0-38 0,8 9-44 0,-8-2 3 16,1 0-13-16,1 6 46 0,-2 0-18 0,2 5-15 15,1 2-21-15,0 6-23 0,-1 1-12 16,0 0-16-16,1 15-13 15,0-4-30-15,-3-3-1 0,0 5-14 0,0-7-34 0,0-3 2 16,-2-4 1-16,-1 0-52 0,2-1-2 0,1-3-8 16,-2-4-41-16,0-3-10 0,1-1-26 15,-1-1-25-15,2-2-13 0,-3-1-44 16,3-3-20-16,-2-1-13 0,2-4-43 0,0-2-60 16,0 5-58-16,0-5-87 0,0 0-528 0,0 0 85 15,5-13 77-15,-2 8 82 0,-1-3 117 16,0-3-2-1</inkml:trace>
  <inkml:trace contextRef="#ctx0" brushRef="#br1" timeOffset="29971.14">5047 5809 1087 0,'0'0'387'16,"0"0"-39"-16,2-3-84 0,-2 3-31 0,0 0-16 15,8-4-10-15,-2 4-4 0,-6 0-24 0,15 4-8 32,-6-3-20-32,2-1-5 0,4 1 0 0,1 0-18 0,-1 2-15 0,3-2 7 15,3 1-20-15,2 2-18 0,0-4 7 16,0 2-7-16,0 2-23 0,0-3-8 0,0-1 6 0,1 4 7 15,1-3-8-15,-4 0-10 16,1 1-13-16,-1 2 6 0,-3-4-16 0,0 1 2 0,-1 0-9 16,1 1 9-16,-1-2-17 0,0 1 18 0,-1-1-8 15,-1 0-8-15,2 2 5 0,-1-2 3 16,-3 0 3 0,0 0-4-16,2 0-1 0,-4 0-11 0,1 0-2 0,-2 0 2 0,0 0 0 0,1 0 5 15,-3 0-2-15,0 0-8 16,0 0 12-16,-1 2-6 0,-7-2 9 15,13 0-12-15,-9 0 9 0,-4 0 14 0,8 0-13 0,-8 0 15 16,8 2-10-16,-8-2 15 0,5 1 8 0,-5-1 3 16,6 1-14-16,-6-1-4 0,0 0-8 15,7 1 0-15,-7-1 7 0,0 0 80 0,3 3-10 16,-3-3 10-16,0 0-8 16,0 6 6-16,0-3-19 0,0-3-7 0,-3 7-8 0,3-3-18 15,-2 2 5-15,1-1 16 0,1 1-34 0,0-2 16 16,-2 3-5-16,2 2-85 0,-2-1 5 0,-1 2 26 15,3-1 8-15,0 2-24 0,-3 1 14 32,-1 2 4-32,3-2 3 0,-4 0 0 0,3 2 5 0,-1-2-13 0,0 2-2 0,-1 1 0 15,3-2 15-15,-1 0-13 0,-1 1 11 16,0-1-13-16,1 3 17 0,0-3-1 0,-1 0 4 16,0 0 13-16,1 0-13 0,0 1 13 15,1-2-20-15,-2 3-6 0,1-2 13 0,-1 0-5 0,1-1 6 16,-1 0-4-16,1-2 22 0,0 2-17 15,1-1 4-15,-1 0-1 0,-1-1 0 0,0 1 8 16,3-3-5-16,-2 3-2 0,0-3-3 16,-1 1 7-16,2-1 8 0,-1 0-20 0,0 2 10 0,2-3 2 15,-3 1-12-15,1 1 15 0,1-1-3 16,-1-2 9-16,2 4-6 0,0-2-21 16,-3-2 24-16,3 1-19 0,-2-1 14 0,2 0-8 15,-3 2 7-15,3-1 3 0,-2-1-2 16,2-1-16-16,-2-1 18 0,1 0-8 0,1 0 1 15,0 0-1-15,0-4 0 0,-2 6 1 0,2-3-14 16,0-3 6-16,-3 5 5 0,3-5 0 31,0 6 12-31,0-6-15 0,0 5 1 0,0-5-1 0,0 0-10 0,0 3 10 0,0-3 3 16,-2 4 2-16,2-4-2 0,0 0 0 0,0 0-6 0,-1 4-9 16,1-4 15-16,0 0 7 0,0 0-12 0,0 0 0 15,0 0 2-15,-2 4 8 16,2-4-8-16,0 0 8 0,0 0 7 0,0 0-19 0,-3 4 1 15,3-4-7-15,0 0 8 0,0 0 71 16,0 0 3-16,-5 1-10 0,5-1 12 0,0 0-30 16,-7 0 13-16,7 0-21 15,0 0 31-15,-11 0-13 0,6 1 12 0,-3-1-24 0,-1-1-52 16,-2 1 0-16,1 0 0 0,-3 0 0 16,-3 0 0-16,-2 0 0 0,-2 1 0 0,-3 0 0 15,-3-1 0-15,-4 3 0 0,-1-1 0 16,-13 0 0-16,-7 3 0 0,2 0 0 15,0-1 0-15,3 0 0 0,1 2 0 0,10-6 0 0,5 5 0 16,7-4 0-16,0 0 0 0,5 2 0 0,2-2 0 0,4-1 0 16,-1 0 0-16,0 0 0 15,3 2 0-15,-1-2 0 0,4 1 0 16,-1 1-6-16,0-1-9 0,4 0 36 0,4-1-42 0,-13 0 6 16,13 0 12-16,-8 1 24 0,5-1-24 0,3 0 13 15,-7 4-2-15,7-4-21 0,-5 1 16 16,5-1 4-16,0 0-12 0,-6 2 0 15,6-2 8-15,0 0-14 0,-3 3 27 0,3-3-16 0,0 0-5 16,0 0 18-16,-2 2-13 0,2-2 0 16,0 0 0-16,0 0 0 0,0 0 0 0,0 0 0 15,-2 5 0-15,2-5 0 0,0 0 0 16,0 0 0-16,0 0 0 0,0 0 0 0,0 0-24 16,0 0 1-16,0 0 0 0,0 0 13 0,0 0 23 15,0 0-34-15,0 0 32 0,0 0-16 0,10-12-24 16,-8 7-17-16,1-3-7 0,2 2-27 15,-2-6-22-15,2 0-6 0,-2-3-61 0,1-2-25 16,2-3-24-16,-4 0-48 0,4-2-44 0,-4 3-33 16,-2 4-266-16,3-2-471 0,-1 4 125 0,1 1 100 15,-3 1 139-15,0 4 40 0,0-2 74 16,0 0 57-16</inkml:trace>
  <inkml:trace contextRef="#ctx0" brushRef="#br1" timeOffset="30837.86">5162 6820 1046 0,'5'10'389'0,"-5"-3"-25"16,0 1-8-16,0 8-39 0,0-1 47 0,0 4-16 15,0 5-49-15,-2 2-27 0,0 3-103 16,-1 9-16-16,0-5-20 0,1-4-15 0,-1 10-34 15,0-8-4-15,0-3-42 0,1-1-10 16,-3-1-33-16,2-2-38 16,-1-3-32-16,1-3-50 0,0-1-46 0,1-3-93 0,0-2-118 15,1-4-455-15,1 2 108 0,0-4 15 0,0-3 94 16,1-1 88-16</inkml:trace>
  <inkml:trace contextRef="#ctx0" brushRef="#br1" timeOffset="31110.86">5293 6852 1405 0,'2'-6'445'0,"-2"4"39"0,0-3-34 0,0 5-2 16,0 0-69-16,0 0 15 0,0 0-22 16,0 0-24-16,0 0-8 0,-4 18-40 0,1-6-131 0,2 0-13 15,1 2-13-15,-2 5 11 0,0 3-19 0,-1-1-27 31,1 5-16-31,-1-1-2 0,0 1-29 0,1 1-12 0,-3-2-37 0,3 1-24 16,-1-2-40-16,0-2-24 0,0-1-40 0,-2-5-9 16,2 2-31-16,1-4-28 0,2-1-29 15,-2-2-81-15,-1-1-152 0,3-5-529 16,0-1 95-16,-2 0 63 0,2-4 121 0,0 0 51 0,0 0 56 16</inkml:trace>
  <inkml:trace contextRef="#ctx0" brushRef="#br1" timeOffset="31505.81">5029 7090 1139 0,'3'-8'340'0,"-1"3"-10"0,0-2-33 16,1 0-33-16,3-5 71 0,2 0 3 0,-1-1-49 16,3-6-5-16,0-1-30 0,3-2-19 15,2-5-12-15,-1-2-23 0,3 2-16 0,-4 6 8 16,0-1-31-16,-1 6 6 0,2-1-24 16,-4 4 5-16,0 1-2 0,0 0-5 0,-2 5-13 15,2 0 28-15,-3 3-41 0,1 4 0 16,0 0 6-16,0 5-42 0,-1 3 24 0,3 3-4 15,-2 2-17-15,0 4-13 0,-3 1 3 0,3 3-8 16,0 0-20 0,-3 3-32-16,2 0-24 0,-1 0-19 0,-1 0-64 0,2-2-25 0,1 2-31 15,-5-2-33-15,5-1-32 0,-3-2-45 0,2-2-120 16,-4 1-157-16,4-2-427 0,-1 0 64 16,-2-1 82-16,-1-2 74 0,0-1 113 15,2 0 46-15</inkml:trace>
  <inkml:trace contextRef="#ctx0" brushRef="#br1" timeOffset="34196.61">15105 840 1231 0,'-12'2'366'0,"4"1"-31"0,2 1-46 0,1-1-10 0,0-1-30 0,0 3-22 0,3-2-14 0,-2 1-39 16,2 0-10-1,2 0 0-15,0-4-21 0,3 9-18 0,2-5-4 0,0 1-24 16,3 0-5-16,0-2 0 0,2 0-18 0,0-1-17 0,3 0 9 15,0 1 6-15,0 0-26 16,-3-1 8-16,0-1-18 0,-2 0-6 0,-1 1 11 16,-1 0-10-16,1 1 2 0,-2 0-5 0,-2 0 34 15,0 3-29-15,-1 2 29 0,0 0-19 0,-2 2-17 32,0 2 2-32,-2 1 10 0,0 4-2 0,-1 1 0 0,-2 1-5 0,-3 3 10 0,0 0-13 15,1 1-15-15,-3 0 2 0,2 0-20 0,-2-1-8 16,1-1-28-16,-1-1-31 0,0-1-38 15,5-3-30-15,-2-2-55 16,-1-1-92 0,5-7-138-16,-4 5-473 0,4-3 110 0,0 0 50 0,1-1 55 0,-1 0 51 0</inkml:trace>
  <inkml:trace contextRef="#ctx0" brushRef="#br1" timeOffset="34424.86">14976 1225 1103 0,'0'0'453'0,"-2"-2"-120"15,2 2-19-15,0 0-6 0,0 0-35 16,8-6-24-16,-3 5-14 0,3 1-25 0,0 0-20 16,2-1-22-16,0 1-6 0,0-1-34 0,3 1-5 15,-3-2-21-15,3 2-18 0,0-2-48 16,0 2-31-16,2-2-25 0,0 0-57 0,1 1-64 15,-1 0-94-15,3-3-136 0,-3 1-477 16,3 2 116-16,-5-1 21 0,3 0 84 0,2-1 69 16</inkml:trace>
  <inkml:trace contextRef="#ctx0" brushRef="#br1" timeOffset="34773.08">15674 1120 1435 0,'-5'0'392'16,"5"0"-26"-16,0 0-33 0,0 0-34 0,0 0-25 15,0 0-25-15,0 0-27 0,0 0-32 0,0 0-6 16,26 2-13-16,-16-2-40 0,0 2-36 0,2-2-24 16,2 0-89-16,-1 1-53 0,2 1-124 15,-5-1-209-15,6-1-469 0,2 0 90 0,0-1 56 16,-3 0 61-16,1 0 90 0</inkml:trace>
  <inkml:trace contextRef="#ctx0" brushRef="#br1" timeOffset="35000.48">16207 994 1361 0,'0'0'379'0,"0"0"-31"0,3 10-36 0,0-5-40 16,-3 3-21-16,0 1-11 0,0 1-22 0,-3 1-24 15,3 2 3-15,-3 3-56 0,-1 0-26 0,1 0-48 16,-3 1-29-16,1-1-48 0,0 1-31 16,0-3-51-16,2 1-141 0,-1-2-107 15,0-1-502-15,2-3 104 0,0-1 40 0,4 0 86 16</inkml:trace>
  <inkml:trace contextRef="#ctx0" brushRef="#br1" timeOffset="35383.91">16382 1101 1231 0,'0'0'402'16,"-10"6"-36"-16,6-1-46 0,0 1-29 0,2 0-9 0,1 1-21 15,-2 0-59-15,1 0-5 16,0 2-33-16,4-1-5 0,0 0-29 0,2-1-2 0,0 0-20 16,2-2-3-16,1 2-3 0,3-2 11 15,3-2-13-15,-2-1 12 0,-1-1 39 16,3-1-33-16,-1 0 25 0,2-3 8 16,-2 1-61-16,-2-3 0 0,1-1 22 0,-3 0 6 15,2-2 43-15,-6-1 18 0,-1 0-5 0,2-2 1 0,-3-2-17 16,-4 0-114-16,0 1 35 0,-1-1-35 15,0 0-3-15,-4 0 12 0,2 2-12 16,-1 0-41-16,1 2-38 0,-2 0-16 0,-1 1-33 16,1 4-26-16,-3 0-30 0,1 2-21 15,-3 0-40-15,2 3-4 0,-1 1-43 0,-4 1-133 16,-3 1-148-16,7 1-428 0,-3 0 82 0,3 0 69 0,-2 0 103 16,0 0 89-16,1 2 51 0</inkml:trace>
  <inkml:trace contextRef="#ctx0" brushRef="#br1" timeOffset="35882.5">14936 558 1264 0,'-3'0'397'0,"3"0"-13"15,-8 13-41-15,3-1-18 0,3 8-36 16,-3 6-23-16,-3 13-10 0,0 4-28 0,0 3-16 0,-4 12-22 15,4 0-8-15,-5 2-34 0,0-1 3 0,-4 3-31 32,1-4-27-32,1-1 22 0,-1-3-3 0,1-6-50 0,2-9-3 0,0-2-21 15,1-2-25-15,1-5-5 0,1-5-37 0,5-7-27 0,0-2-10 16,-1-3-80-16,4-3-95 0,-1-2-192 16,1-3-486-16,2-2 62 0,0-3 151 15,0 0 9-15,0 0 65 0</inkml:trace>
  <inkml:trace contextRef="#ctx0" brushRef="#br1" timeOffset="36484.94">14910 511 1126 0,'34'-3'248'0,"-1"1"3"0,15-1-21 16,4 1-10-16,9 2-17 0,16 2-24 0,5 1-20 16,8 0-21-16,7 0-21 0,4 1-4 0,29 1 7 15,-7 3-15-15,-20-2-30 0,2-2-6 16,25 2 0-16,-29 0-3 0,-2 0-9 0,-6 0-9 16,0-2-2-16,-7 1-5 0,-6-4 23 0,-5 3-10 15,-16-2-23-15,-4 0 12 16,-6-1-2-16,-10 2-10 0,-8-2 7 0,-6 0 16 0,-2-1-15 15,-4 2-1-15,-2 0 5 0,-4 0-9 16,2 2 9-16,-2 3-2 0,-5 1 3 0,2 3-1 16,-5 3 8-16,0 2-10 0,1 3-12 15,-4 3 14-15,-2 0-7 0,2 6-11 0,-2 3 6 16,0 11 5-16,-2 0-26 0,2 1 11 0,2-1-8 16,-4-1-1-16,4 0-1 0,2-1 4 15,-4 2-10-15,2-2 21 0,0-7-19 16,1-4-2-16,-1-1-15 0,-1-2 20 0,1 0-17 15,0-5-3-15,-2 1-3 0,3-2 18 16,-3-4 0-16,-3-1-5 0,3-2 10 0,-2 1 0 16,-1-1 1-16,-4-2-4 0,1-1 11 0,-1 0-10 0,-3-1 15 15,-3-1-8-15,-3-1 6 0,-4-1-1 16,-6 0 6-16,-2-2 2 0,-5 0 0 0,-14 0 18 16,-4-1-2-16,-5-2-8 0,-21 2-1 15,-5-3 19-15,-3 4-20 0,-5-4 1 0,-6 0-14 16,-4 1 7-16,-31 4-18 0,0-2-2 15,23-1-29-15,1 1-12 0,-24 2-10 0,2 0-14 16,27 2-14-16,7-1-14 0,3 1-30 16,10-1-28-16,7-1-44 0,19 0-54 0,7 0-76 0,13-3-57 15,8 2-468-15,10-1 51 0,3-1 128 16,4-1 51-16,3 0 77 0</inkml:trace>
  <inkml:trace contextRef="#ctx0" brushRef="#br1" timeOffset="42544.58">3552 8821 811 0,'0'0'386'0,"0"0"-9"0,0 0-29 16,0 0-31-16,0 0-10 0,0 0-28 15,0 0-20-15,0 0-16 0,0 0-23 0,0 0 8 16,0 0-33-16,1 11-19 0,-2-2-12 0,1 1-36 16,0 1-5-16,-2 2 7 0,-1 6-27 15,-2 0-8-15,2 5-1 0,-2 2-4 0,0-1 2 16,-6 9-46-16,1 0-15 0,3-8 2 16,-3 6-36-16,2-4-30 15,0-6-28-15,0-5-29 0,1 2-56 0,2-2-87 0,2-2-110 16,-4 3-97-16,4-7-466 0,0 1 110 0,1-3 87 15,-1-3 43-15,1 0 55 0</inkml:trace>
  <inkml:trace contextRef="#ctx0" brushRef="#br1" timeOffset="42820.85">3434 8913 1164 0,'0'0'430'0,"2"-6"-64"0,-2 6 0 0,6-3-28 0,-3 0-23 0,4 3-39 16,-7 0-22-16,18 4-34 16,-10-2 8-16,5 3-16 0,-1-1-22 0,1 2-6 0,-2-2-28 15,1 5-23-15,1-1-7 0,0-1-27 0,-3 4-17 16,1-3-5-16,-2 3-13 0,-1-3-54 15,0 3-25-15,-1-4-28 0,1 4-45 16,-2-3-29-16,-2-1-73 0,2 2-89 0,-3-6-128 0,2 4-496 16,-1-1 148-16,2-1-18 15,-1-4 69-15,0 3 92 0</inkml:trace>
  <inkml:trace contextRef="#ctx0" brushRef="#br1" timeOffset="43105.21">3877 8899 1072 0,'0'0'356'0,"0"0"-3"0,0 0-41 0,-12 7-25 0,7-3-28 16,-3-1-24-16,0 6-17 0,-2 0-32 15,0 0 1-15,-2 1-38 0,1 3 12 16,-3 0-30-16,0 3-19 0,-2-1-17 0,3 0-18 0,-2 1-52 15,4-3-30-15,1 0-36 16,0-1-25-16,-1 1-83 0,1-2-58 0,3-1-77 16,-1-1-69-16,3-3-433 0,2 1 74 0,1-2 59 15,0-3 83-15</inkml:trace>
  <inkml:trace contextRef="#ctx0" brushRef="#br1" timeOffset="43288.04">3822 8907 1333 0,'2'-1'343'0,"-2"1"-33"16,0 0 7-1,0 0-2-15,0 0-56 0,0 0-1 0,3 12-28 0,-1-4-14 16,-2 3-30-16,0 0-12 0,0 4-10 0,0-2-15 16,0 5-14-16,0 0-9 0,0 1-21 15,-2 1-28-15,2 2-44 0,-1-2-38 0,-1 0-52 16,0 0-50-16,-1-2-98 0,2 3-176 15,-1-4-510-15,2 0 64 0,0-4 110 0,0-1 72 16,0 0 67-16</inkml:trace>
  <inkml:trace contextRef="#ctx0" brushRef="#br1" timeOffset="43620.59">3934 9259 1272 0,'3'-9'389'0,"2"3"-3"0,-2-2-27 0,1 1-29 0,-1-2-5 0,-1 2-38 15,1-1-6-15,0 1-10 0,-1 0-9 0,-1 1-99 16,1 1 1-16,-2 0-13 0,2 0-13 16,-2 3 19-16,0 2-22 0,0 0-4 15,-2-6-8-15,2 6-29 0,0 0-4 0,0 0 5 16,-11 11 66-16,9-5-18 0,-3-1 11 0,2 3-36 15,1-1-16-15,-1 1-5 0,0 2-17 16,3-1-34-16,-2 2 0 0,2-3-10 0,0 3-42 16,0-3-22-16,0 2-25 0,2-3-34 15,1 0-31-15,2-1-20 0,-2 1-37 0,3-4-37 16,1-1-154-16,-2-2-136 0,5 1-478 0,0-2 53 16,0 1 136-16,3-5 82 0,-2-1 54 15,6-1 59-15</inkml:trace>
  <inkml:trace contextRef="#ctx0" brushRef="#br1" timeOffset="44081.03">4295 8988 1236 0,'0'0'478'0,"0"0"-40"0,0 0-15 16,0 0-22-16,3 12-19 0,-3-4-124 16,0 3-14-16,0 0-32 15,-2 3 6-15,2 0-29 0,0 2-10 0,0-1-10 0,0 2-28 0,2 0-16 16,-2-1-20-16,0 1-13 0,3-4-10 0,-1 3-7 15,-2-2-27-15,1-1 1 0,1-3-16 16,0-1-10-16,-2 0-2 0,3-1 9 0,-3-2-7 16,0-3-2-16,0 1 7 0,0-4-5 0,0 0 0 15,-3 3 0-15,3-3-18 0,0 0 13 16,0 0 5-16,0 0-5 0,-15-5 10 16,9 3 16-16,6 2-37 0,-12 0 19 0,7 2 0 15,-3 2-8-15,-2 0-1 0,0 2 19 16,0 0-10-1,-1 1-24-15,1-1 14 0,0 2-3 0,2 1 2 0,-2-1-12 0,4 0-3 0,-1-2 0 16,4 1-21-16,1-3 11 0,0-2-3 0,2 3 13 16,0-5-31-16,7 2-20 15,-7-2-3-15,15-2-10 0,-5-3 0 16,3-1 21-16,3 0 7 0,-1-1 10 0,0 1-4 0,1-2-4 0,-1 2-4 16,-2 0 28-16,0 1-3 15,-2-1 8-15,1 4 20 0,-4-2-5 0,2 3-2 0,-2 0 0 16,-1 2 7-16,-7-1 6 0,10 4 81 15,-4-1-12-15,-4 1-44 0,1 1-39 16,0-1-42-16,-1 1-78 0,-2 1-87 16,2 0-222-16,-1-1-581 0,1-3 86 0,1 4 90 0,-1-2 75 15,-2-4 68-15,3 3 75 0</inkml:trace>
  <inkml:trace contextRef="#ctx0" brushRef="#br1" timeOffset="44221.42">4475 9113 1213 0,'0'0'386'0,"-5"-2"-148"0,5 2-58 15,0 0-99-15,0 0-145 0,0 0-273 0,-7 8-306 16,7-3 24-16</inkml:trace>
  <inkml:trace contextRef="#ctx0" brushRef="#br1" timeOffset="44600.74">4722 9194 1499 0,'0'0'436'0,"-11"4"-40"0,1-2 4 16,2 3-32-16,0 0-50 0,-2-2 48 15,2 4-13-15,1-1-54 0,-4 3-20 0,4-4-112 0,1 2-16 16,-1-2-23-16,4-1-23 0,-1 3-13 16,1-1-28-16,2-2-3 0,1-2-20 0,0-2 5 15,0 0-10-15,6 5-3 0,-6-5 1 0,0 0-6 16,13-6 8-16,-6 1 18 0,1 2 7 16,0 0 5-16,-3-1 6 0,3 1 18 0,-4 1-39 15,2-2 26-15,-1 4 2 0,2 0 0 0,-7 0-4 16,13 0-14-16,-8 4-7 0,1-2 5 15,1 2-23-15,-1 0-3 0,-1 1-61 16,2 1-49-16,-4 0-10 0,2 1-54 0,0-1-43 16,0 0-70-16,0-5-188 0,1 7-598 0,-1-3 101 15,2 1 84-15,-1-1 131 0,-1 1 43 0,2 1 87 16,-2-3 54-16</inkml:trace>
  <inkml:trace contextRef="#ctx0" brushRef="#br1" timeOffset="45284.75">4911 9154 1341 0,'0'0'512'0,"0"0"-34"0,0 0-94 0,0 0-48 16,0 0-11-16,-3 13-62 0,1-11 6 0,2 4-28 15,0 0-39 1,-2-1 3-16,2 1-31 0,-1 0 5 0,1-1-43 0,0 0-3 16,0 0-33-16,0 0 15 0,1 0-13 0,1-2-12 0,-2-3-1 15,2 5-17-15,-2-5 5 0,6 0 97 16,-6 0-23-16,10 0-21 0,-10 0 44 15,10-5 6-15,-5 3-52 0,1 0-3 0,1-1-56 0,-2 1-33 16,1 1 23-16,1-2-13 0,-7 3 10 0,10 0 3 16,-5 0 8-16,-5 0-11 15,11 3 0-15,-4-1 1 0,-2-1-11 0,0 3-28 16,0-1 0 0,3 0-16-16,-2 0-27 0,-2 1-42 0,2 0-33 0,1 0-53 0,-2 2-47 0,1-2-41 15,-1-2-74-15,3 5-181 0,-3-2-584 16,4-2 89-16,-1 0 95 0,1-2 80 15,3 0 91-15,-2-1 80 0,0 0 77 0</inkml:trace>
  <inkml:trace contextRef="#ctx0" brushRef="#br1" timeOffset="45512.28">5408 9093 1430 0,'0'0'492'0,"0"0"-42"0,0 0-35 0,0 0-52 0,13-6-27 16,-8 6-65-16,1 0-38 16,4 0-72-16,-3 2-66 0,6-1-51 0,-3-1-121 15,1 3-172-15,-1-2-588 0,0 0 8 0,-2 4 110 0,2-5 58 16,-5 5 57-16</inkml:trace>
  <inkml:trace contextRef="#ctx0" brushRef="#br1" timeOffset="45718.01">5411 9245 1146 0,'-7'2'464'0,"7"-2"-22"0,0 0-24 0,0 0-96 16,0 0-56-16,0 0-25 0,0 0-8 0,0 0-31 0,0 0-5 15,17 3-43-15,-12-3-44 0,5 0-44 16,-1 0-37-16,1 0-60 0,2 0-82 16,1 0-145-16,-2 0-119 0,1-2-475 0,1 1 92 15,0 1 110-15,0-2 30 0,-3 2 34 0</inkml:trace>
  <inkml:trace contextRef="#ctx0" brushRef="#br1" timeOffset="46337.68">6036 8862 1154 0,'0'0'433'16,"0"0"-44"-16,0 0-8 0,0 0-18 0,0 0-17 16,0 0-23-16,0 18-34 0,0-10-5 0,0 5-28 15,1 3-26-15,-1-1-20 0,-1 5-5 16,1 1-21-16,0-1-23 0,-2 1-27 0,-3 3-14 15,2 0-25-15,1-5-37 0,-1 0-27 0,-2 0-49 16,2 0-25-16,1-3-44 0,2-2-41 16,-3-1-46-16,0 0-49 0,3-4-120 0,-1-2-97 15,3-3-497-15,0 1 120 0,1-1 49 16,0-1 100-16,1-3 49 0</inkml:trace>
  <inkml:trace contextRef="#ctx0" brushRef="#br1" timeOffset="47035.31">6305 8900 1238 0,'6'0'382'0,"-6"0"-34"16,10 0-10-16,-10 0-28 0,8 3-8 0,-1 0-39 15,-4 2-7-15,0-3-2 0,-1 4-32 16,0 0 6-16,-2 0-23 0,1-1-26 0,-2 2 0 16,1 0-15-16,0-1-5 0,-2-1-42 15,2 2-14-15,2-1-8 0,-2 2 2 0,1-2 8 16,4 4-39-16,-3-2 1 0,3 1-6 15,1 1-2-15,-1 0 0 0,2 1 64 32,1 3 7-32,0-1 24 0,-5-1-57 0,2 1-20 0,-3 0 0 0,-4 0 5 0,-1 1-16 0,-2-1 16 15,-3 1-13-15,-2 2-38 0,-3-1 15 0,-2-3-33 16,0 4-34-16,-1-4-60 0,3-3-68 16,-3 2-40-16,-1-3-72 0,1 2-70 0,-10-2-283 0,9-3-407 15,-1 0 86-15,-3-2 93 16,1 2 108-16,-4-1 68 0,-1-2 106 0</inkml:trace>
  <inkml:trace contextRef="#ctx0" brushRef="#br1" timeOffset="47610.04">3091 8707 1441 0,'2'12'465'0,"-2"7"-6"0,2 7-55 15,-3 15-7-15,2 4-41 0,-1 4-44 16,1 2-20-16,-3 10-52 0,1 3-2 15,-1 0-35-15,-1 5-50 0,0-2-22 0,1-1-72 16,0-2-54-16,2-13-54 0,-3-1-28 0,6-3-40 16,-3-5-14-16,0-1-2 0,2-9-3 15,0-6-61 1,-1-6-46-16,1-2-69 0,-2-6-34 0,0 0-458 0,0 0 62 0,-2-5 28 16,-1-1 100-16,1-2 99 0</inkml:trace>
  <inkml:trace contextRef="#ctx0" brushRef="#br1" timeOffset="48214.82">2616 8644 1126 0,'8'-8'389'15,"2"-2"0"-15,3 4-51 0,5-1-41 0,8-3 18 16,15-1-59-16,10 1-8 15,16-3-8-15,7 4-53 0,10 0 3 0,9-1-11 16,9 1-23-16,30 1-2 0,10 0-103 16,8-1 10-16,6 2 8 0,6 6-2 0,9-5-18 0,6 1 15 15,5 0-18-15,5 1-11 16,-3-2 6-16,-4 0 0 0,-2 0-10 0,5 0 5 0,-7-1 2 16,0 1-7-16,-11-1 7 0,-9 2 65 15,-11 0-26-15,-8 3 17 0,-35 1-25 0,-7 4 16 16,-5 2 7-16,-8-2-18 0,-10 7 11 0,-16-2-9 15,-10 3-1-15,-5 2-4 0,-5 1 16 16,-8 4-15-16,-2 2 0 0,-11 1 15 16,-4-1-10-16,-4 1-3 0,-4 4-33 0,-3 5-18 0,-6 11 13 15,-1 3-13-15,0 13 13 0,-1 1 4 0,0 4-6 16,-2 1 4-16,1-1 21 16,0 4-39-16,1-1 1 0,0 2-13 0,3-4 20 15,0-1-18-15,2-12-5 16,1-3 3-16,-1 1 10 0,1-3 12 0,-1-2-12 0,0-1-20 0,1-2 17 15,-3-2-2-15,0 0-13 16,-1-8 13-16,-4 2-16 0,-2-5-2 0,1-5 10 0,-7 4 18 16,-4-2-7-16,-5-5 4 0,0 3 1 0,-7-6-9 15,-4 2 14-15,-4-5-18 0,-6-1-11 16,-18 1 6-16,-4-2 2 0,-11 0-5 16,-7-2 13-16,-9-2-8 0,-1 4 10 0,-23-1-12 0,-4 0-16 15,-5 1 13-15,-4 0 13 0,1 1-31 0,2 2-3 16,0-2-12-16,3 1-5 0,5 0-14 15,26-5-24-15,7 3-40 0,12-3-19 16,6 0-19 0,22-5-17-16,16-1-88 0,8-2-99 0,8 0-226 0,11-2-442 0,4-3 120 0,8 0 66 15,8-4 123 1,7-5 57-16,17-5 92 0</inkml:trace>
  <inkml:trace contextRef="#ctx0" brushRef="#br1" timeOffset="48603.8">7573 9226 1228 0,'33'-7'422'0,"10"1"-122"0,22-4-26 0,8-1-16 0,7 0-7 0,5-1-33 16,10-1-31-16,35-2-6 16,6-2 6-16,3-1-2 0,6-1-29 0,14 0 61 0,8 0-12 15,-3-1-26-15,11 1-25 0,5-3-13 16,-1 3-11-16,0 0 1 0,4 2-16 0,-4-2-18 15,-10 5-2-15,-5 0-18 0,-15 3-16 16,-13-2-20-16,-36 7-51 0,-11 1-23 16,-12 4-39-1,-23 1-69-15,-16 1-141 0,-12 4-270 0,-13-1-378 0,-8 0 70 0,-10 1 136 0,-13 1 92 16,-18 7 23-16,-12-1 58 0</inkml:trace>
  <inkml:trace contextRef="#ctx0" brushRef="#br1" timeOffset="48842.55">8390 9413 1244 0,'-2'0'373'15,"2"0"-4"-15,23-7-34 0,2 1-28 0,22-2-15 16,24-4 15-16,6-2-33 0,15 1-31 16,37-2 62-16,9-1-29 0,6 3-20 0,7-2-20 15,10 1-116-15,-2 1-7 0,1 1-8 0,-1-1-21 16,-3 0-7-16,-5-3-21 0,-10 4 19 15,-6 2-37-15,-11-2-43 0,-31 2 0 0,-6-2-62 16,-8 4-30-16,-10-3-54 16,-17 5-85-16,-9-1-127 0,-12 1-323 0,-8 0-174 0,-8-1 46 15,-4 1 95-15,-4-1 84 0,-7-1 67 0</inkml:trace>
  <inkml:trace contextRef="#ctx0" brushRef="#br1" timeOffset="49132.68">10559 8638 1151 0,'41'5'451'0,"5"2"10"0,3 0-62 0,10 9 8 16,-2 0-38-16,-3 8-16 0,2 1 0 0,-8 3-18 15,-4 4-48-15,-3 2 28 0,-5 4 7 16,-10 4-35-16,-8-7-16 0,-10 3-48 15,-6 2 13-15,-10 2-39 0,-12 9-28 0,-11 3-39 16,-8 3-38-16,-24 14-35 0,-15-2-60 16,-9-1-35-16,-13-1-31 0,-10-2-103 0,-15 4-58 15,-68 21-316-15,57-20-521 0,-59 14 79 0,-12 0 118 16,-14-6 92-16,-5-4 71 0,-20-7 80 0,3-2 59 16</inkml:trace>
  <inkml:trace contextRef="#ctx0" brushRef="#br0" timeOffset="122405.17">10895 6072 1489 0,'0'0'394'15,"-5"3"-38"-15,5-3-20 0,0 0-42 16,0 0-13-16,0 0-27 0,0 0-11 0,0 0-33 16,10 5-16-16,-2-5-19 15,-1 0-24-15,1 0-13 0,3 0 72 0,1-1-29 0,1-2-58 0,3 2-20 16,-1-2-52-16,-2 1-41 16,2 2-30-16,-5 0-37 0,3-3-48 0,-5 1-94 15,2 2-111-15,-5-1-107 0,0 2-469 16,-5-1 80-16,6 5 71 0,-4-3 149 0,-2-2-28 15</inkml:trace>
  <inkml:trace contextRef="#ctx0" brushRef="#br0" timeOffset="122580.26">10869 6207 1149 0,'0'0'286'0,"-2"6"-9"0,2-6-1 15,0 0-27-15,0 0-19 0,5 4-10 16,-5-4-38-16,10 0 2 0,-2 0 36 0,-8 0-20 15,15-3-29-15,-5 2-25 0,1 1-61 16,1-6-26-16,2 5-80 0,-1-2-96 0,2 1-198 16,0-3-533-16,-3 3 75 15,2-3 49-15,-1 2 102 0</inkml:trace>
  <inkml:trace contextRef="#ctx0" brushRef="#br0" timeOffset="122821.92">11421 5890 1031 0,'0'0'484'16,"0"0"-34"-16,0 0-12 0,0 0-16 0,2 11-56 15,-2-4-38-15,1 2-8 0,1 0-44 0,-2 2-104 16,0 0-18-16,0 2-29 0,0 2-38 0,0-1-18 15,-2 2-25-15,1 2-75 0,1-3-61 16,-2 3-95-16,-1-5-212 0,1 6-474 16,1-6 46-16,1 3 92 0,0-4 85 0,0-3 51 15</inkml:trace>
  <inkml:trace contextRef="#ctx0" brushRef="#br0" timeOffset="123100.66">11597 5864 1369 0,'0'0'402'15,"3"-3"-18"-15,-3 3-39 0,0 0-25 0,0 0-23 16,0 0-13-16,0 0-17 0,0 12-37 16,0-5-20-16,0 0-26 0,0 2-2 15,0 2-31-15,0 2 56 0,0 0-15 0,-3 0-33 16,3-1-11-16,-2 1-27 0,2 3-73 15,-2-3-20-15,-1 0-51 0,0 0-41 0,1-2-35 16,2 2-37-16,-3-1-112 0,3-4-139 0,-3-1-534 16,3 2 32-16,0-1 119 0,0-3 150 15,0-2 34-15,3 3 13 0</inkml:trace>
  <inkml:trace contextRef="#ctx0" brushRef="#br0" timeOffset="123573.15">11818 5931 1320 0,'0'0'456'15,"0"0"-49"-15,0 0-105 0,0 19-31 16,0-13-38-16,3 0-8 0,-3 3-22 0,0 0-27 0,2 0-4 16,-2 1-31-16,1-3-13 15,1 3-11-15,-2-2-7 0,0 0-10 0,2-1 10 16,-2-1-5-16,3 0-38 0,-3-1 7 0,0 2 5 0,2-3-15 16,-2-1 36-16,0-3-10 15,1 6 7-15,-1-6-10 0,2 1-10 0,-2-1 10 16,0 0-23-16,0 0 2 0,12-7-12 0,-8 2 23 15,0 3 48-15,2-1-7 0,-1-1 2 16,0-1-33-16,0 3 3 0,0-1 2 0,0 1-5 16,1 1-10-16,-6 1 5 0,10-1-8 0,-10 1-15 15,10 0 15-15,-5 2-10 0,0 0-25 0,3 1 17 16,-3-1 0-16,0 2 1 16,0-2-32-16,1 1-7 0,-2 1-8 0,-1-1-43 15,2 0-23-15,-2 2-21 0,-1-3-31 0,1 2-32 16,-1-1-52-16,1 2-90 0,-3 0-214 15,2-3-559-15,-2 2 67 0,0-4 148 0,3 7 55 16,0-6 68-16,-3-1 67 0,0 0 66 0</inkml:trace>
  <inkml:trace contextRef="#ctx0" brushRef="#br0" timeOffset="123932.19">12097 5995 1295 0,'0'0'453'0,"0"0"-36"0,0 0-36 0,0 0-12 16,0 0-121-16,0 0-22 0,6 13-22 0,-4-8-25 0,0 1-4 15,1 0-27-15,2 1-12 16,-2-2-6-16,0 2-22 0,2 0-14 0,0-1-19 16,0 1 1-16,0-1-27 0,-2-2 2 0,2-1-5 15,0 3-5-15,0-3 5 0,2-1-5 0,-1-1 16 16,-3-1-24-16,-3 0 21 15,12-1 2-15,-6 1-2 0,-2-5 5 0,2 2 92 0,-1-2-23 16,2 0-6-16,-4-1 30 0,2-1-35 16,-2 1 21-16,2 1-30 0,-2-2-21 0,-1 2-5 15,0 2-18-15,1-2 5 0,0 2 21 16,-3-1-26-16,0 4-11 16,4-1 11-16,-4 1-12 0,0 0 1 0,0 0-63 0,4 12-31 0,-4-9-15 15,0 1-44-15,2 3-8 0,-2-1-4 16,0-1-47-16,0 2-23 0,2-2-43 0,1-2-36 15,-3 3-90-15,3-2-194 0,-1 0-435 16,1 0 97-16,-1-1 64 0,1 0 148 16,0-2 31-16,1 2 72 0</inkml:trace>
  <inkml:trace contextRef="#ctx0" brushRef="#br0" timeOffset="124506.16">12367 5974 1049 0,'2'-3'399'0,"-2"3"-20"0,0 0-23 16,0 0-21-16,0 0-25 0,10 6 38 0,-7-2-31 0,0 0-25 16,-1 1-20-16,1 0-32 0,0 4-22 15,-1-4-31-15,3 2 2 0,-5 1-25 0,3-1-39 16,-1-1 3-16,-2 0-28 15,2 0-13-15,-1-3 21 0,1 2-47 0,1 1-5 0,-3-2 11 0,2-1-13 16,-1 1-3-16,-1-4 21 0,2 3-39 16,-2-3 13-16,5 2-8 0,-5-2-7 15,0 0 10-15,11-4-8 0,-7 3 1 0,-1-3 12 16,2 1-16-16,-2 0-19 0,2 1 1 0,0-3 4 16,-2 4 22-16,1-3-10 0,-1 3-15 15,-3 1 5-15,8-1 0 0,-8 1-18 0,6-4 28 16,-6 4 8-16,0 0-18 0,9 5-5 15,-6-3 28-15,-3 1-26 0,0-3-7 0,5 6 10 16,-5-4-16-16,0-2 11 0,3 6 15 0,-3-6-15 16,2 2-8-16,-2-2 8 0,2 4 2 0,-2-4 8 15,3 3 10-15,-3-3 34 0,3 2 12 0,-3-2-43 16,0 0 46-16,12-5 3 16,-9 3 2-16,3-2 2 0,1 4-71 0,-2-3-5 15,-2 0 7-15,4 2-2 0,-1 1 21 0,-1-1-9 16,-5 1 40-16,12-2-17 0,-6 4-27 15,2-1 22-15,-1 0-24 0,0 3 4 0,-1-2 13 16,2 3-11-16,-3-3-9 0,2 4-19 16,-2-2-20-16,1 0-22 0,-2-1-32 0,0 3-31 0,-2-4-45 15,0 3-49-15,1-1-49 0,-3-1-48 16,0-3-67-16,-5 7-259 16,7-4-465-16,-2-3 133 0,0 0 59 0,0 0 132 0,0 4 83 0,0-4 74 15,0 0 77-15</inkml:trace>
  <inkml:trace contextRef="#ctx0" brushRef="#br0" timeOffset="124921.58">12779 5863 1251 0,'0'0'479'0,"0"0"-103"0,-4 11-15 0,3-5-26 0,1 0-7 0,-2 2-31 0,2 1-46 16,-3 1-18-16,0 2-13 0,3 1 41 0,-2-1-26 15,2 1-4-15,-2 1-42 0,-1 1-22 16,3-2-14-16,-3 0-25 0,3-4-23 16,0 2 3-16,0 1-42 0,0-5-2 0,0 0-10 15,0-1 5-15,0 0 2 0,3-1 16 16,-3 0-16-16,3-3 6 0,-3-2-3 0,10 0 13 16,-10 0-31-16,12-4 10 0,-4 1-5 0,0 1 13 15,-1-1-23-15,1 1 10 0,0-2-76 0,2 4 22 16,-2-2 26-16,-1 1-10 0,4 1 15 15,-3 1 24-15,2 1-19 0,-2-2-8 16,-1 0 37-16,-2 2 2 0,1 1-28 0,-1-2 46 16,0 2-18-16,-3 1 15 0,-2-4 26 0,-2 6-33 15,-1 1-14-15,-2-1 12 0,0 0-19 16,-3 0-23-16,-2 1 10 0,0-2-22 0,0 1-14 16,0 0-50-16,-1-1-19 0,1-1-25 0,2-1-46 15,0-2-52 1,0 3-25-16,1-3-64 0,2-1-23 0,5 0-36 0,-8 0-181 15,8 0-513-15,-5 0 100 0,5 0 52 0,0 0 140 0,0 0 54 16,0 0 56-16</inkml:trace>
  <inkml:trace contextRef="#ctx0" brushRef="#br0" timeOffset="125443.12">13015 6094 862 0,'2'-6'348'0,"2"1"-20"15,-2-1 64-15,1 3-32 0,-1-1-37 0,1 1-18 16,-3-1-1-16,0 4-38 0,2-6-5 0,-2 6-35 16,0 0-19-16,0 0-18 0,0 0-38 15,0 0 6-15,0 0-27 0,0 0-7 0,0 0 2 16,-7 13-9-16,6-11-17 0,-1 2 4 15,2-4-26-15,0 7-8 0,0-3-5 0,0-4-8 0,2 6-7 16,-1-5 2-16,-1-1-2 0,5 5-19 16,-5-5 9-16,5 1-9 0,0 0 14 15,-5-1 12-15,11 0 0 0,-7 1-9 16,-4-1 14-16,10 0 23 0,-7 0-17 0,-3 0 10 0,10 4 25 16,-5-3-15-16,1 3 16 0,-3-2 17 15,1 4 0-15,2-4-12 0,-4 3-14 0,0 0 14 16,1 1-1-16,-3-3-27 0,0 2 12 15,0 0-33-15,0 0 12 0,0-1 14 0,0 0-44 0,0-4-8 16,-2 6 13-16,2-6 18 0,0 5 3 16,0-5 4-16,0 0-45 0,0 0 0 0,0 0 22 15,0 0-20-15,0 0-17 0,10-10-6 16,-7 4-15-16,1-1-31 0,2 1-16 0,-1-5-22 16,3 2-13-16,-1-1-13 0,1 2-8 15,-1 0-38-15,-1 2 13 0,-1-1-54 0,0 0-38 16,-2 2-29-16,-1 1-71 0,1 4-103 0,-3 0-155 15,0-5-426-15,0 5 46 0,0 0 154 16,0 0 70-16,0 0 124 0,-21 7 1 16,8-2 84-16</inkml:trace>
  <inkml:trace contextRef="#ctx0" brushRef="#br0" timeOffset="126561.19">11831 6473 985 0,'0'0'386'0,"0"0"-27"16,0 0-11-16,0 0-23 0,28 3-31 15,-13-3-12-15,11 1-11 0,8 3-38 16,14-2 13-16,6 1-18 0,5-2 51 0,15 0-16 0,9 4-22 15,3-3-23-15,4-1-11 16,0 4-2-16,-1-4-90 0,4 2-33 0,-6-2 7 0,0 0-4 16,-5 4-8-16,-4-3-3 0,-5 2 8 15,-14-2-18-15,-4-2 0 0,-7 0-10 0,-10 0 7 16,-7 3-18-16,-5-6 9 0,-5 3-16 16,-3 0 2-16,-3 0-15 15,1-2 8-15,-2-1-3 16,0 1 13-16,-2-4-13 0,-1 1-15 0,-1-1 15 0,-2-1 18 0,-3 0 0 0,2-4-31 15,-4 1 8-15,2-2-10 0,-3-3 3 0,-1 1-6 16,1-6 5-16,-2-1 3 0,3-5-5 0,-1-2-11 16,-1-13-7-16,1 0 5 0,3-6-7 15,-2 1-6-15,5-15 23 0,-1 4-18 0,-2-4-7 0,3 3 15 16,-1 0 0-16,-1 12 5 0,2 1-15 16,-1 2 2-16,-2 3 3 0,0 3 10 15,-2 6-7-15,1 6 4 0,-3 6-2 0,-1-3-7 16,3 5-1-16,-3 2 8 0,2 1 5 0,-2 2 8 15,0 1 7-15,0 3-4 0,0 1-21 16,0 0-13-16,-2 1 18 0,-1 0-8 16,0 2 11-16,1-2-11 0,-4 4 8 0,-1 1 0 0,0-3 2 15,-4 3 1-15,1 0-11 0,-6 1 1 16,-2 0 9-16,-2 0-25 0,-5 0-13 0,-2 0 23 16,-6 0 3-16,-3 0-3 0,-13 0 8 15,-2 0-18-15,0 0-2 0,0 0 4 0,-3-1 1 0,-2 1 7 16,-1-2 21-1,-2 1-21-15,-2-1-3 0,-11 2-7 0,11-5 16 0,-9 4-1 0,9-1 8 16,-11-3-15-16,3 1 15 0,-1 1-16 16,-1-2 1-16,1 1 18 0,11 2 4 0,-2-1-7 15,2 1 3-15,0 1-13 0,0 1 4 16,5-1 12 0,0 1-22-16,3 0 3 0,2 0 3 0,10 0-3 0,6 1 18 0,0-1 8 0,0 1-15 15,2 0-3-15,0 2 12 0,0-2-17 16,8 0 7-16,-3-1-9 0,4 3-9 0,-1-1 29 15,-1-1-21-15,4 4 11 0,-1-3-6 16,6 2 0-16,-3-2 16 0,3 2-18 16,2-2-8-16,0 2 10 0,3-1-12 0,0 0 9 15,0-2-22-15,2 1 15 0,0 2 21 0,0-2-11 16,3-1-5-16,-2 2-2 0,4-2 7 0,-3 2-10 16,0 0 18-16,2-1-15 0,0 2 7 0,-2 2-5 15,4 1-25-15,-1-1 43 0,-2 2-10 16,2 3 13-16,1 1-8 0,2 1 2 0,-2 5 3 15,2 2-7-15,0 0 2 16,0 5 15-16,2 4 3 0,0-2 0 0,1 13 2 0,2 0-9 0,0-2 12 16,0 5-10-16,-4-1 7 15,3 2-23-15,-1-4 19 0,0 3 12 0,-1-1-15 16,0-1 0-16,-2 1 17 0,0-7-9 0,0-6-1 16,4 1-17-16,-7-1-1 0,3-1 1 0,-1-1 35 15,1-1-17-15,0-5-19 16,-2-1 16-16,2 0-5 0,-2-4 18 0,0-2-18 0,1 1-8 15,1-4 5-15,-3 0 5 0,3 0-2 0,-2-3 2 16,2 1-12-16,-2-2-3 0,2 1 8 16,0-3-1-16,-1 0-7 0,1-1 13 0,1 1-13 15,-1-1 3-15,0-4-3 16,2 5 28-16,0-2-38 0,4-2 17 0,-2 0 1 0,2 1 0 16,2-1-11-16,2-1 1 0,0 0-21 0,3-1-31 15,0 1-5-15,3-2-36 0,2 1-25 0,4-1-31 16,1-3-31-16,5 2-25 0,1-1-72 15,2-2-113-15,12 0-145 0,-2-2-385 0,0-2 100 16,-10 3 32-16,5-1 86 0,2-2 102 16,1-3 44-16</inkml:trace>
  <inkml:trace contextRef="#ctx0" brushRef="#br0" timeOffset="127217.67">13367 6016 1295 0,'0'0'389'0,"-8"3"-10"16,8-3-42-16,-13 0-37 0,8 1-21 0,0 2-41 0,0-1-15 16,0 0-19-16,0 2-27 0,1-2-13 15,2 1-16-15,-3 0-17 0,3 2-26 0,1 2 8 16,1-3-16-16,0 1-8 0,0 0-9 16,1 2-3-16,1 0-1 0,1 0 4 0,1 0-4 15,0-1 27-15,-2 1-19 0,1-2 26 16,-1 1-28-16,1-2 3 0,-1 1 25 0,-2 0 15 15,0-2-35-15,-2 2 10 0,-1 1-34 0,-2-2-40 0,-1-1-21 16,-6 3-56-16,0 0-67 0,-2 0-87 16,-1-6-240-16,-5 11-553 0,-3-3 102 15,-1 3 71 1,-9-1 98-16,2 0 70 0,-7-1 91 0</inkml:trace>
</inkml:ink>
</file>

<file path=ppt/ink/ink2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58:33.630"/>
    </inkml:context>
    <inkml:brush xml:id="br0">
      <inkml:brushProperty name="width" value="0.05292" units="cm"/>
      <inkml:brushProperty name="height" value="0.05292" units="cm"/>
      <inkml:brushProperty name="color" value="#0070C0"/>
    </inkml:brush>
  </inkml:definitions>
  <inkml:trace contextRef="#ctx0" brushRef="#br0">6262 5555 1302 0,'0'0'415'0,"0"0"-44"0,0 0-41 16,0 0-25-16,0 0-36 0,0 0-21 15,0 0-25-15,0 0-6 0,0 0-20 0,0 0-15 0,-23 1 5 16,16-1-21-16,-1 2-12 0,0-2-3 16,-2 0-15-16,-1 3-21 0,1-3 82 0,-2 1-33 15,1 0-3-15,-2-1-13 0,-2 0-22 16,-1 1-6-16,-1 1 1 0,-4 1-24 0,-2-1-5 16,-6 2-2-16,2 2 4 0,-2-3-81 31,-1 3 0-31,1-1-13 0,1 0 13 0,0 1-1 0,0 1 4 0,2-5-1 0,3 3 11 0,3 0-6 15,-3-3 14-15,2 1-17 0,1 0 9 16,1-2 10-16,2 3 5 0,1-4-10 0,1 1-6 16,2-1 31-16,3 0-17 0,0 0-8 15,1 2-3-15,0-2-5 0,1 2-21 0,3-4 19 0,-3 4-8 16,8-2 4-16,-10 0-9 0,10 0-3 16,-10 1-5-16,10-1 0 0,-8 0 0 0,8 0-33 15,-7 0-3-15,7 0-20 0,-6 2-18 16,6-2-24-16,-5 3-19 0,5-3-22 0,0 0-37 15,-5 2-19-15,5-2-25 0,0 0-72 16,-2 4-58-16,2-4-57 0,0 0-494 0,0 0 28 0,0 0 90 16,0 0 38-16,0 0 94 0,0 0 37 15</inkml:trace>
  <inkml:trace contextRef="#ctx0" brushRef="#br0" timeOffset="360.58">5685 5509 1269 0,'0'0'489'0,"-7"-2"-44"16,7 2-27-16,0 0-42 16,-11 0-28-16,11 0-38 0,-10 2-39 0,7 1-28 15,-5 0-15-15,4 1-5 0,-4-2-34 0,0 2-15 16,0 2-20-16,1 0-16 0,-1-1-7 15,0 0-16-15,0 0-31 0,-1 2 34 16,1 0-54-16,1-1 8 0,-1 4 15 0,2-4-18 0,-1 2-28 16,1 2 28-16,-1-2-18 0,4 3-20 0,-1-3 15 15,0 3-15-15,2-3 2 0,0 2 3 16,2 2-24-16,0-4 6 0,0 3 16 16,2-2-22-1,0 2-4-15,1-1-16 0,-2 0-43 0,1 0-8 0,3-2-15 0,-5 0-33 16,5 1-42-16,-2-2-48 0,2-1-77 0,-2-4-164 15,1 4-550-15,2 1 59 0,1-3 126 0,-2-2 63 16,1 3 100-16,1-3 56 16</inkml:trace>
  <inkml:trace contextRef="#ctx0" brushRef="#br0" timeOffset="1115.15">8008 5449 1092 0,'0'0'402'0,"-5"-3"-28"16,5 3-46-16,0 0-24 0,0 0-22 15,0 0-8-15,0 0-13 0,0 0-36 16,23 4 100-16,-10-4-51 0,2 0 0 0,3 0-41 0,3 0 2 16,4 0-96-16,1 0-27 0,7-1 1 15,3-2 58-15,10 3-2 0,6 0-23 0,-1 0-23 16,0-2-10-16,-2 2-11 0,-3 0-7 15,-5 0-11-15,-7 0 8 0,-3 0-20 0,1 0 5 0,-6 0-21 16,-3 0-12-16,0 0 12 0,1-1-15 16,-9 1-26-16,3 0 44 15,-3-2-33-15,-4 2 15 0,1 2 0 0,-2-2-8 16,1 0-13-16,-3 0 19 0,-1-2-24 0,0 2 11 0,-1-1-6 16,-6 1-22-16,10 0 9 0,-10 0-25 15,8 0-40-15,-8 0 24 0,5-2-55 0,-5 2-14 16,0 0-40-1,8-1-31-15,-8 1-3 0,0 0-43 0,4 0-77 0,-4 0-125 0,4-1-90 0,-4 1-463 16,0 0 94 0,0 0 77-16,7-3 88 0,-7 3 91 0,5-1 72 0</inkml:trace>
  <inkml:trace contextRef="#ctx0" brushRef="#br0" timeOffset="1434.16">8946 5374 1267 0,'-2'-5'383'16,"2"5"-32"-16,0 0-5 15,0 0-124-15,0 0 6 0,8-1-33 0,-8 1-16 0,10 1-8 16,-10-1-9-16,13 2 89 0,-5 2-19 16,-1-3-27-16,4 3-13 0,-1 0-13 15,-3 0 6-15,3-2-32 0,-2 2 11 0,0-1-18 0,0 2-13 16,-3-1 5-16,2 1-5 0,-4-2-7 15,2 2-93-15,-5 0-5 16,0-2 16-16,0 3-16 0,-5-1-2 0,-3 1-32 0,1 0-42 16,-3 0-32-16,-1 1-48 0,-6-2-66 0,0 1-111 15,-7-2-201-15,3 1-454 0,-5 0 97 0,-5-4 75 16,-2-1 145-16,-18 2 11 16,-6-4 148-16</inkml:trace>
  <inkml:trace contextRef="#ctx0" brushRef="#br0" timeOffset="2301.59">6463 4832 924 0,'0'0'299'16,"0"0"-17"-16,0 0-26 0,0 0-3 16,0 0-15-16,0 0-79 0,2 12-13 15,-2-6-6-15,2 4-14 0,1 0-8 0,0 7-11 16,1-2-12-16,-1 8-3 0,2 1 15 0,-3 2-25 15,4 12-10-15,-1-1-11 0,0 2 14 16,-2-1-22-16,-1 0-6 0,1-4-9 16,-1-7-5-16,1 3-2 0,-3-4 10 0,2-1-13 0,-2-4-2 15,0 0-21-15,0-1 5 0,0-6-28 16,0 2-18-16,0-3-30 0,0-3-42 16,0 0-35-16,-2-2-93 0,2 1-84 0,0-3-5 15,2-3-427-15,-2 1 50 0,0-4 121 0,0 0 36 0</inkml:trace>
  <inkml:trace contextRef="#ctx0" brushRef="#br0" timeOffset="4726.12">6501 4806 803 0,'0'0'351'16,"0"0"-8"-16,0 0-54 0,12 0-23 16,-12 0-25-16,8 0-29 0,-8 0-12 15,15 2-28-15,-7 0-3 0,2 0-6 0,1-1-24 0,1 0-11 16,1-1 5-16,0 3-23 16,2-1-23-16,1 0 5 0,-1-1-15 0,1 2-3 15,2-2-13-15,0 0 11 0,2 4-31 0,-4-4 2 16,1 0-7-16,4 2 23 15,-6-2-36-15,3 1-13 0,0-2 21 0,0 1-15 0,0-1 4 16,0 0 13-16,-2 0-86 0,2 0-4 0,2 0 16 16,0 0-18-16,-1 0 18 0,1 2 16 15,-2-2-1-15,2 0 1 32,3 0-6-32,-5 0 3 0,0 0 5 0,0-2 7 0,2 2 4 0,-2-1-4 0,0 1 16 0,-2 0-15 0,2 0 17 15,0 0-4-15,-2-2-11 0,-1 2 16 0,1 0-14 16,-2 0 14-16,-1-1 5 0,0 1-21 15,0 0 5-15,-1 0 21 0,-1 0-16 0,2-1-7 16,-3-1 20-16,0 1-2 0,1 1 10 16,-4 0-15-16,4-1-16 0,-4 1 8 0,1 0 7 15,-3 0-15-15,2-1 13 0,-1-1 3 0,2 2-8 16,-8 0-8-16,12-2 5 0,-7 1 13 16,1 1-10-16,1-1 5 15,-7 1-7-15,11 0 7 0,-6-1-8 0,-5 1 5 0,13-2 1 0,-9 2 4 16,2-1 6-16,-6 1-16 15,10 0-2-15,-10 0 26 0,8 0-6 0,-8 0 3 0,10-2-16 16,-10 2 6-16,7 0-9 0,-7 0-4 0,8 0 10 16,-8 0 0-16,5 0 8 0,-5 0 5 15,0 0-13-15,11-2 0 0,-11 2-5 16,3-1 20-16,-3 1-36 0,0 0 29 0,7-2-5 16,-7 2-6-16,0 0-5 0,0 0 1 0,7 0 7 15,-7 0 18-15,0 0-18 16,0 0-5-16,6-1 10 0,-6 1-10 0,0 0 10 0,5-1-13 15,-5 1 8-15,0 0 15 0,0 0-12 0,7 0-6 16,-7 0 9-16,6-3-17 0,-6 3 11 16,0 0 5-16,0 0 11 0,7-1-24 15,-7 1 3-15,0 0 2 0,10 0 9 0,-10 0-9 0,6 0 6 16,-6 0-14-16,0 0 14 16,10 0-6-16,-10 0 3 0,5 0-5 0,-5 0-3 15,0 0 6-15,0 0 4 0,8 0 6 0,-8 0-13 16,0 0 2-16,0 0 6 0,7 1 5 15,-7-1 10-15,0 0-3 0,0 0 13 0,0 0-12 16,6 1 1-16,-6-1 6 0,0 0-2 0,0 0-3 16,2 3 18-16,-2-3-23 0,0 0-3 0,0 6 15 15,0-6-20-15,0 5 6 16,0-5-1-16,3 5 0 0,-3-2-12 0,0 1 22 0,2 0-5 16,-2 0-4-16,0-1-6 0,3 2 13 0,-3 1-3 15,0-1 0-15,3 1 1 16,-3 0-11-16,2 0-5 0,0 1 0 15,-2-1 5-15,1 0 8 0,4 1 0 0,-5-1-6 0,0 1-9 0,2-1 20 32,0 1-26-32,-2-1 5 0,1 0 6 0,2 1 2 0,-3-1 3 0,0 0-6 15,2 1-2-15,-2-3 8 0,0 3-8 0,0-2-3 16,0 1 3-16,0-2-2 0,2 1 7 16,-2 0-2-16,0 1-9 0,0-1 22 15,0 1-3-15,0-3-13 0,0 3 0 0,0-1 2 0,1 1-9 16,-1 0 9-16,2-1 6 0,-4-2-3 15,2 1-5 1,2 3 10-16,-2-2-15 0,0-1 28 0,-2 2-13 0,2-1-5 0,0 0 11 16,2 1-11-16,-2 0 10 0,0-1-10 0,0 0-10 15,0 0 8-15,0 1 10 0,0-1 4 16,0 0-29-16,0 2 12 0,0-1 0 0,0-3 2 16,0 3 8-16,3-1-7 0,-6 1-8 0,6 0 10 15,-3-1-13-15,0 1 34 0,2-1-26 16,-4-1-8-16,2 2 3 0,0-1 3 0,0 0-6 15,0 1 5-15,0-3 16 0,0 1-26 16,0 1 21-16,0-5 13 0,0 8-9 0,0-6-17 0,-3 2 13 16,3-4-3-16,0 7-2 0,0-7 2 15,0 5-13-15,-2-2 8 0,2 1 3 16,0-4-3-16,0 6-3 0,0-6 16 0,-1 6 0 16,1-6-13-16,0 7 18 0,1-5-16 15,-1-2 19-15,-1 6-11 0,1-6-10 0,0 6-10 16,0-2 25-16,0-4-10 0,-2 6 0 0,2-3 13 15,0-3-20-15,0 6-6 0,0-2 18 16,0-4-15-16,0 6 8 0,-2-4-6 16,2-2 8-16,0 6-7 0,0-1 22 0,0-5-23 0,0 6 9 15,0-3 1-15,0-3-9 0,0 8 4 16,0-5 6-16,0 1-6 0,0-4 1 0,0 7-3 16,2-2 13-16,-2-3-18 0,0-2 10 0,-2 7 8 15,2-3-6-15,0-4 9 0,0 3 58 16,0-3-23-16,0 0 23 0,0 5-10 0,0-5-12 15,0 5 19-15,0-5-27 16,0 0 17-16,-3 2 3 0,3-2-18 0,0 0 0 0,0 0 3 16,-3 4-18-16,3-4-16 0,0 0 18 15,0 0-12-15,-5 2 4 0,5-2 11 16,0 0-8-16,-7 0-15 0,7 0 0 0,0 0 20 0,-8 1-23 16,8-1 11-16,0 0 7 0,-8-1-2 15,8 1-16-15,-8 1 5 0,8-1-5 0,-10 0-10 16,10 0 18-16,-7 3-5 0,7-3-10 15,-10 0 10-15,10 0-11 0,-11 0-4 0,11 0 12 16,-8 0-18-16,0 0 18 0,8 0 6 16,-10 1 12-16,3-2-26 0,7 1 11 0,-11 1-10 15,6-1-3-15,-3 0 23 0,8 0-18 0,-12 0 15 16,4 0-9-16,0 0-1 0,1 1 3 0,-1-1-21 16,8 0 5-16,-13 2 1 0,6-2 2 15,-1 2 0-15,0-2 2 0,0 0 1 0,8 0 2 16,-14 0 26-16,6 0-44 0,2 0 16 0,-1-2 4 15,-1 4-9-15,8-2 7 0,-13 1 3 16,6-1-16-16,1 0 10 0,-1 2-9 16,1-2 22-16,6 0-5 15,-12 1-15-15,6 1-5 0,-1-1 5 0,0-1 2 0,1 1-2 0,1 0 8 16,5-1-8-16,-13 3-8 0,8-2 26 16,-1 0-8-16,-1-1-13 0,0 1 23 0,7-1-22 15,-11 0 7-15,3 0-10 0,1 0-3 16,-1 0 18-16,3 1-10 0,5-1 0 0,-16 0-8 15,9 2 13-15,-3-2-3 0,2 0-2 0,0 1-5 16,0-1 7-16,-2 0-15 0,3 0 21 0,7 0-6 16,-16 0-9-16,8 0 9 0,-2-1-2 15,2 1-3-15,1 0 1 16,-3 0 12-16,2 1-8 0,0-1-5 0,-2 0 14 0,0 0-27 0,0 1 21 16,1-1 13-16,2 2-13 0,-3-2 10 0,-1 0-2 15,1 0-13-15,0 1 0 16,2 1 10-16,-2-2-21 0,0 1 4 15,2-1 14-15,0 0 3 0,-2 1-30 0,2 0 12 16,1-1-8-16,0 0 3 0,-1 3-15 0,8-3 8 16,-13 0 4-16,7 0 8 0,-2 0-5 0,8 0-5 15,-14 0 8-15,8 0-21 0,-1 0 3 16,7 0 2-16,-13 0 6 0,8 0 12 0,-3 0 2 16,0 0 6-16,8 0 0 0,-13 1-18 0,5-2 16 15,1 1-6-15,0 0 8 0,1 1 23 16,6-1-24-16,-13 0-12 0,5 0 29 0,0 0-9 0,1 0-9 15,0 0 12-15,-1 0-23 16,0 0 18-16,3 1 13 0,-3-1-21 0,-2 1 16 0,2 0-3 16,0-1-5-16,1 0-8 0,-1 2 5 15,-1-2 14-15,3 1-9 0,-2-1 1 16,1 0-1-16,7 0 14 0,-13 1-24 0,8-1 16 16,5 0 7-16,-11 1-7 0,6-1-3 0,5 0 10 15,-10 2 1-15,10-2-4 0,-7 2 6 16,7-2-18-16,-6 0 18 0,6 0-23 15,-8 1-3-15,8-1 26 0,0 0-20 0,0 0 15 0,-7 0-6 16,7 0-2-16,0 0-17 0,-8 0 32 0,8 0-28 16,0 0 11-16,-8 0 12 0,8 0-20 15,0 0 3-15,0 0 7 0,-8 1 0 16,8-1-20-16,0 0 20 0,0 0-10 0,-7-1-16 0,7 1 3 16,0 0-20-16,0 0-29 0,0 0 1 15,0 0-29-15,0 0-20 0,0 0-44 16,0 0-59-16,0 0-109 0,-7 4-101 0,7-4-468 15,0 0 62-15,0 0 102 0,15 5 59 0,-10-2 99 16</inkml:trace>
  <inkml:trace contextRef="#ctx0" brushRef="#br0" timeOffset="5236.06">6993 5646 1018 0,'-3'9'415'16,"0"1"-23"-16,3 5-37 0,-2 5-14 0,0 6-95 0,-1 12-19 15,-2 5-12-15,2 2 49 16,-2 4-13-16,-3 8-46 0,4 4-8 0,-2 1-26 16,-1-1-2-1,-3-1-43-15,-1 0-27 0,3-3-24 0,-2-11-42 0,3 0-10 0,-2-6-33 0,2-1-21 16,2-3-5-16,0-6-30 15,-1-7-11-15,4-4-61 0,-3-4-72 0,3-2-128 16,-1-2-471-16,0-3-8 0,3-2 101 0,0-5 71 16,0-1 38-16</inkml:trace>
  <inkml:trace contextRef="#ctx0" brushRef="#br0" timeOffset="5544.36">7163 5638 1151 0,'-1'12'389'0,"-2"6"-20"0,-2 6-13 0,3 3-31 0,-6 11 77 15,3 5-31-15,0 2-128 0,-1 3-18 16,-1 9-10-16,-1-1-35 0,0 1-24 0,0-1 2 15,-1-11-12-15,4 1-15 16,-1-1-31-16,-1-5-18 0,-1-1-47 0,1-3-19 0,4-6-26 0,-2-5-37 16,2-5-4-16,1-3-18 15,-1-4-49-15,0-1-30 0,1-4-77 32,0-2-180-32,1-2-473 0,1-4 57 0,0 0 83 0,0 0 55 0,5-16 76 0</inkml:trace>
  <inkml:trace contextRef="#ctx0" brushRef="#br0" timeOffset="5868.22">6932 5770 762 0,'-1'-7'415'16,"2"-1"-34"-16,1-2-25 0,3-2-8 15,-2 0-41-15,4-1-30 0,1-1-8 0,2 0-83 16,3-1 6-16,-3 1 70 0,3 1-6 16,0 2-34-16,2 3-9 0,-2 2 30 0,2 0-15 15,-1 4-16-15,0 3-22 0,0 0-14 0,-1 5-17 16,5 1-18-16,-3 3-13 0,2 3-3 0,-1 1-7 16,0 4-8-16,4 6-18 15,-5-4-20 1,-2-2 15-16,0 2-39 0,0 0-43 0,0 10-30 0,-1-6-21 0,-4-4-49 0,0 2-41 0,-1-1-38 15,1-1-94-15,-2-7-203 0,1 6-556 16,-2-3 80-16,0 0 110 0,0-2 77 16,0-4 112-16,3-1 42 0,0-4 86 0</inkml:trace>
  <inkml:trace contextRef="#ctx0" brushRef="#br0" timeOffset="6755.74">12269 3485 1208 0,'-5'-1'455'0,"5"1"-43"15,-10-2-38-15,10 2-39 0,-8-3-20 16,8 3-20-16,-5-2-27 0,5 2-30 0,-5-1-28 16,5 1 0-16,0 0-31 0,0 0-20 0,0 0-64 15,0 0-26-15,0 0-10 0,20 7 5 16,-10-6-18-16,1 2-5 0,7-3 33 0,0 0-33 16,5 0-8-16,3 0 6 0,7 0-3 0,13-2-3 15,6 1-2-15,-4-1-21 0,6 2 5 0,-1-3 21 16,-1 0-18-16,2 2-10 0,-5-3 4 15,0 3-12-15,-4 1 13 0,-4-1-3 0,-7 1-4 16,-1-3 1-16,-2 3 9 0,-3 0-6 16,-2 0-13-16,-3-1-4 0,-3 1-16 0,-2 0-1 15,-3 0-11-15,-2 0 9 16,1-1 3-16,-4 0-5 0,0 1-11 0,-2 0-17 0,-3 0-3 16,-5 0-18-16,7 0-7 0,-7 0-16 0,0 0 8 15,0 0 8-15,0 0-37 0,0 0-14 16,0 0-22-16,0 0-6 0,-20 1-9 0,10 1-7 15,0 1-49-15,-4-1-33 0,-1 0-36 16,-1 2 31-16,-6-1-223 0,1 1-174 16,0 0 59-16,-7 0 0 0</inkml:trace>
  <inkml:trace contextRef="#ctx0" brushRef="#br0" timeOffset="7118.64">12336 3606 982 0,'-15'3'410'16,"2"-2"-21"-16,5 1-25 15,1-1-42-15,1-1-33 0,6 0-20 0,-8 0-23 0,8 0-21 16,-5 1-18-16,5-1-15 0,0 0-5 16,0 0-8-16,0 0-66 0,0 0-11 0,0 0-9 15,26 1 9-15,-16-2 23 0,6 0-35 16,6 1 2-16,4 0 3 0,3-3 0 0,4 0-3 16,13 2-10-16,3-2 10 0,-1 2-21 15,1 0-2-15,2 0-17 0,-2 1 73 0,2 0-2 0,1-2-18 16,-4 2-5-16,-6 2 0 0,-7-2-11 15,1 0 3 1,-3 0-17-16,-2 1 4 0,-3-1-18 0,-4 1 3 0,1-1 11 0,-6 0-27 16,-4 1 3-16,2-1 1 0,-4 0-9 0,-3 3 11 15,1-3-8-15,-1 0-10 0,-2 0 5 0,0 0-26 16,0 0-5-16,-4-3-17 0,-4 3-29 16,8-2-18-16,-6 1-41 0,-2 1-33 15,1-6-23-15,-1 2-59 0,0 4-79 0,-1-9-118 0,-3 3-251 16,1-4-348-16,0-1 185 15,-1-2-21-15,-2-2 84 0,-2-5 108 0,-2-2 48 0</inkml:trace>
  <inkml:trace contextRef="#ctx0" brushRef="#br0" timeOffset="7528.1">12618 2786 1062 0,'-5'-1'397'0,"5"1"-29"0,-6-2-20 0,6 2-33 16,-7-2-36-16,7 2-10 0,-3-2-34 0,3 2 3 16,0 0-35-16,0 0 30 0,0 0-47 15,26 2-14-15,-11-4 5 0,3 2-9 0,5-1-73 16,3 1-26-16,3-2 8 16,1 1-8-16,3-2 67 0,11 0-8 0,-3 1-5 0,3-1-6 15,-6 2-14-15,6-4-6 0,2 3-15 0,-7-1-8 16,-7 0-17-16,-1 0-4 0,-2 1-14 0,-4 1 7 15,3-3-18-15,-4 2-15 0,-4 2-29 16,-2-1 4-16,-3-2-58 0,-4 3-1 16,1 0-14-16,-2-2-20 0,-2 2-23 15,-2 1-33-15,-6-1-62 0,4 1-97 0,-4-1-94 0,0 0-497 16,0 0 56-16,-18 6 92 16,8 0 46-16,-3-2 87 0</inkml:trace>
  <inkml:trace contextRef="#ctx0" brushRef="#br0" timeOffset="7887.66">12669 2873 1034 0,'0'0'473'16,"0"0"-58"-16,0 0 25 0,0 0-66 15,21-2-18-15,-11 0-3 0,5 2-118 0,1-3-15 16,5 1 11-16,1 1-29 0,1 1 54 0,1-1-5 15,1-1-28-15,6 2-14 16,2-2-11-16,-2 1-27 0,2 0-2 0,0 1 5 0,-2 0-23 16,3 0 8-16,-9 0-6 0,3 0-2 0,-5 0-25 15,1 0 4-15,-4 0-25 0,-2 0 23 16,-2 0-28-16,-1 0 5 0,-2 0 13 16,-1 0-34-16,-3 0-12 0,1 0 38 0,-2-2 3 0,-1 2 9 15,0 0-42-15,1 0 38 0,-8 0-54 0,10-1-46 16,-10 1-18-16,6 0-6 15,-6 0-55-15,0 0-59 0,0 0-60 0,0 0-52 16,0 0-86-16,0 0-237 0,0 0-590 0,-5 7 83 16,5-7 151-16,-8 10 56 0,5-5 87 0,3 0 105 15,0 2 36 1,6-2 69-16</inkml:trace>
  <inkml:trace contextRef="#ctx0" brushRef="#br0" timeOffset="8672.67">16328 3400 1013 0,'0'0'484'0,"-5"-3"-11"16,5 3-66-16,0 0-23 0,0 0-23 0,0 0-43 15,0 0-9-15,0 0-30 0,0 0-15 16,0 0-3-16,28-2-20 0,-17 1-26 0,6 1-3 0,4-3-17 16,2 2-21-16,0 0-3 0,7 0-17 15,-1-3-16-15,-1 1-15 0,1 1-18 0,-4 1-5 16,3-2 2-16,0-1-10 0,-5 2-20 15,0-1-11-15,-2 1-38 0,-3 1 8 0,0 1-31 16,-3-4-18-16,-2 3-10 0,-1-1-18 0,-3 2-31 16,1-2-20-16,-2 1-31 0,-4-1-20 0,-4 2-27 15,0 0-22 1,0 0-48-16,0 0-52 0,0 0-95 0,0 0-76 0,-30 5-464 0,17-4 110 16,-7 3 19-16,-1-1 129 0,-5 1 78 15,-4 1 51-15</inkml:trace>
  <inkml:trace contextRef="#ctx0" brushRef="#br0" timeOffset="9079.44">16303 3458 1246 0,'0'0'374'0,"-6"2"-85"0,6-2-5 15,0 0-13-15,0 0-7 0,0 0-5 16,13 4-21-16,-3-3 7 0,-2 0-7 0,5-1-28 0,0 0-18 16,2 0-7-1,3 0 2-15,5 0-16 0,0 3-2 0,2-3-21 0,4 2-4 0,-1-3-19 16,1 2 1-16,-1 0-6 0,-3 2-5 0,5-3-18 15,-4 2-4-15,-3 0-6 16,0 1 79-16,-2-1-10 0,3-1-10 0,-7 1 2 16,-1-1-27-16,1 1 20 0,-1-2-11 0,-6 2-20 15,3-2 18-15,-3 2-77 0,-2-2-12 0,2 1-6 16,-3-1 0-16,-1 0 1 0,-1 1 4 16,3-1 21-1,-8 0-3-15,10 0-15 0,-4 1-28 0,-6-1 15 0,7 0 16 0,-7 0 20 16,7 0-31-16,-7 0 5 0,6 2 13 0,-6-2-15 31,5 1-10-31,-5-1 15 0,0 0-31 0,0 0 8 0,8 0 23 0,-8 0-5 0,0 0-23 16,7 0 2-16,-7 0-23 0,0 0 39 0,0 0 18 15,0 0-39-15,0 0-10 0,0 0-21 16,0 0-20-16,0 0-20 0,0 0-21 16,0 0-38-16,0 0-47 0,0 0-50 0,0 0-26 15,0 0-21-15,0 0-59 0,0 0-112 0,-20-8-187 0,17 6-440 16,-2 2 143-16,0-3 69 0,0 1 103 15,-1 1 107-15,-1-1 18 0,-3-3 84 16</inkml:trace>
  <inkml:trace contextRef="#ctx0" brushRef="#br0" timeOffset="10012.34">7052 7413 1387 0,'0'0'461'0,"0"0"7"0,0 0-69 0,0 0-20 15,0 0-18-15,5 13-26 0,-5-8-25 0,0 3 5 16,2 2-72-16,-2 4-20 0,0-1-75 16,0 0-30-16,0 6-5 0,-2 2-1 0,0 1-22 0,-1 2-11 15,0 0-35-15,-2 1-8 0,3-3-13 16,-1 0-26-16,-2-2-28 0,3-2-22 0,-2 0-19 15,2-4-61-15,0-2-28 16,-1 1-62-16,3-2-151 0,0-3-230 0,0-1-312 0,3-1 109 16,-1-1 60-16,1-4 104 0,-3-1 65 15</inkml:trace>
  <inkml:trace contextRef="#ctx0" brushRef="#br0" timeOffset="10395.81">7254 7484 1151 0,'-7'9'441'0,"2"0"-114"0,-1 3-40 0,1-1-23 16,2 2-11-16,1-2-15 0,0 3-59 0,2-1-10 16,2 0-8-16,0 2-30 0,2-2-11 15,3 1 13-15,0 0-35 0,4-3-4 16,-1 2-9-16,6-5-24 0,-3 3 3 15,4-6 0-15,-2 1-18 0,1-4 6 0,-3-2 4 0,2 0-2 16,-2 0 4-16,-1-4-4 0,2 0 15 16,-4-1 16-16,-2-1 22 0,2-1-35 15,-5 1 35-15,-2 0 14 0,2-2-1 0,-5-2-23 0,-3 3 13 16,0-2-30-16,-4-1 14 0,2 2-17 16,-5-1 69-16,0 1 3 0,-1 3-26 15,-2-1-39-15,0 3 16 0,-2-1-26 0,2 2-23 16,-2 1-23-16,2 1-40 0,-3 1-22 0,1 0-35 15,2 0-59-15,-2 4-41 16,2 1-51-16,0 0-177 0,3-1-634 0,0 2 74 0,2-1 84 16,1 0 118-16,1-1 127 0,4 2 37 0,2-4 33 15</inkml:trace>
  <inkml:trace contextRef="#ctx0" brushRef="#br0" timeOffset="10609.77">7755 7420 1397 0,'0'0'474'15,"4"0"-26"-15,-4 0 40 0,5 6-34 0,-4-1-37 16,1 3-33-16,1 2-16 0,-3 2-40 0,2 1-31 16,-2 1-26-16,0-1-25 0,3 6-39 15,-6-1-112-15,3 1-16 0,0 1-51 0,-2-1-35 16,-1 0-50-16,1-2-47 0,1-1-42 0,1-2-44 15,-2-1-45-15,-1 0-98 0,1-2-130 16,0-3-500-16,1 2 124 16,-1-3 63-16,2 0 90 0,-5-2 69 0,4-2 54 0</inkml:trace>
  <inkml:trace contextRef="#ctx0" brushRef="#br0" timeOffset="10834.4">7644 7606 1041 0,'0'-8'469'0,"2"4"-39"0,1 4-16 0,2-2 34 16,0-2-25-16,3 3-52 15,2 0-115-15,0-2 0 0,6 1-34 0,-1 2-17 0,3 0-36 16,0 0-25-16,0 0-50 0,0-1-37 0,3 2-75 16,0-1-51-16,-1 0-39 15,-2 0-117-15,-1-1-208 16,-1 2-488-16,-1-1 94 0,-2 0 74 0,0 0 101 0,-2-1 65 0</inkml:trace>
  <inkml:trace contextRef="#ctx0" brushRef="#br0" timeOffset="11037.27">8216 7467 1446 0,'0'0'458'0,"0"0"-41"0,0 0-12 0,0 0-34 16,5 13-36-16,-3-7-33 0,-2 3-25 15,0 1-16-15,0-1 36 0,-2 4-34 16,2 0-66-16,-5 4-71 0,2 1-57 0,1-1-92 16,-4-1-64-16,2 2-108 0,-4-2-260 15,5-3-490-15,1-1 93 0,2-4 94 0,0 3 80 16,0-4 89-16,5-1 36 0</inkml:trace>
  <inkml:trace contextRef="#ctx0" brushRef="#br0" timeOffset="11262.74">8356 7444 1479 0,'0'0'440'15,"0"0"52"-15,0 0-11 0,0 0-38 16,0 0-46-16,6 12-29 0,-6-5-25 16,2-1-118-16,-2 5-25 0,0-2-11 15,-2 4-7-15,2 3-31 0,-3-2-5 0,3 3-67 0,-2 1-43 16,0-3-72-16,1 3-33 0,-1 1-56 15,-1-2-44-15,0-3-79 0,1-1-182 0,-3 4-515 16,2-3 106-16,-1-3 50 0,0 0 96 16,0-1 109-16,1-1 23 0</inkml:trace>
  <inkml:trace contextRef="#ctx0" brushRef="#br0" timeOffset="11643.46">6862 7938 1226 0,'-3'-3'445'0,"3"3"3"0,0 0-46 16,18-8-34-16,-5 7-12 0,8-3 46 0,7 0-44 15,20-1-12-15,9 0-31 0,20 2 18 16,0-2-31-16,8 2-18 0,4 0-108 16,11 1 75-16,5-1-31 0,3 2-7 0,23-5-44 15,-23 5-21-15,25-1-15 0,-26-1 6 0,-1 2 4 16,-4-3-33-16,-4 3-18 0,-9 1-5 16,-9 0-13-16,-16-2 1 0,-11 1-27 0,-4 1-32 15,-12-1-24-15,-10 1-23 0,-3 0-15 0,-6 1 3 16,-6-1-34-16,-3 1-41 0,-3 1-36 15,-2-2-20-15,-4 0-7 0,2 4-52 0,-2-4-16 16,-12 6-55-16,1-4-188 0,-9 4-14 0,2 0-495 16,-8 0 89-16,-10 5 106 0,-2-3 102 15,-7 5 41-15,0 0 62 0</inkml:trace>
  <inkml:trace contextRef="#ctx0" brushRef="#br0" timeOffset="12153.68">7842 8163 1364 0,'4'-6'502'0,"5"5"-39"0,1-3-18 0,5 3-43 0,-2-1-23 16,2 2-36-16,1-1-44 0,2 2-20 0,-6-1 0 16,-1 2-5-16,-1 2-15 0,-5-2 17 15,0 5-38-15,-5 3-15 0,-2-1-26 0,-6 5-25 16,-5 2-3-16,-3 1-36 0,-6 7 5 0,-4-3-26 15,3 2-12-15,0-3-2 16,2-3-104-16,4-3 1 0,4-5 3 0,2 2-6 16,1-4 6-16,2-1-11 0,1 1 15 0,1 0 6 15,4-2-13-15,-1 1 10 0,1 0-8 0,2 0-7 16,2-3 36-16,3 0-24 0,3 3 6 31,5-4-11-31,0 3 1 0,7-1-3 0,1-2 18 0,2 2 12 0,3-3-32 0,-1 1-32 16,1-2-17-16,-3 0-24 0,3-2-22 0,-4 2-8 15,-3-5-23-15,-1 5 0 0,-1-2-28 0,-4-2-11 16,0 1-40-16,-5 0-24 0,0-2-92 16,-4 2-99-16,-1-2-90 0,-5 1-430 0,-1-3 82 15,-5 0 110-15,-7-1 81 0,-8-3 81 0,-16-3 37 16</inkml:trace>
  <inkml:trace contextRef="#ctx0" brushRef="#br0" timeOffset="12534.19">6295 7855 1292 0,'9'-1'417'0,"-2"1"-43"0,-7 0-26 0,11 1-41 0,-1 0-38 16,-3-1-26-16,6 0-43 0,-3 0-52 16,0 0-17-16,3-1-64 0,-3 1-78 15,1 1-68-15,-1-1-87 0,0 1-144 0,-2-1-489 16,-3 4 39-16,-2-2 94 0,-1 2 124 16</inkml:trace>
  <inkml:trace contextRef="#ctx0" brushRef="#br0" timeOffset="12732.61">6204 8032 1049 0,'-6'3'366'0,"6"-3"-36"0,-3 2 75 0,3-2-50 0,0 0-32 0,0 0-11 16,0 0-46-16,0 0-38 0,18 1-20 16,-9-1-16-16,1-1-26 0,2-1-41 15,3-1-45-15,1 2-42 0,2 0-56 0,0-3-77 16,-1 3-140-16,4-1-689 0,-3-1 113 0,2 3 86 15,-3-2 55-15,3 2 50 0</inkml:trace>
  <inkml:trace contextRef="#ctx0" brushRef="#br0" timeOffset="13483.87">9590 7723 1331 0,'0'0'307'0,"0"0"-5"15,10-3-44-15,-5 3-38 0,-5 0 1 16,13 0-29-16,-7 0-31 15,1 0-36-15,1 0-35 0,2-2-39 0,-3 2-61 0,1 2-82 0,1-2-90 16,-2 0-113-16,-2 3-457 0,0-1 30 0,2-1 131 16,-4 3 30-16</inkml:trace>
  <inkml:trace contextRef="#ctx0" brushRef="#br0" timeOffset="13677.78">9538 7839 903 0,'0'0'371'0,"-4"3"-25"0,4-3 22 0,0 0-27 15,0 0-21-15,0 0-34 0,0 0-22 0,18 2-41 16,-11-2-67-16,3 0-43 0,1 2-80 0,2-1-205 16,2 3-667-16,1-4 81 0,2 0 54 15,4 3 67-15,1-1 61 0</inkml:trace>
  <inkml:trace contextRef="#ctx0" brushRef="#br0" timeOffset="14455.7">10974 7521 1244 0,'6'-3'458'0,"-1"-2"-39"0,3 0-32 0,2 2-18 15,0-1-37-15,0 2-37 16,3-2-21-16,-3 4-39 0,0 0-7 0,1 0-16 0,-1 3-4 16,0-2-11-16,-2 1-21 0,0 2-9 0,-4-1-26 15,0 2 102-15,-4 1-46 0,0 0-15 16,-4 2-19-16,-3 3-17 0,2-1-10 16,-5 4-85-16,-3-2-7 0,0 1-16 0,0 1-3 15,1-2 4-15,1-1 1 0,-1-3-2 0,4 3-7 16,0-4-13-16,0 0 27 0,3-1-19 15,0-1-1 1,0 0 1-16,0-2-9 0,2 1 19 0,1-1-16 0,2 2 13 0,0-5-13 0,0 5-2 16,0-5 7-16,5 5-15 0,2-3 0 15,-1-1-23-15,1-1-20 0,3 2-19 0,-2-2-43 16,2-2-40-16,1 2 6 0,1 0-65 16,-1-2-60-1,-1-2-120-15,-3 4-143 0,7-7-446 0,-4 5 98 0,0-4 53 0,3 1 108 0,-3-2 64 16,1 1 76-16</inkml:trace>
  <inkml:trace contextRef="#ctx0" brushRef="#br0" timeOffset="14646.79">11346 7416 1579 0,'0'0'509'0,"0"0"-15"0,0 0-118 0,-2 11-17 15,-1-3-1-15,0 1-17 0,1 4-37 0,-1-1-32 0,-2 3-29 16,1 2-31-16,1 2-4 0,-2 1 55 15,0 3-38-15,1 2-22 0,0 0-24 0,-2-2-64 16,4-3-46 0,0-1-69-16,-1 0-38 0,0-1-65 0,3-4-45 0,-2 3-70 0,2-3-153 0,0 0-660 15,-2-1 81 1,1-1 105-16,1 0 77 0,-2-2 72 0,-1-3 69 0</inkml:trace>
  <inkml:trace contextRef="#ctx0" brushRef="#br0" timeOffset="14909.39">10736 7927 1617 0,'0'0'548'0,"0"0"-128"0,0 0-21 0,0 0-5 0,0 0-28 15,16-8-51-15,-6 6-10 0,3-2 40 16,2-1-17-16,3 3-57 0,8-4-10 15,2 0-115-15,0 2-15 0,3 0 17 0,0-1-7 16,0 3-28-16,1-3-29 0,-1 1-38 0,0 1-36 16,-3-1-50-16,1 2-53 0,-7-2-35 0,-1 4-33 15,-5-1-33-15,2 1-60 0,-5-5-224 16,-1 6-521-16,-2 3 103 0,-2 0 77 16,-3-1 133-16,0 4 41 0,-3-1 49 0</inkml:trace>
  <inkml:trace contextRef="#ctx0" brushRef="#br0" timeOffset="15274.3">11280 8050 1389 0,'20'2'484'0,"-5"-2"-21"0,-2 3-32 0,0-1-9 0,-5-1-36 0,-1 4-37 0,-1-4-9 15,-6 4-48-15,0 2 61 0,-3-1-28 0,-2 4-23 16,-5 3-36-16,-6 1-97 0,-1 0-38 0,-7 8-1 16,-1-2-2-16,1-5-20 0,-1 3-8 0,2-2-21 15,5-4-2-15,2-3 0 0,2 1-16 0,0-2-17 0,2-2 7 16,3 0-10 0,-1 0 2-16,3-1-10 0,0-3-4 0,1 4 17 0,4-2-3 15,-1-1 1-15,0 0-21 0,3-3 2 0,5 3-2 16,-2 1-5-16,5-3 10 0,0 0-7 0,2-1-6 15,2 0 3-15,-1 0-36 0,5-2-25 16,-2-2-49-16,2 2-21 0,-1-2-46 0,1 1-43 16,-1-3-49-16,1 0-61 31,4-8-220-31,-5 10-536 0,1-4 103 0,-1-1 85 0,-2 3 112 0,0-4 84 0,-1 1 113 0,2-4 3 0</inkml:trace>
  <inkml:trace contextRef="#ctx0" brushRef="#br0" timeOffset="15476.42">11672 7814 1069 0,'7'-6'451'0,"4"3"-47"0,-1-1-45 16,0 2-34-16,-2-1-56 0,2 2-60 0,-2-1-68 15,2 2-54-15,0-1-100 0,-2 2-102 16,0 1-545-16,-3-2-98 0,0 3 85 16,-2 0 43-16</inkml:trace>
  <inkml:trace contextRef="#ctx0" brushRef="#br0" timeOffset="15663.47">11600 7954 1517 0,'0'0'492'0,"-3"2"-129"0,3-2-38 0,0 0-12 16,0 0-50-16,8 5-19 16,-8-5-19-16,11 0-59 0,-1 0-23 0,0 0-66 15,0 0-46-15,3-1-54 0,2-1-149 0,1 0-281 16,-1 2-386-16,3-2 120 0,-3 2 20 0,1-3 46 16,-1 1 123-16</inkml:trace>
  <inkml:trace contextRef="#ctx0" brushRef="#br0" timeOffset="15997.07">12383 7555 1633 0,'0'0'488'0,"0"0"-22"16,0 0-33-16,0 0-47 0,-6 13-32 0,6-5-19 0,-2 1-15 15,2 1-146-15,-1 3-5 0,-1 3-33 16,-1-2-21-16,3 3-38 0,-2-1-29 0,-1 2-58 15,1 0-44-15,-4-1-40 0,4-3-42 16,0-2-48-16,2 1-26 0,0-2-33 0,2-3-103 16,-4-2-61-16,6 1-435 0,2-3 84 0,-1-2 80 15,0-2 53-15</inkml:trace>
  <inkml:trace contextRef="#ctx0" brushRef="#br0" timeOffset="16334.54">12500 7634 962 0,'0'-4'394'0,"0"0"-28"15,0 4-31-15,0 0-35 0,-3-2 2 0,3 2-38 0,0 0-85 16,0 0-10-16,-7 12-13 16,7-7-10-16,-3 3-31 0,3-1-10 0,0 2-3 0,3 0-7 15,0-1-16-15,-1 4-12 0,3-5-8 16,3 3 5-16,0-3-8 0,4-1-7 0,-2 0-6 16,4-3 3-16,0 1 3 0,-1-2-3 0,0-2 5 15,-2 0 23-15,1 0 14 16,-1-2 27-16,-1 0 18 0,-2-3-5 0,0 1 66 15,-4-2-4-15,2-1-11 0,-4 0-31 0,-2-2 3 16,0 0-43-16,0 1 25 0,-2-2-33 16,-4 1 10-16,2-1-28 0,-4 2-3 0,0-1-10 15,0 2-41-15,1 2 8 0,-4 0-41 0,1 1-13 16,2-1-66-16,-2 4-44 0,2 0-49 16,0 0-53-16,1 1-164 0,2 1-687 0,-1 0 119 15,6-1 97-15,-10 6 102 0,6-5 59 16,1 3 82-16,0 0 82 15</inkml:trace>
  <inkml:trace contextRef="#ctx0" brushRef="#br0" timeOffset="16472.34">12821 7595 1177 0,'2'-1'450'15,"-2"1"-55"-15,3-6-34 0,-3 6-52 0,0-5-22 16,0 5-80-16,2-3-56 0,-2 3-84 15,0 0-67-15,0 0-151 0,0-3-318 16,0 3-327-16,0 0 131 0,0 0 43 0,0 0 51 16</inkml:trace>
  <inkml:trace contextRef="#ctx0" brushRef="#br0" timeOffset="16820.55">13007 7540 1272 0,'-10'2'432'0,"5"0"-43"0,-3-2-35 0,1 5-22 0,-1-3-45 15,3-1-36-15,3 3-16 0,-1-1-17 0,0 1-121 16,1 0 16-16,2-1-21 0,2 3-2 0,1-2-6 16,0 3-7-16,1 0 87 0,2-1 7 15,-1 1 3-15,3 0-7 0,0 3-11 0,2-2-13 16,-5-1 11-16,4 2-1 0,-3-1 3 0,2-1 6 15,-3 0-88 1,-3 0 49-16,1 2 5 0,0-3-26 0,-6 1-7 0,3 0-11 16,-5 0 1-16,0 0-19 0,-1 0-4 0,-2 1 15 0,-2 0-29 15,-2-3-20-15,2 2-12 0,-3-1-52 0,0-3-8 16,0 2-61-16,0 0-43 0,1 0-26 16,-2-2-41-16,4-3-54 15,0 6-138-15,0-6-658 0,2 3 154 0,1-2 46 0,1-1 143 16,6 0 67-16,-8-3 28 0,8 3 112 15</inkml:trace>
  <inkml:trace contextRef="#ctx0" brushRef="#br0" timeOffset="17064.47">13341 7557 1471 0,'0'0'482'0,"0"0"-22"0,0 0 6 0,0 0-54 0,0 0 52 15,-3 13-50-15,-2-3-25 0,-5 2-41 0,-3 1-40 32,-2 3-17-32,-6 9-17 0,-1 2-46 0,-2 1-28 0,1 1-31 0,0 2-82 15,0-3-51-15,-2 2-90 0,4 0-77 16,0-4-40-16,3-1-111 0,3-6-194 0,2-1-504 0,5-5 33 16,3-3 168-16,-2-1 12 0,4-3 78 15,1 1 82-15,2-6 47 0</inkml:trace>
  <inkml:trace contextRef="#ctx0" brushRef="#br0" timeOffset="17252.55">13552 7632 1648 0,'-11'14'535'0,"-5"2"-28"0,-1-3-36 16,-6 11-36-16,-3 2-41 0,0-1-13 0,-4 4-61 15,-6 4-41-15,2 1-81 0,4-5-63 0,2-2-40 16,4 0-87-16,-4-1-65 0,5-2-99 16,0-2-200-16,5-5-634 0,5-4 99 0,3-2 69 15,0-3 106-15,1-1 99 0,2-3 43 0</inkml:trace>
  <inkml:trace contextRef="#ctx0" brushRef="#br0" timeOffset="17763.59">13023 7538 1267 0,'0'0'358'16,"0"0"-36"-16,0 0-30 0,0 0-23 0,8-7-41 15,-5 5-23-15,1-2-60 16,2 4-40-16,2-4-79 0,-1 2-95 0,0 0-146 0,1-1-573 16,2 2 91-16,-2 1 6 0,0-2 102 0</inkml:trace>
  <inkml:trace contextRef="#ctx0" brushRef="#br0" timeOffset="23527.96">13033 7519 645 0,'0'0'279'0,"0"0"-18"0,0 0-3 0,0 0-99 0,0 0-8 15,-7 0-18-15,7 0-5 16,0 0 15-16,0 0-17 0,0 0 7 0,0 0-3 16,0 0 65-16,0 0-26 0,0 0-8 0,0 0-10 15,-8 2-2-15,8-2 4 0,0 0 6 16,0 0-21-16,0 0 5 0,0 0-20 0,0 0-2 16,0 0-4-16,0 0-4 0,0 0-5 0,0 0-9 15,0 0-19-15,15-7 17 16,-10 6-15-16,1 0-13 0,2-3 13 0,-1 2-8 0,3-2-18 15,-2 2 3-15,2-3-5 0,3 2-8 0,-3-1 18 16,3 0-25-16,-3 1-22 16,1-2 22-16,-1 5 2 0,0-4-13 0,0 1 8 15,-2 2-13-15,0-2-8 0,-1 2 1 0,-1 0-4 16,-1 1 19-16,-5 0-8 0,10-2-10 0,-5-1 10 16,-5 3-5-1,8-1-13-15,-8 1 8 0,0 0 0 0,5 0-3 0,-5 0 13 0,0 0-33 16,0 0 20-16,0 0 21 0,0 0-31 0,0 0 2 15,0 0 11-15,0 0-5 0,0 0-8 16,0 0 10-16,0 0 3 0,0 0-13 16,0 0 5-16,0 0-5 0,-13 6 2 0,13-6 9 15,-8 1-9-15,1-1 1 0,7 0 4 16,-8 3-9-16,3-2 2 0,5-1-3 0,-10 1 8 16,2-1-12-16,3 0 14 0,-1 3-2 0,-1-1 1 15,2 0-6-15,-3-2-6 0,0 3 27 16,3-2-19-16,-2 1 4 0,-1-2-1 0,3 2-13 15,5-2-2-15,-10 3 17 0,7-2 4 0,3-1-14 16,-10 0 6-16,5 0-6 0,5 0 1 0,-6 3 25 16,6-3-23-16,-7 2-3 15,7-2 6 1,-6 2-19-16,6-2 6 0,-4 0 7 0,4 0 9 0,0 0-14 0,0 0 21 0,-8 0-11 0,8 0 29 16,0 0-18-16,-6 3-6 0,6-3-1 15,0 0-9-15,0 0 29 0,0 0-16 16,-4 2-15-16,4-2 10 0,0 0 5 0,0 0-5 15,0 0-7-15,0 0 17 0,0 0-20 16,0 0 13-16,0 0-1 0,0 0-7 0,0 0-2 16,0 0 9-16,0 0-1 0,0 0 1 0,0 0-7 15,0 0 5-15,0 0 0 0,0 0-15 16,0 0 13-16,0 0 7 0,0 0-84 0,0 0 12 16,0 0 9-16,-8 0 9 0,8 0-5 0,0 0 19 15,0 0-14-15,0 0 29 16,0 0-18-16,0 0 4 0,0 0 6 0,0 0 3 0,0 0 5 15,-5 1-11-15,5-1 5 0,0 0 6 16,0 0-26-16,0 0 3 0,0 0-21 0,0 0-5 16,0 0-28-16,0 0-39 0,0 0-20 15,0 0-66-15,0 0-126 0,-5 4-415 0,5-4-112 16,-1 2 104-16,1-2 70 0,0 0 54 0,0 0 71 16</inkml:trace>
  <inkml:trace contextRef="#ctx0" brushRef="#br0" timeOffset="26962.76">11152 8299 1295 0,'0'0'404'0,"0"0"-46"16,0 0-25-16,0 0-36 0,12-10-26 0,-2 9-35 16,1-5-8-16,4 4-36 0,3-4-39 0,2 1-12 15,-1-1-64-15,4 1-54 0,0-2-56 16,-3 2-98-16,3-3-138 0,-2 2-568 15,-1 1 75-15,0 2 81 0,-1-2 38 0,-1 2 60 16</inkml:trace>
  <inkml:trace contextRef="#ctx0" brushRef="#br0" timeOffset="27709.96">11607 7833 901 0,'0'0'276'0,"0"0"-33"16,8-6-43-16,-2 4-1 0,1 1 50 16,3-2-34-16,0 1-16 0,1 2-7 0,-1-2-30 15,4-1-32-15,0 2-15 0,-3-1-38 0,4-2-54 16,-4 3-66-16,-1 1-98 0,2-1-100 15,-2 2-522-15,-2 0 106 0,0 0 40 0,0 1 33 16</inkml:trace>
  <inkml:trace contextRef="#ctx0" brushRef="#br0" timeOffset="27901.82">11595 7979 1044 0,'0'0'294'0,"0"0"-25"0,15-5-28 0,-7 1-154 0,2 3-92 0,3 1-75 16,-5-2-132-16,7-2-387 0,0 3-28 0</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1T16:11:06.063"/>
    </inkml:context>
    <inkml:brush xml:id="br0">
      <inkml:brushProperty name="width" value="0.05292" units="cm"/>
      <inkml:brushProperty name="height" value="0.05292" units="cm"/>
      <inkml:brushProperty name="color" value="#0070C0"/>
    </inkml:brush>
  </inkml:definitions>
  <inkml:trace contextRef="#ctx0" brushRef="#br0">5824 3085 1292 0,'0'0'341'0,"0"0"-14"16,0 0-27-16,0 0-39 0,0 0 2 0,0 0-4 15,0 0-24-15,0 0-45 0,23-4-8 16,-13 4-6-16,-2-2-35 0,4 1-23 0,2-1-8 16,-1 1 13-16,1-2-16 0,2 1-30 0,-1 1 25 15,1-2-38-15,-1 1-28 0,3 2-13 16,-3-1-48-16,0-3-24 0,-1 3-56 16,1 0-33-16,-5 0-36 0,0 1-77 0,0 0-38 0,-2 0-93 15,0 0-421-15,-3 1 68 0,0 0 36 16,-5-1 92-16</inkml:trace>
  <inkml:trace contextRef="#ctx0" brushRef="#br0" timeOffset="235.59">5877 3172 1182 0,'-7'3'356'0,"7"-3"-44"0,-3 1-12 0,3-1-42 0,0 0 6 16,0 0-47-16,8 6 16 0,-3-5-25 0,3 0-14 15,2 0-15-15,3 1-25 0,2-2-8 16,1 0-36-16,2 0 8 0,-1-2-6 0,1 2-12 16,0-1-26-16,1 1-20 0,-4 0-28 0,3-2-14 15,-3 0-32-15,-2-1-39 0,2 1-46 16,-2-1-38-16,-2 0-70 0,-1 0-71 0,2-1-79 16,-4-1-190-16,0 1-253 0,-3 1 130 0,0-2 38 15,-2 1 45-15</inkml:trace>
  <inkml:trace contextRef="#ctx0" brushRef="#br0" timeOffset="523.16">6062 2972 1185 0,'-7'-3'450'0,"7"3"-63"15,0 0-39-15,-1-4-3 0,1 4-43 0,0 0-2 16,0 0 10-16,21 7-52 0,-11-1-51 15,3 0-61-15,0 3-18 0,2 1-2 0,3 0 7 16,0 2 10-16,0 0-17 0,-5 0 86 0,2 0-33 16,-1-1-25-16,-4 2 28 0,2 0-37 15,-4-1-22-15,-6 2 3 0,1-2-70 16,-6 2-23-16,-2 2 8 0,-5 2-30 0,-3 1-9 0,-8 5-17 16,-1 0-90-16,-1 0-26 0,-3-2-56 15,5 2-86-15,-1-1-137 0,-7-3-58 16,13-3-480-1,2-2 88-15,3-3 82 0,-2-1 95 0,6-2 68 0,-3-3 75 0</inkml:trace>
  <inkml:trace contextRef="#ctx0" brushRef="#br0" timeOffset="5972.5">6746 2495 901 0,'0'0'276'0,"0"0"-18"16,0 0 11-16,0 0-41 0,0 14-5 0,0-8-31 15,-2 5-90-15,2-1 11 0,0 1-49 16,0 2 20-16,0 2-20 0,0 4-2 0,0-4-9 16,-2 4-4-16,2 1-13 0,-3 1-5 15,0-2 7-15,3-1-5 0,-2-3-12 0,-1 2 32 16,0-2-29-16,1-2 6 0,0 0-22 0,2-2 23 16,-2-1 4-16,1-2 27 0,1-1 4 15,-3 0 11-15,3-1 97 0,-2-3-33 16,2 0 15-16,0-3-12 0,0 0 7 0,0 0 0 0,0 0 2 15,0 0-53-15,0 0 18 0,0 0-6 16,8-12 9-16,-6 9-39 0,1-4-18 0,2 2-59 16,-2-2-3-16,4 1-7 0,-2 0-5 15,0 1 28-15,3 1-5 0,-3 2-8 16,1 0 23-16,1 2-13 0,-7 0 16 0,10 2-13 16,-3 0 15-16,-1 4-20 0,2-1-3 0,-3 1 18 15,0 2 11-15,0-2 15 0,0 3-14 16,0 0-14-16,1-3-23 0,-4 2 15 0,3 0-29 15,-2-1-27-15,0 1-18 0,-1-1 15 0,3 1-82 16,-3-1 10-16,1 0-33 0,0-4-15 16,-1 3-13-16,1-2-69 0,-1 0-44 15,1-1-25-15,2 1-75 0,-2-2-283 16,2 0-65-16,-1 1 52 0,2-2 78 0,-1 0 40 0</inkml:trace>
  <inkml:trace contextRef="#ctx0" brushRef="#br0" timeOffset="6266.38">7021 2844 1123 0,'3'-10'374'0,"-3"1"-80"0,2-2-7 16,-2 2-26-16,0-1-10 0,0 3 10 15,-2-2 41-15,-1 2-20 0,3-1-6 16,-5 0-28-16,2 2-12 0,-2 1-6 0,0-2-43 0,-1 3-13 16,-1 0-8-16,2 2-27 0,0 1-9 0,-2 1-25 15,1 3 8-15,-2 1-6 16,1 0-30-16,1 3 2 0,-1 2 11 0,2 0-26 15,-1 0 5-15,2 2-23 16,1 1-12-16,0-2 1 0,1 0-35 0,0 0 3 0,4-1-21 0,0 2-10 31,1-2-16-31,0 0-30 0,1-1-23 0,2 0-13 0,-1-3-13 0,0 1-36 0,3-1 3 16,-1-1-59-16,4-3-31 0,-1 2-66 0,-2-3-39 16,1 0-30-16,2-3-425 0,2 2 51 15,0-2 66-15,0 1 49 0,2-2 28 0</inkml:trace>
  <inkml:trace contextRef="#ctx0" brushRef="#br0" timeOffset="6844.11">7264 2779 957 0,'0'0'353'0,"-5"-2"-23"16,5 2-28-16,-5-2-25 0,5 2-42 0,-7-3 3 16,7 3-15-16,0 0-13 0,-15 5-8 0,9-3-36 15,-2 1 1-15,3 1-37 16,-3 1-17-16,1-1-8 0,2 1-13 0,-3-1 5 0,3 1-22 16,0-1-9-16,2 0-17 0,-4 1-3 0,4-2 20 15,0 1-35-15,1-1 25 0,-1-1-45 16,3-2 17-1,0 7-20-15,0-7 12 0,0 0-7 0,1 4 2 0,-1-4 3 0,7 1 5 16,-7-1-5-16,8 0-18 0,-8 0 49 16,10-1-29-16,-10 1-2 0,13-3-23 0,-9 2 2 15,4-1 21-15,0 1-33 0,0-3 20 0,-1 1 5 16,1 0-10-16,0 0 21 0,0-3-11 16,-1 2 0-16,1-1-2 0,0 0 2 0,0-2 13 15,-1 0-7 1,1 1 19-16,-1-2 9 0,1-3-77 0,0 1 15 0,-3-2 36 0,0 1 20 15,0-6-12-15,1 3 9 0,-2-4 17 16,-1 3 1-16,2-2-4 0,-2 3 30 0,-1 1-2 16,1 2 23-16,0 1-16 0,-1 1 9 0,-2 1-1 15,3 3-13-15,-3-2-12 0,0 2 9 16,2 4 4-16,-2 1-11 0,0 0-5 0,0 0-26 16,0 0 6-16,-5 19 4 0,5-9 57 0,-3 5 11 15,3 0-24-15,-2 3-15 16,2 1-16-16,0-2-30 0,0-2-44 0,1 4-49 0,0-2-25 15,2 0-33-15,0-1-23 0,-1-1-34 16,1-1-40-16,-1-2-34 0,1 0-72 0,2-3-76 0,-3-3-141 16,4 2-405-16,-3-3 98 15,2 1 77-15,-3-3 94 16,1-1 105-16,-3-2 23 0</inkml:trace>
  <inkml:trace contextRef="#ctx0" brushRef="#br0" timeOffset="7031.63">7270 2737 788 0,'-8'-7'371'0,"0"4"-13"0,6-1-94 16,-3 2-28-16,5 2-4 0,-3-2-6 16,1-1-24-16,2 3-23 0,0-5 11 0,0 5-37 0,2-5 24 15,0 2-31-15,4 2-13 16,-1-1-28-16,1-3 0 0,3 2 10 0,-1 0-28 16,5-2-18-16,0 2 0 0,2-2 21 0,3 1-37 15,2 1-24-15,1-3-40 0,-3 2-27 16,2 0-49-16,1 0-21 15,2 1-58-15,-5 0-100 0,5 3-46 0,-2-1-513 0,-3-2 32 0,-1 3 125 16,-1 0 61-16</inkml:trace>
  <inkml:trace contextRef="#ctx0" brushRef="#br0" timeOffset="7643.04">7652 2691 995 0,'-6'-3'356'0,"6"3"-10"0,0 0-55 0,0 0-6 15,-4 9-47-15,4-4-3 0,0-1-28 16,-3 3-33-16,3-4 0 0,0 3-7 16,0 0-39-16,0 0 5 0,0-1-26 0,0 1-12 15,0-1-13-15,0 1-18 0,0-3 36 0,3 2-44 16,-3-2-2-16,2 0 5 0,0 2 7 0,-2-5-12 0,6 3-13 16,-6-3 18-16,3 0-10 15,-3 0-16-15,0 0 8 0,9 0-3 0,-9 0-2 16,0 0-15-16,9 0-9 0,-9 0 32 0,7 0-26 15,-7 0 18-15,7 3-6 0,-1-2-9 16,-2 2-1-16,2 0 3 0,-1-2-5 0,1 1 0 16,1 2 3-16,-2-3-11 0,3 3-8 0,-3-4 24 15,2 2-8-15,-1 0 23 0,1-2 2 16,-7 0 34-16,13-3 100 0,-8 2 5 0,3-3 17 16,-3 2 1-16,2-2-47 0,-1-1 11 15,-1-2-18-15,0 1-15 0,-2 0 63 0,-1-1 49 0,-2 1-43 16,3-1-44-16,-3-1-23 15,3 3 8-15,-3-1-26 0,0-1 16 0,0 2-65 16,0 0 11 0,2 1-10-1,-2-1-42-15,0 1-7 0,0 4-43 0,0-6-39 0,0 6-36 0,0 0-41 0,0-3-33 0,0 3-41 0,0 0-49 16,0 0-56-16,6 7-84 0,-6-7-226 16,4 5-445-16,-1-2 108 0,2 4 63 0,0-3 98 0,0 1 112 15,0-4 64-15,3 1 26 0</inkml:trace>
  <inkml:trace contextRef="#ctx0" brushRef="#br0" timeOffset="8389.54">8026 2672 1254 0,'0'-3'358'0,"0"3"16"16,-5-5-31-16,5 5-49 0,-5-2-22 16,5 2-27-16,-8 1-17 0,8-1-5 0,-13 6 43 15,8-3-38-15,-2 3-8 0,-3 0-26 0,2 1-25 16,0 2-12-16,0-3-1 0,1 4-44 0,-1-1 1 15,2-2 5-15,2 0-39 16,1 1 5-16,0-2-22 0,3 0 2 0,0-1-10 0,0 0-24 16,3 1 9-16,0-3 20 0,1 0-29 15,2-2-12-15,-1 2 28 0,2-3 0 0,-7 0-15 16,16-2 2-16,-8 0 11 0,-1-1 10 16,1 0 30-16,0-2 13 0,0-1-4 0,-1 0-17 0,1-2 19 15,0 0-26 1,-1 1 5-16,-2-1-2 0,3 2 23 0,-5 1 20 0,4-1-36 15,-4 2-4-15,2 0-27 0,-2 2-20 0,2-1 8 16,0 1-20-16,-5 2 17 0,0 0 8 0,10 2-8 16,-7 2 21-16,2 1-39 0,0 0 3 15,0 0 13-15,0 1 2 0,0 1-12 0,0-1-6 16,1 1-18-16,-2-1-30 0,2 2 48 0,-1-3-17 16,0 0-11-16,0 1 13 15,0-1 0-15,-2-1 18 0,2 0-28 0,-3-1 25 16,1-1-17-16,2 2 19 0,-5-4 22 0,5 1-14 15,-5-1 24-15,8 0-5 0,-8 0-32 0,0 0 45 16,8-5-4-16,-4 3-35 0,0-3 34 16,-2 3-93-16,1-1 18 0,-1-3-11 0,3 1 50 15,-4 1-29-15,3-3-13 0,-1 1 21 0,-1 0 10 16,1 0-18-16,2 1 6 0,-4-1 38 16,1 2-19-16,0 1-7 0,1-1 21 0,0 1-36 15,-1 0 20-15,-2 3-23 0,5-3-2 0,-5 3-18 16,0 0 51-16,0 0-13 0,13 4 7 15,-8 0-14-15,0 0 33 0,-2-1-29 16,2 2-2-16,0 1 3 0,-2-1 7 0,2 1-10 0,0 0-5 16,2 0-3-1,-4-1-12-15,2 0 22 0,0-2-4 0,-2 3-14 0,4-3 4 0,-4 0-6 16,2-1 30-16,-2 0 4 0,2 1-14 16,-5-3-14-16,8 0 22 0,-8 0-20 0,10-3 33 15,-7-1 15-15,2 0-23 0,0-1 8 0,0 0-20 16,0-1-13-16,0-2 43 0,0 0-7 15,1-2 2-15,-2 0 15 0,2 1-30 16,-1-1-5-16,0-1-3 0,0 0 13 0,0 2-34 0,0-1 4 16,-2 4-4-16,2-1-17 0,-3 1-41 15,1 1-34-15,-3 0-40 0,5 1-62 0,-4 0-26 16,-1 4-35-16,4-2-13 0,-4 2-34 16,0 0-99-16,0 0-148 0,8 5-475 0,-8-1 93 15,3 2 110-15,-1-1 85 0,-1 2 61 0,3-1 110 16</inkml:trace>
  <inkml:trace contextRef="#ctx0" brushRef="#br0" timeOffset="8671.49">8644 2660 1141 0,'3'-6'415'0,"-1"-2"-39"0,1 2 3 0,-3 1-8 0,0-2-33 0,0 1-26 0,-3 1-15 15,1 1-23-15,1-1 5 0,-3 1-33 0,-2 3-47 16,6 1 27-16,-12 0-45 0,6 3-14 0,-1 0-42 15,-3 2-4-15,2 3 9 0,0 1 80 16,3-1-56-16,-2 3-9 0,4 1-6 0,-2-1 12 16,4 2 18-16,4 1-23 0,3-3-24 0,4 3 14 15,2-2-31-15,4 1-31 0,4-4 31 16,3 2-10-16,0-3-39 0,-3-1-7 0,1-3-41 16,3-2-49-16,-4 2 10 0,-2-4-64 0,-1 0-17 15,-1 0-27-15,-1-1-17 0,-1-2-36 16,-2 1-31-16,-2 1-9 0,-2-2-81 15,0 0-112-15,-3 2-199 0,0-2-364 0,-2 0 82 16,-3-1 135-16,0 4 47 0,0 0 120 0,-8-8 12 16</inkml:trace>
  <inkml:trace contextRef="#ctx0" brushRef="#br0" timeOffset="9404.44">7054 2781 1036 0,'0'0'359'16,"0"0"-37"-16,0 0-33 16,-12 10-40-16,9-6-24 0,-5 3-31 0,1 0-27 0,-1 3-44 15,-2 2-44-15,-1-1-59 0,1 3-137 16,-8 1-155-16,5 1-462 0,1 0 38 15,-1-3 99-15,0 4 47 0</inkml:trace>
  <inkml:trace contextRef="#ctx0" brushRef="#br0" timeOffset="12348.34">9164 2608 798 0,'0'0'315'0,"0"0"-39"0,0 0-22 0,0 0-34 0,11-7-10 16,-3 7-23-16,-1-4-31 0,6 1-18 0,2-1-5 16,-1 1-43-16,1 0-21 0,2 1-82 0,-1-3-53 0,-3 3-62 15,2-1-70-15,-2 1-465 0,0 1-10 16,-1-2 64-16</inkml:trace>
  <inkml:trace contextRef="#ctx0" brushRef="#br0" timeOffset="12544.98">9187 2654 706 0,'-7'3'248'16,"7"-3"-33"-16,0 0 0 0,0 0 8 0,0 0-46 0,0 0-34 16,0 0-2-16,0 0 2 0,17 2 6 0,-9-2-52 15,3-1-18-15,1 0 16 0,2-2-31 0,-2 3-26 16,3-2-40-16,1 0-24 15,2-1-66-15,-5 1-64 0,2 1-54 0,-4-2-67 16,3 0-403-16,-3 1 58 0,2 1 112 0</inkml:trace>
  <inkml:trace contextRef="#ctx0" brushRef="#br0" timeOffset="12924.34">9326 2488 924 0,'0'0'360'0,"-3"-2"-34"15,3 2-30-15,0 0-47 0,0 0 2 0,0 0-24 16,15 5-45-16,-9-2-10 0,2 0-103 0,2 2-3 15,0 1 6-15,1 0-21 0,-1 2 3 16,2 1-8-16,-4-1 0 0,2-1-15 0,1 5 15 16,-3-1-21-16,-1 0 16 0,-2 1 46 0,-2-1 21 15,-1 2-16-15,-2-2-18 16,0 1-5-16,-3 0-30 0,1 0 27 16,-3 0-25-16,0-1 11 0,0-2-42 0,0 2-5 0,2-2-13 15,-4-1 8-15,4-1-71 0,-2-2-14 16,2 0-135-16,1 0-82 0,-3-2-218 0,4-1-222 15,1-2 2-15,0 0 139 0,0 0 17 0</inkml:trace>
  <inkml:trace contextRef="#ctx0" brushRef="#br0" timeOffset="13614.14">10121 2373 857 0,'0'0'315'0,"0"0"2"0,0 0-35 16,0 0-31-16,2-2-18 0,-2 2 2 16,0 0-107-16,0 0-8 0,0 0-20 15,-7 10 18-15,4-7-5 0,-4 4-32 0,1 2-1 16,-4-2 7-16,0 5-33 0,-3-2 12 0,-2 5-2 15,-1-3 3-15,-2 1-24 0,0 3-10 0,0-3 11 16,0 1 79-16,0 0-44 0,0-1 3 16,5-2 8-1,1-1-3-15,2-1-33 0,-1-5 7 0,4 3-12 0,-3 0 2 0,4-4-8 0,1 2-15 16,3 1 13-16,-1-4 11 16,3 1 6-16,0-3-14 0,7 5 2 0,-1-3-13 0,1-2-7 15,4 0 10-15,2 0-16 0,2-2 11 31,5-1 5-31,1 1-5 0,-1-1-8 0,1-2-8 0,2 2-13 0,0-2 16 0,3 2-7 16,-6-1-24 0,1-1-5-16,-3 2-5 0,-1-2-18 0,-1 4 3 0,-3-3-39 0,-3 2 18 0,0-1-5 15,0 0-49-15,-2 2-92 0,0-2-63 16,-5 1-70-16,-1 1-371 0,3-2-74 16,-5 3 48-16,3-3 64 0,-3 3 72 0</inkml:trace>
  <inkml:trace contextRef="#ctx0" brushRef="#br0" timeOffset="13926.68">10159 2382 982 0,'0'0'364'0,"-2"-4"-11"15,2 4-46-15,0 0-20 0,0 0-16 16,0 0-43-16,0 0 10 0,-5 10 18 0,5-6-8 15,0 5-10-15,-3 1-25 0,3 1-29 0,0 4 1 16,-3-1-4-16,3 4-32 0,-2 1-16 16,0 1-5-16,-2 1-108 0,2 0 26 0,-3 1-2 15,2 3-3-15,1-5-10 0,-3-1-16 16,2 0 5-16,0-1-30 0,1-2-21 16,-3-2-4-16,5-1-35 0,-3 0-17 0,3-4-23 15,-2 0-30-15,2 0-27 0,0-2-38 0,0-3-130 16,0 0-82-16,3 0-430 0,-3-4 74 0,9 0 76 15,-9 0 55-15,11-4 69 0</inkml:trace>
  <inkml:trace contextRef="#ctx0" brushRef="#br0" timeOffset="14326.49">10413 2350 1397 0,'0'-4'392'0,"0"4"-57"0,0-5-25 0,0 5-26 16,0 0-33-16,0 0-16 0,0 0-25 16,-2 17-28-16,-1-8-29 0,3 5 14 0,-3-1-21 15,1 3-16-15,2 1-38 0,-3 2-15 0,1 1-26 16,2 2 3-16,-1-3-18 16,1 0-10-16,3 0-19 0,0-1-4 0,1-1 2 0,0-3 8 15,0-2-18-15,2-1 7 0,-1-1 31 0,0-2-15 16,0-2 3-16,3 0 7 15,-3-1 10-15,0-2-15 0,0-3 6 0,0 2 6 16,-5-2 6-16,8-4 13 0,-5 1 8 0,-1-2-21 16,1 1 30-16,-3-1-20 0,-3 0-2 0,3 0 15 15,-2 0-26-15,1 0-7 0,-1 0 2 16,-3 0-2-16,2 0-10 0,-2 1 14 0,0 1-32 16,0-1-13-16,2 1-36 0,-5 0-13 0,4 2-28 31,-2 0-18-31,1-1-49 0,-2 1-4 0,7 1-42 0,-13-2-107 0,8 2-90 0,0 0-476 15,-1-1 62-15,6 1 107 0,-7-3 74 0,7 3 52 16</inkml:trace>
  <inkml:trace contextRef="#ctx0" brushRef="#br0" timeOffset="14673.84">10621 2204 824 0,'0'0'330'0,"-8"6"-36"0,6-3-40 0,-1 3-1 0,2-3-40 0,-1 1-29 0,0 1-23 15,2-2-7-15,0 2-19 0,0-5-12 16,0 7-2-16,2-3-17 0,-2-4 9 0,2 4-8 15,-1-2-13-15,-1-2 21 0,5 2 12 0,-5-2 31 16,0 0 39-16,8-1-21 0,-8 1-13 16,0 0-15-16,5-4-5 0,-5 4 2 0,0-6 8 15,0 6-123-15,0-5 26 0,0 5-18 0,-5-5-31 16,5 5-15-16,-5-3-23 0,5 3-39 16,-5-1-28-16,5 1-28 0,0 0-25 0,-13 1-39 15,10 2-59-15,-2 1-126 0,0 0-508 16,0 2 140-16,0 0 54 0,-1 1 56 0,1 2 62 15</inkml:trace>
  <inkml:trace contextRef="#ctx0" brushRef="#br0" timeOffset="17295.75">10913 2353 1328 0,'0'0'433'0,"-10"1"-37"15,10-1-42-15,-13 4-50 0,6 0-9 0,1 1-34 16,-2 0-5-16,3 2-31 0,-2 0-31 0,4 1 11 16,-2-2-38-16,2 0-32 0,-1 1 11 15,4-1-20-15,0-2-27 0,2 0-1 16,0 1-16 0,1-3-11-16,5 1-25 0,2-3-5 0,3 0-8 0,2 0-43 0,1-3-15 0,4 1-21 15,5-2-44-15,1-1 3 0,3 1-26 47,-2-2-25-47,1 0-87 0,-4 2-123 0,-3 1-136 0,1-2-361 0,-1 2 47 0,-6 2 101 0,1-2 96 0,-4-1 71 0</inkml:trace>
  <inkml:trace contextRef="#ctx0" brushRef="#br0" timeOffset="17708.22">10238 2723 913 0,'0'0'284'0,"0"0"72"16,0 0-43-16,0 0-22 0,18-3-9 0,-5-1-100 16,5-1-8-16,2 2-41 0,7-3 0 0,11-4-23 15,3 1-8-15,2-2-15 16,4 2-12-16,-1 0-37 0,0 0-5 0,1-1-15 0,-4 1-23 15,0-1-23-15,1 1-23 16,-8 0-26-16,-6 3-13 0,-4 1-84 0,-7 0-23 0,-4 1-26 16,0 1-15-16,-2 0-227 0,-1 1-201 15,-4 1 47-15,0 1 45 0</inkml:trace>
  <inkml:trace contextRef="#ctx0" brushRef="#br0" timeOffset="18010.54">10113 2853 1036 0,'0'0'353'0,"0"0"-120"0,21-6-15 0,-6 3-24 15,3-2-2-15,8-3 49 0,15-1-29 16,2-3-2-16,4 2-25 0,14-4-42 0,-10 4 3 0,8-3-21 15,2-3 3-15,-12 6-36 0,8-7 16 16,-14 7-21-16,1 0-20 0,-3-1 9 0,0 3-86 16,-10 0 0-16,-3 2-13 0,-5-1-3 0,-5 4-4 15,0-3-19-15,-2 5 16 0,-4-4 2 16,1 4-20-16,-5-2-62 0,2 0-12 16,-3 3-124-16,-4-3-65 0,3 3-462 0,-6 0 46 15,0 0 75-15,7 3 89 0</inkml:trace>
  <inkml:trace contextRef="#ctx0" brushRef="#br0" timeOffset="18729.09">9980 2203 831 0,'0'0'277'0,"0"0"4"0,10-7-53 0,0 5-15 0,5-2-14 15,6-1-25-15,7 1-2 0,11-6 53 16,4 1-20-16,6 3-52 0,2-6 24 0,10 1-36 15,1-1-5-15,0 1-37 0,-11 3 9 16,-2-2-26 0,0 1-44-16,-6-2 1 0,-1 3-24 0,-2-1-33 0,-11 4-15 0,-6 0-54 15,-3 0-57-15,-2 1-58 0,-5 0-79 0,-3 1-219 16,0 2-226-16,-2-1 55 0,-6 1 16 16</inkml:trace>
  <inkml:trace contextRef="#ctx0" brushRef="#br0" timeOffset="18967.34">10115 2198 1039 0,'0'0'315'0,"0"0"-95"0,0 0-18 0,19-4-10 15,-4-1 56-15,3 1-53 0,5 0 10 0,5-1-31 16,13-3-23-16,5 2 2 0,-2 0-12 0,-3-2-11 15,5 4-19-15,-2-4-1 0,-1 1-41 16,-2-1-3-16,-2 1-20 16,-8-1 0-16,-3 3-28 0,-3-1-38 0,1 0 2 0,-1 1-38 15,-6-1-26-15,1 1-28 0,0 2-49 16,-2-2-41-16,1 2-66 0,-4 0-294 0,1-1-180 0,1 4 120 16,-2-3 6-16</inkml:trace>
  <inkml:trace contextRef="#ctx0" brushRef="#br0" timeOffset="19380.05">11344 2006 959 0,'0'0'351'0,"0"0"-46"0,0 0-24 0,0 0-12 0,4 19-5 0,0-11-98 0,0 4-41 16,-3 1 6-16,4 1 56 0,-3 3-21 15,1 2-17-15,-1 2-9 0,1-2-29 0,-1 3-63 16,-2-1-27-16,-2 0-50 0,2-1-42 0,0 0-34 16,0-2-31-16,0-1 3 0,0-3-18 15,0-1-18-15,0-2-25 0,0-3-73 0,0-1-27 16,0-2-282-16,2 0-79 16,1-2 92-16</inkml:trace>
  <inkml:trace contextRef="#ctx0" brushRef="#br0" timeOffset="19529.93">11464 2120 611 0,'2'-19'231'0,"1"2"-47"0,0 5 110 16,-3 1 1-16,2 3-39 0,-2 0-41 0,1 4-36 15,-1 0-3-15,0 4-9 16,0 0-3-16,0 0-3 0,0 0-36 0,2 21-4 16,-2-8-96-16,0 0 9 0,-2 6-22 0,1 0-7 15,1 3-25-15,-2-2 15 0,-1 1-23 16,3 1-39-16,-2-1-51 0,2-2-30 0,-1 3-65 15,-3-3-63-15,4-3-428 16,2 0 21-16,-2-1 120 0</inkml:trace>
  <inkml:trace contextRef="#ctx0" brushRef="#br0" timeOffset="20099.75">9523 2306 988 0,'0'0'353'0,"0"0"-33"16,0 0-23-16,0 15-31 0,0-5-92 0,1 4-38 16,1 5 17-16,0 1-30 15,-2 3-26 1,3 4 1-16,-3 2 1 0,0 11 42 0,3-5 0 0,-3-4-44 0,-3-2-10 0,3 1-33 0,0-1-31 15,0-2-10-15,0-1-29 16,-3-4-17-16,3-3-44 0,0-3-28 16,0-1-25-16,0-2-36 0,0-1 25 0,0-4-23 0,3-1-8 15,-3-1-35-15,0-3-241 16,0 0-233-16,0-3 29 0,0 0 101 0</inkml:trace>
  <inkml:trace contextRef="#ctx0" brushRef="#br0" timeOffset="20311.36">9656 2228 829 0,'3'-8'333'0,"0"3"-49"0,-6 3-5 0,3 2 0 0,0 0-51 0,0 0 12 16,3 15-17-16,-3-6-41 0,0 4-8 16,0 3 0-16,2 5-16 0,-2 1 1 0,0 6-44 15,0 2 3-15,0 0-31 0,0 13 3 0,-2 2-24 16,-1-2-25-16,3 0-5 15,-3-1-28-15,1-2-31 0,-3-2-29 0,2-6-65 0,3-5-37 16,-2 0-69-16,-3-2-71 0,4-4-461 16,-1 1 20-16,2-3 44 0,0-1 77 0</inkml:trace>
  <inkml:trace contextRef="#ctx0" brushRef="#br0" timeOffset="23186.54">10452 2477 209 0,'-3'2'46'15,"3"-2"-25"-15,0 0 35 0,0 0 3 0,-3 4 18 16,3-4-18-16,0 0 12 0,0 0 47 16,0 0 10-16,-2 3 8 0,2-3 84 0,0 0 0 15,0 0-7-15,0 0-19 0,-3 2-4 0,3-2-22 16,0 0-14-16,0 0 10 0,0 0-16 16,0 0 21-16,-7 1-66 0,7-1 14 15,0 0 9-15,0 0-108 0,0 0 0 0,0 0 10 16,0 0 13-16,-6 1 13 0,6-1-42 0,0 0-4 15,0 0 23-15,0 0-18 0,0 0 12 16,0 0-20-16,0 0 26 0,0 0-21 0,16 4-2 16,-11-4-8-16,2 1 33 0,1 1-7 15,0 2 4-15,2-1-27 0,-2 0 25 0,2-1-5 16,-2 3 0-16,0 0-5 0,0-2-8 0,-1 3 6 31,0-2-24-31,1 0 29 0,-5 1-19 0,2 0-10 0,0 0-43 0,-2 0-13 0,-3 0-64 16,0 3-36-16,-3 2-130 0,-2 1-49 15,0 2-392-15,-2 3 26 16,-4 0 52-16,-2 1 127 0</inkml:trace>
  <inkml:trace contextRef="#ctx0" brushRef="#br0" timeOffset="28822.48">4232 2629 857 0,'-10'0'282'0,"-1"-1"-14"0,-6 4-17 0,-4-3-31 15,0 2 47-15,-9 1 4 0,1-1-56 16,-4 0-8-16,-1-1-5 0,-9 3-102 0,4-2-23 16,6 1 25-16,-3-2-30 0,-10 1 36 0,5-1-32 15,6 0-9-15,-2-1-1 0,2 2-17 16,-1-2 2 0,5 0 24-16,-2 0-19 0,9-2-8 0,1 4 11 0,3-4-10 0,2 4-11 0,3-4-40 15,4 1-60-15,-2 0 11 0,6 1-13 16,1-1-28-16,6 1-8 0,0 0-30 0,0 0-21 15,0 0-110-15,0 0 2 0,0 0-406 16,26 2-55-16,-13-1 62 0,0 1 31 16</inkml:trace>
  <inkml:trace contextRef="#ctx0" brushRef="#br0" timeOffset="29135.06">3796 2786 970 0,'-19'-1'368'0,"2"-1"-40"0,-4 0-24 0,6 2-37 0,-5-2-4 0,-1 0-20 0,0 2-43 0,-2-1-23 0,0 0 4 0,0-2-19 15,-3 2-14-15,4-1-25 0,3 2-23 0,1 0-3 16,1 0 3-16,1 1-36 0,1-1 8 16,2 0-34-16,2 1-38 0,1-2-33 0,0 2-41 15,2-2-49-15,8 1-72 0,-10 0-10 0,10 0-51 16,-7 1 0-16,7-1-542 0,0 0 89 16,0 0 36-16,0 0 61 0</inkml:trace>
  <inkml:trace contextRef="#ctx0" brushRef="#br0" timeOffset="29442.62">3604 2563 1000 0,'-9'-3'323'0,"0"3"-19"0,-2-3-45 0,-2 3-8 0,-4 0-34 0,-2 3-17 0,-3 0 71 0,-4 3-40 0,1 0-24 0,-2 2 0 0,-11 4-43 16,4 2-15-16,2-1-67 15,6 0-21-15,5-2-12 0,0 1 4 0,2-1-12 16,3-1 5-16,3 2-10 0,2 0 0 0,1 0 13 16,3-1-8-16,4 0-13 0,1-1-5 15,4 1 5-15,0 1-25 0,4-1 12 0,4 3-18 16,0-2 16-16,3 0-31 0,5 1-28 0,2-1-38 15,1 0-13-15,2-2-19 16,3-1-27-16,0 0-41 0,-1 1-83 0,-2-4-76 0,3 1-130 16,-3 0-274-16,-3-1 43 0,0 0 130 0,-1-1 42 15</inkml:trace>
  <inkml:trace contextRef="#ctx0" brushRef="#br0" timeOffset="36513.92">7488 3141 1118 0,'-3'-2'333'0,"3"2"-36"0,0 0-3 0,-5 6-35 0,5-1-19 16,0-1 1-16,0 4-57 0,-3 0 6 0,3 1-24 15,-2 2-38-15,2 0 8 0,-2 3-16 16,1-1-5-16,-1 0-15 0,-1 1-3 0,0 1-25 15,1-1 12-15,-1-1-12 0,1 2-3 0,-1-4-2 16,-2 1-29-16,5-1 0 0,-3-1 24 16,1-2-8-16,0 1-31 0,2-3 25 0,0 2-27 15,-3-4 33-15,3 1-21 0,0-5 18 16,0 4-15-16,0-4 18 0,0 0-19 0,0 0 6 16,0 0-7-16,0 0-6 0,10-11 8 15,-7 6 2-15,2 0-15 0,-3 1 18 0,3-2-23 16,1 1 23-16,-1-1 2 0,0 1-30 31,0 1 5-31,0 1-5 0,1 1 13 0,1 0-9 0,-2 2 19 0,3 2-38 0,0 0 17 0,-3 2 0 16,2 2 3-16,-1 1-12 0,-1-1 29 0,2 2-27 15,-2 2-13-15,-1-1 5 16,0 2-28-16,-1-3 12 16,0 2-25-16,-1-1-40 0,0 0-45 0,-2-1-7 0,0 0-51 0,3-1-59 15,-3-1-103-15,0-3-89 0,3 2-441 0,-1-1 124 16,0-3 12-16,-2-1 69 0,0 0 93 0</inkml:trace>
  <inkml:trace contextRef="#ctx0" brushRef="#br0" timeOffset="36668.1">7695 3338 1021 0,'0'0'350'0,"0"0"-9"0,0 0-34 0,0 0-25 15,0 0-39-15,0 0-5 0,6 9-31 0,-6-3-33 16,0-2 0-16,0 2-33 0,0-1-56 15,0 0-14-15,0 1-78 0,-3 2-73 16,2-1-194-16,-1 0-558 0,0 0 126 0,-1 0 15 16,0-3 61-16</inkml:trace>
  <inkml:trace contextRef="#ctx0" brushRef="#br0" timeOffset="36823.9">7662 3312 522 0,'2'-6'74'0,"-2"6"-79"0,3-3-517 15</inkml:trace>
  <inkml:trace contextRef="#ctx0" brushRef="#br0" timeOffset="37094.37">7770 3265 990 0,'0'0'335'0,"0"0"-15"0,0 0-12 0,0 0-42 16,-11 11-5-16,9-6-41 0,2 0 0 15,0-1-46-15,0 3 8 0,2 2-16 0,-2-2-22 16,3 2-11-16,0 1-28 0,-1-2 0 16,3 5-21-16,-2-3 11 0,2 0-26 15,-5-1-3-15,3 0 21 0,-1 0-15 0,0 0-13 16,-1-1-21-16,-1 0 9 0,0-1-17 0,-1 0 3 15,-1 0-2-15,-3-1-18 0,2-1-13 16,-1 1-3-16,1-3-32 0,-3 2-34 0,-1-3-31 16,4 0-8-16,-2-1-68 15,5-1-73-15,0 0-132 0,-13-3-418 0,11 0 75 0,0-2 43 16,2-1 41-16,2-2 110 0</inkml:trace>
  <inkml:trace contextRef="#ctx0" brushRef="#br0" timeOffset="37278.75">7836 3199 1031 0,'3'-4'371'0,"-3"4"-23"0,3-5-51 0,-3 5 8 0,0 0 7 16,0 0-33-16,0 0-23 0,10 13-49 15,-8-7 60-15,1 3-29 0,2 0 5 0,-2 2-49 16,2-1-17-16,0 2 0 0,0 2-31 0,-2 0-18 16,1 0-16-16,2 0-61 15,-2 3-33-15,0-1-31 0,0-2-35 0,-1-1-32 0,0 0-60 16,0 0-52-16,-1-2-149 0,-2 0-102 0,2-1-417 15,1 0 69-15,-3-2 54 16,3-1 77-16,-1 0 74 0</inkml:trace>
  <inkml:trace contextRef="#ctx0" brushRef="#br0" timeOffset="38224.4">7893 3379 1039 0,'0'0'440'0,"5"-7"-56"0,0 5-38 0,0 0-27 0,0-2-40 0,0 3-33 0,3-5-18 15,0 2-39-15,0 0 14 0,2 0-32 16,-3-1-2-16,-1 2-10 0,2 0 12 15,-1 1 3-15,-2-1-69 0,0 0 3 0,0 2-13 16,-3-2-11-16,-2 3 29 0,6-3-8 0,-6 3-26 16,5-3-7-16,-5 3 15 0,0 0-39 0,0 0 14 15,0 0-9-15,0 10-7 0,-2-6-7 16,1 1-1-16,1 0-2 0,0 1-18 0,0 1-5 16,1 3-23-16,1-4 4 0,-2 2 1 15,3 0-41-15,0-2 18 0,1 3-8 16,2-2-5-16,-2-2 8 0,2 0 7 0,2-1-30 0,-1 0 36 15,-1-1-24-15,3-2 16 0,-3 1 18 16,1-2-29-16,-7 0 21 16,13-3 31-16,-6 0-36 0,1-1 10 0,-2 0 6 0,-4-1 30 15,1 2-41-15,2-2 28 0,-2-2-10 16,-3 4-2-16,0-3-9 0,0-1 9 0,-3 1-24 0,3 0 29 16,-3 0-14-16,1 0 14 0,-3 0 7 15,2 1 6-15,0-1-16 0,-1 3-11 0,1-2 17 16,0 0-35-16,1 3 1 0,-1-2-5 15,3 4 2-15,-5-5 3 0,3 2-10 16,2 3-1-16,0 0 21 0,-3-1-7 0,3 1-6 16,0 0 8-16,0 0 13 0,0 0-3 0,0 0 3 15,0 0 17-15,0 0-7 0,0 0-10 0,10 8-3 16,-5-6 11-16,-2 1-11 0,2-1-2 0,-2 3 15 16,4-3-13-16,-4 2 0 0,2 2 8 46,2-1-3-46,-1 0 6 0,-1 0 2 0,2 1-5 0,-4 0-3 0,2 0 8 0,0 0 15 0,-2-1-10 0,2 2-10 0,-2-4 3 16,-1 1 40-16,-1 2-28 0,3-2 8 0,-4-1 3 0,3 1-1 16,-3-4 19-16,3 5 14 0,-3-5-1 15,2 1 24-15,-2-1-17 0,0 0 8 0,0 0 7 16,0 0-13-16,0 0 16 0,5-10-13 16,-5 4-8-16,0 1-9 0,3 1-4 0,-3-2 34 15,2 0-28-15,0-1-29 0,-2 1 24 0,4 0-32 16,-4 1 19-16,4-1-23 0,-3 1-13 15,1 1-26-15,1-1-2 0,-1 1-42 0,1 1 4 16,-1 0-21-16,-2 3-16 0,6-2-35 16,-2-1 17-16,-4 3-15 0,6-2-2 0,-6 2 23 15,8 2 12-15,-8-2 16 16,7 1 5-16,-2 1 21 0,-5-2-19 0,8 3 47 16,-6-1 7-16,1 1 21 0,2 1 5 0,-2-1 35 0,-1 1 16 15,1 2-20-15,2 0 10 0,-3 0 0 0,1-2-3 16,0 1-5-16,-1 0-12 0,0 0 24 15,2 1-29-15,-2-2 7 0,0 0-16 0,-2 2-38 16,0-2 13-16,0-1-61 0,0 1-39 16,0-4-49-16,0 6-130 0,-4-3-89 0,4-2-436 15,0-1 82-15,0 0 31 0,0 0 92 0,0 0 79 16</inkml:trace>
  <inkml:trace contextRef="#ctx0" brushRef="#br0" timeOffset="38330.61">8331 3276 575 0,'3'-1'131'0,"-1"-3"-44"0,-2 4-105 0,6-6-69 0,-4 4-448 15</inkml:trace>
  <inkml:trace contextRef="#ctx0" brushRef="#br0" timeOffset="38881.78">8383 3297 1016 0,'0'6'363'0,"-3"-1"-15"0,3 1-48 16,0 0-34-16,0 0-25 0,3 2-34 0,-1-2-7 16,0 1-3-16,1 2-34 15,2-4-58-15,1 2 6 0,-1-3-42 0,2 0-16 16,1-1-22-16,2 0-36 0,1-2 5 0,-1 1-18 16,2-2-25-16,-1-1 4 0,4-1-27 0,-2 1 7 15,0-2 38-15,-1 0-20 0,-4 0 36 16,2 0 31-16,-2-2-13 0,-3 4 45 0,3-4 9 15,-3 3 20-15,-2-1-3 0,-1 0 1 16,-2 3-21-16,3-4-13 0,-3 4 18 0,0 0 11 16,0 0-32-16,0 0-12 0,0 0 18 0,0 0 0 15,0 0-6-15,0 0-20 0,0 0 1 16,0 0-22 0,-10 11 6-16,10-11 20 0,-3 2-35 0,3-2 4 0,0 5-25 0,0-5 16 0,3 4-24 15,-3-4 21-15,5 2-21 16,-5-2 33-16,5 3-27 0,0-1-3 0,0-1 15 0,-5-1-15 15,7 2 10-15,-1-2 0 0,2 0-5 16,-8 0 5-16,12 0 15 0,-7 0-9 0,1-1 4 16,2-1-13-16,2-1 21 0,-3 0-7 0,1-1 17 15,0 2 8-15,2-5 13 0,0 0-16 16,0 0 39 0,-2-1-8-16,2-1 13 0,-2 0-3 0,0-1 18 0,-1 1 24 0,1 0-86 15,-3-3 37 1,1 1-29-16,1 4 50 0,-4-1 24 0,2 2-48 0,-2 0 29 0,-1 2-22 0,0 1-4 15,1 0 2-15,-3 3-2 0,0 0-1 16,0 0-19-16,0 0-4 0,3 11 11 16,-3-5-5-16,-3 0 5 0,3 2-11 0,0 0-15 0,0 0-56 15,0 1-7-15,3 2-32 16,-1 0-20-16,0 2-23 0,2-2-48 0,-2-1-68 0,1-1-163 16,2 0-496-16,-2 1 66 0,-1-3 107 15,3-1 78-15,0-2 27 0</inkml:trace>
  <inkml:trace contextRef="#ctx0" brushRef="#br0" timeOffset="39066.75">9018 3322 1302 0,'5'7'484'0,"-4"-3"-36"0,1 0-5 15,0 1-39-15,1 0-20 0,-3 4-56 0,0-1-23 0,0 1-29 16,0 1-25-16,-3 1-51 15,1 2-39-15,-1 0-41 0,-4 1-99 0,2 2-78 16,-5-2-109-16,2 1-246 0,-2 1-507 0,2-2 31 31,-2 2 122-31,1-3 80 0,2-5 80 0,0 3 48 0</inkml:trace>
  <inkml:trace contextRef="#ctx0" brushRef="#br0" timeOffset="40813.55">9516 3145 1256 0,'-1'-4'415'0,"1"4"-52"0,0 0-35 15,0 0-23-15,0 0-26 0,13 10-11 16,-10-5-35-16,4 2-107 0,-1 1-8 0,-1 1-3 0,2 1-23 16,-4 0-23-16,2 3 36 0,-2-1-36 15,-1 1-5-15,-2-1-13 0,3 0-15 0,-3 0-10 16,0-2 10-16,0 1-8 0,-3 0 0 0,3-2-15 15,3-1-6-15,-6 1-2 16,6-3 13 0,-6 0 21-16,3-3 17 0,0 0 3 0,0-3 0 0,0 0 10 0,0 0-8 0,0 0 14 15,0 0 4-15,0 0-25 16,0 0-3-16,0-15-2 0,0 7 4 0,3 2-12 0,0-6 3 16,-1 3-6-16,4-3-15 0,-2 0-5 15,2 1-3-15,-1 0-12 0,2-2-13 16,-1 3-44-16,-1 1-18 0,0 0 6 0,2 2-55 15,-1 0-12-15,-2 3-43 0,2-1-60 0,-1 5-48 0,2-2-92 16,-1 4-182-16,-6-2-287 0,11 2 98 0,-4 2 114 16,-2 0 14-16</inkml:trace>
  <inkml:trace contextRef="#ctx0" brushRef="#br0" timeOffset="41163.28">9797 3297 1049 0,'6'-8'394'0,"-3"2"-35"0,2-1-42 0,-1 1-28 15,-4-2-2-15,3 3 0 0,-3-2-14 0,3 1-32 16,-3-1-23-16,0 1-11 0,2 1 3 0,-2 0-98 16,0 2-30-16,1-1 5 0,-1 4-10 15,0 0-18-15,-3-6 0 0,3 6 18 0,0 0-13 16,0 0-36-16,-10 8 21 0,7-4 45 15,0 2-4-15,1-1 7 0,-3 2-20 0,4-1 5 16,-1 0-21-16,0 1-10 0,2-2-10 0,0 2 16 16,0-1-29-16,0 0 26 0,2 1 10 15,-2-2-47-15,2-1 7 0,1 1-1 0,0-1-36 16,0 2 8-16,2-4-24 0,-1 0-35 0,2 2-12 16,-1-3 9-16,0 0-76 15,2 2-18-15,4-3-62 0,-4 1-84 0,1-2-144 0,3 1-463 16,-3 1 108-16,2-1 18 0,0 0 148 0,-5 0 15 15</inkml:trace>
  <inkml:trace contextRef="#ctx0" brushRef="#br0" timeOffset="42029.62">10093 3171 826 0,'0'0'320'0,"-11"1"-7"0,11-1-37 15,-7 5-38-15,1 0-87 0,1-3-10 16,-3 4 18-16,4-2-42 0,-2 2 11 0,-1 0 46 16,2 2-23-16,-1-2 0 0,1 1-7 15,0 0-42-15,2 0 16 0,1 0-23 0,0 2 9 16,-1-4-27-16,3 2-5 15,0-1 7-15,3 0-15 0,-1-3-15 0,3 3-11 0,0-2 11 16,0-2-16-16,3 2-7 0,2-3 5 16,-2-1-29-16,2-1 13 0,3 1-7 0,0-3 13 15,-3 0-3-15,3 0-24 0,0 0 37 16,-3-4-13-16,0 1-21 0,0 1 21 0,-2 0-2 0,0-1 22 16,-3 2 3-16,-2-1 10 0,2-1 3 15,-3 2 7 1,1 1-4-16,0-2-6 0,-3 1-7 0,0 4-14 0,0-3 27 0,0 3-29 0,0 0-5 15,0 0 7-15,0 0-19 0,0 0 17 16,0 0-15-16,-13 6-3 0,10-3-8 16,1 1 16-16,1-1-23 0,-1 2 5 0,-1-1-2 15,1-2-24-15,2 3 11 0,-2-2 12 0,2-3-22 16,0 9 4-16,-1-7 3 0,1-2-5 16,3 4-8-16,-3-1 21 0,2 0 5 0,-2-3 0 15,3 3-10-15,-3-3 22 0,3 4-17 0,-3-4 2 16,5 2 3-16,-5-2 0 0,5 3-3 15,-5-3-9-15,5 1 14 0,-5-1 0 0,5 1-2 16,-5-1-8 0,5 1 24-16,-5-1 4 0,0 0-30 0,8 1 10 0,-3 2 5 0,-5-3-6 15,0 0 22-15,0 0-19 0,8 0 3 16,-8 0-2-16,0 0-19 0,0 0 31 0,0 0 8 0,10-3-18 16,-10 3 18-16,3-2-23 15,-3 2 13-15,4-2-11 0,-4 2 3 16,6-3 0-16,-6 3-7 0,5-2 19 0,-5 2-22 0,5-4 28 15,-5 4-13-15,2-1-2 16,-2 1 12-16,6-2-17 0,-6 2 22 0,0 0-7 0,0 0 7 16,7 0 14-16,-7 0-24 0,0 0-8 0,8 1 24 15,-8-1-18-15,5 2-1 16,-5-2-22-16,8 2 23 0,-8-2-21 0,5 2 5 0,-5-2-35 16,8 1 9-16,-4-1-30 0,-4 0-23 0,9 0 3 15,-2 0-108-15,-7 0 33 0,11 0-58 16,-3 0-55-16,-4-3-94 0,4 1-466 15,-3 1 88-15,0 0 55 0,3-3 87 0</inkml:trace>
  <inkml:trace contextRef="#ctx0" brushRef="#br0" timeOffset="42218.31">10462 3112 1023 0,'2'-10'336'16,"-2"-1"35"-16,0 5 10 0,1 0-56 0,-1 2 3 15,0 0-36-15,0 4-8 0,0-5-46 16,0 5-26-16,0 0-4 0,0 0-27 15,0 0-4-15,2 13-5 0,0-4-55 0,-2-1 9 16,0 1-16-16,3 1-95 0,-1 0-2 0,-1 4-13 16,1-2-23-16,1 1-51 0,-1 0 12 0,1 0-76 15,-1 0-46-15,1-1-88 0,0 0-132 16,-3 0-461-16,2-3 79 0,0 1 41 0,-1-3 77 16,1 3 77-16</inkml:trace>
  <inkml:trace contextRef="#ctx0" brushRef="#br0" timeOffset="42907.66">10472 3241 1218 0,'0'0'374'0,"-3"-1"-65"0,3 1-22 0,0 0-13 0,0 0-36 0,0 0-38 0,0 0-42 0,11-7-45 0,-6 6-36 16,0 0-67-1,2-2-38-15,-1 1-39 0,2-2-68 0,-1 1-6 0,1-2-18 0,2-1-23 16,3-1 13-16,-5 0 62 0,2 0 12 0,0-1 90 16,0 0 51-16,0-1 77 0,-2 0 31 15,0 0 2-15,0-1 15 0,-1 2 8 0,-1 1 19 16,-2-2 1-16,2 3-4 0,-1 0 15 0,-2-1-8 16,-1 4 0-16,0-2-46 0,-1 3-18 15,-1 2-15-15,5-4-15 0,-5 4 4 16,0 0-4-16,0 0-21 0,0 0-13 0,2 12-2 15,-2-5-26-15,-2-1 18 0,2 1-26 16,0 3 14-16,0-3-24 0,0 1 2 0,0 2-4 16,2-1-16-16,-2 1-43 0,3 0-5 0,-3-1-19 15,2-1-17 1,3 1-28-16,-4-2 12 0,4 0 16 0,-3-1-6 0,1-3 34 0,2 2-7 16,0-3 35-16,-3 0 15 0,4-1-7 0,-6-1 18 15,10 1 17-15,-10-1 29 0,8-2-3 16,-3 0-23-16,0 1 13 0,-5 1 28 15,7-6-33-15,-1 5 8 0,-1-1-14 0,-2 1 9 0,1-2-16 16,-4 3 5-16,8-1 21 0,-3 0-42 16,0-1 9-16,-5 2-1 0,8-2-7 15,-8 2-13-15,8 2 15 0,-3 0-20 0,0 0 30 16,0 2-22-16,1-1 14 0,-1 1-24 16,2 1 9-1,-4 1 39-15,2 1-31 0,0-3 15 0,0 3-9 0,-4 0 17 0,1 1 20 0,-2 0 1 16,0 0-8-16,-2 1-3 0,-2 2 11 0,0-2 5 15,1 1-85 1,-2-1 34-16,0-1-14 16,0-3 73-16,2 2 10 0,1-2-19 0,-1 0 109 0,0-3-29 0,3-2-8 0,-5 3-10 0,5-3-5 15,0 0-23-15,0 0-35 16,5-13 12-16,-2 7-47 0,2-4-17 0,3 2-35 16,-1-5-37-16,3-3 5 0,4 1-55 0,-2-3-14 15,4 0-25-15,-1 3-65 0,1-3-40 0,1 5-97 16,-3 1-121-16,0 2-466 0,-1 2 54 15,0 2 123-15,-2-1 57 0,-1 2 114 0,0 1 47 16</inkml:trace>
  <inkml:trace contextRef="#ctx0" brushRef="#br0" timeOffset="43071.05">11187 3143 1059 0,'0'0'384'0,"6"-4"-31"0,-6 4-12 15,0 0-44-15,4-1-39 0,-4 1-15 16,0 0-51-16,3-5-48 0,-3 5-34 0,0 0-62 15,0 0-24-15,0 0-109 16,0 0-176-16,-18 8-561 0,11-4 111 0,-1 1 102 0,-2-1 20 16</inkml:trace>
  <inkml:trace contextRef="#ctx0" brushRef="#br0" timeOffset="48522.68">4953 4339 1085 0,'-8'0'368'0,"8"0"11"0,0 0-56 0,0 0-47 0,0 0 1 16,0 0-32-16,18 8-30 0,-6-5 3 16,0-1-62-16,4 2 0 0,0-2-15 15,4 3-28-15,3-1-14 0,-2-2-6 0,2 1-50 16,-3 0-22-16,3-2-29 0,-2 0-33 0,-4 3-46 16,2-3-61-16,-3 1-73 0,-2-4-109 15,-1 4-517-15,0 1 97 0,-5-2 59 0,-1 1 74 0</inkml:trace>
  <inkml:trace contextRef="#ctx0" brushRef="#br0" timeOffset="48741.03">4891 4452 982 0,'0'0'318'0,"-3"5"-21"0,3-5-23 0,0 0-105 0,13 4 15 0,-3-3-20 0,3 0-13 0,2 1-16 16,3 1 55-16,3-2-44 0,2 1 2 0,2-2-12 16,1 4-21-16,2-4 3 0,-2 0-21 15,2 0-20-15,-2 0-23 0,-1-3-31 16,-2 3-11-16,-2-1-37 0,-3 0-34 0,0 0-84 16,-3 0-83-16,0-4-89 0,-2 4-478 15,0-2 84 1,-5 1 56-16,0-3 59 0</inkml:trace>
  <inkml:trace contextRef="#ctx0" brushRef="#br0" timeOffset="49108.27">5187 4259 1069 0,'-2'-2'366'0,"2"2"-17"15,0 0-42-15,0 0-26 0,0 0-32 0,0 0-16 16,23 2-29-16,-10 2-12 0,0-2-10 0,2 2-41 16,3 2-8-16,0 0-8 15,2-3-7-15,1 3-23 0,0 1-8 0,2 2-13 0,-2-3-10 16,-4 1 15-16,1-1-12 0,0 0-13 0,-5 0 17 16,0 0-35-16,0 1 10 0,-3-1 16 15,-2 0-29-15,-3-1 23 0,0 3-15 16,0-1-13-16,-5 1 6 0,0-1 30 0,-2 3-36 15,-1-1 8-15,-5 2-24 0,0 2 14 16,-2-2 5-16,0 3-21 0,0-1-13 0,-1-2-14 16,-4 6-30-16,2-4-17 0,0 1-23 0,-2 3-23 15,2-3-66-15,0 3-57 0,1-6-102 0,-3 5-564 16,6-4 98-16,-3 1 43 0,1-1 136 16,1 1 8-16</inkml:trace>
  <inkml:trace contextRef="#ctx0" brushRef="#br0" timeOffset="61116.55">5757 4452 1126 0,'0'0'414'0,"-5"2"-27"0,5-2-44 16,0 0-36-16,0 0-33 0,0 0-13 15,5-10-100-15,-2 4-12 0,0 1-8 0,4-3-8 16,-2 1-21-16,3-2 19 0,0 0-31 15,-1-1 10-15,1-3 13 0,2 3-18 0,0-1 0 0,0-1 5 16,-1-1-13-16,0 3 8 0,-1 1-28 16,-3 1 58-16,1 0-22 0,1 1-21 15,-2 1-15-15,1 0-13 0,-2 4 2 0,2-2-17 0,-3 2-11 16,-3 2 8-16,9 0-20 0,-9 0 33 16,11 2-46-16,-6 0 30 0,0 2-4 0,-2 0-6 15,2 2-23-15,0-1-12 0,2 0-4 16,-1 0-1-16,-1 2-6 0,0-1 3 0,0 0-11 15,0-2 3-15,0 2-10 0,3 1-15 16,-5-2 22-16,2-1 11 0,-2 1 5 0,1-1 7 16,1-2-14-1,-2-1 9-15,2 2-15 0,-5-3 21 0,7-2-21 0,-7 2 33 0,11-4-5 0,-6 0-7 16,0-1 40-16,1 1-25 0,1-2-10 16,-2-3 10-16,1 0-3 0,-2 2 24 15,2-3-24-15,-1 2 6 0,2 1 7 0,-1-3-8 31,-2 3-12-31,2 1 20 0,-1 0-31 0,0 1 6 0,-2 2 25 0,1-1-28 0,0 1 21 16,0 0-3-16,-4 3-3 0,10 0 0 0,-10 0-2 16,8 4-8-16,-2-2-2 0,-1 2-13 15,0-1-1-15,2 1 19 0,-1 2 2 16,-1-4-7-16,2 3-8 0,1 0 23 0,-3-2-21 0,1 2 23 16,1 0-30-16,-4-3 13 0,1 2-8 0,2-2 0 15,-4 1-1-15,1-1 1 0,2-1 10 16,-5-1 3-16,10 0 7 0,-10 0 3 0,13-3-15 15,-5-2 28-15,2 0-3 0,3-3 36 0,0-1-39 16,4-4-4-16,2 0 30 0,1-1-7 16,-2-2-9-16,8-6 9 0,-3 0 2 0,2 1-5 15,-1 1-15-15,-2-2 20 0,-1 3-16 16,-3 5-17-16,5-6 23 0,-3 3-28 0,-2 3 25 16,1 1-2-16,-4 1-11 0,0 0-22 0,1 1 14 15,-3 2 11 1,-1-1-12-16,-2 2-1 0,-1 2 8 0,1-3-13 0,-3 1 26 0,1 2-13 15,-1 1-3-15,-1-1-10 0,-1-1 18 0,1 4-18 16,-2-3 3-16,1 1 10 0,0 3-8 16,-2-3 3-16,0 1 0 0,-1 1-13 0,1-1 12 15,-1 2 11-15,3-2-10 0,-5 4-31 16,3-3 41-16,0 0-15 0,-3 3 36 0,4-2-39 16,-4 2 5-16,1-5-13 0,-1 5 16 15,5-2-23-15,-5 2 10 0,2-3 5 16,-2 3 26-16,0 0-36 0,0 0 17 0,0 0 4 0,3-3 20 15,-3 3-21-15,0 0-10 0,0 0 8 0,0 0 5 16,0 0 10-16,2-3-18 16,-2 3 8-16,0 0 15 0,0 0 47 0,0 0-88 0,0-3 13 15,0 3 0-15,0 0-17 0,0 0 35 0,0 0 48 16,0 0-4-16,3-4 7 0,-3 4-23 16,0 0 39-16,0 0-44 0,0 0-3 0,0 0 6 15,0 0-18-15,0 0 7 0,0 0 13 16,0 0-38-16,0 0-13 0,0 0-25 0,0 0-42 15,0 0-40-15,-3-7-32 0,3 7-48 16,0 0-58-16,-2-2 2 0,2 2-44 0,0 0-43 16,0 0-72-16,-3 0-187 0,3 0-450 0,-7 3 122 15,4 0 73-15,1 3 91 0,-4-2 90 0,1 1 92 16,-2 1 29-16</inkml:trace>
  <inkml:trace contextRef="#ctx0" brushRef="#br0" timeOffset="62862.71">5814 4639 901 0,'-3'4'353'0,"3"-4"-3"16,0 0-24-16,-3 2-17 0,3-2-48 0,0 0-64 16,0 0 6-16,0 0-32 0,0 0 11 0,0 0-44 15,0 0 16-15,0 0-26 0,8-7 18 16,-6 2-34-16,6-1 3 0,-2 0 1 0,1 0-35 15,3-1 9-15,1-1-3 0,-1 2 10 0,0-4-38 16,1 2 28-16,-1 1-30 0,0 1 30 16,1-1-23-16,-1 1-18 0,0 1 18 0,0 0-34 15,-2 2 11-15,-1 0-18 0,1 3 18 0,0 0-10 16,0 2 2-16,-1-1-7 0,0 2-13 16,1 1 2-16,0-2 3 0,-3 3 13 0,1 0-19 15,-1 1 4-15,2-3-3 16,-2 2-18-16,0 1 28 0,1-1-11 0,-4-1 6 0,3 0-2 15,-2 1-6-15,2-3 0 0,-3 2 3 16,1-2-18-16,2 0 7 0,1 1 3 0,-2-2 1 16,-4-1 4-16,9-1-2 0,-9 1 4 0,12-3 1 15,-6 0 15-15,0 1-15 0,2-1 31 16,-2-1 7-16,1 1-3 0,-1-1 14 16,1 0-39-16,-2 4 26 0,0-4 4 0,0 2-22 0,-2-1 20 15,2 1-23-15,-5 2 6 31,10-1-6-31,-10 1 23 0,8 1-25 0,-8-1-9 0,10 5 12 0,-7-5-9 0,2 2 16 0,-2-1-8 16,1 2 5-16,0-1-30 0,0-1 25 0,-1 2-10 16,2-2 26-16,-5-1-19 0,8 1 16 15,-8-1 85-15,10 0-14 0,-5-1 31 0,-2-2-17 16,4 1-19-16,1 0 3 0,0-2-25 0,0 1-21 16,-1-1 8-1,-1 0-83-15,2 2 1 0,-2 0 10 0,3-1-23 0,0 2 23 16,2 0-2-16,-3 2 7 0,2 0-13 0,0 2 18 0,3-1-12 15,-3 3-24-15,0 1 29 0,0 0 7 0,1-2-46 16,2 3 49-16,-3 0-3 16,1-2-10-1,1 2-10-15,-1-3 0 0,1 2 33 0,-2 1-18 0,4-1 10 0,-2-1-20 0,-2-1 31 16,1 0-32-16,1 0 27 16,-2-2-21-16,-1 3 18 0,1-4-18 0,0 2 43 0,0-1-9 15,-2 0-24-15,2 1 18 0,-2-3-7 16,-1 2-6-16,1-1 26 0,2 1-8 0,-4-1 18 0,1-1-33 15,-1 1 0-15,1 0-3 0,-7-1-7 16,10 0 10-16,-10 0 23 0,8 0-10 0,-8 0-26 16,7 2 15-16,-7-2-20 15,6 2 52-15,-6-2-19 0,5 1-33 0,-5-1 20 0,0 0-4 16,7 0 32-16,-7 0-7 0,0 0-2 16,3 1 25-16,-3-1-62 0,0 0 26 0,0 0-2 0,5 1-59 15,-5-1 58-15,0 0-14 0,0 0-11 16,0 0 0-16,0 0 0 0,0 0 0 0,0 0 0 15,0 0 0 1,0 0 0-16,0 0 0 0,0 0 0 0,8 0 0 0,-8 0 0 0,0 0 0 16,0 0 0-16,0 0 0 0,0 0 0 15,0 0 0-15,0 0 0 0,0 0 0 0,0 0 0 16,0 0 0-16,0 0 0 0,0 0 0 0,0 0 0 31,0 0 0-31,0 0 0 0,0 0 0 0,0 0 0 0,0 0 0 0,0 0 0 0,8 0 0 16,-8 0 0-1,0 0 0-15,0 0 0 0,0 0 0 0,0 0 0 0,0 0 0 0,0 0 0 16,0 0 0-16,0 0 0 0,0 0 0 0,0 0 0 16,0 0 0-16,0 0 0 0,2 3 0 0,-2-3 0 15,3 3 0-15,2 0 0 0,-2-1 0 16,1 0 0-16,-1 1 0 0,2-1 0 16,1 2 0-16,-2-1 0 0,4 1 0 0,-3-2 0 0,3 3 0 15,-2-1 0-15,1-1 0 0,0 1 0 0,1-1 0 16,0 1 0-16,0-1 0 15,-3 0 0-15,0-1 0 0,2 1 0 0,-1-1 0 16,-2-1 0-16,2 3 0 0,-1-3 0 0,0 0 0 0,-5-1 0 16,8 3 0-16,-5-2 0 0,-3-1 0 15,7 0 0-15,-7 0 0 16,8 1 0-16,-8-1 0 0,5 2 0 0,-5-2 0 0,0 0 0 16,8 0 0-16,-8 0 0 0,0 0 0 0,0 0 0 15,0 0 0-15,0 0 0 0,0 0 0 0,7 0 0 16,-7 0 0-16,0 0 0 15,0 0 0-15,0 0 0 0,0 0 0 0,0 0 0 0,0 0 0 16,-12-7-108-16,9 7-314 0,3 0-131 16,-10-1-648-16,4 1 88 0,2-1 150 0,-4-1 67 0,8 2 95 15,-11-4 115-15,4 4 16 16,2-3 73-16</inkml:trace>
  <inkml:trace contextRef="#ctx0" brushRef="#br0" timeOffset="65909.17">7416 4198 1200 0,'0'0'397'0,"0"0"-39"0,0 0-51 0,0 0-17 0,20 2-19 16,-9-2-13-16,4 0-50 0,0 0-37 0,1 0 1 15,2 0-19-15,-1 0-61 0,1-2-10 0,3 2-82 16,-3-1-38-16,2-1-31 0,-1 1-87 15,-4 1-59-15,0-1-103 0,-2 1-506 0,0 1 100 16,-3-1 2-16,-3-1 97 0</inkml:trace>
  <inkml:trace contextRef="#ctx0" brushRef="#br0" timeOffset="66128.05">7552 4257 806 0,'0'0'279'0,"-3"5"-18"0,3-5-41 0,0 0 51 0,3 4-15 0,-3-4-43 16,7 3 4-16,1-1-48 0,0-1 18 0,2 2-31 15,0-3-15-15,1 0-36 0,1 0-18 16,1 0-49-16,2-2-73 0,1 2-55 0,-1-2-135 16,-2 0-287-16,2 1-246 0,1-3 105 0,-3 3 57 15</inkml:trace>
  <inkml:trace contextRef="#ctx0" brushRef="#br0" timeOffset="66428.59">7670 4090 980 0,'0'0'381'0,"0"0"-38"0,0 0-10 0,15 6-128 0,-3-2-16 16,-1 0-20-16,5 4-26 0,2-4-4 15,2 3-6-15,-2 1-23 32,3 0 15-32,-1 2-38 0,-2-2 5 0,0 0-4 0,-3 2-22 0,-2-3-5 0,-3 1 19 0,-2 2-24 15,-3 0 11-15,-5 1 4 0,-3 1-27 0,-5 1-16 16,-2 5-20-16,-7-1-26 0,-4 8-31 0,-4-3-71 15,2 1-90 1,-3 1-151-16,3 1-453 0,-1-3 69 0,1 0 80 0,3-4 94 0</inkml:trace>
  <inkml:trace contextRef="#ctx0" brushRef="#br0" timeOffset="75406.64">7449 4299 788 0,'-7'0'235'0,"7"0"9"0,0 0-24 15,-10 0-36-15,10 0-13 0,0 0 70 0,-8-2 5 16,8 2-18-16,0 0-36 31,0 0-26-31,0 0 11 0,-8 0-26 0,8 0-13 0,0 0-18 0,0 0 13 0,0 0-30 0,0 0-6 16,0 0-10-16,0 0-10 0,0 0-26 15,26-1 15-15,-19 1-22 0,-1 0 10 0,4 0-18 0,0-2 10 16,0 2-21-16,0 0-25 0,1-2 0 16,1 2-13-16,-2-2-48 0,1 1-8 15,2-1-10-15,-2 0-24 0,-1 0-43 16,2 0-25-16,-2 2-26 0,0 0-21 0,-1 0-40 0,1-3-6 15,-2 1-33-15,2 2-425 0,-5-1 75 16,3 2 83-16</inkml:trace>
  <inkml:trace contextRef="#ctx0" brushRef="#br0" timeOffset="76925.27">7775 4156 622 0,'0'0'276'0,"-8"-9"-33"16,8 9-2-16,0 0-36 0,-5-3-75 15,5 3-15-15,0 0 18 0,-5-3-28 16,5 3 26-16,-5-1-21 0,5 1 56 0,-6-2 11 15,6 2-16-15,-7-3-35 0,7 3 7 0,-8-2 5 16,3 1-38-16,5 1-3 16,-10-1-13-16,5-2 16 0,-1 2-23 0,6 1 13 0,-10-1-26 15,5 0 12-15,5 1-32 0,-10-2 10 0,5 0 5 16,5 2-16-16,-8-1 13 0,8 1-20 16,-8-2 28-16,3 0-28 0,5 2 10 0,-8-1-13 15,4 0-7-15,4 1 7 0,-6-1-2 16,6 1-3-16,0 0 8 0,-10-1 5 15,10 1-33-15,0 0-13 0,-5-3 15 0,5 3-3 16,0 0-4-16,0 0 28 0,-5-1-36 0,5 1-1 16,0 0 22-16,0 0-24 0,0 0 24 15,-5-2-4-15,5 2-17 0,0 0 10 0,0 0 11 16,0 0-4-16,0 0-1 0,-5-2-14 0,5 2 24 31,0 0-24-31,0 0-5 0,0 0 26 0,0 0-23 0,0 0 5 0,0 0-5 0,0 0 33 16,0 0-33-16,0 0 10 0,0 0 5 0,-3-3 14 15,3 3-32-15,0 0 5 0,0 0 21 16,0 0-31-16,0 0 3 16,0 0 2-16,0 0 6 0,0 0 2 0,0 0-10 0,0 0-1 0,0 0 14 15,0 0 0-15,0 0-14 0,0 0 34 16,0 0-25-16,0 0-8 0,0 0-1 16,0 0-22-16,0 0 23 0,0 0-39 0,0 0 8 15,0 0 8-15,0 0-23 0,0 0-29 16,0 0-40-16,0 0 4 0,0 0-50 0,0 0-26 15,0 0-41-15,10 8-44 0,-10-8-74 0,0 0-417 16,5 4 113-16,-2-3 2 0,-3-1 21 16</inkml:trace>
  <inkml:trace contextRef="#ctx0" brushRef="#br0" timeOffset="103612.98">22345 620 967 0,'-6'-3'448'0,"0"2"-44"0,-2-2-78 0,2 0-42 16,2 1-10-16,-2-1-19 0,3 2-22 15,3 1-33-15,-7-4-26 0,7 4-23 16,-5-3 13-16,5 3-26 0,-2-2-12 0,2 2-11 16,0 0-3-16,0 0-1 0,0 0-37 0,0 0-5 15,10-4 18-15,-10 4-33 0,11 0 12 0,-5 0-22 16,0 0-3-16,2 0-6 0,-1 0 14 15,-7 0-36 1,15-1 20-16,-9 1-5 0,-6 0 1 0,12 0 6 0,-5 1-24 0,-7-1 12 0,9 0-8 16,-6 2 13-16,3 0-15 0,-5 2 5 0,4 0 23 15,-3 3-16-15,-1-1 6 16,1 3 2-16,-2 1-2 0,0 1 0 0,0 2 2 0,-2 0-5 16,1 0-17-1,-1 2 12-15,0 0-3 0,-1-1-15 0,-2 3 21 0,0-3-11 16,4 1-12-1,-3-1 15-15,1-1-29 0,-2 0-7 0,3 0 26 0,0-2-28 0,-2-1-11 0,1 0-2 16,1-2-29-16,0 1-17 0,-1-1-21 16,1-1-25-16,1-1-6 0,-1 0-28 0,2-2-53 15,-3 2-29-15,3-3-40 0,-2 1-78 0,2-4-73 16,-1 4-344-16,1-4 11 0,0 0 99 16,-2 3 98-16,2-3 38 0</inkml:trace>
  <inkml:trace contextRef="#ctx0" brushRef="#br0" timeOffset="103821.06">22206 822 875 0,'-4'-2'425'0,"1"-2"-16"0,0 3-25 16,3 1-59-16,-4-4 11 0,4 4-39 0,0-4-39 16,0 4-25-16,0 0-13 0,7-5-53 0,0 4 12 15,0-1-33-15,-1 1-6 0,7-1-32 16,-2 0 7-16,2 1-18 0,2-1-30 0,0 1-29 15,1-1-45-15,5-1-32 0,-1 1-32 16,2-1-83-16,-1 0-51 0,2 0-76 16,3-2-142-16,0 1-373 0,-3-1 0 0,-1 1 149 31,-3-2 32-31,1 2 62 0</inkml:trace>
  <inkml:trace contextRef="#ctx0" brushRef="#br0" timeOffset="104158.15">22715 644 1182 0,'0'-4'292'0,"0"4"-18"0,-2-6-31 15,2 6-8-15,-4-5-12 0,4 5-31 0,-5 0-13 16,5 0-23-16,-6 5-7 0,0 1 2 0,2 1-26 16,0 2-17-16,0 1-8 0,0 1 28 15,2 1-59-15,1 0 10 0,1 1 3 16,0 0-23-16,1 1 18 0,5-2-47 0,-2 0 19 16,1-2 10-16,5 2-34 0,-2-2 9 0,4-1 81 15,-1-1-33-15,-1-2 20 0,3-2-22 16,0-1 14-16,-3-2 6 0,3-1 28 0,-3-1-2 31,0-1-88-31,0-2 18 0,2-1 44 0,-4 0-26 0,0-2-5 16,-5-1 29-16,2-2-14 0,-2 0-12 0,0 0-21 0,-1 1 10 15,-2-1-9-15,-2-1-14 0,-1 1-15 0,0-2 10 16,-2 2-15-16,2 1-7 0,-4-1-6 0,0 4-46 16,1-1-5-16,1 1-36 0,-2 1-26 0,1 2-25 15,-1 0-44-15,1 3 1 0,-1-1-67 16,7 1-105-16,-13 4-54 0,5-1-82 15,1 2-389-15,2-1 85 0,2 1 63 0,0-1 98 16,1 2 64-16</inkml:trace>
  <inkml:trace contextRef="#ctx0" brushRef="#br0" timeOffset="105671.05">22684 1363 829 0,'0'0'356'0,"0"0"-26"0,0 0-36 0,0 0 11 15,0 0-49-15,0 0-8 0,0 0-25 16,-4-5-6-16,4 5-27 0,-4-4 2 0,4 4-98 16,-2-7 4-16,1 4-19 0,-1-2-10 15,-3 2 31-15,2-2-26 0,-4 1 11 16,1-1-32-16,1 2 9 0,-3 0-8 16,1-1-16-16,-4 3 16 0,1 0-18 0,0 1-1 0,0 2-4 15,-3 1 18-15,2 1-31 0,-4 1 0 16,2 3 5-16,-1-1-21 0,-2 3 21 0,3 1-12 15,0-1 9-15,3-1-17 0,-3 2-9 0,3-2 22 16,2 0-11-16,3 0 0 0,1-1-28 16,0-2 31-16,0 2-19 0,4-2 1 0,2-1 13 15,0-1-11-15,4 0 3 0,1-3 8 0,3 1-14 16,1-3 24-16,4-1 8 0,-2-1 4 16,5-2-20-16,0 0 11 0,-3-2 4 0,3 0 13 15,-2-3 29-15,-2 0 35 0,2 0 8 16,-3 1 15-16,-3-1-10 0,3 1 21 15,-5 1-3-15,0-1-23 0,0 5 10 0,-4-2-13 16,2 1-40-16,0 3 10 0,-5 0 7 31,-1 2-10-31,0 0-13 0,8 7 11 0,-5 0-6 0,-3 0-10 0,0 4-12 0,-3 0-11 0,2 4 13 16,-3 1-3-16,1 2-120 0,-2 1 21 0,1-1 5 16,-2 1-29-16,3 0-15 0,-2-2 13 31,3 0-46-31,-1 0 5 0,-2-4-5 0,5 0-31 0,-1 1-22 15,1-5-9-15,-2 0-40 0,2 0-83 0,0-2-66 0,0-1-94 0,2-2-324 16,-1-1 27-16,1 0 102 0,-2-3 51 0,8 1 56 16</inkml:trace>
  <inkml:trace contextRef="#ctx0" brushRef="#br0" timeOffset="106129.69">22964 1376 1195 0,'0'-5'338'0,"1"1"-34"0,-1 4-17 0,-4-4-34 16,4 4-20-16,-6-3-46 0,-1 3 13 15,7 0-49-15,-15 4 10 16,6-2 49-16,-2 2-23 0,0-1-16 0,1 1-20 0,-1-2-25 0,4 3 17 15,-1-1-40-15,0 1-6 16,0-1 13-16,6 0-26 0,-3 2-14 0,2-2 19 0,2 3-12 16,1 0-23-16,0-1 7 0,1 1 3 0,2 0-20 15,1 2 4-15,-1-2-4 16,3 4-8-16,-1-4-11 0,0 1 31 0,1 0 1 0,-2 1-60 16,1-1 1-16,-2-1 7 0,3-1 0 0,-4 1-8 15,0-2 42-15,0 0-3 0,-2 0 12 16,-2 1 3-16,2 0 8 31,-2-1-18-31,-2 2 5 0,-3-1-12 0,0-1 99 0,-1 2-44 0,-2-1 14 0,2-3-16 0,-1 3-44 0,-3-2 3 16,4-1-51-16,-2 0-15 15,3 2-47-15,-1-4-15 0,0 1-69 0,3-1-33 0,-2 0-98 16,7-1-127-16,-8 2-490 0,8-2-12 0,0 0 107 16,0 0 83-16,0 0 29 0,0 0 68 15</inkml:trace>
  <inkml:trace contextRef="#ctx0" brushRef="#br0" timeOffset="106730.07">23243 1503 995 0,'0'0'384'16,"0"0"-41"-16,18-6-46 0,-7 6-23 15,1-1-23-15,0 0-34 0,6 1 57 0,3-2-33 16,1 2-36-16,-3-1-39 0,4 1-48 15,0-1-64-15,-2 1-57 0,-1 0-117 0,-2-4-152 16,0 4-521-16,-2-1 20 0,-1 0 102 16,-5-1 90-16,3 0 51 0</inkml:trace>
  <inkml:trace contextRef="#ctx0" brushRef="#br0" timeOffset="106961.28">23512 1414 1064 0,'0'0'359'0,"0"0"-29"0,7-2 0 0,-7 2-20 0,12 5-16 0,-6 0-30 0,2 2-29 16,4-1-7-16,-4 4 23 0,3-1-59 16,-1 3-10-16,0 1 61 0,-2 1-26 0,-3 0-35 15,1 2-3-15,-4 0-28 0,-2-1-23 0,-2 0-28 31,-4 3-28-31,1-1-47 0,-5 2-22 0,-3-1-41 0,-2-2-11 0,2 0-25 0,0-4-39 16,0 0-56-16,1-2-107 0,2-5-108 0,-1 2-494 16,3 0 38-16,-2-4 144 0,2-1 54 0,1-2 78 15,1 0 11 17</inkml:trace>
  <inkml:trace contextRef="#ctx0" brushRef="#br0" timeOffset="107388.17">23247 737 760 0,'0'0'238'0,"14"-2"-8"0,-9 1-5 0,5 0-38 16,0 0-31-16,2 1-25 0,-1 0 12 0,5 0-61 16,-1-1-102-16,2 1-90 0,0-3-62 15,1 3-486-15,-1-1 29 0,-1 0 68 16</inkml:trace>
  <inkml:trace contextRef="#ctx0" brushRef="#br0" timeOffset="107662.27">23484 644 821 0,'4'-2'356'0,"-4"2"-44"0,11-1-25 16,-4 2 2-16,2 1-38 0,3 2-18 0,0 0-10 15,2 3-31-15,-1 0 2 0,2-1-2 16,-2 4-28-16,0-1-21 0,-3-1-7 0,0 2-23 16,0-1 20-1,-2 0-36-15,-3 0 5 16,0 1-22-16,-2-2-24 0,0 1-15 0,-3-1-15 0,0 0-26 0,-3 0-41 0,2 0-29 0,-3-1-14 16,4 1-67-16,-5-2-87 0,5 0-123 15,-5 0-66-15,2-2-362 0,3-1 75 0,0-3 110 16,5 5 8-16</inkml:trace>
  <inkml:trace contextRef="#ctx0" brushRef="#br0" timeOffset="107995.14">23992 559 1182 0,'-8'0'312'0,"2"2"-15"0,2 0-36 0,1 2-28 0,0-1 16 0,1 1-27 15,2 1-27-15,0 1 12 16,5 1-40-16,-2 1-6 0,1 2-20 0,2 1-8 16,1 2 0-16,0 0 8 0,1 0-75 0,0-1-15 15,0 1 8-15,-3 1 18 16,1-2-10-16,1-2 17 0,-4 1 0 0,-1-2-2 0,-2-1-18 15,0 0 23-15,0 0-10 0,-5 0-15 0,0-2 7 16,-3 1-10-16,-2-1-3 0,-1 0 8 16,-3-2-33-16,3 1-19 0,-4-1-17 0,2-1-13 15,0-1-35-15,0-1-24 16,2 1-28-16,-3-2-41 0,4 1-51 0,1-1-57 0,2 0-122 16,-3 0-33-1,5 0-431-15,5 0 98 0,0 0 23 0,0 0 122 0,0 0 8 0</inkml:trace>
  <inkml:trace contextRef="#ctx0" brushRef="#br0" timeOffset="108411.09">24264 568 1297 0,'1'-4'433'0,"-1"4"-67"0,0 0-15 0,3-1-11 0,-3 1-53 0,0 0-8 15,5 15-34-15,-4-7-1 0,-1 3-40 16,0 2-9-16,0 2-21 0,0 0-46 16,0 3-15-16,-2-1-47 0,1 2-17 0,1-2-65 15,-3 0-37-15,1 2-24 0,1-1-84 0,0 0-85 16,0-3-105-16,-1 2-230 0,2-3-210 0,0 1 90 15,0-1 46-15,-3 0 40 0</inkml:trace>
  <inkml:trace contextRef="#ctx0" brushRef="#br0" timeOffset="108942.64">24119 1342 982 0,'-10'-1'361'0,"0"1"-23"0,3 0-54 0,-1 1-10 0,2 0-36 16,2 1-12-16,-2 0-34 0,4 1-18 16,-1 1-18-16,1-2-18 0,-1 2-10 15,3 2-10-15,0-1 5 0,3 1-8 0,-1 0-41 0,1 0 39 16,2 3-6-16,0 1-17 15,0-2-75-15,0 1 13 0,1-1 8 0,1 1 18 0,-4 0 53 16,1-1 24-16,-1 2-21 0,0-3 0 16,1 0 10-16,-4 1-20 0,0-2 23 0,-4 3-10 15,1-2-44-15,-2 0-10 0,-3 0 20 16,-2-1-15-16,0 1-13 0,0-1-7 0,-6 2-52 16,1-2-30-16,2-2-11 0,-2 0-53 0,2-1-57 15,-3-2-97-15,4 3-136 0,1-3-514 16,1-1 54-16,2 0 91 0,2-1 58 0,0-3 93 15,3 2 45-15</inkml:trace>
  <inkml:trace contextRef="#ctx0" brushRef="#br0" timeOffset="109160.72">24168 1347 916 0,'13'-1'289'0,"-2"2"-23"0,-4 1-2 0,1 1 69 0,-3 0-36 0,-1 2-29 0,-3 1-17 0,-1-2 28 0,0 3-48 15,-1 0-37-15,-3 3-20 0,-1-1-105 0,0 2 3 16,2-1 10-16,-2-1-5 0,1 3-6 16,0-4-25-1,1 0 75-15,2 1 17 0,-3-1-18 0,7 0-25 0,-1-2-3 0,1 1 8 0,3-2-31 16,1-1-28-16,3-2-3 0,4 4-2 16,2-5-46-16,-2 2-33 0,5-2 7 0,1 1-44 15,-3 0-48-15,5-1-94 0,-3 2-111 0,-6 1-146 16,2-3-376-16,-1 3 59 0,-4-1 108 0,0 0 99 15,-5-2 67 1</inkml:trace>
  <inkml:trace contextRef="#ctx0" brushRef="#br0" timeOffset="109962.89">23814 1815 773 0,'17'1'322'16,"1"0"-38"-16,-2-1-7 0,2 2-24 15,-2-2-28-15,4 0-110 0,6 0-2 16,3-3-28-16,-1 1 12 0,5-2-20 0,8 0-31 0,0-2 13 16,3 0 15-16,0-2-23 0,0 0 8 15,-2-1 10-15,-2-2-15 31,0-2-13-31,-4 1 20 0,0 0-22 0,-1-3 73 16,-1-2-15-16,-3 3-12 0,0-4-6 0,-3 0-12 0,-5 1 10 0,1-3 7 0,-2-3-2 16,-3 4-5-16,-5 1-26 0,-1-3-13 0,5-7 11 15,-4-2-3-15,-3-1-5 0,2 0 13 0,-5 3-6 0,-1-8 19 16,-1 6-26-16,-1-7-54 0,2 0-2 16,-4-1 2-16,4 0 10 0,-7 3-2 15,1 7-23-15,5-13 20 0,-2-1 11 0,1 1 12 16,-2-1-4-16,4 0-4 0,-4 1 3 0,2 3-12 15,-2-2 15-15,-1 8-16 0,-2 4 13 16,-2-1 60-16,2 0-12 0,-3 1-9 0,-4-7 20 16,1 6-20-16,-6-4 25 0,3 1-51 15,-5 3 23-15,-2 0-13 0,-4 2 1 0,1-1 14 16,-1 2-17-16,-3 2 5 0,-3 1-16 0,1 2-4 16,-5 2 20-16,-1 1-16 0,2 0-15 15,1 7-2 1,2 2 17-16,1 1-17 0,-1 4-8 0,3 1 17 0,0 2-22 0,-3 2 10 15,3 0 5-15,-5 2-2 16,0 3-8-16,2 0 12 0,-2 2-1 0,2 1-19 0,-7 3 18 16,0 2 8-16,9-1-13 0,3 0 23 0,-1-1-41 0,4 1 10 15,-1 2 26-15,-6 5-23 0,0 1 0 16,4 1 28-16,-1 2-39 0,1 0 16 16,2 2-2-16,1 1-1 0,3 4-4 0,0-1 7 15,0 3-5-15,4 1 15 0,-2 2-5 0,1-2-10 16,4 1 5-16,0-2 20 0,1 3-4 15,3 0-9-15,-4 1 19 0,2 1-13 0,-2 0-26 16,4-1 21-16,-2 2-6 0,1 2 16 16,1-2-8-16,2 1-15 0,0 0 31 0,-1-6-21 15,3-4 18-15,3 11-13 0,-1-2 0 16,1-2-15-16,5 0 13 0,2 1-29 0,0-3 11 16,3 0-23-16,2-2 10 0,1-1-15 0,1-3-29 15,0 2-2 1,1-6-3-16,-2 3-53 0,-2-8-26 0,-2-1-3 0,-1-1-10 0,1-4-38 15,-2-1-115-15,-2 1-1 16,0 0-14-16,-3-4 35 0,1 0-302 0,-2 0-103 0,0-1 52 16,-2-1 79-16</inkml:trace>
  <inkml:trace contextRef="#ctx0" brushRef="#br0" timeOffset="114946.56">9626 4028 1310 0,'0'0'440'16,"-3"-3"-43"-16,3 3-46 15,0 0-1-15,0 0-30 0,0 0-41 0,-5 9-5 16,3-4-51-16,2 3-18 16,-1 1-18-16,1 0-11 0,-2 2-25 0,2 1 3 0,-2 1-36 15,2 0-8-15,-3 0-59 0,3 1 0 16,0 2-48-16,-2-4-37 0,1 1-30 0,1 0-53 0,0-2-47 15,-2 2-79-15,2-5-134 0,0 3-526 16,2-3 96-16,-1-3 96 0,1 1 58 0,1-1 44 16</inkml:trace>
  <inkml:trace contextRef="#ctx0" brushRef="#br0" timeOffset="115344.29">9769 4058 1031 0,'0'0'415'0,"-2"-6"-16"0,2 6-53 0,-2-2 17 0,2 2-71 16,0 0-49-16,0 0-20 0,-6 12-11 0,6-5-2 15,-2-1-28-15,1 1-34 0,-1 1-22 0,2 2-14 16,0 2-30-16,0-2-18 0,0 1 3 16,0 0-49-1,2 1-16-15,1-3 19 0,0 1-11 0,-1-3-23 0,3 0 26 0,-1-1-5 0,3-1 2 16,0-2-28-16,1 0 26 0,0-2 12 15,2-2-20-15,-2 1 31 0,2-4 17 16,-3 2 4-16,1-1 1 0,0-3 1 0,-3 3 5 16,1-4 5-16,-2-2 15 0,-1 2-20 0,-2-1 39 15,1-2-19-15,-4 2-15 0,2 0 10 16,-1-3-15-16,-2 3 2 0,-1-3 34 0,1 4-31 16,-3 0-13-16,2 1 6 0,-4 0-86 0,2 0-6 15,2 2-19-15,-4 2-8 16,3-2 1-16,-3 2-26 0,1 2 3 0,7 0-44 0,-11 0-16 15,6 2-2-15,-2-1-38 0,4 2-41 16,-2-2 5-16,5-1-44 0,-6 2-48 16,6-2-39-16,0 0 39 0,0 0 56 0,0 0-67 15,8 3-314-15,-8-3 7 16,13-3-12-16,-5 0 112 0</inkml:trace>
  <inkml:trace contextRef="#ctx0" brushRef="#br0" timeOffset="115619.11">9908 4038 573 0,'0'0'238'0,"10"1"79"0,-7 1-10 16,2 1-20-16,0 1-23 0,-2 0-31 15,1 1-11-15,2 2-17 0,-1 0-10 0,2 1-29 16,-1 1-28-16,1-1-10 0,-1 2-2 0,2-2-93 16,2 0-5-16,-3 1-5 0,4-3 13 15,-4-2 8-15,3 2-16 0,1-1-21 0,2-3 29 16,-3 1-5-16,0-3 38 0,1 0 3 0,1-1 107 16,-1-3-28-1,1 2 18-15,-2-4 2 0,0 0-12 0,1-1 20 0,-4-2-74 0,-1 0 13 16,-1-1-21-16,0 1 3 0,-5-1-3 0,0 0 1 15,0-2 12-15,-5 0-36 32,2 1 13-17,-4 0-38-15,2 2 9 0,-5-1-19 0,2 2-16 0,-2 1-33 0,1 1-39 0,-1 1-15 0,0 3-31 0,0 2-38 16,-2 0-13-16,3 2-41 0,-6 3-40 16,4 1-201-16,-1 2-181 0,1 2-297 0,-1 0 115 0,-1 2 61 15,3 0 85-15,-1 0 54 0</inkml:trace>
  <inkml:trace contextRef="#ctx0" brushRef="#br0" timeOffset="115896.39">9573 4339 1008 0,'0'0'361'0,"0"0"-21"0,0 0-20 0,0 0-20 0,0 0-34 0,22-5-23 0,-11 3-35 0,6 1 4 0,2-2-25 15,3 0-36-15,4 0 2 0,5 0-35 16,13-1-8-16,-1 1-23 0,-5-1 0 0,6-2-30 16,-10 4-47-16,-2-1-15 0,-3 0-69 15,-6 3-39-15,0-2-43 0,-2 0-67 0,-4 1-38 16,-1 0-74-16,-6 1-3 0,0 0-422 15,-2 0 109-15,-3 1 45 0,-5-1 71 0</inkml:trace>
  <inkml:trace contextRef="#ctx0" brushRef="#br0" timeOffset="116193.32">9493 4475 962 0,'0'0'305'0,"15"0"-34"0,-5 0-20 16,3 0 61-16,0 0-20 0,5-4-57 0,3 4-86 15,2-1-1-15,9 0-17 0,-1-3-19 16,13 1-17-16,-1-1 0 0,-1-2-21 0,-6 4 13 16,-6-1-8-16,-1 0-12 0,-4 3-13 0,-1-5 20 15,-2 4-33-15,-3-3-3 0,-2 3-12 16,-2-1 5-16,-2 2-24 15,1-4-12-15,-4 2-13 0,0 1-51 0,-3-1 8 0,1 0-47 16,0 1-89-16,-3 1-84 0,-5 0-39 0,8-1-459 16,-3-1 42-16,-5 2 102 15,0 0 54-15</inkml:trace>
  <inkml:trace contextRef="#ctx0" brushRef="#br0" timeOffset="117464.04">9175 4069 1438 0,'-2'-5'448'0,"2"1"-10"0,0 4-52 16,-1-4-27-16,1 4-70 0,0 0 10 15,0 0-27-15,0 0-134 0,0 0 15 0,-5 10-40 16,3-4 15-16,1 3-18 0,1-2-23 0,-2 2-10 15,-1 3-3-15,0 0-10 0,1 0-51 16,-3 1 2-16,2 0-25 0,1-1-28 0,-3 1-29 16,2-2-25-16,1 2-26 0,-1-2-33 0,3 1-97 15,-3-3-128-15,3-3 4 0,0 4-467 16,-2-2 81-16,4-1 82 0,-2-1 95 0,0-2 41 16</inkml:trace>
  <inkml:trace contextRef="#ctx0" brushRef="#br0" timeOffset="117861.42">9226 4019 839 0,'6'-4'315'0,"0"2"-8"15,-2 1-33-15,-4 1-8 0,0 0-30 0,10 7-6 16,-8-4-38-16,-4 3-8 0,2 3-7 0,-6-1 38 16,2 3-33-16,-4-1 5 0,0 3-29 15,-2 1-17-15,0-3-28 0,1 3-19 0,2-1-12 16,-3-4 8-16,3 1 7 0,1-1-7 0,-2 1-11 16,5-4-28-16,-1 0 44 0,-1 1-44 15,2-4-5-15,1 1 31 16,-1 1-13-16,2-3-23 0,1 2 26 0,0-4-101 0,4 7 9 0,0-6 2 15,-1 1 10-15,2 1-20 16,0-3 7-16,3 0 11 0,0 0 20 0,2 2-51 0,0-2-11 16,0 0-12-16,-1 0-23 0,1 0-18 15,-2 0-62-15,2 0-86 0,0 0-121 16,-3 1-15-16,1-1-448 0,2 0 87 0,0-1 48 0,-2-1 136 16</inkml:trace>
  <inkml:trace contextRef="#ctx0" brushRef="#br0" timeOffset="118084.51">9421 4087 1028 0,'-10'1'300'0,"2"1"-31"16,0 1-8-16,0-1-21 0,1 0-22 16,0 2-16-16,3 1-30 0,0-2-1 0,3 1-7 15,-1 1-15-15,2 0-45 0,0 0 27 0,2 1-29 16,-1 0 24-16,1 0-6 0,0-2 41 15,1 3 16 1,0-4-13-16,-3 2-13 0,0 1 5 0,0-2-49 0,-2 3-7 0,1-1-15 0,-4 0-19 16,-3 0-55-16,3-3-11 0,-5 3-77 15,0 0-59-15,0-2-184 0,1 2-619 0,-3-2 99 16,4 0 67-16,-2-2 56 0,0 1 111 0</inkml:trace>
  <inkml:trace contextRef="#ctx0" brushRef="#br0" timeOffset="121185.55">10585 4012 990 0,'-5'0'443'0,"0"-3"-16"0,5 3-35 16,-6-1-39-16,6 1-30 0,-5-1-21 0,5 1-26 15,-5-3-17-15,5 3-24 0,0 0-35 0,0 0 10 16,0 0-11-16,0 0-35 0,0 0-15 16,0 0-21-16,16-2 0 0,-8 2-13 15,2 2 8-15,0-4-31 0,2 2-20 0,-1 0-8 0,1 0-16 16,2-1-45-16,-2 1-39 0,-1-1-8 15,-1 1-48-15,2 0-61 0,-1 0-19 0,-1 1-89 16,0 0-79-16,-2-3-72 0,0 4-443 16,0 0 41-16,-4 1 84 15,-1-1 54-15,0 2 80 0</inkml:trace>
  <inkml:trace contextRef="#ctx0" brushRef="#br0" timeOffset="121407.09">10507 4154 860 0,'0'0'432'0,"0"0"-17"0,0 0-49 0,0 0-21 0,0 0-32 15,0 0-47-15,0 0-5 0,16-8-23 0,-5 6-31 16,4 2 1-16,0-4-55 16,3 2 14-16,0-4-32 0,5 2-32 0,-2 1-34 0,2-2 2 15,0-2-50-15,-2 2-57 0,-1 0-23 16,-2-2-48-16,0 4-31 0,0-5-106 0,-6 5-78 15,2-3-420-15,-2 1-39 0,-4 0 28 16,-1 1 121-16,-1-1 79 0</inkml:trace>
  <inkml:trace contextRef="#ctx0" brushRef="#br0" timeOffset="121702.76">10790 3898 1034 0,'0'0'348'0,"0"0"-23"0,0 0 64 0,0 0-41 16,0 0-38-16,0 0 30 0,21 3-15 0,-14 2-48 16,6-2 12-16,-2 3-56 15,3 1-95-15,-1 3 18 0,1-4-35 0,0 3-22 0,0 1-6 16,-4 1 4-16,3-2-20 0,-5-1 4 0,-1 1-14 16,-2 1 0-16,-2-1 12 0,-1 3-38 15,-2-3 2-15,-3 3-7 0,-1-1-2 16,-2 1-24-16,2-2-10 15,-4 1-26-15,0-1-5 0,3-3-20 0,-3 0-38 0,2 0-37 0,2-1-30 16,-2 0-56-16,2-1-106 0,1-2-79 16,0 2-447-16,1-2 50 0,2-3 57 0,0 3 28 15,0-3 97-15</inkml:trace>
  <inkml:trace contextRef="#ctx0" brushRef="#br0" timeOffset="122118.22">11462 3933 1356 0,'2'-4'458'0,"-2"4"-66"0,0 0 5 0,-7-4-62 0,7 4-33 0,-13 0-10 16,3 1-49-16,-3 2 33 0,-3 1-45 15,-2 3-39-15,-2-2-3 0,1 3-12 0,2-2-8 16,-1 0-18-16,2 0-23 0,4-1-44 0,1 0 52 15,1 2-36-15,0-1-41 0,4-3 12 16,0 2 9-16,2 2-14 0,4-1 6 0,0-1 30 16,4 0-79-16,0 1-12 0,4 1 22 0,2-1 23 15,0 1-12-15,3 0 25 0,3 0 2 16,-4-1 4-16,4 0-34 0,-3 1 20 31,-1-1-12-31,1 0-24 0,-3 1 50 0,1-2-50 0,-4 0 37 0,-1 1-14 0,-1-2-9 0,0 0 22 16,-3 2-17-1,-2 0 104-15,-2-1-33 0,-3 2 8 0,0 0-41 0,-5 0-5 0,-1-1-21 16,-4 2 8-16,0 1-28 0,-1-2-18 0,1-1-18 16,-3 1-46-16,2-1-21 15,3-1-35-15,-2 0-36 0,2-2-42 0,3 2-47 16,0-3-40-16,2 1-60 0,3 0-119 0,-1-3-73 16,4 0-490-16,2 0 65 0,0 0 119 0,0 0 42 15,11-6 82-15,-3-1 71 0</inkml:trace>
  <inkml:trace contextRef="#ctx0" brushRef="#br0" timeOffset="122513.64">11528 3981 954 0,'3'-6'451'0,"-1"4"-1"0,-1-1-32 16,-1 3-35-16,0 0-40 0,0-4-51 0,0 4-23 16,0 0-23-16,0 0-26 0,0 0 3 0,-6 15-54 15,4-8-3-15,0 1-13 0,1 3-9 16,1-3-34-16,-2 3 8 0,2 2-26 15,2 0-18-15,-2-2-13 0,3 1-30 0,2-2 10 0,0 1-28 16,3-1 18-16,0-3 15 0,2-1-39 16,2 0 1-16,1-3 5 0,3 0 5 0,-1-3-21 15,1 0 42-15,-2-3 40 16,2 1-38 0,-1-3 8-16,-1 0 27 0,-2 1-24 0,-2-4-32 0,-2 1-2 0,0 0 13 0,-3-1-11 15,-3 0 3-15,1-1 16 0,-6 0-22 0,1 3 22 16,-3-3-1-16,0 2-20 0,-3 1 5 0,0-2-10 15,-2 3-21-15,0-1 11 32,-1 4 2-32,-1-1-18 0,-1 1 13 0,3 2-10 0,-3 2-26 0,-2 0-15 0,2-1-36 0,0 2-41 15,0 2-15-15,3-1-54 0,-1 2-34 0,3-3-91 16,2 1-70-16,2 1-25 0,0-3-64 0,4-2-354 16,0 0 49-16,0 0 64 0,0 0 82 15,22-1 47-15</inkml:trace>
  <inkml:trace contextRef="#ctx0" brushRef="#br0" timeOffset="122690.88">11905 3888 1315 0,'5'-4'471'0,"0"1"-8"0,-2 0-132 15,0 1-19-15,-3 2-20 0,2-1-39 0,-2 1-10 16,0 0-7-16,0 0-8 0,8 7-24 16,-8-1-30-16,0 0 3 0,2 2-21 0,-1 3-20 15,-1 2 2-15,-1 1-5 0,-1 4-23 0,-1 0-20 16,0 0-18-16,-1 1-24 0,-1-1-48 15,-1 1-38-15,3-3-52 0,-1 2-10 0,-2-2-74 16,1 0-30-16,0-1-73 0,1-5-140 16,0 5-510-16,2-6 157 0,-1 1 12 0,-2-4 72 15,2 1 39-15</inkml:trace>
  <inkml:trace contextRef="#ctx0" brushRef="#br0" timeOffset="122875.87">11777 3969 1220 0,'-2'-6'500'0,"1"1"-60"16,-1 1-46-16,2 0-153 0,0 4-70 0,-3-4-33 15,3 4-86-15,0 0-60 0,0 0-141 16,0 0-107-16,0 0-506 0,18 7 78 16,-10-3 78-16,0 2 27 0</inkml:trace>
  <inkml:trace contextRef="#ctx0" brushRef="#br0" timeOffset="123026.87">12100 4040 1208 0,'0'0'512'0,"7"1"-44"16,-7-1-15-16,0 0-56 0,8 0-41 0,-8 0-34 15,0 0-91-15,6 2-4 0,-6-2-104 0,0 0-69 16,2 1-31-16,-2-1-82 0,3 6-51 16,-1 0-182-16,1 0-547 0,-3 1 76 0,0-1 15 15,-3 3 80-15,1 1 59 0</inkml:trace>
  <inkml:trace contextRef="#ctx0" brushRef="#br0" timeOffset="141812.76">9085 4844 908 0,'-5'-1'451'0,"2"-2"12"0,-1 0-41 15,0-1-12-15,4 4 5 0,-5-2-44 0,0-2-128 16,5 4-28-16,-5-2-3 0,5 2-15 16,0 0-25-16,-10 1-11 0,10-1-15 0,-6 6-18 15,2-1 8-15,1 2-34 0,-2-1 3 0,0 3-18 16,0 1-10-16,2 2 0 0,-2 1-13 16,0 0-26-16,0-1-17 0,4 0-37 0,-3 1-4 15,1 1-52-15,0-1-7 0,1-1-42 0,0 1-12 16,-1-1-41-16,3-1-23 0,0-2-79 15,0 2-54-15,0-3-29 16,0 2-148-16,0-4-281 0,0 1 41 0,3-2 50 0,-1 0 65 16</inkml:trace>
  <inkml:trace contextRef="#ctx0" brushRef="#br0" timeOffset="142216.43">9036 4856 1016 0,'6'-9'353'0,"-1"2"-48"0,2 1 12 0,1 3-53 0,-1-2-26 0,-1 4 5 0,2 0-38 16,-1-1-21-16,-2 2 23 15,-5 0-25-15,10 5-16 0,-7-1 6 0,0-1-16 0,-3 3-13 16,0 1-35-16,-3 2 2 0,-2 0-21 31,-1 3 9-31,-1-1-16 0,0 1-11 0,-1 0-17 0,-2 1 13 0,4-4-8 0,-1 1 4 0,-1-1-34 16,0 1 1-16,3-4 19 0,-2 1-21 15,4 0 0-15,-2-3 3 0,0 3 15 0,2-5-2 16,0 2-6-16,1 1 18 0,-3-2-22 0,4 1-6 16,1-4 2-16,-2 5-1 0,2-3-1 15,0-2 10-15,2 6-22 0,-2-6 12 16,4 2-10-16,-2 2-16 0,3-4 3 0,0 2-51 0,-5-2-23 15,10 1 3-15,-5 1-55 0,3-2-40 16,0 0-23-16,0 1-62 0,4-1-97 16,-1-1-51-16,-1 1-500 0,3-3 93 0,2 1 74 15,0-2 82-15,1 3 51 16</inkml:trace>
  <inkml:trace contextRef="#ctx0" brushRef="#br0" timeOffset="142531.23">9328 4919 911 0,'-12'-1'404'0,"1"1"-20"0,1 0-33 16,2 1-49-16,1 1-79 15,0-1-11-15,1 2-43 0,1-2 8 0,0 1-11 16,0 3-20-16,2-1-5 0,0-2-24 0,1 3-1 16,0 0-19-16,2-2-8 0,2 3 4 15,-2-1-6-15,2 1-8 0,1-3-13 0,0 4-12 16,1-3 3-16,-1 3-19 0,2-3 8 0,-4 2 8 15,3-3 2-15,-1 2 6 0,-2 0 9 16,1-1-17-16,-2-1 23 0,-2 3-26 0,1-1 10 16,-4 1 8-16,2-2-43 0,-2 1 10 15,-2 1 7-15,1-1-27 0,-2 0-3 0,2-2-11 16,-3 2-38-16,0 0-7 0,1-3-24 0,0 2-25 16,0-1-28-16,3 0-26 0,-3-1-28 0,3-1-77 15,-2 2-74-15,4-2-51 0,-2-1-441 16,5 0 98-16,0 0 12 15,0 0 47-15,0 0 46 0</inkml:trace>
  <inkml:trace contextRef="#ctx0" brushRef="#br0" timeOffset="142824.53">9549 4850 1205 0,'3'-4'425'0,"-3"4"-28"0,0 0-13 0,0 0-136 0,0 0-20 0,0 0 18 0,5 10-37 0,-5-3-19 0,0-2-34 16,0 1-18-16,2 1-7 0,-4 1-3 0,2 0-16 16,-1 2-27-16,-1-1-26 0,2 0-6 0,-2 3-24 15,-1-4-50-15,3 3-12 0,-3 0-18 16,1-3-52-16,0 1-12 0,-2 1-79 0,4-2-83 15,-2 2-58-15,2-3-433 0,-2-1 92 16,2 0-20-16,0-1 115 0,0-2 41 16</inkml:trace>
  <inkml:trace contextRef="#ctx0" brushRef="#br0" timeOffset="143211.16">9669 4885 1149 0,'0'0'286'0,"0"0"-1"0,0 0-37 15,0 0-13-15,0 0-22 0,0 0-24 0,0 0-22 16,-10 11-1-16,8-6-30 0,1 1-16 31,1 0-15-31,-2 1-10 0,0-1-3 0,-1 2-31 0,3-2 19 0,0 1-27 0,3-2 9 0,-3 2-29 16,2-2 0-16,0 0 19 0,-1 1-35 15,1-2 27-15,3-1 2 0,-2 1-41 16,2-2 51-16,-2 0-35 0,-3-2 5 0,10 1-11 16,-10-1 13-16,12-3-10 0,-6 2 20 0,2-2 37 15,-4 1-24-15,-1-3 8 0,0 3 17 16,0-2-6-16,-1 0 88 0,0 0-35 0,-2 0 18 16,3 1-13-16,-3-3-15 0,-3 0 7 0,1 1-41 15,-1 1 11-15,-2-1-31 0,2 0-13 0,-1-1 30 16,-1 0-40-16,2 2-5 15,-2 1-26-15,2-1-20 0,-2 2-11 0,0-2-40 16,2 2-34-16,-4 2-46 0,7 0-20 16,0 0-90-16,-11 2-72 0,11-2-133 0,-8 3-445 15,6-1 59-15,2-2 122 0,-5 6 62 0,2-4 52 16</inkml:trace>
  <inkml:trace contextRef="#ctx0" brushRef="#br0" timeOffset="143754.81">9887 4838 1379 0,'6'-1'402'0,"-6"1"-13"0,0 0-18 0,0 0-66 16,4 9 12-16,-4-4-132 0,0 0 1 0,0 2-29 15,0 0-4-15,0 4 3 0,-2-4-35 16,0 4-9-16,-1-1 1 0,0 0-29 0,-1 2 16 16,1-3-28-16,0 1 5 0,1-2-11 15,-1 0-2-15,3 0-13 0,-3-1 8 0,1-1-23 16,0 0 18-16,1-3-3 0,1 2-28 0,0 0 33 16,0-2-25-16,3 1 20 0,-3-4 47 0,6 2-55 15,1 0 18-15,-2 0-27 0,3-3 35 0,2 2-23 16,0-2 15-1,0-2-20-15,1 2-5 0,4 0 23 0,-2-3-21 0,-2 3-2 0,1-1 5 16,1 1-20-16,0-2 9 0,-3 1-14 16,0 2 7-16,1-4-13 0,-4 4 0 15,1-1-7-15,0 0-11 0,-1 1-28 0,-2-3-12 16,-5 3-24 0,13-1-43-16,-10 1-44 0,-3 0-10 0,10-2-43 0,-5 2-113 0,-5 0-157 0,7-1-454 15,-1 1 68 1,-6 0 105-16,7 1 67 0,-1 1 51 0</inkml:trace>
  <inkml:trace contextRef="#ctx0" brushRef="#br0" timeOffset="144108.6">10436 4862 1177 0,'0'0'366'16,"0"0"-54"-16,2-7-17 0,-2 7-19 0,6-4-33 0,-1 3-35 15,2 1 4-15,-1-4-25 0,1 3-28 0,1 0-19 16,2-2-27-16,0 2-29 0,0-1-30 16,1 1-46-16,-1 0-34 0,3-1-40 15,-2 1-85-15,-1 0-72 0,0 2-87 0,-2-2 21 0,-1 1-425 16,-1 1 59-16,-2 2-8 0,-3-1 74 0</inkml:trace>
  <inkml:trace contextRef="#ctx0" brushRef="#br0" timeOffset="144309.26">10452 4950 1254 0,'0'0'366'0,"0"0"-41"0,0 0-26 0,0 0-20 0,0 0-28 16,0 0-18-16,0 0-23 0,0 0-15 0,0 0-11 16,20-1-31-16,-10-1 1 0,-2 0-23 0,5 2-14 15,-1-1-9-15,1-2-39 0,1 1 10 16,0 1-71-1,-1-3-18-15,0 1-52 0,0 0-40 0,0 0-75 0,-3-1-97 0,-2 2-58 0,2-1-495 16,-2-1 85-16,0 1 48 16,-1 1 62-16</inkml:trace>
  <inkml:trace contextRef="#ctx0" brushRef="#br0" timeOffset="144593">10613 4759 1131 0,'0'0'320'0,"0"0"-10"0,0 0-42 0,0 0 4 16,0 0-19-16,0 0 44 0,15 7-28 0,-7-4 2 0,0 0-18 0,4 2-45 0,-1 1 4 0,4 0-7 0,0 2-5 16,1 1-111-16,-3-2 21 0,-1 1-20 15,-1 0-18-15,2 1 76 0,-6 0-7 0,1 1 5 16,-3-1 10-16,0 2-33 0,-5 0 10 0,0-3-15 15,-2 4-31-15,-3 0 15 0,-3 0-25 16,0 0-23-16,-4 0-44 0,2 1-38 0,-1-3-29 16,1 1-35-16,0-1-56 0,-1-2-44 0,4-1-92 15,1-2-231-15,1 2-468 0,-2-3 113 0,4-2 74 16,3-2 66-16,-7-2 55 16,7 2 96-16</inkml:trace>
  <inkml:trace contextRef="#ctx0" brushRef="#br0" timeOffset="145588.53">11326 4733 1156 0,'0'0'326'0,"0"0"-9"0,0 0-38 0,0 0 5 0,0 0 0 15,12-8-5-15,-6 7-25 0,-2-3-34 0,4 3-18 16,-2 1-18-16,-1-1-22 0,2-1-11 0,-2 1-34 16,1 0 22-16,-6 1-35 15,8-1 1-15,-8 1 18 0,0 0-28 0,0 0-5 0,4 5-21 16,-4-5 7-16,-7 6 9 0,2-3-26 0,-3 1 2 15,0-1-7-15,1 2-8 0,-1 0-13 16,-2 1-10-16,2 0 16 0,-2-1 7 0,2 0-10 16,1-1-8-16,1 1 0 0,1-2-13 15,0 0-2-15,3 1 18 0,-1-1 0 0,0-1-26 16,3-2 28-16,0 5-20 0,0-5-8 16,3 7 41-16,2-3-26 0,0-2-20 0,0 0 18 15,3 2 0-15,0-1 3 16,-1 1-19-16,1 0-2 0,2 3 8 0,-2-3-49 15,0 0-8-15,-1 1 26 0,-1 0 16 0,1 1-24 0,-2 1 49 16,1-2 95-16,-4-3 15 0,3 5-3 16,-5-3-20-16,3 3-23 0,-3-3 15 0,-3 0-7 15,3 2-3-15,-3-1 23 0,-1 0-36 0,-4 2-2 16,2-1 2-16,-1-1 5 0,-3 0-45 16,0-1 19-16,-1 2-17 0,-2 0-38 15,1-1 12-15,1-2-36 0,1 2-7 0,0 0-46 16,2-5-3-16,0 2-69 0,1 1-31 0,1-2-20 15,6-1-70-15,-8 0-81 0,8 0-143 16,0-4-190-16,0 4-274 0,8-8 194 16,-2 1 6-16,1 1 92 0,4-6 72 15,2 0 4-15</inkml:trace>
  <inkml:trace contextRef="#ctx0" brushRef="#br0" timeOffset="145940.81">11493 4754 954 0,'-8'-3'415'0,"8"3"-16"0,0 0-51 15,-10 6-7-15,7-4-49 0,-2 2 2 16,2 2-56-16,-2 0-20 0,2 0-19 0,1 1 1 16,0 0-34-16,-1 1-43 0,3 2-8 15,-1-2-28-15,2 0-23 0,2 0-15 0,-1 1 2 16,3-3 16-16,0 1-34 0,0-1 13 0,3-2-5 16,0 1-13-16,2-4 16 0,0 1-98 15,1-2 18-15,1 0-2 0,2-2 48 0,0-3-7 16,2 3 4-16,-1-3 29 0,3-2 0 0,-2 1 13 15,1-1 22-15,-3-2-4 0,0 4 2 16,-3-3 33-16,-1 0 29 0,0 1-34 16,-4 1 16-16,1-3-26 15,-1 1-11-15,-1 1 22 0,-2 1-11 0,-1 1 64 0,-2-2-10 0,0 3-16 16,0 0-20-16,-3-2 8 0,-2 3-26 0,2 0-18 16,-4 2-3-16,-1-2 9 0,1 2-27 15,-1 1-22-15,8 0-34 0,-18 1-18 0,8 2-38 16,1-2-53-1,-3 5-6-15,2-4-49 0,-1 2-35 0,1 2-51 0,2-4-57 16,1 2-118-16,2 0-71 0,2-1-471 0,0-1 135 0,3-2 36 16,0 0 93-16,0 0 81 0,11 1 44 15</inkml:trace>
  <inkml:trace contextRef="#ctx0" brushRef="#br0" timeOffset="146155.44">11882 4637 1072 0,'3'-3'463'0,"2"0"-20"0,-5 3-46 0,5-1-41 0,-5 1-13 0,0 0-44 16,0 0-7-16,5 4-13 0,-2 0-8 0,-3 2-45 16,2 0-6-16,-2 2-41 0,0 3 21 0,-2-1-37 15,2 5-24-15,-3-2-22 0,0 5-14 16,-1-1-29-16,-2 2-61 0,-2 1-57 0,3-1-38 16,-3 0-66-16,1-2-98 0,0-1-212 0,-1 1-515 15,0-3 116-15,5-1 125 0,-4-2 20 16,2-2 80-16,-1 0 87 0</inkml:trace>
  <inkml:trace contextRef="#ctx0" brushRef="#br0" timeOffset="146294.81">11813 4720 954 0,'0'0'256'0,"0"0"-64"0,0 0-125 15,0 0-147-15,0 0-516 0,0 0 23 16</inkml:trace>
  <inkml:trace contextRef="#ctx0" brushRef="#br0" timeOffset="146422.63">11982 4794 1154 0,'5'0'463'0,"-5"0"-33"0,0 0-33 15,6 1-34-15,-6-1-45 0,0 0-95 16,2 4-31-16,-2-4-126 0,0 0-97 15,0 0-191-15,5 3-620 0,-5 3 94 0,0-1 77 0,-3 1 67 16,3 0 123-16</inkml:trace>
  <inkml:trace contextRef="#ctx0" brushRef="#br0" timeOffset="151883.12">12403 4739 1118 0,'0'0'453'0,"-3"-4"-48"0,3 4-32 0,0 0-30 16,0 0-10-16,0 0-39 0,-7 9-15 0,6-6-5 15,-1 4 46-15,2 1-25 0,-3-1-57 0,1 2-3 16,0 3-120-16,-2 1-2 0,2 3 5 16,-1-3-18-16,-2 0-13 0,2 0 5 0,-4 1-21 15,2 1-27-15,-1-2-16 0,-1 2-7 16,0-5-42-16,1 3-38 0,1-4-10 0,0 2-33 0,0-2-34 16,0-2-25-16,2 1-26 15,1-4-102-15,-1 0-103 0,3-3 6 0,-3 2-482 16,3-3 36-16,0 0 154 0,0 0 45 0,0 0 80 15</inkml:trace>
  <inkml:trace contextRef="#ctx0" brushRef="#br0" timeOffset="152384.41">12725 4620 1305 0,'-4'-5'448'16,"0"3"-51"-16,0 0-52 0,-2-1-12 0,-1 3-49 15,7 0-38-15,-17 3 7 0,6 1-33 0,1 0-40 16,-4 2-6-16,4 0-31 0,-5 1 5 16,0 0-17-16,2 4-6 0,1-3-15 0,-2 2-30 15,4-2 9-15,0 0-2 0,2-2-25 16,1 4-8-16,4-4-3 0,-2 0 3 0,4-2-11 0,1 0 26 15,1 1-23-15,-1-5-5 0,7 0 3 16,-2 0 7-16,-5 0 3 0,16-4 22 16,-6 2 14-16,1-3-16 0,-1-1 31 0,2 1-15 15,1-1 28-15,-2-1-101 0,-1 1 12 16,0 2-6-16,-3 0 20 0,1-1 6 0,0 3-1 16,-3-2-19-16,0 2 14 0,-2 2-2 0,-3 0 8 15,8 0-21-15,-8 0 18 0,7 6 72 16,-6-2-13-16,1 1-13 0,0 4-8 0,-2-2-4 15,-2 2 4-15,2 1-17 0,-2 2-34 0,1 1 36 16,-1 0-18-16,-3 0-28 0,2 0 23 16,0-1-33-16,-2 2-15 0,0-1-21 15,2-1-52-15,-1 0-32 0,1-1-29 0,-2-2-35 16,3 0-52-16,-2-1-23 0,2-3-56 0,2 1-59 0,0-4-105 16,0 2-560-16,2-2 110 15,-2-2 79-15,6 4 76 0,-6-4 75 0,10-4 49 16</inkml:trace>
  <inkml:trace contextRef="#ctx0" brushRef="#br0" timeOffset="152748.13">12936 4620 1292 0,'-3'-2'466'0,"3"2"-46"0,-8-3-39 0,8 3-48 0,-18 5 0 0,8 0-39 0,0-2-7 0,-3 2-3 0,1 1-44 15,2 0-60-15,-1 1 4 0,3-1-13 0,-2 0-45 16,4 2 20-16,-1-1-21 0,4 0-38 0,1 0 5 16,0-4-10-1,2 3 10 1,4 1-28-16,-1-2-7 0,5 1 17 0,0 1-10 0,2-1-3 0,0 0-73 0,3-1-11 0,-3 1 23 16,3 1-6-16,-2-3 12 0,-1 1 17 0,0 0 79 15,0-1-18-15,-5 1-30 0,0-2 41 0,0 2-31 16,1-2 18-16,-2 1-77 0,-4 2 23 0,3-1-2 15,-6 2-16-15,1-1 8 16,-3 0-3-16,0 2-10 0,-3 2 18 0,1-3-35 16,-4 2 14-16,-2 0-12 0,1 0-39 0,-1-1-38 15,0 1-25-15,-2-2-50 0,4 0 1 0,-1-3-49 16,1 3-30-16,4-5-65 0,1 2-166 16,1-3-474-16,0 0 73 0,5-1 81 0,0 0 100 15,0 0 76-15,0 0 37 0</inkml:trace>
  <inkml:trace contextRef="#ctx0" brushRef="#br0" timeOffset="152984.37">13177 4527 1139 0,'0'-1'488'0,"0"1"-6"0,0 0-42 0,0 0-66 0,0 0-3 15,0 0-128-15,0 0 5 0,-2 18-25 0,-1-7-31 16,0 0-15-16,-2 1-14 0,0 4-24 0,0 1 9 15,-1-1-51-15,-1 2 6 0,0 1-26 16,1 3-26-16,-1-2-62 0,1-1-40 0,-2-2-79 16,1 3-39-16,0-2-82 0,1-4-187 0,1 1-450 15,0-2 92-15,0-2 130 0,2 1-17 0,0-5 153 16,1 1 26-16</inkml:trace>
  <inkml:trace contextRef="#ctx0" brushRef="#br0" timeOffset="153110.44">13052 4669 627 0,'0'0'140'0,"0"0"-158"0,0 0-309 0</inkml:trace>
  <inkml:trace contextRef="#ctx0" brushRef="#br0" timeOffset="153223.93">13267 4713 1003 0,'7'0'353'0,"-7"0"23"0,8-4-17 0,-8 4-52 0,8-1-10 0,-8 1-39 15,7 0-50-15,-7 0-80 0,8 1-54 16,-8-1-133-16,8 4-143 0,-4-3-579 0,-3 4 77 16,2 0 21-16,-3-2 91 0</inkml:trace>
  <inkml:trace contextRef="#ctx0" brushRef="#br0" timeOffset="153448.84">12683 5094 1187 0,'0'0'466'0,"0"0"-67"0,20-12-10 0,-8 6-30 16,9-1-49-16,5 0-34 0,9-3-105 0,6 0-2 15,0-1-35 1,3 0-22-16,0 1-38 0,2 0-43 0,0 3-46 0,0-3-19 0,1 2-40 16,-4 0-128-16,-5-1-141 0,-7 7-468 0,-8-1 20 15,-3 2 153-15,-6 1 29 16</inkml:trace>
  <inkml:trace contextRef="#ctx0" brushRef="#br0" timeOffset="153643.34">12636 5194 1049 0,'0'0'410'0,"0"0"-21"0,12-7-16 0,-1 3-30 0,4-2-56 16,4-1-13-16,5 0-21 0,3-1-74 0,8-3-40 0,1 0-57 15,1 0-85-15,1 2-191 0,-2-1-518 0,-6 2-20 16,-4 2-10-16,-1 1 99 15,-6 2 54-15</inkml:trace>
  <inkml:trace contextRef="#ctx0" brushRef="#br0" timeOffset="157980.47">9998 5484 1405 0,'-5'-9'591'0,"-1"1"-46"0,1-2-61 0,0 3-41 16,1-3-69-16,0 0-16 0,-1-2-46 0,0 0-2 15,0-1-46 1,0 0-19-16,0 2-42 0,0-1-27 0,2 1-50 0,-2-1-11 0,2 3-77 15,-1-1-15-15,1 3-28 0,0 0-69 0,0 2-44 16,1 0-46-16,2 1-66 0,0 0-111 0,0 4-124 16,2-1-493-16,-2 1 88 0,0 0 53 0,6 8 106 15,-4-4 66-15,1 2 87 0</inkml:trace>
  <inkml:trace contextRef="#ctx0" brushRef="#br0" timeOffset="158168.79">10052 5421 1489 0,'0'0'476'0,"0"0"-35"0,-8-10-27 0,6 5-50 0,2 1-19 0,-3-1-53 15,2-2-21-15,-1 0-17 0,0-1-6 16,-1-2-28-16,0 0-25 0,-1-1-11 0,1-2-25 0,-3-3-6 16,2 3-4-16,-1-2-29 0,2 3-33 15,-2 0-20-15,2 0-29 0,-2 0-76 16,2 3-8-16,-1 0-54 0,3 1-51 0,-4 3-59 0,3 4-72 15,2 1-140-15,-3 0-333 0,3 0-169 16,-7 6 159-16,4 1 27 0,-2 0 65 0,2 4 95 16</inkml:trace>
  <inkml:trace contextRef="#ctx0" brushRef="#br0" timeOffset="158412.75">9821 5344 1133 0,'-3'-16'484'0,"3"2"-23"0,-2 0-34 16,4 0-30-16,-2-1-31 0,5 0-56 15,-2-2-36-15,2 3-3 0,2 0-38 0,-1 2-10 0,-1 1-18 16,3 0-21-16,0 3-41 0,2 2-15 16,0 0 16-16,2 4-34 0,-1 0-29 0,2 2-45 15,0 3-20-15,-1-1-32 0,4 3-32 16,-3 1-75-16,2 0-46 0,1 2-56 0,-1 1-100 15,-2-1-149-15,2 1-447 0,-2 2 96 16,0 0 55-16,-1-2 84 0,1 1 56 16</inkml:trace>
  <inkml:trace contextRef="#ctx0" brushRef="#br0" timeOffset="176590.78">6303 6396 1228 0,'-10'-1'522'0,"0"0"-17"0,4 1-119 0,-1 0-2 0,7 0-61 15,-7-1-19-15,7 1-48 0,0 0 3 0,-9-2-49 16,9 2-36-16,0 0 18 0,0 0-44 16,0 0-12-16,0 0 17 0,16 4-48 15,-6-3 69-15,5 1 0 0,3 0-17 0,5-2-124 16,0 1 38-16,1-1-30 0,1 0-25 0,1 1-34 15,-1-2-85-15,1 0-19 0,0 1-22 16,-3-1-35-16,0 0-54 0,0 1-56 16,-5-2 2-16,-2 0-181 0,-2 3-392 0,-3-1 87 15,-1 1 18-15,-5 1 94 16,-2-1 124-16</inkml:trace>
  <inkml:trace contextRef="#ctx0" brushRef="#br0" timeOffset="176782.3">6203 6567 1195 0,'-15'3'402'0,"7"-2"-26"0,-2 3-66 0,7-3-11 16,1 0 8 0,2-1-58-16,0 0 7 0,5 7-44 0,2-4-7 15,3-2-29-15,4 0 4 0,3 2-32 0,4 0-97 0,2-3-10 16,2 0 18-16,4-2-13 0,1 1-28 16,-3-1-20-16,1 0-39 0,0-2-39 0,-3 2 9 15,-4 1-65-15,0-1-33 0,-1-1-95 0,-4 3-71 16,-1-2-428-16,0-2-15 15,-7 3 95-15,2-1 53 0</inkml:trace>
  <inkml:trace contextRef="#ctx0" brushRef="#br0" timeOffset="177063.01">6352 6271 1315 0,'0'0'420'0,"11"3"-41"0,-2-1-46 0,4 0-11 0,3 2-15 0,1 3-41 16,4 3-17-16,3-1 2 16,8 3-39-16,-1 4-7 0,0-1-26 0,-1 4-28 0,-4-1-8 15,0 1-10-15,-6-2-15 0,-2-2-15 16,-5 2-21-16,-2 2-36 15,-4-2 2-15,-2 0-53 0,-5 4-23 0,-2 1-49 0,-6 3-74 16,-5 11-107-16,-7 0-203 0,2-2-466 0,-6 9 106 16,1-11 81-16,-7 5 77 0,-6-1 72 15</inkml:trace>
  <inkml:trace contextRef="#ctx0" brushRef="#br0" timeOffset="201093.48">7490 6340 1208 0,'0'-7'512'15,"0"7"-31"-15,-3-2-54 0,3 2-7 0,0 0-51 16,0 0-31-16,0 0-29 0,0 0-43 0,1 20-10 16,1-11-20-16,-2 1-31 0,0 7-39 0,0-2-12 15,0 2-24-15,0 2-12 0,0 1 5 16,-2 0-44-16,1 3 1 16,-1-4-42-16,2 0-20 0,0-1-23 0,-2 1-18 0,2-5-8 0,-3 1-38 15,3-1-36-15,0-1 8 16,0-2-19-1,0-2-17-15,-3 1-33 0,3-2-41 0,0-3-16 0,0 1-53 0,0-1-27 16,0-5-139-16,3 2-416 0,-3-2 111 0,0 1 15 0,0-1 79 16,0 0 77-16</inkml:trace>
  <inkml:trace contextRef="#ctx0" brushRef="#br0" timeOffset="201360.74">7439 6337 1530 0,'5'-17'456'0,"0"3"-1"0,5 3-81 0,3 0-26 0,-2 3-97 0,3-1 5 0,2 1-15 0,0 5-19 16,-1-1 9-16,3 4-37 0,-3 1 70 0,1 3-8 16,-1 1-44-16,-2 1-22 0,0 2 17 0,-3 0-10 15,0 3-51-15,-5-2-5 16,1 1-95-16,-4 2-3 0,-2 0 4 0,0 1-1 0,-3 0-5 15,-2 0 2-15,0 3-10 0,-3-2 1 16,-2 0-6-16,0 2-10 0,0-4-59 0,-3 1 5 16,3-1-25-16,-3 0-21 0,0-3-39 0,1-2-12 15,3 1-28-15,-3-1-52 0,4-1-12 16,0-3-74-16,1 1-118 0,1-3-72 0,-1 1-420 0,4-1 57 16,1 1 66-16,2-2 151 15,0 0 26-15</inkml:trace>
  <inkml:trace contextRef="#ctx0" brushRef="#br0" timeOffset="201784.53">7734 6364 1052 0,'0'0'432'0,"0"0"-33"0,10 6-4 0,-7-4 35 0,2 3-18 0,0 1-41 15,0 2-31-15,0 1-17 0,0 0-34 0,-2 3-59 16,-1-1 6-16,1 2-36 0,0 3-31 0,-1-2-21 16,0 0-20-16,-2 1-28 0,0 1-16 15,0-3-17-15,1 0-13 0,-1 2-8 0,2-6 10 16,-2 2-20-16,-2-2-3 0,4 1 3 0,-4-2-3 16,2-2 36-16,-1 1 18 0,1-1 8 15,0-2-13-15,0-4 8 0,-2 2-6 16,2-2-2-16,0 0-21 0,0 0-68 31,0 0 2-31,2-14 5 0,-2 4 23 0,1 1-13 0,-1-3-10 0,2-1-21 0,1-4 29 0,1 2-10 16,0-2 2-16,1 1 15 0,2 1-7 0,-2 1-14 15,5 1 1-15,-4 1-13 0,2 1-15 0,-1 4-33 16,3-1-32-16,1-1-14 0,-4 5-27 0,3-2-27 16,0 2-16-1,-2 2-63-15,0 0-45 0,0 1-150 0,-3 1-54 0,3 1-458 16,2 1 105-16,-2 0 86 0,2-1 88 0,-2 3 41 0,-3-1 61 15</inkml:trace>
  <inkml:trace contextRef="#ctx0" brushRef="#br0" timeOffset="202301.48">8121 6425 1464 0,'-5'1'389'0,"-3"4"-49"0,1-2-30 0,-1 2-29 0,-2 1 4 0,0 0-42 0,1 2-15 0,2 2-36 0,-1-4 2 0,1 2-45 15,1 2-4-15,1-2 55 0,0-2-31 0,3 1-46 16,-1-1 7-16,3 0-27 0,0 1 4 0,0-3 6 0,0-2-59 15,5 3 35-15,-3-5 14 16,-2 0-44-16,11 0 22 0,-11 0-27 0,8-5 13 16,-1 2-16-16,-2-3 23 0,1 0-7 0,1-3-1 15,-2 1 24-15,1 0-3 0,-2-3-10 0,2 4 12 16,-2-1 42-16,0 2-47 0,0-2 37 16,-1 4-11-16,0-1-10 0,-1 0-54 0,-1 3 28 15,-1 2-18-15,0 0-10 0,0 0 34 16,0 0 4-16,0 0-38 0,7 8-59 15,-7-1-2-15,3-2 2 0,-3 1-7 0,0 1-8 16,0 0 4-16,2 4 22 0,-2-4-3 0,0 1 0 0,0 1 0 16,0-2-26-16,2-1-33 0,-2 1 2 15,3-1-32-15,-3 0-21 0,1 0-24 16,1-1-12-16,-2-2-18 0,2 2-35 0,1-3-22 16,-3 3-17-16,3-4-38 0,1 3-70 0,-4-4-125 15,6 1-479-15,-1-1 103 0,-5 0 45 0,0 0 214 16,13-2 9-16,-8 1 3 31</inkml:trace>
  <inkml:trace contextRef="#ctx0" brushRef="#br0" timeOffset="202616.34">8339 6419 1105 0,'0'0'423'0,"-11"-1"-39"0,11 1-16 0,-10 1-50 16,5 1-19-16,0 1-30 0,0-1 10 0,-3 0-41 15,3 2-28-15,0 2-23 0,0-2-18 16,2-1-13-16,-1 3 0 0,3-1-36 0,-1 2 8 16,2-1 44-16,0 1-16 0,2 3-3 0,-1-4-30 15,3 3 8-15,-1-3-90 0,2 1-5 0,-2 4 15 16,4-5-13-16,-4 1-15 0,2-1 44 16,-2 1-21-16,2 0-5 0,-3-2 7 15,1 2 19-15,-3-1 15 0,2-1-16 0,-4-1-12 0,0 0-21 16,-1 2 11 15,-2-1 10-31,0-1 5 0,-1 0-21 0,-2 1-23 0,-2 0-17 0,0-4-21 0,2 3-39 0,-2-2-27 0,0-1-47 16,2 1-41-16,-2-2-30 0,2 2-54 0,0-2-85 15,1 0-137-15,2-2-464 0,-1 2 92 32,6 0 38-32,-7-3 118 0,4-1 59 0,3 4 116 0</inkml:trace>
  <inkml:trace contextRef="#ctx0" brushRef="#br0" timeOffset="202986.84">8367 6281 1320 0,'0'0'425'0,"0"0"18"16,0 0 28-16,0 0-10 0,8 8-52 16,-6-2-35-16,1 1-100 0,-3 4-16 0,0-3-9 15,0 4-44-15,0 1-21 0,0 3-33 0,0-3-5 16,0 3 46-16,-3 0 10 0,3-2-54 0,0 2-12 15,0-2-36-15,0-1-13 0,0-1 2 16,0 0-7-16,0 1-18 0,3-5-12 0,-3 1 6 16,0-2 6-16,3-1-12 0,-1-1 4 0,0-3 8 15,1 2-5-15,2-3 25 0,-5-1 11 16,8 1 2-16,-8-1-17 0,10-2-22 16,-7-1 24-16,-3 3-28 0,10-1 18 0,-5 0-11 15,-5 1 11-15,11 1-29 0,-6-1 14 0,2 1 22 16,1 3-64-16,-3-3 29 0,3 4-21 0,0-2 0 15,-1 2-20-15,-2-1 20 0,1 0-31 16,-2 1-56-16,2 0-61 0,-3-3-44 0,1 2-57 16,1-1-35-16,-2 1-56 15,-1-2-93-15,-2 1-209 0,3-1-392 0,0-2 41 0,-3 0 69 0,0 0 71 16,8 3 119-16,-8-3 53 16,0 0 74-16</inkml:trace>
  <inkml:trace contextRef="#ctx0" brushRef="#br0" timeOffset="203867.56">8770 6468 1446 0,'0'0'391'0,"0"0"-12"0,-11 1-41 0,11-1-51 0,-10 2-18 15,5 2 50-15,-1 1-27 0,0-3-20 0,0 2-14 16,1-1-22 0,0 2-52-16,0 1-20 0,-1-2-21 0,2-1 18 0,0 3-25 0,2-4-23 15,0 3-21-15,-1 0-21 0,3-4 16 0,0-1-23 0,-3 7-30 16,3-7 12-16,0 4 20 16,0-4-22-16,0 0 25 0,0 0-38 0,10-1-3 15,-10 1 18-15,8-5 0 0,-8 5-8 0,8-4-7 16,-3 3 5-16,-2 0-13 0,-3 1 15 15,7-1-9-15,-7 1-4 0,8-1 6 16,-8 1 10-16,0 0-21 0,10 2-25 0,-7-1 33 0,-3-1 6 16,7 1-29-16,-1 1 13 15,-6-2 10-15,8 2-26 0,-8-2 9 0,10 0-1 0,-10 0-2 16,10 0-6-16,-10 0 8 0,8-1-30 16,-3 0 5-16,0-1 20 0,-5 2 5 0,10-1 3 15,-5 0-39-15,-5 1 29 0,8-1 4 16,-8 1-14-16,8 0-6 0,-8 0-5 0,10 0 13 15,-10 0 7-15,7 1-12 0,-1 0-18 0,-6-1-13 16,7 0 8-16,-7 0-18 0,8 0-1 0,-8 0-17 16,10-2 18-16,-4-2-8 0,-1 4 23 15,2-6 6-15,2 2-16 0,0-2-3 0,-1-2 28 16,3 0-2 15,-4 1 28-31,3-4 16 0,-2 0 20 0,0 2 31 0,0-4 20 0,-1-3-10 0,-2 0-75 0,1-1 16 0,-4-1-20 0,3 1 38 16,0 1-13-16,-2 4 18 0,-1 0 26 15,1 3-13-15,-3 0-13 16,2 2-3-16,1 3 16 0,-3 1-20 0,0 3 17 0,0 0-15 16,0 0 10-16,0 0 8 0,-3 19-3 0,3-8-12 15,-2 1-19-15,-1 1 14 0,1 2-32 0,2 1-19 16,-3 1-42-16,3 1-23 0,-2 1-30 0,2-2-29 31,0-4-15-31,0 3-67 0,0-6-30 0,0 0-26 0,2 4-15 0,-1-3-16 0,3-3-40 16,1-3-90-16,-2 1 38 0,-1-3 38 0,4-1-106 15,-2-2-349-15,-4 0 117 0,14-3 109 16,-7-4 431-16,-2 1 99 0,3-2 76 0,-3-3 115 16,3-4 18-16,-3-2 43 15,0-1 31-15,3-6 11 0,0 2-8 0,-5-3 12 0,4 1 4 16,-2 1 9-16,0 6-18 0,-2 1-66 16,2 0-5-16,0 3 0 0,-3 5 33 0,-1 2-13 15,-1 2-10-15,2 1 70 0,-2 3-1 0,0 0-3 16,0 0-22-16,-5 17-11 0,5-8-15 15,-2 3-15-15,-2 0-26 16,2 6 20-16,-3-2-109 0,2 2 10 0,1 0-29 0,0 1-35 0,1 0-16 16,-4-1-20-16,3 1-21 0,-1-6-22 15,1 2-37-15,-1-5-38 0,1 2-30 16,1-3-24-16,-1 0-48 0,2-2-93 16,-3-3-94-16,3-2-481 0,0 2 76 0,0-4 105 0,0 0 11 0,0 0 99 15</inkml:trace>
  <inkml:trace contextRef="#ctx0" brushRef="#br0" timeOffset="204130.73">8944 6418 1392 0,'0'0'466'16,"-6"-3"-121"-16,6 3-27 16,0 0-14-16,0-3-27 0,0 3-11 0,0 0 57 0,8-5-52 15,-5 3-10-15,4-1-18 0,1 1-43 0,0 0 10 16,5-2-18-16,-1 3-39 0,2-3-30 15,-2 1-44-15,-1-2-40 32,4 4-11-32,-2-3-61 0,-2 2-34 0,1-2-45 0,-2 2-86 0,0-2-121 0,1 2-71 0,-3-1-531 0,2 1 104 15,-2 1 55-15,-3 1 68 0,-5 0 82 16,10 0 70-16</inkml:trace>
  <inkml:trace contextRef="#ctx0" brushRef="#br0" timeOffset="204589.56">9106 6462 985 0,'5'-6'448'0,"0"2"-49"0,2 1-40 0,-2-1 14 0,3 1-50 16,0 0 17-16,0 2 47 15,-1 0-37-15,1 1-14 0,0 0-14 0,2 1-50 0,-2 0-11 16,-1 5-3-16,1-3-71 0,0 0 18 15,-1 2-126-15,-2 1-5 0,1 0-2 16,-2-1-28-16,2 2-49 0,-3-1-24 0,2-3-40 16,-1 4-54-16,-3-2-43 0,1 0-49 0,1 1-77 15,0-3-140-15,-4 2-37 0,4-5-470 0,2 4 112 16,-5-4 41-16,8 2 128 0,-5-2 47 16</inkml:trace>
  <inkml:trace contextRef="#ctx0" brushRef="#br0" timeOffset="204826.45">9554 6212 1433 0,'0'0'433'0,"0"0"22"0,2 8 34 0,-2-2-31 0,0 2-58 0,0 2-22 15,-2 2-35-15,2 1 3 0,-2 0-134 16,-1 5-25-16,-2 1-18 0,0 2-43 0,0 2-47 0,-1 1-74 15,-1-3-95-15,-1 1-50 0,3-3-78 0,0-4-71 32,-1 2-139-32,2-3-71 0,1-2-345 0,6-2 58 0,-3-3 54 0,4-2 107 0,-1-3 49 15</inkml:trace>
  <inkml:trace contextRef="#ctx0" brushRef="#br0" timeOffset="205230.27">9749 6262 1151 0,'-11'1'412'16,"-1"1"-28"-16,-3 3-33 0,-3 1-13 15,-3 2-8-15,-2 3-7 0,2-4-8 16,-2 5-31-16,3-1-33 16,0 1 84-16,4-3-41 0,3 1-7 0,0-1-3 0,3 2-148 0,2-1 2 15,0-2 15-15,4-1-25 16,1 0-20-16,3-1-6 0,0 1 6 0,0-2-6 0,5 1-25 0,-2-1-3 15,5-2-33-15,1 2-13 0,2-5-22 16,-1 0-12-16,6 0-47 0,-1-2-9 16,1-1 26-16,1 0-5 15,1-3-17-15,0 1 32 0,0-1-12 0,-3 0 30 0,1 0-25 0,-4 0 43 16,-1 2 0-16,2 0 21 0,-3-1 28 0,-3 2-6 16,1 0-9-16,-2 1 12 0,-2 1 24 15,-4 1 9-15,0 0-17 0,9 3-16 16,-7 0 16-16,3 0-18 0,-4 2-21 0,1 1 18 15,-2 1 16-15,0 0 61 0,0 3-31 0,-2-3-43 0,1 1-36 16,-2 3-11-16,1-3-55 16,0 2-62-1,-1-1-65-15,0 1-68 0,0-1-77 0,-1 0-161 0,1-1-433 0,3-1-110 0,-3-2 75 16,1-1 122-16,2-2 136 16,0-2 46-16,0 0 31 0</inkml:trace>
  <inkml:trace contextRef="#ctx0" brushRef="#br0" timeOffset="205371.31">9759 6295 1000 0,'0'0'269'0,"0"-3"-56"16,0 3-93-16,-3-3-146 0,3 3-222 0,0 0-402 0,0 0 82 16</inkml:trace>
  <inkml:trace contextRef="#ctx0" brushRef="#br0" timeOffset="205580.83">9834 6336 1187 0,'-3'13'387'0,"3"-2"-14"0,-3-1 22 0,1 3 17 0,-1-2-77 15,1 0 3-15,-3-1-39 0,2 1-107 0,-2 1-2 0,0 0-26 16,0 1-39-16,0-3 0 0,-1 0-27 15,-1 2-21 1,-1-2-29-16,1-2-43 0,1-1-46 0,1 2-38 0,0-4-34 0,0 0-89 16,0 0-133-16,0-5-108 15,2 2-417-15,3-2 72 0,0 0 102 0,0 0 41 0</inkml:trace>
  <inkml:trace contextRef="#ctx0" brushRef="#br0" timeOffset="206570.06">9977 6169 1264 0,'0'0'471'0,"0"0"-21"0,0 0 34 0,0 0-8 0,3 12-33 16,-3-7-72-16,0 3-7 0,-3 3-24 0,1 1 6 16,2 1-70-16,-3 1-99 0,0 0-18 15,-1 3 7-15,1 0-25 0,-2-1-3 0,2 1-28 16,-2 0-15-16,2-2-8 0,-1 3-18 0,0-5-5 15,0-1-13-15,1 0 5 0,0 0-10 0,1-4 8 16,0 0-10-16,1 1-14 0,-1-2 1 16,2 0 13-16,-3-2-11 0,1-3-10 0,2 3-8 15,0-5-2-15,0 0 36 0,5 3-49 16,-5-3 10-16,0 0-15 0,0 0 5 0,10-5 18 16,-5 2-23-16,1 2-8 0,-2-4 5 15,2 5-12-15,-2-1-6 0,-4 1 24 0,11-2-16 16,-11 2 5-16,8 0 3 0,-8 0-24 0,8 2-4 15,-4-1 38-15,-4-1 15 0,6 4-2 16,-4-3-5-16,-2-1-11 0,5 2 1 0,0 1-1 16,-5-3 8-16,6 2-15 0,-6-2 0 0,5 1 12 15,-5-1 3 1,8-1-15-16,-8 1 3 0,10-1 4 0,-6-1-10 0,2-1 16 0,-1 2-11 16,2-1 11-16,-1-2-11 0,-3 4 10 0,-3 0-7 15,8-5 5-15,-4 5-12 0,-4 0 9 16,0 0 3-16,10 3-3 0,-7-1-2 0,-3-2 16 15,7 4-11-15,-4-2 0 0,0 2 7 16,-1-1 3-16,1 1 8 0,2-2-18 0,0 2-10 16,0-2 5-16,-2 2 0 0,2-2 28 0,0-2-20 15,-5 0-14-15,8 2 11 0,-8-2 16 16,10 0 2-16,-10 0-11 0,5-2-4 0,-5 2 15 16,5-4-16-16,-2 1-2 0,-1 2 0 15,-2-3 21-15,3-1-8 0,-3 5-6 0,0-8 19 16,0 3-3-16,0 0-15 0,2 0-21 0,-1 1-10 15,-1-1 30-15,0-1-22 0,0 2 10 0,2 0 10 16,-2 0-8-16,0 4 6 0,3-6-23 16,-1 5 7-1,-2 1-8 1,0 0 6-16,0 0 2 0,0 0 5 0,5-1 11 0,-5 1 12 0,0 0 16 0,0 0-21 0,6 6 44 0,-6-6-21 16,0 0-2-16,2 2 25 0,-2-2-4 15,0 0 1-15,2 4-25 0,-2-4 24 0,0 0-24 0,0 0 5 16,0 0 90-16,0 0-10 0,0 0-29 15,0 0 26-15,11-5-36 0,-6 0-5 16,-3 3-22 0,4-4-12-16,-1 1-14 0,0 2-24 0,2-2-38 0,1-1-28 0,-2 3-33 0,-1 0-42 0,2 2-14 15,-4 0-27-15,-3 1-45 0,8 0-28 16,-8 0-39-16,7 3-21 16,-6 2-114-1,1-1-126-15,-2-1 76 0,2 3-449 0,-2-2 27 0,3 0 123 0,-3 7 98 0,3-7 491 0,-1-2 102 16,1 1 60-16,2 0 99 0,-5-3 43 15,8 0 124-15,-8 0 25 0,0 0-8 0,10-1-58 16,-5-2 12-16,-3 0 8 0,4 0 3 0,-2 0 76 16,2-2-7-16,-1 2-26 0,-2-2-15 15,1 1 12-15,-1 3-7 0,0-3-20 16,-3 4 4-16,5-3-33 0,-5 3-17 0,0 0-17 0,0 0-6 16,13 6-19-16,-11-4-23 15,3 2-17-15,-2-1 9 0,2 1-101 0,0 2-6 16,3-3-41-16,-3 1-31 0,3-1 1 0,-3 0-60 15,3-1-20-15,0 3-45 0,-1-5-58 0,1 0-14 16,0 0-155-16,-8 0-35 0,12-2-463 16,-4 1 56-16,-3-1 128 0,-5 2 53 0,5-1 88 15</inkml:trace>
  <inkml:trace contextRef="#ctx0" brushRef="#br0" timeOffset="206866.24">8980 6756 1167 0,'0'-1'386'0,"0"1"8"0,10-7 26 16,1 2-20-16,6 0-45 0,7-2-9 16,19-3-11-16,6 2-12 0,2 0-67 0,18-4 7 15,0 0-48-15,1 1-87 0,4-2-23 16,3 2-28-1,2 1-8-15,1-1-33 0,-3 3-18 0,-5-1-21 0,-6 2-58 0,-12 1-36 0,-5 1 10 16,-11 3-64-16,-7-1-31 0,-3 0-13 16,-4 2-58-16,-7 1-90 0,1-1 8 0,-5-2-472 15,-5 2 19-15,-1 1 89 0,-1 1 95 16,-6-1 8-16</inkml:trace>
  <inkml:trace contextRef="#ctx0" brushRef="#br0" timeOffset="207162.37">8887 6755 1095 0,'-14'0'461'16,"5"0"-16"-16,2 1-43 0,6-1-110 0,1 0 2 16,0 0-43-16,21 2 23 0,-5-4 84 15,7 1-120-15,8-3-30 0,19 1-14 16,7 0-20-16,15-3-5 0,0-1 10 0,3 2-33 15,1-1-5-15,-2 2-3 16,1-2-28-16,2 0-15 0,-3 0-18 0,-5 0-13 0,-12 1-13 0,-6 0-15 16,-2-1 5-16,-3 3-16 0,-15-1-45 15,-3 1-6-15,-8 0-2 0,-2 2 8 0,0-1-26 16,-2 0-11-16,-4 0-25 0,1 2-17 16,-3-1-14-16,-2 1-61 0,2-2 0 0,-4 2 2 15,1-2-25-15,-7 2-66 0,10-1-142 0,-7 2 1 16,0 1-451-16,1-1 61 0,-4-1 80 15,0 0 90-15,6 4 48 0</inkml:trace>
  <inkml:trace contextRef="#ctx0" brushRef="#br0" timeOffset="-176855.44">6908 7205 1382 0,'8'-4'435'0,"0"3"-36"0,2-4-38 15,2 3-26-15,4-2-38 0,2 2-25 0,3-3-42 16,-1 2-46-16,3 0-28 0,5-2-63 16,-3 1-70-16,-1 0-139 0,-1 4-65 0,0-5-70 15,-2 4-514-15,-1-1-47 0,-4 3 93 16,-4-1 56-1,-2 1 82-15</inkml:trace>
  <inkml:trace contextRef="#ctx0" brushRef="#br0" timeOffset="-176613.9">6913 7300 1630 0,'0'0'430'16,"-5"4"-43"-16,5-4-34 0,0 0-23 15,0 0 67-15,13 3-26 0,-3-2-36 0,1 2-133 16,-1-1-22-16,3-2 6 0,5 0-42 0,0 0-14 16,-1 0 14-16,7 0-57 0,-2-2-21 15,1 2-35-15,1-4-64 16,-3 4-39-16,1-2-51 0,-4-1-48 0,-3 1-34 0,1 2-100 16,-3-6-99-16,-1 6-487 0,-1-1 59 0,-4 0 177 15,1-3 38-15,-3 3-15 0</inkml:trace>
  <inkml:trace contextRef="#ctx0" brushRef="#br0" timeOffset="-176320.89">7154 7045 1433 0,'8'0'530'0,"-8"0"-62"0,13 0-25 0,-3 4-28 0,1-2-39 0,4 5-28 0,2-1-95 16,1 5-2-16,3 0 8 0,-3-1 2 0,2 1-43 16,-7 2-42-16,0-2-9 0,-2 2 91 0,-4 0-56 15,-2 4-10-15,-2-3 5 0,-5 0-28 16,-1 5-25-16,-5 4-19 0,-7 6-43 16,2-1-56-16,-2 0-75 0,-1-1-84 0,-5-1-62 0,6-4-56 15,2-3-99-15,1-3-188 0,1 2-504 0,-4-1 118 16,5-4 80-16,2 0 78 15,0-3 96-15,6-1 35 0,-1-3 77 0</inkml:trace>
  <inkml:trace contextRef="#ctx0" brushRef="#br0" timeOffset="-175629.22">8228 7063 1466 0,'-2'-2'533'0,"-3"-1"-16"16,-3 1-46-16,1 1-44 0,-1 1-56 0,0 1-23 15,-2 2-33-15,0 2-13 0,-5 2-69 0,4 4 23 16,-2 1-48-16,0 0-4 0,1 6-25 0,1 0 1 16,1 1-37-16,0 0-10 0,5-1-13 0,-1-2-30 15,1 2-8-15,3 1-10 0,-1-4-6 16,3 0-15-16,1-2-15 0,1 1 13 0,0 0-16 15,3-4-15-15,-2 3 13 0,5-3-24 16,-3-2-7-16,2-1 16 0,3-1-19 0,-2-1-45 16,1-3-55-16,1 1 1 0,0-1-39 15,0-2-31-15,0-2-43 0,0-1-56 16,6 1-57-16,-6-3-132 0,3 0-523 0,0 1 56 0,2-1 108 16,-4-2 100-16,3 1 94 0,0 0 14 15</inkml:trace>
  <inkml:trace contextRef="#ctx0" brushRef="#br0" timeOffset="-175134.02">8490 7144 1356 0,'0'0'433'0,"-7"-2"-29"0,1-1-25 0,6 3-36 0,-12 4-33 0,6-3-24 16,-4 3-25-16,3 0-30 0,-1 1 20 16,0 3-80-16,-2-1-2 0,2 3 8 0,1-1-49 15,-4 1 7-15,4 0-1 0,1-2-40 0,-1 4 9 16,1-4-6-16,-1 4-28 0,4-6-18 0,-2 1-10 16,5-1 3-16,-2 0-16 0,2-1-5 15,2 0 2-15,1-3-12 0,-3-2-13 0,7 4 5 16,-2-4 18-16,-5 0 0 0,13-4-7 0,-7-1 17 15,1 2-7-15,0-2 2 0,1-2 36 16,-2-2 2-16,-1 1-9 0,0 1 14 16,0-1-4-16,0 1 2 0,-2-2-72 0,2 3 19 15,-2 0 2-15,-1 0 18 0,0 3-6 0,-1-1 1 16,1 2-18-16,-2 2 5 0,0 0-23 16,0 0 5-16,0 0 12 0,0 0 4 15,0 13-1-15,-2-6 11 0,1-1-16 0,1 2-7 0,0 1-14 16,-2-2-17-16,2 1-8 0,2-2-41 15,-2 4-4-15,0-2-27 0,0-2-7 0,1 1-21 16,1-1-7-16,1-1-13 0,-3 0-54 0,3-2-13 16,1 3-33-16,-1-5-87 0,2 2-31 0,-5-3-50 15,6 1-424-15,-2-1 78 0,-4 0 53 16,13-3 67-16,-10 1 64 16</inkml:trace>
  <inkml:trace contextRef="#ctx0" brushRef="#br0" timeOffset="-174627.65">8564 7208 1164 0,'0'-6'335'0,"0"6"-15"0,0 0-30 0,0 0-14 15,0 0-12-15,0 0-13 0,0 0-24 0,0 0 4 16,3 17-37-16,-5-12 19 15,2 1-42-15,-1 0-2 0,1 0-15 0,0 1-36 16,-2 1-6-16,2-1-2 0,-3 2-7 0,3-2 2 16,-2 0-23-16,2 0-16 0,-1-2-2 15,1 0 13-15,0-1 10 0,-2 1 33 16,2-5-35-16,0 6 109 0,-2-4 6 0,2-2-26 0,0 0-18 16,0 0-10-16,0 0-3 0,0 0 19 0,0 0-50 15,15-7 16-15,-10 6-25 16,-2-1 9-16,-3 2-20 0,8-4-5 0,-4 3-2 0,-1-1-16 15,-3 2-8-15,11-2 3 0,-7 1 3 0,-4 1-3 16,0 0-15-16,13 1 2 16,-8-1 5-16,-5 0 8 0,11 3-23 0,-11-3 5 0,8 1-105 15,-6 0 26-15,-2-1 12 0,0 0-2 16,8 0 57-16,-8 0-14 0,5 0 13 0,-5 0 93 16,7 1 10-16,-7-1-72 0,9 3-64 31,-5-3 0-31,-4 0 0 0,8 2 0 0,-3-2 0 0,0 0 0 0,-5 0 0 0,8 2 0 0,-8-2 0 15,10 2 0-15,-7-1 0 0,-3-1 0 0,7 1 0 16,-7-1 0-16,8 0 0 0,-8 0 0 16,7-1-285-16,-3 0-65 0,-4 1-83 0,7-4-289 15,-4 4-396-15,1 0 99 0,-4 0 74 16,6-6 165-16,-6 6 37 16,8-2 83-16,-5-3 84 0,4 1 33 0</inkml:trace>
  <inkml:trace contextRef="#ctx0" brushRef="#br0" timeOffset="-173703.49">8913 7112 1136 0,'-2'-5'504'0,"2"5"-48"0,-3-1-49 0,3 1-46 0,0 0-34 15,0 0-19-15,-5 7-40 0,5-2-19 16,-2 3-27-16,2 2-2 0,-3-1-15 0,2 3-33 15,1 3-24-15,0 1-12 0,0-2 5 0,-2 3-16 16,2 0-30-16,2-2 12 0,-2 0-32 0,0-1-17 16,0 0 29-16,1-2-28 0,-1-1 0 15,0-2-28-15,3 2 10 0,-3-3-3 0,0-1 29 16,0 1-21-16,0-1-18 0,2-3-13 16,-2 1 11-16,0 1 5 0,2-2-3 15,-2-1-10-15,0 1 18 0,0-4-21 0,0 6 5 0,0-6 21 16,0 6-18-16,0-6 18 0,0 4-25 15,0-4-9-15,1 4 37 0,-1-4-39 0,0 0-15 16,2 4 5-16,-2-4 7 0,0 0 19 16,0 3 2-16,0-3-18 0,0 0 5 0,0 0 0 15,0 0 1-15,0 0-14 0,0 0 18 0,0 0 3 16,3-13 13-16,-1 5-3 16,-2 1-2-16,3-2 10 0,-1-1-24 0,3 0-9 0,0-2 12 15,3 4-12-15,-2-3 17 0,4 3-4 16,-3 1-70-16,3 1 26 0,-2 1-16 0,0 0 32 0,0 4 9 15,0 0 26-15,-1 2 26 16,-1 0-16-16,1 3 36 0,-2-2-25 0,0 4 14 0,-2 0 12 16,-1 1 32-16,0-1-30 0,-1 0 12 15,-2 1-7-15,-1-1 2 0,0 3-38 0,-1-1 0 16,-4-1 3 0,1 1-1-16,1-1-12 0,-3 0-49 0,1-2-10 0,-1 0-59 0,1 1-39 15,1-3-58-15,-2 1-34 0,3-4-43 16,-3 0-46-16,4 3-56 0,4-3-85 0,-10-3-108 15,6 0-421-15,2-1 45 0,2 0 125 0,0-1 78 16,2-3 40-16,-1 0 65 16</inkml:trace>
  <inkml:trace contextRef="#ctx0" brushRef="#br0" timeOffset="-173300.09">9032 7263 760 0,'4'-6'366'0,"2"3"23"0,-2 0 33 0,2-2-28 0,-1 3-43 0,2 0-8 15,-2 0-5-15,3 1-33 0,-2 1-1 16,4 1-25-16,-3 2-8 0,4-1-30 0,-4 2-16 15,3 1-17-15,0-2-19 0,-1 4 0 0,1-1-35 16,-2 4-21-16,0-2 5 0,-1 2-4 16,-2-1-37-16,-3-1-5 0,1 3-13 0,-3-3 11 15,0 3-31-15,0-5-8 0,-3 5-13 0,1-4 16 16,2 0-8-16,-2 0-13 0,-1-1-4 16,0-1 1-16,1 0 6 0,2-2-8 0,0-3-12 15,-3 5-4-15,3-5 1 0,0 0-15 0,0 0 7 16,0 0-10-16,0 0-6 0,3-19 14 0,-1 12-6 15,1 0 3-15,0-3 23 16,1 2-28-16,4 1 18 0,-3-4-15 0,3 3-14 16,0-1 14-16,-1 1 25 0,1 1-31 0,0 0 11 15,2 1-11-15,-2 1 3 0,2 0 15 16,-2 3-5-16,2 1 3 0,-2-3-26 0,2 4 10 16,0 0 16-16,0 1-11 0,-2 2 21 0,0 0-10 15,2 2-3-15,-5-1 21 0,3 0-6 16,-3 1-22-16,0 1 12 0,-2 0-23 0,-1 0-7 15,1 1-14-15,0-1-30 0,-3 0-56 0,0 1-34 16,0-3-68-16,0-1-70 0,0 3-156 16,0-1-607-16,-1 0 85 15,1-5 133-15,-2 3 59 0,2-3 69 0,0 0 92 0,0 0 36 16</inkml:trace>
  <inkml:trace contextRef="#ctx0" brushRef="#br0" timeOffset="-173162.23">9316 7206 890 0,'-5'-4'341'0,"2"3"-42"0,3 1-53 16,-5-6-98-16,5 4-117 0,0 2-144 15,3-6-555-15,2 1 80 0,0 0 22 0</inkml:trace>
  <inkml:trace contextRef="#ctx0" brushRef="#br0" timeOffset="-172365.33">9569 7045 1164 0,'8'5'497'0,"-8"0"-31"0,3-2-29 0,-3 3-19 0,2 1-32 0,-1 4-89 0,-1-3-28 16,2 3 0-16,-2 0-14 0,2 1-52 15,-2 1-14-15,0 0-10 0,3 0-46 0,-3 0 26 16,0 0-33-16,3-1-29 0,-3 1-5 16,2-3-15-16,0-1-41 0,-1 1-8 0,1-2-5 15,1-2-3-15,-1 3-17 0,-2-5 15 16,0 2-8-16,0-1-5 0,1-3 10 0,-1-2 19 15,-1 5-42-15,1-5 26 0,-8 1-21 0,8-1 21 16,-10 0-15-16,5 0 22 0,-2 0 27 16,-1 3-9-16,0-1 6 0,1-2-13 0,-1 5 17 15,-2-2-19-15,4 2 17 0,-1-1 0 0,1 2-15 16,-1-1 28 0,2 0-5-16,0 0-13 0,2 2-8 0,-2-1 6 0,5 0-14 0,-3-2 27 15,3 2-3-15,3-3-6 16,0 2-4-16,1-1 12 0,2-1-25 0,2 1-19 0,-1-2-4 0,3-2-5 15,0 0-54-15,1 0-24 16,4 0-14-16,1-2-39 0,2-3-39 0,2 0-37 0,-2 2-14 16,0-2-61-16,0-2-36 15,-3 2-38-15,1-2-41 0,-1 1 35 16,1-2-68-16,-1 0 38 0,-5 1 46 0,0 0 79 0,-2 4 80 16,-2-3 82-16,1 2 78 0,-4-1 55 0,-1 2 46 15,0 0 41-15,-2 3-1 0,0-7 40 0,0 7 9 16,0 0 21-16,-4-6-13 0,4 6 15 15,0 0 83 1,-3 0-1-16,3 0-18 0,0 0 19 0,0 0-14 0,-8 7 3 0,6-1-99 0,-1 0 22 16,3 4-28-16,0-2 13 0,0 4-18 15,0 1-15-15,0 0 4 0,0 2-6 0,0-1-40 16,0 0 1-16,-2 3 0 0,2-2-19 31,-3 3 4-31,0-6 2 0,-1 6 5 0,1-5-18 0,0 1-5 0,0-4 72 0,-1-1 9 16,1 2-68-16,3-4 26 0,-5 0-11 0,5-2-41 15,-2 2-10-15,2-4-10 0,0-3-21 0,4 2-23 16,-4-2 8-16,0 0-36 0,16-9-10 0,-9 2-23 16,6-2-34-16,2-5 1 0,1-2-11 15,-1-3 8-15,6-5 12 0,-6 4 14 16,-2 2 15-16,0-1-26 0,0 6 34 0,-3 0 17 0,-2 5 21 16,-1-1 21-16,-1 2 2 0,-2 1 30 0,-3 4 22 15,2 0 12-15,-3 2 12 0,0 0-7 16,0 0 3-16,0 0 43 0,-4 14-35 0,2-8 27 15,2 1-40-15,0 0 25 0,0 1-41 16,0 1 31-16,2-2-28 0,-1 1 20 0,2-2-28 16,1 1-18-16,2-1-20 0,-2 0-31 31,2 0-49-31,1-2-20 0,1-2-67 0,0 3-43 0,0-4-31 0,-1 1-71 16,1 0-65-16,2-4-253 0,-2 2-479 0,0-2 95 0,0 2 87 0,-1-4 192 15,3 1 0-15,0-3 62 0,1-1 112 16</inkml:trace>
  <inkml:trace contextRef="#ctx0" brushRef="#br0" timeOffset="-171954.32">10528 7394 1180 0,'-10'-5'404'0,"8"4"-20"15,2 1-13-15,2-11 8 0,-2 5 5 16,3-1 48-16,0-2-35 0,-1-4 10 0,3 0-38 16,-2-3-147-16,1-4-12 0,2-3-5 0,-1-3-36 15,2-7 5-15,2-2-10 0,0 9-54 0,-3 2 15 16,1 4-2-16,1 2-25 0,-3 3-9 15,2 1 14-15,-1 5-32 0,2-1-2 16,-3 7 3-16,0 0-5 0,2 5-21 0,-7-2 0 0,11 7 28 16,-6 0-18-16,0 5-43 0,0 2 43 15,0 4-38-15,1 0 5 0,-1 0 13 32,0 3-23-32,0 4 2 0,0-3-10 0,-3-1-25 0,1-2-18 0,2 0-37 0,-3 0-22 0,-1-6-26 0,2 4-46 15,-1-4-12-15,0-1-27 16,-2-2-30-16,1-1-51 0,1-3-87 0,-2 0-88 0,3-1-480 15,-3-3 58-15,0-2 100 0,0 0 41 16,0 0 75-16,0 0 58 0</inkml:trace>
  <inkml:trace contextRef="#ctx0" brushRef="#br0" timeOffset="-171471.72">10593 7334 709 0,'-13'-2'389'0,"-3"2"12"0,4 0 24 16,-2 0-84-16,4 0-3 0,0 0 25 15,5 2 65-15,-1-2-32 0,6 0-27 0,-12 0-44 0,12 0-28 16,-5-2-28-16,5 2-18 0,0 0-16 0,0-6 1 15,0 6-52-15,10-6 16 16,-2 1-24-16,2 1-15 0,3-2-33 0,5-3-15 16,-3 1-16-16,3 1 18 0,-2 0-4 0,2-1-37 15,2-1 26-15,-4 4-24 0,4-1-14 16,-5 2 2-16,-2 0-10 0,2 2-8 0,-2-2 10 16,0 4-23-16,-5 0-15 15,2 1 21-15,0 4-11 0,1-4-5 0,-6 5-8 0,3 0 3 0,-3 0-5 16,0 1 15-16,0-1-18 0,0 4 47 15,-3-3-50-15,1 0 32 0,2-1-24 0,-4 1 36 16,1-1 29-16,0 0-93 0,1-1 23 0,-3 0 46 16,3-2-10-16,-3 1-17 0,0-4-29 15,4 2 0-15,-4-2 0 0,0 0 0 0,0 0 0 16,11-11 0-16,-8 6 0 0,2 0 0 16,2-4 0-16,1 2 0 0,0 0 0 0,-3 1 0 15,0-1 0-15,2 2 0 0,-1 3 0 16,-1-2 0-16,2 4 0 0,1 0 0 0,-8 0 0 15,13 3 0-15,-5 0 0 16,0 2 0-16,-3 1 0 0,3 1 0 0,2-1 0 0,-3 1 0 0,1 3 0 16,-1-3 0-16,-1 0 0 0,2 0 0 15,-4 0 0-15,4-1 0 0,-3-1 0 16,1 0 0-16,-2-2-6 0,2 2-339 0,-1-5-34 16,2 2 0-16,-1-2-61 15,4-2-200-15,0 2-5 0,-2-5-366 0,5 3 64 0,-3-4 115 0,3 1 72 16,-1-1 84-16,2 2 56 15</inkml:trace>
  <inkml:trace contextRef="#ctx0" brushRef="#br0" timeOffset="-170533.48">11275 7277 773 0,'5'-1'240'0,"-5"1"-2"0,3-2 72 15,-3 2-11-15,4-4-9 0,-4 4-37 0,3-3 6 16,0 0-16-16,-3 3-79 0,4-3 28 0,-1-1-13 16,-3 4-8-16,0-3 26 0,0 3-7 0,0-5-3 15,0 5 69-15,0 0-11 16,-3-6-22-16,-1 3 2 0,4 3-40 0,-8-1-4 0,8 1 27 15,-11 1-62-15,4 1-16 0,-1 0 13 0,1 1 1 16,-1 1-29-16,-2 0-5 0,2-2-10 16,-2 5 2-16,5-3-12 0,-3 1-19 15,2-1-4-15,-1 2-23 16,0 0-1-16,4-1-61 0,-3 1 23 0,1-1-15 0,3-2-5 0,-1 2 4 16,1-3 17-16,2-2-32 0,0 0 21 15,0 0 12-15,0 0-1 0,10 4 4 0,-10-4-5 16,0 0 13-16,13-6-13 0,-8 6-13 0,0-2 11 15,-5 2-1-15,10 0-17 0,-4-3 10 16,-6 3 5-16,12 3-18 0,-4-3 0 16,-3 2 31-16,1-1-13 0,4 0-8 0,-3 2 11 0,1-2-24 15,2-1 29-15,0 0-3 0,0 0 8 0,1-2-13 16,2-2 2 0,0 2 1-16,-1-3 2 0,4-2 13 0,-3 2 13 0,2-4 7 15,-2 0 11-15,-1 0 33 0,-1-2 33 0,1 0-120 16,-2-2 41-16,-1-1-57 0,1-5 47 0,0-1 4 15,-2-2-24-15,-3 1 12 0,5-2-34 16,-5 2 16-16,1 4 0 16,-2 1 5-16,-1 5 29 0,2 0 4 0,-4 0-30 0,1 4 10 0,0 2 15 15,-2 3-13-15,0 2-12 16,0 0 28-16,0 0-36 0,-12 12 43 0,7-2-48 0,-1 1 23 16,-2 5-15-16,1-2 7 0,0 4 13 0,1 0-36 15,-2-3 8-15,3 3-18 0,3-1 3 16,-1-2-6-1,1-3-5-15,4 1 1 0,-2-1-19 0,3-4 5 0,1 2-7 0,-1-3 28 16,3-2 5-16,1-2-15 0,1 0-11 16,-1-1 3-16,1-2 18 0,-2 0-20 0,4-2 17 0,-3 0 6 15,1-1-3-15,0 1 20 0,-3-2-35 16,2 2 10-16,-1-1 25 0,-1 2 3 16,0 0-15-16,0-1 20 0,0-1-10 0,-5 3-23 0,8-1 5 15,-5 0 17-15,1-2-9 0,-4 3 5 0,8-2 5 16,-3 2 2-16,3-2-25 0,-3-1 10 15,0 1-10-15,1 0 13 0,1 0 7 0,1 0-18 16,-1 2 14-16,1 0-14 0,0 2 31 16,-1 0-13-16,1 1 31 0,0 2 11 0,0-2 30 15,-1 6-5-15,-2-1 12 0,3 5-9 0,0 0 25 16,-3 4 10-16,0 0-15 0,-2 0-5 16,-1 2 30-16,0-2-33 0,-2 3-12 0,-2-2-3 15,-2 0 23-15,-2 0-29 0,1-4 55 16,-5 2-34-16,-1-2-36 0,4-2-63 0,-6-1-37 15,5-2-78 1,0-4-86-16,0 1-50 0,1-4-62 0,2 3-92 0,-1-6-207 0,2 0-446 0,1-3 77 16,0-1 125-16,6-2 67 0,-3-2 82 15,3-6 98-15,-1-1 24 0</inkml:trace>
  <inkml:trace contextRef="#ctx0" brushRef="#br0" timeOffset="-170332.83">11923 6993 1200 0,'0'0'504'0,"0"0"-20"0,0 0 48 0,0 0-38 16,2 13-40-16,-4-5-96 0,2 4-23 0,0 0-46 15,-2 5-35-15,2-1-14 0,-3 5-19 0,1 0-19 16,1-1-18-16,1 3-53 0,-2 1-44 16,-3 1-51-16,2-1-52 0,1-1-73 0,-1-5-55 15,-2 1-66 1,2-1-64-16,-2-4-79 0,3 1-33 0,-4-6-124 0,4 1-380 0,-1-3 63 15,1 0 118-15,-1-5 84 0,1 2 36 0</inkml:trace>
  <inkml:trace contextRef="#ctx0" brushRef="#br0" timeOffset="-170090.58">11828 7324 936 0,'0'-5'359'16,"0"0"-19"-16,0 5-35 0,3-7-19 0,0 0-45 15,4 1-16-15,-2 0-28 0,3-1-2 16,2 1-29-16,0 1-4 0,1-2-19 15,1 0-18-15,1 0 16 0,0 2-13 0,0 3 33 16,-1-2 3-16,2 4-3 0,-2-2 11 0,-1 2-29 0,-1 0 116 16,0 2-42-16,0 2 9 15,0-2-32-15,-2 3-15 0,0 0 1 0,-3-2-32 16,3 4-2-16,-6-1-18 0,1 0-33 0,0 1-39 16,-1-1-66-16,-2 0-47 0,-2 1-27 15,2-1-70-15,-3 1-71 0,0 0-133 0,-1-2-254 16,1 0-402-16,2-3 124 0,1-2 93 0,0 0 78 15,0 0 107-15,0 0 3 0</inkml:trace>
  <inkml:trace contextRef="#ctx0" brushRef="#br0" timeOffset="-169468.19">12236 7161 1515 0,'-2'4'491'0,"2"2"-9"0,0-1-47 0,0 1-64 0,-1 3 0 0,2-2-49 0,-1 0-40 0,0-1-21 0,2 2-18 16,0-2-28-16,1 0-15 0,0-1-57 0,1 1-17 0,2-3-39 0,2 1-39 15,-1-2-32-15,3-2-32 0,-2 0 1 16,2 0-23-16,1 0 10 0,-1-2 4 0,0-2-6 16,3 1 12-16,-6-1 15 15,4-2-27-15,-3 1-11 0,-1 2 43 0,-2-2 8 0,1 3 1 16,-1-2 24-16,-2 3-24 0,-3 1 17 16,0 0 18-16,0 0-15 0,0 0-3 15,4 6 15-15,-4-6 1 0,3 6-13 0,-3-1 20 0,0-2 0 16,0 3-25-16,3-4-14 0,-1 2 50 15,1-1-32-15,2-1-14 0,0 0-8 0,3-2-3 16,0 0-18-16,2 0 23 0,0-2-12 16,3-2-1-16,2-1 8 0,0-3-18 0,1 1 21 15,-3-1 0-15,5-8 25 0,0 3-2 16,-3-4-29-16,5-10 42 0,-1 3-16 0,-1-2 5 16,-6 2 34-16,1 6 15 0,-6 4 0 0,-1 0 58 15,1 2-25-15,-3 1 19 0,0 4-12 16,-4 2-14-16,0 4 40 0,0 1-76 0,0 0 20 15,-13 12 8-15,6-4-49 0,2 4 18 16,-3 2 62-16,2 2 2 0,-1-2-10 0,4 4-34 0,-1-4 9 16,3 2-68-16,-1-3-6 15,4 1-58 1,-1-2-43-16,-1 1-38 0,4-1-54 0,-1-2-46 0,2-1-53 0,1-3-70 0,-2 1-133 0,-4-2-200 16,6 0-399-16,-1-4 141 15,2 3 28-15,-2-3 120 0,-5-1 121 16,6 0 48-16,-6 0 49 0</inkml:trace>
  <inkml:trace contextRef="#ctx0" brushRef="#br0" timeOffset="-168651.57">12454 7157 1103 0,'0'-3'420'0,"0"-2"-26"0,0 0-49 0,0 5-7 0,0-7-20 0,-2 4-24 15,-1 0-10-15,3 3-33 0,-5-1-31 0,5 1 31 16,-8-3-64-16,8 3-26 0,-11 6 10 15,4-1-22-15,2-1-26 0,-1-1 0 0,2 4-29 16,-4 2 6 0,0-5-18-16,3 3-5 0,2 0-5 0,-1 0-21 0,3-1 3 0,-1-3-3 15,2 3-10-15,0-1 25 0,0 1-9 0,2-4-29 16,3 2 5-16,1-3-25 0,-1 0-6 0,2-1 8 16,3-1 6-16,-1 1-11 0,3-5 28 15,-2 3-30-15,4-4 2 0,-4 1-15 0,2-4-1 16,-4 1 22-1,3-2-19-15,-4 0 11 0,0 1 9 0,1-1-12 0,-2 2 34 0,-2 1-32 16,-1 2 21-16,0 0-10 0,-1 0 10 31,-2 5 0-31,0 0-5 0,0 0-13 0,0 0 10 0,0 0-15 0,0 0 16 0,-10 15-11 0,5-9 8 16,3 0-6-16,1-3-24 0,1 3-17 16,-2 0-2-16,4 0-7 0,-2-4 10 0,3 2-13 15,2-1-3-15,-2-1 5 0,5-2 1 0,-1 0 15 16,0-2 2-16,4-1 6 0,2-1-1 15,-2 0 3-15,3-5 0 0,-1 1 52 16,2-3-37-16,-4-2 11 0,5-2 5 0,-4-3 17 16,1-1-7-16,3-10-23 0,-4 1 44 0,1-3-29 15,-3 8 13-15,-4 4 6 0,1 6-29 0,-2 1 28 16,0 1 0-16,-2 7-10 0,-3 1 8 16,0 3-3-16,0 0 26 0,-13 7-11 0,6 4-9 15,-2 3 50-15,-9 14-25 0,3 0 10 0,0 2-7 16,0 0-24-16,5-5 16 0,2-4-8 15,5-1-49 1,-2-2 19-16,3 0-9 0,4 0-35 0,-2-5-56 0,2 0-6 0,1-1-28 0,2-2-45 16,1-2-58-16,1-1-106 15,-2-1-175-15,3-2-496 0,-1-2 127 0,1-2 60 0,0-2 102 16,0-2 79-16,2 3 26 0</inkml:trace>
  <inkml:trace contextRef="#ctx0" brushRef="#br0" timeOffset="-168076.5">12059 7120 1021 0,'-13'7'397'0,"8"4"-49"0,-2-3-26 0,1 2-12 16,1-3-36-16,3 1-34 0,-1 1-25 15,3-1-7-15,-2-1-29 0,2 3-20 16,2-2-34-16,1 0-35 0,2 1-60 0,2-1-42 16,1-2-73-16,0 1-89 0,5-2-141 0,-1 1-448 15,4-4-20-15,-1 0 107 0,3 2 67 16</inkml:trace>
  <inkml:trace contextRef="#ctx0" brushRef="#br0" timeOffset="-167516.33">12221 7064 1156 0,'-8'5'326'0,"-5"1"4"0,3 1-41 0,2-1 49 16,-2 2-23-16,0 2-41 0,2 1-8 0,0-1-15 15,3 1-44-15,-2 1-25 0,4-1 20 16,0-2-48-16,3 2-11 0,0-1-36 0,3 0-30 16,0 0-56-16,4-2-55 0,0 0-48 31,1 1-48-31,2-2-136 0,-2-1-113 0,3-4-468 0,-1 2 22 0,0-2 134 0,0 0 51 16,1 0 70-1</inkml:trace>
  <inkml:trace contextRef="#ctx0" brushRef="#br0" timeOffset="-167257.39">12046 7070 1136 0,'0'0'430'15,"-5"-1"-51"-15,5 1-72 0,-5-2-69 0,5 2-110 16,-5-3-77-16,5 3-125 0,0 0-231 0,0 0-373 16,0 0 59-16,0 0 56 0</inkml:trace>
  <inkml:trace contextRef="#ctx0" brushRef="#br0" timeOffset="-115115.7">3681 7343 1942 0,'-6'-4'599'0,"6"4"-56"0,-2-1-57 0,2 1-74 0,0 0-23 0,-3-4-43 0,3 4-36 0,0 0-18 16,0 0-6-16,0 0-48 0,15-2-28 0,-15 2-3 15,13 0-12-15,-5 0-49 0,2 0 2 0,3 0-35 16,0 0-11-16,2-1-7 16,1 0-3-16,2 0-56 0,-1-1-10 0,1 1-19 0,0 1-45 15,-2 0-44-15,1 0-13 0,-1 0-61 16,-3-2-2-16,-1 2-19 0,2 0-51 0,-4 0-25 0,0 0-24 16,0 0-178 15,-2 2 9-31,-3-1-270 0,0 1-193 0,0-1 87 0,-3 1 77 0,-2-2 87 0,1 5 42 0</inkml:trace>
  <inkml:trace contextRef="#ctx0" brushRef="#br0" timeOffset="-114858.5">3703 7448 893 0,'0'0'327'0,"-7"1"-9"0,7-1-24 0,0 0 67 0,0 0-8 0,0 0-30 0,0 0-29 16,0 0-79-16,0 0-28 15,0 0 20-15,22 0 26 0,-13-3 8 0,1 1-36 0,5 1-18 16,-2-3-16-16,5 3-10 0,0-4-20 0,0 2-10 16,2-1-39-16,1 3 31 0,0-4-31 15,-1 3-49-15,0-3 1 0,-2 4-44 0,3-4-28 16,-6 3-23-16,-2-1-26 0,2 2-44 0,-5-3-17 16,1 1-46-16,-1 3-90 0,-2-2-161 15,-1-2-440-15,1 4 53 16,0-2 46-16,-3-2 93 0,0 4 89 0,-3-2 46 0</inkml:trace>
  <inkml:trace contextRef="#ctx0" brushRef="#br0" timeOffset="-114514.45">3934 7229 1057 0,'0'0'450'0,"0"0"-125"0,0-4-23 0,0 4-38 0,0 0 7 0,12 0-25 0,-12 0-13 0,17 0-8 0,-7 2-41 0,3 0-15 15,2 0-15 1,0-1-6-16,3 3-17 0,0-2 12 0,0 4 1 0,3-1-21 0,-4 0-8 16,-1 0-5-16,-1 2-15 0,-2 1 4 15,0-1-9-15,-3 1-6 0,-2 3-25 16,-5 2-5-16,-2-2 15 0,-2 3-2 0,-2 3-24 15,-5 2-25-15,-4 1-15 16,-6 6-31-16,0-1-44 0,-1-1-59 0,-2 2-38 0,1-2-41 0,0-1-79 16,2-3-136-16,2-6-476 15,1 4 77 1,0-1 102-16,-1-2 26 0,1 2 77 0</inkml:trace>
  <inkml:trace contextRef="#ctx0" brushRef="#br0" timeOffset="-112882.61">4532 7201 1215 0,'0'0'336'0,"0"0"-24"0,-6 5-23 0,6 2-15 0,0-1-3 15,0 2-50-15,0 3 6 0,0 2-32 0,0 0-31 16,3 3-16-16,-3-1-15 0,0 3 0 16,0-1-25-16,3 2-11 0,-3-4-12 0,0 2-37 15,0-2-14-15,0 1-29 0,0-2-28 0,2-1-23 16,-2 2-29-16,0-4-55 0,0 0-60 0,2 1-78 16,-2-5-29-16,1 3-481 15,1-2 17-15,-2-2 103 0,0 0 67 0</inkml:trace>
  <inkml:trace contextRef="#ctx0" brushRef="#br0" timeOffset="-112250.72">4473 7374 885 0,'-6'-16'443'0,"2"3"-23"0,3 0-31 15,-1 2-38-15,2 1-103 0,2-1-36 0,-1 0-4 16,3 2-11-16,2-1-16 0,-1 1-32 0,4-1-8 15,-1 3-18-15,3 1-16 0,1 0 8 0,-1 1-12 16,-1 3-9-16,0 1-19 0,3 2 37 31,-5 0-25-31,2 3-10 0,1-2 33 0,-4 4-23 0,1-1-2 0,-3 3-9 0,0-2-7 0,-2 1-5 16,0 2 18-16,-3-1-18 0,2 0-7 0,-4 3-6 16,-1-4 13-16,0 5-26 15,-2-5 6-15,2 4 17 16,-4-3-17-16,2-2-16 15,0 3-8-15,0-5-4 0,-1 2-29 0,1-1 15 0,0 0-19 0,0-3-9 0,2 2-41 0,-4-4-2 16,7 0-7-16,0 0-24 0,-10-4-10 16,9 2 5-16,1 2 0 0,-2-9-8 0,2 6 34 15,2-3-6-15,1 0 14 0,2 0 4 0,-2 1 6 16,2-2 12-16,0 1-10 0,3 3 41 16,-3-2-2-1,3 1-3-15,1 2-8 0,-1-1 21 0,0 1-8 0,2 2 15 0,-2 0-10 0,2 2 29 16,-2 2 4-16,2-1 1 15,0 1-16-15,-2 2 23 0,2 3 16 0,-2-1-24 16,-3 1-2-16,1 1 18 0,1-2 2 0,-4 4 6 16,1-4-16-16,-1 1 5 31,-2-1-12-31,1 2 20 0,-2-3 15 0,0 1-13 0,0-2-14 0,0 0 40 0,0 1-23 0,0-3 23 0,-2-1-21 16,2-3 22-16,0 5-29 0,0-5-1 0,-3 3-9 15,3-3-3-15,0 0 1 0,0 0-17 0,-1-14 14 16,1 8-8-16,0-2 2 0,3-1-4 15,0 0-19-15,2-4-7 0,-2 2-5 16,1 1-37-16,2-1 4 0,-2-1-27 0,3 4-4 0,0-2-10 16,0 4-11-16,1-2-31 0,-3 2-35 15,2 1-16-15,1 3-36 0,0-2-96 16,-3 4 9-16,-2 1-115 0,4 2-422 0,-3-1 113 16,3 2 50-16,-2 0 78 0</inkml:trace>
  <inkml:trace contextRef="#ctx0" brushRef="#br0" timeOffset="-111450.39">4911 7363 1034 0,'0'-5'327'0,"0"-2"-22"0,0 1-41 0,0 0-3 0,-3-1-8 16,3 1-41-16,-2-1-9 0,-1 1-4 16,3 0-37-16,-2 3 55 0,-1-1-20 0,1-1-23 0,2 5-20 15,-3-1 5-15,3 1-26 0,0 0-28 16,0 0-16-16,-8 7-2 0,8-1 5 0,-2 0-38 15,-1 2 28-15,3 0-26 0,-2 1-4 16,1-2-4-16,1 3-4 0,1-2-19 16,1-1 3-16,-2 2-10 0,3-2-20 0,-1 0 7 15,0-1-5-15,2 0 3 0,-2-4 7 0,0 4-23 32,4-5 5-32,-4 2 11 0,-2-3 12 0,8 3-2 0,-8-3 0 0,7-2 0 0,-7 2 22 15,4-5-12-15,0 3 16 16,-1-2-8-16,-3-1 12 0,3 0 1 0,-1-2 14 0,0 3-29 15,1-3 14-15,0-1-22 0,-3 5 7 0,2-3 23 16,0 0-31-16,1 1 9 0,-3 2-1 0,3 0-3 16,-3 3-2-16,2-7 3 0,1 5-16 15,-3 2 3-15,3-4 31 0,-3 4-21 0,0 0-21 16,0 0-2-16,10 0 13 0,-10 0-18 0,5 7 28 16,0-4-3-16,-2 0 3 0,0 1-33 15,2-2 13-15,-1 2-3 0,-1-3 28 0,2 4-10 16,-2-2 2-16,-1 2-15 15,1-1 11-15,2-2-24 0,-3 3 5 0,1-3 6 0,0 2 15 16,-3-4-18-16,2 4 20 0,1-1 1 16,0-2-6-16,-3-1 44 0,2 5-49 0,-2-5 26 15,2 2-61-15,-2-2 30 0,0 0-10 0,3 4 12 16,-3-4 1-16,0 0 7 0,0 0-12 0,0 0-3 16,0 0 5-16,0 0-5 0,5-8 13 15,-5 8 0-15,3-4-6 16,-1-1 24-16,1 3-23 0,-3-2-8 0,3-1 7 0,-1 1-9 0,1 0-24 15,-1-1 31-15,1 4-12 0,-1-4-16 16,-2 5 25-16,6-3 11 0,-2-1-36 0,-1 3 5 16,-3 1 3-16,11-2 7 0,-11 2 16 15,7 1-21-15,-7-1 15 0,10 2-2 16,-4-2-7-16,-2 4 9 0,0-3 19 0,0 1 2 16,-1 1-13-16,0-1 5 0,1-1-9 0,-4-1-9 15,6 5 0-15,-4-4 9 16,-2-1-17-16,5 3 27 0,-5-3 12 15,5 2-8-15,-5-2 16 0,3 1-10 0,-3-1-11 0,0 0 11 0,0 0 10 16,0 0-13-16,0 0 5 0,10-5 10 0,-10 5-30 16,0 0 2-16,3-2 0 0,-3 2 1 0,5-1-14 15,-5 1-5-15,5-1 24 0,-5 1-19 16,7 0 8-16,-7 0 3 0,11 0-8 31,-11 0 0-31,10 0-21 0,-4 0 6 0,-6 0-26 0,10 0-13 0,-5-3-25 0,-5 3-16 0,10 0-30 16,-10 0-52-16,7 0-22 0,-7 0-52 15,8-1-56-15,-2 1-123 0,-6 0-13 0,7-3-425 16,1 1 26-16,-5 0 92 0,4-2 48 0,-1 3 86 16</inkml:trace>
  <inkml:trace contextRef="#ctx0" brushRef="#br0" timeOffset="-111218.27">5370 7256 1172 0,'0'-4'443'0,"0"4"-39"0,0 0-10 0,0 0-28 15,0 0-35-15,0 0-37 0,0 0 0 16,0 0-33-16,0 0-35 16,8 10 4-16,-3-8-20 0,-3 4-21 0,1 0-22 0,0-2-34 15,1 1 5-15,-1-1-13 0,0 2-50 0,-1 0-27 16,-1 0-32-16,1 0-98 0,-2 0-31 16,2-1-66-16,-2 0-162 0,0 0-130 0,0 0-478 15,3-1 114-15,-3-4 73 0,0 6 117 0,0-6 43 16</inkml:trace>
  <inkml:trace contextRef="#ctx0" brushRef="#br0" timeOffset="-111112.55">5367 7176 860 0,'-2'-2'309'0,"2"2"-48"0,0-5-66 0,0 5-16 0,-3-6-43 0,3 6-88 16,0 0-117-16,0 0-130 0,0 0-429 0,0 0 27 15</inkml:trace>
  <inkml:trace contextRef="#ctx0" brushRef="#br0" timeOffset="-110405.95">5472 7208 1172 0,'1'5'404'0,"-1"-1"-109"16,2-2-27-16,0 4-32 0,-1-2-16 0,4-1-20 0,-3 3-6 15,0-2-25-15,2-1-10 0,0 1-26 16,-1-1 0-16,0 1-36 0,1-3 1 0,2 3-1 16,-1-2-5-16,0-1-10 0,-5-1-21 15,8 0 80-15,-8 0 0 0,8-2-11 0,-3-1-19 16,-1 1 34-16,2-1 50 0,-3-2-36 0,2 0-6 16,0 0-22-16,0-1 4 0,-3 4-12 15,1-4-74-15,0 1-13 0,-1 3 12 0,3-2-7 16,-5 1 0-16,2 0 3 15,2 0-26-15,-4 3-16 0,4-4 16 0,-4 4-2 0,0 0 14 16,0 0-12-16,0 0-5 0,11 5-3 16,-9-3-15-16,1 2 21 0,0-2 1 0,-1 3 12 15,-2-5-17-15,5 4-9 0,-2-2 10 0,-1 0-11 16,1 2-14-16,-3-4 22 0,5 2 3 16,-3 1-26-16,-2-3 18 0,3 2-3 0,-3-2 6 15,6 2 10-15,-6-2-8 0,0 0-7 0,0 0 5 16,10-4-6-16,-8 0 11 0,3 4-18 0,-2-3 2 15,-1-1-2-15,1 2-3 0,0-2 8 16,-3 4 16-16,5-5-9 0,0 4-4 0,-3-2-8 16,-2 3 23-16,6-5-13 0,-4 5-8 15,-2 0 11-15,8-4-11 0,-8 4 14 0,4 0 7 0,-4 0-8 16,0 0-5-16,11 4-23 0,-11-4 23 16,6 0-5-16,-6 0-13 0,7 3 29 15,-7-3-16-15,5 2 10 0,-3 0 5 0,-2-2 6 16,6 1-3-16,-6-1 38 0,3 1-15 15,-3-1 67-15,4 3-21 0,-4-3 30 0,0 0-122 16,0 0 21-16,0 0 9 0,11-3 14 0,-11 3-11 16,5-1 0-16,-5 1-5 0,5-5 20 0,-3 3 1 15,-2 2-26-15,6-5-16 0,-1 4 24 16,-1-1-18 0,-4 2 27-16,6-3-4 0,-1 1-13 0,0 1 15 0,-5 1-25 0,10-1 18 0,-5-1-3 15,1 2 0-15,-6 0-8 0,12-1 8 16,-4 1 10-16,-3 0-66 0,1-2 48 0,1 0-32 15,-2 0 1-15,1 2-43 16,1-3 0-16,-2 1-45 0,1 1-35 0,-6 1-25 0,7-5-25 16,-2 4-64-16,-2 0-31 0,-3 1-100 0,5-4-77 15,-5 4-535-15,0 0 64 0,0 0 170 16,0 0-11-16,0 0 115 0,0 0 36 0</inkml:trace>
  <inkml:trace contextRef="#ctx0" brushRef="#br0" timeOffset="-110120.66">4873 7632 1067 0,'10'-6'402'15,"0"-1"5"-15,1 1-13 0,7 0-43 0,5-3-111 16,15-4-7-16,3-2-18 0,12-4-15 15,6 0-13-15,1 0-16 0,4-2-30 0,-3 1-10 0,3 0 14 16,-4 1-32 0,-2 0-31-16,1 2-13 0,-3 1-54 0,-12 3-30 0,-3 1-26 0,0 1-18 15,-12 5-59-15,-7 1-56 0,-3 1-99 0,-4 0-78 16,-5 2-210-16,-2 0-181 16,-1 1 25-1,-4 1 52-15,-3 0 112 0</inkml:trace>
  <inkml:trace contextRef="#ctx0" brushRef="#br0" timeOffset="-109868.59">5121 7615 1305 0,'16'-2'397'0,"4"-4"-26"15,0 4-31-15,-1-4-22 16,9 1-34-16,10-7-10 0,4 0-29 0,1-1-40 15,1 0-15-15,-1 1-21 16,-2-1-8-16,2 0-18 0,-4-1-5 0,0-1-28 0,-1 2-17 16,-2 1-37-16,-8 3-5 0,-4 1-18 0,-4-1-27 15,-2 3-12-15,-3 0-17 0,-2 3-25 0,0-2-42 16,-3 0-33-16,0 3-18 0,-2-1-7 0,-1 1-41 16,-1 1-57-16,-6 1-112 15,7 1-213-15,-4-1-184 0,-3 0 79 0,2 7 46 0,-2-7 80 16</inkml:trace>
  <inkml:trace contextRef="#ctx0" brushRef="#br0" timeOffset="-109132.96">5618 7531 934 0,'8'7'315'16,"-2"4"-13"-16,1 3-8 0,6 5 52 0,5 12-19 0,10 12-50 15,6 2 4-15,-1 4-45 0,3 3-21 0,2 0-8 16,3-1-28-16,-3-1-20 0,4-3-36 16,-4 1-8-16,0-3-36 0,-4-2-27 15,0-5-24-15,1-1-15 0,-9-7-19 0,-3-4-12 16,2-2-48-16,-6-7-44 16,-7-4-44-16,1-3-40 0,-5 1-21 0,-3-8-100 0,2 0-507 15,-1 3 44-15,-2-5 87 0,-4-1 74 0</inkml:trace>
  <inkml:trace contextRef="#ctx0" brushRef="#br0" timeOffset="-108767.03">5729 7636 798 0,'17'9'297'0,"-1"-2"13"15,10 14-44-15,4 5-15 0,14 6-5 0,-1 6-21 0,1 0-31 16,0 4 1-16,-1-1-31 0,-2 0-3 0,0-2-10 16,-4 2-13-16,-1-3-38 0,-3 0 72 15,-8-8-50 16,-4 2-4-31,4-1 5 0,-7-3-59 0,3 2-18 0,-3 0-10 0,-3-9-31 0,-2-3-41 0,-5 1-12 0,7-1-14 0,-7-5-15 0,-1 1-35 16,1 0-44-16,-2-4-75 0,1-4-84 16,-2 3-381-16,-2-4-82 0,2-1 138 15,-2 0 79 17</inkml:trace>
  <inkml:trace contextRef="#ctx0" brushRef="#br0" timeOffset="-108270.85">6128 8438 1251 0,'6'11'392'0,"4"2"-42"0,0 1-32 0,3 4-24 16,0 1-109-16,8 6-6 0,2 1-21 15,-1-2-12-15,2-1-2 16,2-3-9-16,-4-6 45 0,-1 0-24 0,-1-2-16 0,1-2 17 15,-3-3-58-15,0 0 19 0,-2-5-15 0,-4 0-4 16,3-3 9-16,1-2-21 0,-4-1 10 0,4-5-25 16,-1 1-11-16,1-6 6 0,-1-2 17 15,3-11-30 1,-2-1-8-16,-3-3 18 16,2-1-25-16,-5-2 7 0,1-6-34 0,-4 3-9 0,-2-1 15 0,0 9-33 0,0 1-3 0,-2 2-26 0,-1 7 6 15,-2-1-11-15,3 1 0 0,-3 2-12 16,0 3-29-16,0 2-50 0,-3 0-45 0,3 2-99 15,0 3-87-15,-2 4-302 0,2-1-113 0,-3 1 23 16,3 3 116-16,0 0 27 16,-5-2 67-1</inkml:trace>
  <inkml:trace contextRef="#ctx0" brushRef="#br0" timeOffset="-102417.63">7393 8482 660 0,'-3'3'279'0,"3"-3"-31"0,-5 3-30 0,5-3 10 0,-5 2-39 16,5-2 11-16,-3 3-31 16,3-3-11-16,0 0 24 0,0 0-18 0,0 0-26 15,0 0-15-15,0 0 10 0,0 0-5 0,16-6-18 16,-11 1 72-16,3 3-34 15,-1-4 11-15,1-1-36 0,-1 3-3 0,1-4-5 0,-2 2-20 16,1 1 7-16,-2-1-2 0,0 1 0 0,0 2-18 16,1-2 41-16,-4 3-54 0,3-2-25 15,-5 4 22-15,6 0-7 0,-6 0-8 16,7 6-20-16,-2 0 2 0,-3 1-7 0,2 4 10 16,0 2 5-16,-3 1-8 0,4 0-5 15,-3 3-2-15,-2 2-1 0,1 0 1 0,-1-1-21 0,0 1-90 16,0 0-4-16,-1 0-14 0,1-1 6 15,0-1-36-15,-2-3-10 0,2 2-16 16,-3-1-20-16,3-2-11 0,0-1-89 0,0-2-71 16,0-2-27-16,0 0-416 0,3-2 69 0,-3 0 53 15,0 0 100-15</inkml:trace>
  <inkml:trace contextRef="#ctx0" brushRef="#br0" timeOffset="-102183.55">7352 8775 1149 0,'-6'-2'312'0,"6"2"-7"0,-2-4-19 0,2 4-27 0,0 0-18 0,0 0-29 16,10-5-10-16,-2 4-18 0,2-1-25 0,-2 1 15 16,7-2-23-16,-2 0-18 0,3 0-15 15,-1 0-10-15,1-1-3 0,4 1-6 0,-5 0-17 16,3-3-38-16,0 3-19 0,2-1-27 0,-4-2-11 15,2 0-38-15,-3 1-28 0,-2 3-32 16,5-4-55-16,-5 1-103 0,2 1-58 0,-5 0-70 16,1-1-348-16,1 1 18 0,2-1 113 15,-4 1-1-15</inkml:trace>
  <inkml:trace contextRef="#ctx0" brushRef="#br0" timeOffset="-101886.38">7803 8489 1131 0,'-13'-1'381'0,"3"1"-22"0,2 2-6 0,0 2-36 0,1-1-7 15,4 0-34-15,-5 4-40 0,1-1 74 0,2 5-26 16,-1 0-5-16,4-1-16 0,-3 2-53 16,2 1-15-16,1 5-31 0,-1-5-26 0,3 2-51 15,0 0-28 1,3-2 0-16,-1 0-18 15,4 1-6-15,1 1 1 0,-2-2-33 0,5-2-29 0,-2-2-40 0,3-3-29 0,-1 1-2 16,2-1-49-16,-2-1-3 0,4-4-32 0,-4 4-29 16,3-5-87-16,-1 0-69 0,1-1 43 15,0-3-465-15,0 3 17 0,-1-1 91 0,-1-3 29 0,-1 1 70 16</inkml:trace>
  <inkml:trace contextRef="#ctx0" brushRef="#br0" timeOffset="-101582.08">8013 8585 796 0,'1'-8'381'0,"1"1"-7"0,-2 2-44 0,2 2-13 16,1-2-25-16,-3 5-31 0,3-2-2 0,-3 2-1 16,0 0 6-16,10 5-41 0,-5-2 30 15,2 3-43-15,-1 0-13 0,-1 1 8 0,2 4-90 16,1-1-8-16,-5 1-20 0,2 1 6 0,0 2 1 16,-3 0-12-16,1 0-18 15,0-1-5-15,-1 1 13 0,-2-5-11 0,0-1 3 0,2 0-2 16,-2 1 99-16,0-3-105 0,1 1 8 0,2-1 18 15,-3-3-20-15,0-3 12 0,0 0-28 16,0 0 10-16,0 0-20 0,0 0 5 0,12-13-18 16,-7 2-18-16,1 1-18 0,2-6-5 0,-1 2-30 15,3-5-14-15,3 1-12 0,-3-2-5 0,3 0-11 16,-3 2-28-16,1 1-15 16,-1 4-10-16,2 1 18 0,-4 0-42 0,0 6-9 15,0-2 4-15,-3 3-38 0,2 2-13 0,-4 0-102 16,2 3 11-16,0 0-244 0,-5 0-274 0,3 3 123 15,-3-3 20 1,3 8 72-16</inkml:trace>
  <inkml:trace contextRef="#ctx0" brushRef="#br0" timeOffset="-101110.18">8464 8650 1005 0,'-2'4'346'0,"2"-4"-16"16,0 0-28-16,0 0-12 0,21-4-22 0,-11 4-14 0,0 2-27 16,3-2-22-16,2 0-26 0,0 0-17 15,3 2-27-15,-2-4-9 0,1 2-11 0,2-2-56 16,-1 2-16-16,0 0-32 0,-3-2-40 0,3-1-40 16,-2 2-30-16,1 0-140 0,-3-2-86 15,0 1-445-15,-1-1 43 0,-2 0 51 0,-1 2 67 16</inkml:trace>
  <inkml:trace contextRef="#ctx0" brushRef="#br0" timeOffset="-100875.73">8736 8505 1195 0,'6'-3'412'0,"-2"1"-31"15,4 2-33-15,0 0-15 0,2 4-5 16,3-1-108-16,-1 3 10 0,4 0 11 0,-3 4-34 15,0-1-7-15,2 1-29 0,-5 2-27 16,1 0 9-16,-1 1-19 0,-2 1-9 0,-3 0 69 16,0-1-55-16,-5 4-6 0,0-3-21 0,-5 3-42 15,2 0-65-15,-2 0-59 0,0 0-36 16,0 0-109-16,0-5-234 0,-1 3-522 16,2-3 67-16,-2 0 118 0,4-5 76 0,-1 0 115 0,1-3 6 15</inkml:trace>
  <inkml:trace contextRef="#ctx0" brushRef="#br0" timeOffset="-99443.73">9375 8551 921 0,'0'0'315'0,"0"0"-13"0,10 4-23 16,-10-4-28-16,13-5-11 0,0 0-20 0,-1-2-28 16,1 0-20-16,3-1-36 0,-1-2 17 15,3-3 57-15,0 0-15 0,-3-1-24 0,1-2 13 16,-1 1-30-16,-5 0-87 0,0 1 4 0,1-1 39 16,-6-1 44-16,0 5 17 0,2 1 6 15,-1-1 0-15,-3 3-3 0,-1-1-28 16,1 2-29-16,-3 1 9 15,0 3-6-15,0 3-28 0,0 0 5 0,0 0 11 0,0 0-18 0,-11 9-16 16,8-2 5-16,-1 4 3 0,-2 2-18 0,4-1 10 16,-3 6-25-16,2 0-8 15,-2-1 0-15,0 2 28 16,3 1-13-16,1-1-22 0,-1 0 4 0,-1 1-15 16,1-1 8-16,2 0-44 0,0-1 18 0,0-2-51 0,2 0-10 15,1-3-11-15,-1 2-23 0,-1-3-14 0,3-2-32 0,-1 1 13 16,0-3-5-16,2-2-49 0,-2-2-4 0,4-2-9 15,-2 2-35-15,0-3-23 0,3 1-34 16,0-4-40-16,-1 1 17 0,1 0-35 16,-1-2 30-16,1 3 10 0,0-3-40 0,0 0 102 0,2 0 7 15,-2 0 27-15,-1 0 22 0,1-1 57 16,2-1 81-16,-2 4 39 0,0-5 54 16,-1 1 40-1,-1 0-15-15,2-2 52 0,-1 0 15 0,-2 0 33 0,3 1-16 0,-6-1-17 0,1 1 8 16,2-2 12-16,-5 1 0 0,3-1-7 0,-3 1 10 15,-2 2-24-15,1 0 11 0,-2-2 3 16,1 3-36-16,-1-1 4 0,1 2 6 0,-3 0-53 16,5 3 17-16,-8 0 8 0,8 0-34 15,-11 0-2-15,11 0 5 0,-7 4-7 16,0-2-26-16,1 3 5 0,3 0-3 0,1-1 0 0,0 0-2 16,-1 2 0-16,3-4-21 0,0 3 8 15,3-1 24-15,-1-2-30 16,0 2-6-16,1-2 19 0,3 0-27 15,1 1 10-15,1-1 30 0,2 2 11 0,-2-2-18 0,4 2-16 0,1-2 1 16,-2 3 4-16,1-1 4 16,-1 0-9-16,1 1 8 0,-2 0-7 0,1 1 43 0,-1-1-34 15,-2 2-9-15,0-2-1 0,-1 3-12 16,1-2 76-16,-5-3-2 0,1 3 8 0,-1 0 28 16,0-1-24-16,-1-3-42 0,-1 2 14 0,1-2-17 0,-2-2 7 15,3 5 103-15,-3-5-3 16,0 0-10-16,0 0-21 0,0 0-4 0,0 0-9 0,0 0-12 15,0 0-21-15,0-11 8 0,2 8 6 16,0-1-22-16,1-2-22 0,0 2 10 0,0-1-21 16,1-1-12-16,-1 0-8 0,2 1-18 15,1-1-46-15,1 0-13 0,-2 2-46 0,0 0 7 16,3-1-55 0,-2 0-44-16,1 3-8 0,0-2-7 0,1 1-37 0,-3-1-99 0,3 3-41 15,-3-1-15-15,3-1-101 16,-3 0 27-16,3 0-418 0,-3 1 100 0,2-3 43 0,1 5 149 15,-3-3 474-15,1 0 63 0,1-3 18 0,-4 4 85 16,2-3 49-16,-2 5 158 0,1-5 13 16,-1 4-69-16,2-1 28 0,-3-2-23 0,-2 4-8 15,3-2 11 1,-3 2-11-16,0 0 82 0,8 0-23 0,-8 0 29 0,0 0-45 16,5 7 11-16,-5-5-40 0,2 3-6 0,-2-1 12 0,0-1-35 15,1 3-5-15,1-1-8 0,-2 1-28 0,0-2-5 16,3 0-3-16,-3 2-43 15,0-2-5-15,2-1-1 0,-2 3-4 16,0-3 0-16,0-3 4 0,3 6 9 0,-3-3-83 0,0-3-5 0,0 0-2 16,5 1 23-16,-5-1 7 0,0 0-22 15,0 0 4-15,15-4-7 0,-12 2 21 16,-3 2 2-16,8-2-3 0,-3 2-25 0,-5 0 38 16,10 0-5-16,-10 0 18 15,8 0-26-15,-3 1 8 0,-5-1-13 0,5 5 13 0,0-3-7 16,-2 1-8-16,2-1 17 0,-5-2-10 0,5 3 14 15,-2 0 6-15,-3-3 12 0,4 0-24 0,-4 0 117 16,8 4-73-16,-3-4-16 0,1 1 8 16,-6-1 10-16,12 0-7 0,-4 0 25 0,0 0 38 15,2-1-7-15,-2 1-54 0,2-2 30 16,-2 2-14-16,2-2-29 0,3 2 36 0,-3 0-38 0,1-3 12 16,1 1-40-16,-1 1-4 15,1-1-32-15,1-2-21 0,-5 3-33 0,5-1-59 0,-6-1-54 16,3 2-66 15,-2 0-54-31,-2-3-69 0,1 4-292 0,-2 0-427 0,-3 0 107 0,-2 0 148 0,0 0 83 0,8-2 61 0,-8 2 130 16,0 0-25-16</inkml:trace>
  <inkml:trace contextRef="#ctx0" brushRef="#br0" timeOffset="-99047.97">10775 8449 1515 0,'-3'5'445'15,"3"1"-35"-15,-3 2-47 0,1 0-27 16,-1 4-22-16,3 0-14 0,-2 1-42 0,-1 0-25 15,1-1-23-15,1 1-33 0,1-2-82 0,-2 2-16 16,2-3-41-16,0-1-63 0,0 3-70 16,0-4-94-16,0-2-180 31,2 4-558-31,-2-3 129 0,1-1 91 0,1-2 34 0,-2-1 51 0</inkml:trace>
  <inkml:trace contextRef="#ctx0" brushRef="#br0" timeOffset="-98524.75">10893 8466 1282 0,'0'9'468'16,"2"-3"-27"-16,0 2-55 0,-2 0-15 0,0 0-35 16,3-2-47-16,-3 1-8 0,0-1-32 15,0 2-32-15,3-2 9 0,-3 1-35 0,0-2-75 16,2 0-17-16,-2-2 29 0,2 2-15 0,-1-3 107 15,-1-2-25-15,7 3-26 0,-7-3 12 16,0 0-32-16,16-7 7 0,-11 2-36 16,3 3 34-16,2-4-31 0,-2 3-11 0,2-4 1 15,-5 1-21-15,3 5 21 0,0-3-49 0,-1 3-54 0,-2-1 0 16,1 2 31-16,-6 0-2 0,12 2 9 16,-7 1-35-16,1 0-15 0,-2 2 14 15,2 0-12-15,-1 1 3 31,-2 0 2-31,-1-2-31 0,0 3-35 0,1 1-34 0,-3-1-40 0,3 1-32 0,1-2-79 0,-3 1-33 16,-1-1-25 0,5 1-108-16,-2-4-128 0,-1 3-459 0,3-3 144 0,-2 2 59 0,2-5 72 0,0 1 143 0,-5-1 8 15</inkml:trace>
  <inkml:trace contextRef="#ctx0" brushRef="#br0" timeOffset="-98205.61">11285 8389 1139 0,'-5'-1'453'0,"5"1"-62"16,-11 0-30-16,11 0-20 0,-12 0-65 0,7 3-23 0,-1 1-2 0,1-3-31 0,0 4-28 0,0 0 6 16,2 1-32-16,1 1-36 0,0-1-2 0,2 1-10 15,0 2-13-15,2 1 33 0,0 1-30 16,3 0 28-16,-2-2-42 0,2 3-4 0,0 0-3 15,1-1 20-15,-2-1-15 0,2 1-17 0,-2 0 22 16,-1-2-13-16,0 2 3 0,-1-3-107 0,-2 1 10 16,0-1 5-16,-2-1 15 0,2-1-20 15,-5 0 10 1,2 1-11-16,-5-1-4 0,1 1 18 0,0-2 9 0,-1 1-35 0,-2 0-12 16,-1-4-29-16,3 3-44 0,-2-3-22 0,0 2-50 15,0-4-24 1,1 0-73-16,-3 1-104 0,0-1-190 0,4-1-320 0,-3 1 90 0,-1-6 120 15,1 3 69-15,1-3 29 0</inkml:trace>
  <inkml:trace contextRef="#ctx0" brushRef="#br0" timeOffset="-98017.52">10895 8296 1354 0,'0'0'389'0,"0"0"-34"0,-2-4-9 0,2 4-72 0,0 0-36 0,0 0-26 0,0 0-45 0,0 0-26 16,0 0-57-16,7 14-56 0,1-7-46 15,-1 3-64-15,-1-2-145 0,4 0-122 0,3 3-426 16,2-3 66-16,3 3 110 0,2-4 82 0</inkml:trace>
  <inkml:trace contextRef="#ctx0" brushRef="#br0" timeOffset="-97440.68">11364 8424 901 0,'0'5'366'0,"2"-2"-11"0,-2 3 55 0,0 0-29 0,0 4-22 15,-2-1-37-15,4 1-51 0,-2-1-4 0,0 3 12 16,1-2-54-16,-1-1-23 0,2 4-28 16,1-1-23-16,0-1-13 0,1-2 3 0,2 2-13 15,-1-3-10-15,0-1-3 0,0-2-5 16,2 0-15-16,-1 0-11 0,2-3-68 15,-3 0 7-15,5-2 15 0,-4-2-5 0,4 2 62 0,0-7-21 16,-3 1-28-16,3 0 47 0,-2-1-27 16,0-4-22-16,2 1 38 0,-2 1 17 15,0-1-47-15,-1 1 4 0,-1 0 26 0,1 0-33 16,-2 3-1-16,-2 1-2 0,2 2 16 0,-3-1 4 16,1 3-33-16,-3 1-17 0,0 0 15 15,0 0 22-15,13 5-2 0,-11 0-22 0,-1 0 1 16,1-2-40-16,-2 3 2 0,2 0 6 15,1-1-16-15,-3-2 5 0,1 2-5 0,-1 0 11 0,2-3 7 16,0 2-23-16,1-1 40 0,0 0-11 0,-3-3-12 16,7 2 19-16,-7-2-26 0,8 0 8 15,-1 0 3-15,1 0-6 16,-8 0 18-16,11 0 18 0,-4 0 1 0,0 0-27 0,1 0 16 0,0 3-13 16,-3-1 29-16,1-2 1 0,1 5-27 15,-2-3 28-15,1 0-36 0,-2 2 18 16,-1 2 0-16,2-6-8 0,-3 7 10 0,1-5-2 15,0 2 3-15,-1-1 17 0,1 0-43 32,0-1 113-32,-3-2-24 0,3 5-10 0,-1-5-86 0,-2 0 4 0,0 0 39 0,0 0-54 0,0 0 43 15,0 0-7-15,12-7 15 0,-9 5-38 16,2-4 20-16,-2 1-15 0,4-1 2 0,-1-1 16 0,-1-1-56 16,3-1-9-16,0 1-9 0,-1 2-41 15,3-1-49 1,-3 1-26-16,1 1-46 0,0-1-23 0,2 3-38 0,-1-1 44 0,1 0-85 15,-3 2-134-15,1 1-40 0,0-1-468 16,2-1 58-16,-2 3 141 0,2-2 31 0,-3 0 64 0,4 0 122 16</inkml:trace>
  <inkml:trace contextRef="#ctx0" brushRef="#br0" timeOffset="-96936.08">12016 8444 1359 0,'-6'0'402'0,"1"2"-21"0,0 3-10 0,-2-4-41 0,-1 3-33 0,2 1-120 0,-1-2 7 16,1 3-20-16,-1 0-5 0,2 0-11 15,-1 0-17-15,2 0-16 0,1-2-18 16,-2 2 0-16,3-3-2 0,2 1-16 0,0-4-15 16,-1 6-10-1,1-6-3-15,1 4 1 0,-1-4-4 0,7 2-12 0,-7-2 18 0,0 0-11 16,13-4-12-16,-8 3 20 0,0-3-17 0,0 3-17 15,0-2 9-15,3 0 10 0,-3 2-16 0,1-1 9 16,-2 0-19-16,-4 2 23 0,11 0-2 16,-11 0-8-16,10 4-10 0,-5-3 15 0,0 2 0 15,0 0 3-15,-2 0-6 0,2 0-17 0,-2-1-13 16,1 3-3-16,2-4 21 0,-1 3-13 16,0-3 10-16,0 2-12 0,1-2-11 15,1-1 0-15,1 0-13 0,2-1-2 16,-3-2 8-16,1 0-11 0,0 0 23 0,2 1 8 0,-2-3-15 15,-1 4 12-15,-1-3 21 0,2 3-2 16,-3 1-6-16,2-2 36 0,1 1 41 0,-8 1-13 16,11 1 29-16,-4 1-29 0,-2-2 5 0,0 3-20 15,3-1-21-15,-1-1 3 0,1 3 11 16,0-3-17-16,-1 1 9 0,1-1-77 0,3 1 5 16,-4-2-3-16,2 0-10 0,0 0 8 0,-1-3-16 15,0 3-20-15,2-3-21 0,0-1-48 0,-2 2 5 16,0-2-33-16,0-1-11 15,-1 2-35-15,1-2-6 0,-1-1-64 0,1 5-32 16,-3-4-22-16,0 2-38 0,-2-1-406 0,2 4 25 16,-2-1 110-16,-3 1 66 0,0 0 16 0</inkml:trace>
  <inkml:trace contextRef="#ctx0" brushRef="#br0" timeOffset="-96152.79">7521 8945 1249 0,'15'-5'414'16,"-5"2"-37"-16,6 2-119 0,5-3-10 0,9 2 49 15,16-3-36-15,6-1 13 0,1 3-66 16,4 0-27-1,-1-3-17-15,-1 3-49 0,-2 0-12 0,1 2-52 0,-6 0-36 0,-1-2-43 0,-9 1-72 16,-7 2-153-16,-3 0-128 0,-5 0-456 16,0 0 48-16,-5 2 101 0,-2 1 107 15,-6-3 28-15</inkml:trace>
  <inkml:trace contextRef="#ctx0" brushRef="#br0" timeOffset="-95929.21">7739 9031 1172 0,'-7'3'422'0,"3"-2"-5"0,4-1-135 0,0 0-8 15,0 0 51-15,0 0-36 0,0 0-12 0,36-4-11 16,-17 3-33-16,6-4-16 0,6 3-32 0,10-2-14 16,3-3-20-16,2 1-15 0,-3 0-13 0,1-1 2 15,0 2-35-15,-3-3-19 31,-6 3-25-31,-6-1-33 0,1 3-38 0,-4 0-29 0,-3-1-41 0,-2 1-33 0,-4 1-64 0,-1 0-89 16,-6 2-157-16,3 2-468 0,-5-1 56 16,2 0 136-16,-3 2 56 0,-4 1 69 0</inkml:trace>
  <inkml:trace contextRef="#ctx0" brushRef="#br0" timeOffset="-93761.82">8057 9394 813 0,'2'12'305'0,"1"1"-26"0,0 4-38 0,2 2-29 16,-2-1-35-16,1 0 7 0,-1 2-33 0,2 0-13 16,-3-1-58-16,4-1-27 0,-4 0-55 15,4-3-47-15,-4 3-81 0,1-2-60 16,2-2-478-16,-3-1 59 0,1-1 38 0</inkml:trace>
  <inkml:trace contextRef="#ctx0" brushRef="#br0" timeOffset="-93532.69">8193 9410 967 0,'0'0'292'0,"0"-4"-11"0,0 4-19 0,0 0-53 16,0 0 29-16,2 18-51 0,0-6-25 15,2 1-4-15,-2 3-14 0,0 3-6 0,1 0-28 16,0 0-10-16,-1 1-13 0,-2 1-41 16,1-2-49-16,1 0-2 0,-2 0-43 15,0 2-57-15,0-2-57 0,-2-3-89 0,1-1 11 0,1 0-474 16,-2-2 35-16,2 0 57 0,0-2 95 0</inkml:trace>
  <inkml:trace contextRef="#ctx0" brushRef="#br0" timeOffset="-93178.59">8065 9687 1133 0,'-1'7'333'0,"2"-1"-46"15,1 5-16-15,1 0-25 0,0 0-34 0,1 1-15 16,4 4 3-16,-3 1-41 0,2-1-6 0,1 0 6 15,1-1-41-15,1-1 30 16,0 0-73-16,2-4 37 0,-1 1-43 0,2-3 59 16,-3-2 31-16,-2 0-103 0,2 0 36 0,-2-2 21 15,0-4-13-15,-1 2 66 0,3-4-4 16,-2-1-37-16,-3 3 6 0,0-4 7 0,1-2-28 16,1 0-18-16,-2 0-2 0,0-1-16 0,-2-1-26 15,2 1-22-15,-2 0-41 0,1 2-37 0,-1-1-12 16,2 2-76-16,-2 0-27 15,2 2-40-15,0-1-85 0,1 2-97 0,-2 2-520 0,-4-1 72 16,13 5 75-16,-10 1 65 0,2 0 106 16</inkml:trace>
  <inkml:trace contextRef="#ctx0" brushRef="#br0" timeOffset="-92843.08">8446 9966 1162 0,'6'-3'345'0,"1"2"-12"16,-7 1-28-16,14 1-50 0,-7 2-19 0,0-1-8 15,1 2-26-15,0 0 0 0,-5 1-10 16,2 3-13-16,-2 0-20 0,-1 1-31 0,-2 2 10 16,-2 1-10-16,-1 0-15 0,0 3-26 15,-2-2 5-15,-1 4 0 0,-1-3-30 0,2-1 7 16,0 0-5-16,2-2-3 0,-1 2-7 0,3-7 7 15,-4 5 6-15,3-4-16 0,1 0-12 16,-1-1 19-16,-1 0-24 0,3 0 12 0,0-1-23 16,3-2 25-16,-1 2 6 0,-1-3-41 15,4 2-18-15,0-3-3 0,-5-1-17 0,10 0-37 16,-2 0-38-16,0-1-33 0,-1-1-31 0,6-3-56 16,-3 0-72-16,1-1-40 0,1-1 4 15,-1-4-7-15,1 3-341 0,1-3-84 0,-2 2 99 16,-1-1 88-16,0-3 41 0</inkml:trace>
  <inkml:trace contextRef="#ctx0" brushRef="#br0" timeOffset="-92684.26">8723 9957 967 0,'0'-4'289'0,"0"4"11"0,3-3 79 0,-3 3-16 16,0 0-45-16,0 0-14 0,2 12 1 0,-2-5-29 16,0 0-38-1,0 2-13-15,0 0-4 0,0 3-17 0,-2 1-30 0,2 4 3 0,-2-3 7 16,2 0-33-16,-1 2-33 0,1-2-36 0,0-1-23 15,1 2-72-15,-1-3-15 0,2-2-46 16,-2 1-57-16,5-3-76 0,-4-2-116 0,1 1-212 16,3-2-335-16,2-1 36 0,-1-3 145 15,1-2 108-15,4-2-15 0</inkml:trace>
  <inkml:trace contextRef="#ctx0" brushRef="#br0" timeOffset="-92351.66">8931 10026 995 0,'0'0'438'0,"0"0"-41"15,0 0-39-15,0 0-15 0,0 0-64 0,0 0-28 16,0 0-16-16,21-1-12 0,-14 0-131 0,3 1-12 16,1-1-47-16,-1 0-33 0,3-2-23 15,2 3-49-15,-1-2-76 0,0-2-121 0,-1 1-48 16,3-1-449-16,-1 2 57 0,0-2 102 0,-4 2 19 16</inkml:trace>
  <inkml:trace contextRef="#ctx0" brushRef="#br0" timeOffset="-92132.7">9105 9886 1215 0,'0'0'356'0,"0"0"-36"0,13-1-38 16,-13 1-16-16,10 3 13 0,-2 3-21 0,0-1-9 15,0 2-34-15,2-1 0 0,0 1-16 16,-2-1-30-16,2 5-23 0,-3 0-13 0,-1-2-5 16,2 1-36-16,-5 0 1 0,1 1 12 15,-1 2-34 1,-6 0-14-16,3-1-11 0,-4 1-51 0,1 0-34 0,-2-2-17 0,2 2-90 16,-2 0-90-16,2-7-176 0,1 3-481 0,-1-1 79 15,0-1 118-15,1-2 66 0,2-2 69 16</inkml:trace>
  <inkml:trace contextRef="#ctx0" brushRef="#br0" timeOffset="-91663.7">9767 9819 1049 0,'0'0'435'0,"-5"5"-115"0,5 0-26 0,2 3-22 0,-2-1-14 0,0 4-15 16,1-2-38-16,1 5-20 0,-2 0 4 16,2 0-12-16,1-1-37 0,-3-1-7 0,0 4-28 15,0-2 0-15,0-1-5 0,1-2-10 0,-2 1-13 16,-2-3 17-16,3 3-35 0,-2-4-20 15,-1 3 19-15,1-4-24 0,-4 1-4 16,2-1-22-16,1-2-28 0,-4 0-29 0,-1-1-35 0,2-2-11 16,-1 2-36-16,1-2-66 0,-1-2-95 15,7 0-94-15,-13-2-441 0,5 1 113 16,3-2-8-16,-2 3 159 0,4-4-13 0</inkml:trace>
  <inkml:trace contextRef="#ctx0" brushRef="#br0" timeOffset="-91185.72">9838 9850 1085 0,'1'13'345'0,"-1"0"-22"16,3-1-24-16,-1 0-35 0,-2-2-41 0,5-1-16 0,-2 3-23 15,1-4-35-15,2 3-6 0,1-3-5 0,1 1-33 16,0-1-2-16,2-2 7 15,-2 0-8-15,4-1-5 0,-4-3-22 0,3-1-16 16,-1-1 2-16,0-1 0 0,0 1 1 0,1-3 7 16,-1-1-20-16,0-2 15 0,-2 0-26 0,0-1 21 15,-1-3 10-15,-2 1-20 0,0-2-3 16,-2 3-11-16,-3-3 6 0,0 3 29 0,0-2-27 16,0 2-12-16,-5 0-16 0,2-1 13 15,-2 2-5-15,2 1-7 0,-4-1-29 0,2 1-28 16,-1 3-23-16,-1 0-21 0,0 1-32 0,1-1-57 15,1 1-67-15,5 2-117 0,-13 2-95 0,8-2-379 16,5 0 118-16,0 0 35 0,-5-2 68 16</inkml:trace>
  <inkml:trace contextRef="#ctx0" brushRef="#br0" timeOffset="-90834.61">10123 9666 898 0,'3'3'410'0,"-1"3"-50"0,1 0-40 0,0 2 5 0,-1 1-51 0,0 3-102 0,2 0-16 0,-4 1-10 15,2 0-5-15,0-1-49 0,1 3-5 0,0-4 8 16,-1 1-19-16,0-2 6 0,1 1-10 0,0-1-6 0,0-3-17 16,1 0 5-16,2-2 82 15,-1-3-14-15,0 2-24 0,3-3 27 0,-1-1 11 16,1-2-24-16,0-1-78 0,2 1-6 0,0-2 38 15,3 1-25-15,-3-1 51 0,0 4 70 16,3-2 9-16,-2 1 3 0,1 2 3 0,1 0-52 16,0 0-12-16,0 5 2 0,-1-2-2 0,-1 2-24 15,-3-2 11-15,2 5-28 0,-2-1-16 0,-4-2 16 16,-1 1-29-16,0 0 14 0,-3 0-24 16,-3 1-13-16,0-1-43 0,-1 0-23 0,-2 0-38 15,-1-1-44-15,-4 0-49 0,1 0-58 16,0 0-101-16,-8-2-206 0,5 0-431 0,-2-3 80 15,2 2 97-15,-5-3 87 0,2-3 51 16,-4 2 69-16</inkml:trace>
  <inkml:trace contextRef="#ctx0" brushRef="#br0" timeOffset="-90668.43">9754 9692 734 0,'0'0'284'0,"0"0"-43"0,0 0-41 16,0 0-1-16,0 0-71 0,5 8-41 16,-2-1-56-16,2 0-123 0,1-2-67 15,1 7-440-15,0-2-10 0</inkml:trace>
  <inkml:trace contextRef="#ctx0" brushRef="#br0" timeOffset="-90359.58">9969 9867 957 0,'0'-4'327'0,"0"4"6"15,0-7-15-15,0 7 27 0,-4-6-43 0,3 4-28 0,-4-1-28 16,5 3-41-16,-10-1-6 0,10 1-22 0,-15 6 2 16,5-6-84-16,-1 6-36 0,-2-1 2 15,3 2-20-15,-3 1-5 0,1 1 7 0,-1 0-9 16,0 1-16-16,5-2-8 0,0-1-43 0,-2 2-34 16,2-1-23-16,1 0-38 0,2-2-64 0,2 1-46 15,0-2-53-15,1-1-22 0,2-2-490 16,0-2 111-16,0 0 32 0,10 1 148 15</inkml:trace>
  <inkml:trace contextRef="#ctx0" brushRef="#br0" timeOffset="-89820.33">10295 9531 1236 0,'0'-7'417'0,"-2"-5"-18"0,4 1-138 0,-2-2-10 0,2 0-38 0,-2-3-8 0,1-2 2 16,1 0-36-16,-2-2-17 0,3-2-21 15,-1 2-28-15,-2-3-26 0,3-1-20 16,0 1-33-16,1 1-21 0,-4 3-20 0,3 1-24 0,2 4-30 15,-5 1-51-15,3 2-47 0,-1 5-37 16,1-1-52-16,-3 3-16 0,3 4-493 16,-3 0 53-16,0 0 78 0,2 11 37 0</inkml:trace>
  <inkml:trace contextRef="#ctx0" brushRef="#br0" timeOffset="-89553.73">10338 9429 1133 0,'-2'-7'392'0,"2"-2"-16"0,2 1-61 0,-2-3-23 15,0-2-8-15,4 0-46 0,-2-5-25 0,0 0-19 16,4-2-30-16,-4-1-13 0,3-2-10 16,1 0-23-16,-2 4 10 0,1 1-36 15,-2 3 7-15,2 1-45 0,-2 2-56 0,-1 1-37 16,1 2-27-16,0 3 12 0,-1 2-13 0,0 2-73 15,-2 2-91-15,1-3-86 0,-1 3-525 16,0 0 102-16,0 0 59 0,-1 13 44 0</inkml:trace>
  <inkml:trace contextRef="#ctx0" brushRef="#br0" timeOffset="-89284.5">10293 9126 834 0,'2'-7'351'0,"0"1"-16"0,1-1 31 0,2 1-41 0,1-2-25 16,1-1-50-16,1 5-6 0,-3-2 1 0,6 1-25 16,-1 1-20-16,-3 3-5 0,3 1-34 0,3 0-5 15,-5 3-5-15,5 0-31 0,-3 4-7 0,0-2 15 16,-2 1-31-16,3 1-33 0,-1-1 3 15,-3 3-26-15,1 0-11 0,-1-1-30 16,-1 2-35-16,-1-2-32 0,-3 2-20 0,4-2-67 16,-4 2-114-16,0-1-86 0,-1 1-526 0,1-1 102 15,-2 1 23-15,3-2 122 0,-1 0 22 16</inkml:trace>
  <inkml:trace contextRef="#ctx0" brushRef="#br0" timeOffset="-88132.36">9008 10248 770 0,'0'0'343'0,"18"9"36"0,-8-3 2 0,6 5-10 0,1 1-51 16,14 2-30-16,3 5-9 0,5-1-27 0,-1 1-57 15,3 0 2-15,5 5-25 0,-6-5 0 16,-1-1-7-16,-1-1-39 0,-1 0-5 15,-6 0-6-15,-1 0-35 0,-5-5 13 0,-4-2-23 0,0 1-11 16,-6-3-7-16,-4-2-59 0,4 2-21 16,-5-5 6-16,1 4-37 0,-4-2-7 15,0-3 3-15,1 1-75 0,-3-1-38 0,1-2-54 0,-6 0-63 16,7 0-109-16,-7 0-429 16,0 0 99-16,5-2 16 0,-5 2 74 0,-2-6 57 15</inkml:trace>
  <inkml:trace contextRef="#ctx0" brushRef="#br0" timeOffset="-87833.39">9585 10369 1203 0,'0'0'309'0,"0"0"93"15,13 6-69-15,-6-1-23 0,3-3-6 16,1 6-109-16,1-4-11 0,4 7-18 0,-1-4-15 15,3 5-10-15,1 0 3 0,1-1-14 16,-7-1-7-16,4 2 20 0,-4-2-33 16,0 2-15-16,-2-2 0 0,-1 1 0 15,-5 0-11-15,2 1-10 0,-6-2 6 0,1 2-16 0,-4 0-3 16,-1 0-7-16,-2 4 12 0,-3 0 1 0,1-3-26 16,-4 2-28-16,1 0-31 15,0-3-41-15,0 1 8 0,0-1-52 0,2-4-38 0,0 2-33 0,0-2-97 16,3-1-100-1,0-2-341-15,0 1-132 0,2-2 99 0,0-1 87 0,-1 3 51 0</inkml:trace>
  <inkml:trace contextRef="#ctx0" brushRef="#br0" timeOffset="-84902.46">10344 10423 693 0,'0'0'312'0,"2"-7"-45"0,-2 7-11 0,0 0 28 15,8-3 20-15,-8 3-43 0,8 3-28 16,-8-3-2-16,10 3-34 0,-7 1-10 0,2 2-13 16,-3-3-16-16,1 6 1 0,-1-3-13 0,-4 3-33 15,2-2 22-15,-2 4-30 0,-1-3 3 16,-2 4-13-16,-1 0-3 0,-1 1-16 0,-1 0-6 15,0 2-6-15,-2-3-13 0,0-1 26 0,0 1-44 16,1 0 28-16,-1-5-4 0,3 2-9 16,-3 0 9-16,2-3 4 0,1-1-20 0,1 1 5 15,-1-1 0-15,1-2-5 0,2 1-5 16,0-1-3-16,0 0-2 0,1-1 5 16,3-2-8-16,-3 3-3 0,3-3 11 0,0 0 10 15,0 0-23-15,0 0 16 0,6 3-19 0,-6-3-27 0,10 0 19 16,-10 0-47-16,10 0 4 0,-2 0 8 15,-1-1-67-15,1 0-15 0,2 0-5 16,0-2-28-16,0 1-57 0,1-1-22 0,2 1-37 16,-2-3-63-16,3 2-8 0,-3-3-90 15,2 0-148-15,2-1-182 0,-2-2 52 0,2 2 132 16,-2-2 29-16</inkml:trace>
  <inkml:trace contextRef="#ctx0" brushRef="#br0" timeOffset="-84507.95">10544 10494 337 0,'5'-7'221'0,"-5"2"132"0,0-2-44 16,0 5-4-16,0-2 0 0,0 4-29 0,0-6-86 15,0 6-39-15,-5-3 12 0,5 3-9 16,-3-3 7-16,3 3-33 0,0 0-2 0,0 0-19 16,-10 6-4-16,7-1-11 0,1 0-8 15,-1 1 16-15,1 2 7 0,-1-1-30 0,3 1-5 16,-2 1-18-16,1 1 12 0,1 0 6 16,1 0-8-16,1-1-15 15,1 2-26-15,-1-2 2 0,1 2 1 0,2 0 2 0,0-3 0 0,1 2 0 16,1-2-12-16,-2-2-9 0,3-2 1 15,-1 0-11-15,1 0 21 0,0-3 5 0,2-1 3 16,-2 0-13-16,0 0-18 0,-1-2 12 16,1-3 4-1,0 1-1-15,-1 1 15 0,-2-4-4 0,-2 1-6 0,2-1 13 0,-2-2 18 16,-1 2-30-16,-2 1 30 0,0-5-26 0,-3 3-9 0,1 1 22 16,0 0 5-16,-1-1-25 15,-2 0 38-15,-1 2-30 0,2-1-14 0,1 2-4 16,-4 0-21-16,1 2 16 0,1-2 17 0,-3 3-36 15,3-2-32-15,0 3-22 0,0 0-12 32,5 1 11-32,-8 0-32 0,8 0-25 0,0 0-85 0,-7 1-12 0,7-1-72 0,0 0-5 0,0 0 25 15,0 0-150-15,0 0-275 16,0 0 11-16,20-6 146 0,-12 4 22 16</inkml:trace>
  <inkml:trace contextRef="#ctx0" brushRef="#br0" timeOffset="-84185.26">10731 10441 921 0,'0'3'333'0,"0"3"-29"0,0 0-30 0,-3 1-18 0,3 3-25 0,-2-3-14 0,2 4-40 0,2-1-19 0,-2-1 17 16,3 2-35 0,-3-1 14-16,3 2-41 0,1-2-14 0,0-1 1 0,3-2-26 0,-2 3-2 15,3-3-21-15,-3-1 21 0,3-2-13 16,-1 0-13-16,1-3-8 0,2 2 11 15,-2-3 10-15,0-1-11 0,2-2 22 0,0 3-12 16,-2-6 42-16,2 3-105 0,-5-2-13 0,3 0 59 16,-3-2 85-16,-2 1-24 0,2-2-7 15,-5-2 7-15,0 3-81 0,0-4-4 0,-5 1 14 16,4 0-18-16,-4-1 5 16,-2 1-8-16,1 1 8 0,-1 0-15 0,-1 1-16 0,-2-1 15 15,0 4-14-15,0 1-22 0,-1 1-12 0,1 1-43 16,2 1-1-16,-2 1-15 0,0 1-13 0,-3 1-17 15,5 2-50-15,-2-1-86 16,0 2-87-16,2 2 38 16,0 2-466-16,0-2 21 0,1 1 132 0,4-1 45 0</inkml:trace>
  <inkml:trace contextRef="#ctx0" brushRef="#br0" timeOffset="-83066.89">10295 10661 1226 0,'0'0'294'15,"0"0"-18"-15,2-5-35 0,-2 5 0 0,3-5-26 0,-3 5 5 16,11-2 28-16,-4 2-12 0,1 2 4 16,2-2-17-16,3 3-23 0,-3-1-9 0,3 3-9 15,-2 1-8-15,1-1-10 0,-2 2-8 0,0-1 0 16,-1 3-5-16,-2 0-7 0,-2 0 14 15,0 3-42-15,-4-1 6 0,1-2 6 0,-2 3-94 16,-3 0 9-16,-2-1-9 0,-5 3-4 0,0-1 9 16,1-1-4-16,-3 1-4 15,-3 1-5 1,-1 0 5-16,1-4-6 0,0 2-27 0,2-3-9 0,-3-1-14 0,1 0-11 0,5-3 3 0,-3 0-24 16,5-2-35-16,-2 0-26 0,5-2-10 15,-1-1-10-15,6 0-13 0,0 0-25 16,-10-3-16-16,10 3-3 0,3-5-74 0,-3 5-92 15,7-5-51-15,-1 0-194 16,2-2-173-16,4 2 40 0,1-3 94 0,3-1 41 0</inkml:trace>
  <inkml:trace contextRef="#ctx0" brushRef="#br0" timeOffset="-76446.73">7759 9128 982 0,'-5'13'274'0,"5"-7"-18"0,-2 3-18 16,2 2-12-16,0 3-11 0,2 4-16 16,-1 7-25-16,3 1-18 0,-1 18-7 15,-1 1 2-15,4 3-23 0,-4 13 18 0,6 1-21 16,-5 3-15-16,-3 4-33 0,0 1 13 0,0 4-21 15,-3 2-3 1,3 2-7-16,0 4 0 0,-5-1 28 0,0 1-10 0,0 8-21 0,-3 19 16 16,-3-2-11-16,-1 0-4 0,2 0 35 0,-3-3-54 15,-1-2 21-15,4-17-15 0,-4 16 4 16,5-21-12-16,-1 2-8 0,2-2 3 16,-2-2-18-16,5 3 15 0,-2-6-26 0,-1-2 11 0,0-3-13 15,1-2 28-15,1-5-10 0,-2-2-23 16,1-2 10-16,2-11 8 0,0-4 0 0,-3 1-5 15,3-5-14-15,2-1-4 0,-5-5 10 0,4-7 13 16,-2-6 0-16,4-4-16 0,-3-2 6 16,2-1-16-16,1-2 10 0,-1-3-4 15,3-2-9-15,0 0-1 0,-3-3 14 0,1-1 6 16,2 2-6-16,0-5-7 0,0 5-3 0,0-5 0 16,0 0 41-16,0 0-43 0,5 1 10 0,-5-1 12 15,0 0 6-15,0 0-15 0,18-5-14 16,-11 2 6-16,-1 0 2 0,4-2-4 0,-2 3 9 15,5-2 18-15,-1 1-4 0,1-2-1 16,5 0 23-16,0 0-51 16,2 1 16-16,-1-1-1 0,3 0 16 0,-1 1 0 0,-1 0 15 0,7-1-10 15,-5 2-21-15,-1 0 31 0,-1 0-20 16,-1-1-10-16,-2 3 7 0,-2-1-3 0,-1 1 11 16,-2-1-8-16,-1 0-28 0,-1 1 23 0,2-1-36 15,-4 1-38-15,0 0-3 16,2-2-10-16,-5 2-10 0,3-1-62 0,-3 1-48 0,0-1-70 15,-3 0-114-15,4 1-449 16,-6 1 67-16,8-5 161 0,-5 4 39 0,1-2 25 0</inkml:trace>
  <inkml:trace contextRef="#ctx0" brushRef="#br0" timeOffset="-75947.84">8087 11959 1180 0,'3'-3'332'0,"-3"3"-14"15,0 0-14-15,13 0-30 0,-13 0 64 0,13 5-23 16,-5-4-41-16,0 3-8 0,2-1-15 0,0 2-16 16,0 1-12-16,0-1-26 0,-2 1-92 15,0 1 0-15,1 0-26 0,0 0 3 0,-1 0 8 16,-1 3-36-16,-2-1-13 0,0 2 40 16,-2 1-29-16,-1 0 1 0,-4 1 1 0,0 0-21 15,-2 5-12-15,-3 2-1 0,-3 1-43 0,-4 8-12 16,-3-1-35-16,1 0-35 0,-4-2-53 15,0-1-70-15,4-4-92 0,-9 0-113 0,12-2-434 16,-2-3 42-16,4-4 114 0,1-1 76 16,0 0 87-16</inkml:trace>
  <inkml:trace contextRef="#ctx0" brushRef="#br0" timeOffset="-73669.88">9036 11926 1190 0,'2'-2'353'0,"-2"2"-15"16,0 0-85-16,0 0-45 0,0 0 14 0,0 0-30 16,-7 11-25-16,4-6-11 0,-1-1-13 15,1 3-15-15,-4 1 15 0,1 0-22 16,1 0-24-16,-3 2 13 0,0-2-18 0,1 3-7 0,-1 0-14 16,-2 0 16-16,0 0-12 15,0 1-1-15,-1-1-8 0,1 0 4 0,2-2-6 0,0-1-3 16,0 1-2-16,1-2-8 0,4-1-18 15,-4-1 19-15,4 0-12 0,1 0 1 16,-1 0 21-16,3 0-14 0,-3-1 16 0,3 0 6 16,3 0-12-16,0 1 1 0,2-2-7 0,2 1-17 15,1 0 4-15,2-1 12 0,1-1 49 16,-1-1-26-16,3 1-13 16,0-1-2-16,2 1-38 0,-2-2-14 0,4 0-19 0,-1-1-16 0,2 1-19 15,-3-2 9-15,3 2-21 16,-2-2-25-16,-1 0 7 0,-2 0-61 0,2 0-8 0,-4 0-21 15,-1 0-42-15,0 1-63 0,-2 2-58 0,-3-2-103 16,1 0-373-16,1 0 31 0,-7 1 99 16,7-1 74-16,-7 1 42 0</inkml:trace>
  <inkml:trace contextRef="#ctx0" brushRef="#br0" timeOffset="-73383.78">9116 11914 1156 0,'0'0'354'15,"0"0"-32"-15,0 0-4 0,0 0-27 16,0 0-12-16,0 0-5 0,-8 16 62 0,8-6-50 0,-3-1-17 16,3 5-18-16,-2 1-31 15,-1 4-15-15,1 1-29 0,1 0-17 0,-1 4-21 16,-3 2 8-16,0 0-5 0,3 0-51 0,-4 1 12 15,1-1-2-15,0 0-54 0,0-3-46 16,0-1-23-16,2-3-36 0,1-1-25 0,-1-3-3 16,0-1-62-16,3-4-22 0,0 0-55 15,0-1-132-15,0-3-500 0,3-2 50 0,0-1 4 16,1-2 161-16,-4-1 24 16,0 0 74-16</inkml:trace>
  <inkml:trace contextRef="#ctx0" brushRef="#br0" timeOffset="-73042.71">9239 12083 1110 0,'-1'7'364'16,"-1"1"-47"-16,0 0-25 0,-1 5-18 16,3-2-46-16,-3 2-13 0,3 1-36 0,3 1 5 15,-2-1-17-15,1-1-29 0,0 2-15 0,4-4-6 16,-2 2-1-16,2-2-9 0,1-1-12 15,1-2-16-15,0-1 16 0,2-1-16 16,0-3 11-16,-2-1-16 0,2-2 8 0,-2-2 0 16,2-1-16-16,-3-2 11 0,4 0 18 15,-4-2-69-15,1-1 12 0,-3-1 3 0,1 1 38 16,-4-1-7-16,1-1-21 0,-3 2 3 0,0-1 7 16,0-1-22-16,-3 3-6 0,1-2 8 15,-1 1-3-15,-2 2-20 0,0-1-5 0,-1 1 5 16,-1 1-10-16,2 4-29 15,-1-3-17-15,-1 2 7 0,0 1-59 0,7 1-9 0,-13 3-22 16,7-2-25-16,-2 2-40 0,1 2-86 16,2 0-109-1,0 0-479-15,2 0 38 0,-2 0 111 0,2-1 127 0,3 2-20 0</inkml:trace>
  <inkml:trace contextRef="#ctx0" brushRef="#br0" timeOffset="-72723.51">9728 12136 1428 0,'0'0'435'0,"6"-6"-33"0,-4 4-34 0,4-1-55 0,-2 2-29 16,4 0 20-16,2-2-78 0,-2 0-4 15,5-1-1 1,2 3-50-16,1-1-15 0,4-2-25 0,-2 0-42 0,0 2-9 0,0-2-16 0,0 1-34 16,2 1-17-16,1-2-49 0,-6 0-30 15,1 1-67-15,-3 1 0 0,-1-2-44 0,-1 3-43 16,-1-3-159-16,0 3-432 0,-2-1 32 0,-3 2 68 31,0-1 79-31,-5 1 117 0</inkml:trace>
  <inkml:trace contextRef="#ctx0" brushRef="#br0" timeOffset="-72452.05">9749 12210 1476 0,'-3'-3'436'0,"3"3"-40"0,0 0-50 0,0 0-34 0,3-7-20 0,-3 7-41 0,10-3-13 0,-2 1-28 0,2-1-23 16,0 2-8-16,0 0-13 0,6-1-22 16,-1 1-34-16,1 0 28 0,-1 0-41 0,3-3-23 15,-2 3-43-15,2-2-13 0,-3 1-46 16,1 1-16-16,-2-2-38 0,2 1-69 15,-3 0-46-15,-3 0-133 0,0 0-174 0,0-1-318 16,-1 0 26-16,-2 1 125 0,1 0 29 0,-1 0 84 16</inkml:trace>
  <inkml:trace contextRef="#ctx0" brushRef="#br0" timeOffset="-72071.38">9916 11942 867 0,'0'0'407'0,"0"0"-43"0,0 0-26 0,0 0-16 0,0 0-48 16,20 0-10-16,-10 1-11 0,0 0-23 16,3 4-9-16,3-2-17 0,-4 0-88 15,4 1-14-15,-1 0 3 0,1 0-31 0,2 2 16 16,0-1-6-16,-3 1 8 15,1-1-2-15,-4-1-6 0,3 2 93 0,-1 0-3 0,-4 0-38 0,0 1-49 16,0 0-18-16,-2-1 15 0,2 1-9 16,-5 0 70-16,1 0 24 0,-4 1-25 0,0 0-16 15,-2 2 10-15,-2 0-43 0,-3 3-1 16,0-1 1 0,-8 7-39-16,3-2-12 0,-11 8-49 0,4 0-67 0,-4 0-12 0,-5-1-42 15,3 2-43-15,0-1-46 0,-3-2-89 0,-2-3-231 16,2 3-443-16,1-4 95 0,2-3 53 0,2-5 180 15,1 2 3-15,-1-4 66 16</inkml:trace>
  <inkml:trace contextRef="#ctx0" brushRef="#br0" timeOffset="-69173.38">11108 11757 1159 0,'0'0'361'0,"0"-7"-28"15,0 6-24-15,0 1-45 0,5-5-28 16,-5 5-11-16,8-2-23 0,-3 2 16 0,3 2-42 16,2 2-9-16,0 1-21 0,2 1-8 0,-3 1 26 15,3 1-42-15,-4 1-9 0,4 2-8 16,-4-1 18-16,-2 1-21 0,-1-1-2 0,0 2-79 16,-3 0-1-16,-1 1-7 0,-2 0 10 0,-4 0-15 15,0 4 17-15,-5-3 16 0,2 1-18 16,-4 2 67-16,-1-1-3 0,0-1-3 15,0-3-20-15,1 0 5 0,3 0 13 0,-3-2 3 16,4-2-6-16,0-2-87 0,3 1 19 16,0-1-22-16,0-4 37 0,0 2-13 0,2-1 15 15,1 1-38-15,-1 0 33 0,1-2 5 0,2-2-20 16,0 0-1-16,0 0 44 0,7 5-45 16,1-4-12-16,-3-1 12 0,5-1-9 0,0 1 29 15,1-1-37-15,1-3 27 0,4 2-29 0,-3-1-8 16,3 0-17-16,1-1-36 31,-1 1-26-31,-1-1-23 0,2-1-23 0,1 0-38 0,-2 0-34 0,2 1-94 0,-3-4-97 0,1 2-459 0,-1-1 46 16,1-1 111-16,-1 0 68 0,-2-2 75 0</inkml:trace>
  <inkml:trace contextRef="#ctx0" brushRef="#br0" timeOffset="-68365.11">11457 11786 870 0,'-5'-2'430'15,"-1"1"-36"-15,6 1-15 0,-10 2-52 16,5 0 1-16,0 3-34 0,2 0 14 0,1 3-65 16,-1-1-44-16,3 3 22 0,0-2-52 0,0 5-3 15,3-1-38-15,2 0-10 0,0-1-3 16,2 2-5-16,3-1-10 0,1-1-95 0,2-1-10 16,2-2 25-16,1 0-10 0,-1-4 6 15,1 1 17-15,-1-3 49 0,2-1-3 0,-1-1 24 16,-3-2 2-16,-1 0-5 0,2-3 17 15,-4 0-2 1,0 0-51-16,-3-2 21 0,-1 2-26 0,-4-2 7 0,1 0 101 0,-3 0-32 0,-2-1-25 16,1 2 1-16,-3-2-1 0,0-1-13 15,0 2 3-15,-2 0-26 0,2 1 18 0,-4 0-36 16,3 0 3-16,-1 1-25 16,1 0 27-16,2 1-66 0,-1 0-26 0,1 1-53 0,0 0-6 15,3 3 0-15,-2-4-20 0,2 4 5 16,0 0-35-16,5-6 7 0,0 3-6 0,-2 1-17 0,4-2 26 15,1 3 12-15,2-1 13 0,-2-2 18 16,-1 3-15-16,1 0 40 0,-2-1-2 16,-1 2-8-16,3 0 31 0,-1 1 21 15,1 1 2-15,-3-1-2 0,3 5 4 0,-4-2 14 16,2 2 25-16,-1 0-28 0,1 0 10 16,1 1 10-16,-2-1 16 0,1 1-24 0,0 1-9 0,2-2 43 15,0 0-46-15,0-1 28 0,-1 0-28 0,4-2 10 31,-4 0 5-31,3 0 18 0,-1-2 23 0,3-1 11 0,1-1 15 0,-5-1 30 0,5-1-43 16,-6 2 36-16,1-5-3 0,0 2 36 0,-3-1-20 16,-2-4 2-16,1 2-2 0,-4 0-26 0,0-1-3 15,-2-1 19-15,0 1-34 32,-1-1 8-32,-2 3-24 0,-1-3-19 0,1 4 30 0,0-2-29 0,0 0-12 0,0 4-12 0,2-1-37 15,-1-2-25-15,1 2-59 0,0 3 15 0,3 1-46 16,-2-3-12-16,2 3-29 0,0 0-23 15,0 0-10-15,0 0-38 0,0 0-16 0,0 0-84 16,4 9 41-16,2-4-80 16,-1-3 44-16,3 2 23 0,-1 0 20 0,1 0 59 0,0 1 47 0,-1-1 45 15,3-1 57-15,-2 1 46 16,0-2-1-16,2 3 42 0,-2-3 61 0,5 0-10 0,0 0 46 16,-1-2-15-16,1 0 10 0,0-1 15 0,0 0-2 15,2-2 10-15,-4 2 33 16,1-4-7-1,-1 2 17-15,-1-1-10 0,-2 0 16 0,0-1 12 0,-1-1-25 0,-2 1 10 0,0-2 5 16,-2 2-25-16,-1-3-26 0,-1 2-8 16,-1-1-23-16,-1 1 21 31,-1 1-18-31,-1-1-18 0,0 0-18 0,-4 1-26 0,2 0-43 0,0 2 10 16,-3-1-44-16,1 4-22 0,1-1-29 0,-1 1-48 0,-1 1-28 0,-2 3-78 15,-1-1-93 1,-1 4-437-16,-2 0-29 0,2 3 129 0,-4 0 86 0,-1 3 71 0</inkml:trace>
  <inkml:trace contextRef="#ctx0" brushRef="#br0" timeOffset="-68095.64">11338 12247 1121 0,'19'-9'412'0,"1"2"-46"0,3 0-41 0,0 2 41 0,3-3-23 0,18 2-26 0,-1-2-125 0,0-2-33 15,4 3 7-15,1-1-22 0,-1-1-44 0,-4 1-21 0,0-1-23 16,-1 0-46-16,-8 2-12 31,-7 1-29-31,1-1-28 0,-4 1-56 0,-4 1-120 0,-2-1-78 16,-3 0-9-16,-2 5-451 0,0-4 74 0,-6 1 59 0,-3 1 133 0</inkml:trace>
  <inkml:trace contextRef="#ctx0" brushRef="#br0" timeOffset="-67837.88">11444 12259 1146 0,'0'0'474'0,"0"0"-37"0,0 0-145 0,13-8-10 0,-3 5-31 0,5-1-23 0,3 0-19 16,8-2 53-16,4 0-24 15,11-4-46-15,0 1 5 0,0-1-18 0,3-2-28 0,-3 2-21 0,2-1 1 16,-2-2-44-16,-2 0-46 31,-5 1-21-31,-6 1-40 0,-3 5-13 0,-6-2-24 0,-4 1-53 0,2-1-28 0,-6 3-87 0,1 0-118 0,-6-1-489 16,-1 0 38-16,0 1 70 15,-3-1 117-15,-2 0 47 0</inkml:trace>
  <inkml:trace contextRef="#ctx0" brushRef="#br0" timeOffset="-67278.81">11093 11091 1103 0,'0'0'340'0,"0"0"-48"0,0 0-26 0,-10-6-92 16,10 6-2-16,-1-7-29 0,-1 3 8 15,2-1-2-15,-3-2-21 0,3 1-6 0,0 0 86 16,0-3-21-16,0-1-8 0,3 3-13 0,-3-1-28 16,2-1 1-16,-2 2-27 0,0 1 1 15,1 0 15-15,1 2-26 16,-2-1-5-16,2 1-22 0,1 1-24 0,-3 3 8 0,7-3 15 0,-7 3-30 15,0 0-14-15,14 6 4 0,-9-2-11 0,2 1-8 16,-2-1-33-16,3 3-33 0,0 2-8 16,0-1-18-16,-1 1-59 0,1 1-55 15,0-4-48-15,-1 5-96 0,1-3-364 0,-1-1-127 16,1 2 122-16,-2-6 77 0,-1 4 48 16</inkml:trace>
  <inkml:trace contextRef="#ctx0" brushRef="#br0" timeOffset="-67017.3">11190 11007 898 0,'0'0'381'0,"0"0"-89"0,-8 5-33 0,6 1 4 16,-1 0-43-16,3 1-33 0,0 5-2 15,3 1-19-15,-1 5-2 0,1 2-21 0,2 4 8 0,0 2-38 16,0 8-13-16,2-6 2 0,-1-2-5 15,2 1-10-15,-3 6-28 0,3-4-13 16,-4-7-7-16,2-3 2 0,-4 1-21 0,1-1-17 16,2-1-6-16,-3-1-33 0,1-4-41 15,0 0-33-15,-1 1-25 0,-2-3-50 0,0 2-24 16,0-2-47-16,0-2-128 0,0 1-356 16,0-3 51-16,-2 0 93 0,2-2 69 0</inkml:trace>
  <inkml:trace contextRef="#ctx0" brushRef="#br0" timeOffset="-66709.63">11218 11537 1192 0,'-2'6'387'0,"2"0"-44"0,0 1-18 0,2 2-46 0,-2-2-36 0,5 2-18 0,-2-2-10 16,2 2-35-16,0-1-14 0,0-1-13 0,0 0 22 15,1-2 1-15,1 0-38 0,0-3-81 0,-1 0 4 16,2-1 21-16,-1-1-13 16,1-3 11-16,2 1-6 0,-2-3-21 0,2-1-4 15,0-1 5-15,-2-4 5 0,0 1-21 0,0 0 6 16,-1-1-3 0,-2 0 23-16,1 0-16 0,1 0-20 0,-2-1-20 0,-2 1-46 0,2 2 2 15,0-2-10-15,-2 3-51 0,-1 1-29 0,0-2-61 16,2 2-28-16,-2 0-148 15,-2 0-172-15,2 1-292 0,-1 1 74 0,1-1 96 0,-2 0 65 16,0 2 42-16</inkml:trace>
  <inkml:trace contextRef="#ctx0" brushRef="#br0" timeOffset="-64786.69">11397 11074 693 0,'0'0'279'16,"-7"0"90"-16,7 0-49 0,-7 0-36 0,7 0 5 15,0 0-25-15,-6 1-31 0,6-1-31 16,0 0 5-16,0 0-25 0,0 0-26 0,0 0-28 16,18-9-15-16,-10 5 4 0,4-2-22 0,-1 1-92 15,7 0-6-15,-3-4 8 0,3 3-43 16,0-1-34-16,2 1-17 0,-1 0-19 15,-1-1-28-15,-1 1-43 0,-1 1-33 0,-4 2-39 16,-1 0 13-16,-1 2-13 0,-2-1-64 16,0 2-340-16,-8 0 7 0,8 3 75 0</inkml:trace>
  <inkml:trace contextRef="#ctx0" brushRef="#br0" timeOffset="-64366.49">11438 11143 829 0,'-2'1'284'0,"2"-1"-23"0,-5 4-2 0,5-4-42 16,0 0-15-16,0 0-25 0,0 0-13 0,0 0-8 16,0 0-18-16,13-10-18 15,-5 7 3-15,-1-1-25 0,1 1 76 0,2-2-54 16,0 0-2-16,3-1-21 0,-2 1-51 0,1-1-15 16,-1 1-62-16,-3 0 8 0,2-1-51 15,0-1-41-15,-3 3-31 0,1-2-8 0,-2 1-35 16,1 1-6-16,-4 0-17 0,1-1-16 15,-1-1 8-15,0 2 10 0,-3-2 13 0,2 1 79 16,-2 0 23-16,0 0 57 0,-2-2 33 0,-1 2 79 16,0-2 34-16,1 1 22 0,0 0 8 15,-1-1 62-15,0 1-8 0,1 0-8 16,2 3 24-16,-2-2-19 0,1 0-23 0,1 0-22 0,0 5 7 16,0-7 30-16,3 6-19 15,-3 1-106-15,5-2 21 0,-5 2-11 0,15 2 70 0,-7-1 2 16,2 4-17-16,1 0-11 0,-1 3 18 15,2-1-39-15,-1 5 24 0,-3-3-13 16,2 1-31-16,-2 2 28 0,-4-1-43 0,-1 1 15 16,0 0 21-16,-1 0-14 0,-2-1-30 15,-2 3-17-15,-4-2-4 16,2-1-48-16,1 1-26 0,-4 0-27 0,3-2-57 0,0-2-59 16,1-2-167-16,0 1-575 0,1-1 117 0,1-5 55 0,1-1 101 15,0 0 29-15,0 0 41 0</inkml:trace>
  <inkml:trace contextRef="#ctx0" brushRef="#br0" timeOffset="-63953.88">12248 10574 1256 0,'-2'5'377'0,"0"1"-37"0,-1 2-48 16,3 0-23-16,-3 2-29 0,3 3 14 0,-2 0-29 15,2 1-54-15,0 1-12 0,-2-1-13 0,2 0-21 16,-1 2-30-16,-1-2-46 0,4-1 2 16,-2 3-28-16,1-3-28 0,-1 0-41 0,0-1-54 15,2-2-33-15,-2-1-77 0,2-1-36 0,-2-1 13 16,3-1-25-16,-3-1-126 15,5-1-279-15,-5 0 0 0,2-1 92 0,-2-3 62 16</inkml:trace>
  <inkml:trace contextRef="#ctx0" brushRef="#br0" timeOffset="-63685.16">12246 10823 419 0,'0'-11'205'0,"-2"0"-10"16,-1-3 30-16,3 0-5 0,0-5 0 0,0-1 5 0,3-2-7 16,-1 4 58-16,1-1-22 15,2 0-21-15,0 0-87 0,3 4-34 0,2-1 16 0,0 4 0 16,3-1-10-16,0 5 69 0,0 1 2 15,2 3-7-15,0 1-21 0,-2 1-10 0,1 4 5 16,0 0 6-16,-1 3-27 0,-2 2-9 16,1 1 15-16,-4-2-24 0,-1 7-19 0,-1-2 30 15,-4 2-16-15,-2 0-30 0,0 1 0 16,-2 1-13-16,-3 0-23 0,0 2 8 0,-5-3 10 16,1 1-13-16,-1 1 16 0,-2-4-34 0,1 0-28 15,-2 0-5-15,3-3-43 0,0 1 2 16,3-2-54-16,-1-2-31 0,0 0-9 0,3-5-70 15,0 3-59-15,2-2-97 0,3-2-79 0,-5 0-407 16,5 0 12-16,0 0 98 16,0 0 72-16,0 0 68 0,10-10 98 0</inkml:trace>
  <inkml:trace contextRef="#ctx0" brushRef="#br0" timeOffset="-62711.3">12692 10587 1052 0,'-13'0'343'0,"13"0"-29"0,-12 4-30 0,4-2-15 0,3 1-36 0,-3 1-5 0,0 0-16 0,1-2-40 16,1 4-6-16,-1-1-4 0,-1 1-45 15,3-3 16-15,0 3-20 0,0 0-21 16,3-1-5-16,-4 1-10 0,4-3 8 0,0 1-39 16,1 1 35-16,1-5-42 0,0 5 12 0,0-5 3 15,0 0-11-15,5 2-12 0,-5-2 13 16,0 0-11-16,13-6 3 0,-10 5 5 16,1-1-34-16,2-1 24 0,-1 3-5 0,-5 0 27 15,8-2-32-15,-3 2 2 0,-5 0-13 0,10 0-7 16,-10 0 25-16,8 2 0 0,-8-2-25 15,13 0-6-15,-9 0 0 0,-4 0 9 16,11-2 12-16,-3-1-18 0,0 1 15 0,-1-3 10 0,1-1-17 16,2 3 5-16,-2-6 25 0,2 2-76 15,-2-2 51-15,0-1-13 0,-1-3 107 16,-2 3-22-16,0-5 30 0,0 0-33 0,-2-1-5 16,-1 2 7-16,1-2 16 0,0 2-21 0,-3 1 24 15,0 1 19-15,2 3-40 0,-2-1-61 16,0 2-6-16,0 2-5 0,0 1 29 0,0 3-14 15,0 2-1-15,0 0-4 0,0 0-15 16,-8 9 3-16,6-1 15 0,0 3-3 0,-1 0-7 16,0 2 15-16,0 0-35 0,1 1-22 15,0 2 6-15,-1-2-48 0,0 2-1 0,3-1-25 16,-2 0-11-16,2 1-43 0,-2-3 13 0,2 3-21 16,0-3-17-16,-1-1 12 0,-2-3-36 15,3 2-33-15,0-3 13 0,0-1-5 0,0 1-34 16,-2-1 3-16,2-4-66 0,-2 2 30 0,2 0 16 15,0-5 35-15,-6 3-12 0,6 0 58 16,0-3 31-16,-5 2 13 0,5-2 31 0,-8 1-5 16,8-1 61-16,0 0 25 0,-12-1 42 0,7-1 61 15,5 2 43-15,-3-5-10 0,1 1 16 16,-1 0 25-16,3 4-5 0,0-8 3 0,0 4 2 16,3-2-25-16,1 0 0 0,-1-1 17 0,2 1-25 15,3 0 3-15,0-2-1 0,-1 0-20 16,3 1-8-16,1-2 1 0,-1 1-3 15,0 1-6-15,1 0 1 0,-1-1-6 0,0 2-14 16,1-1 9-16,-4 1 8 0,1 1-10 0,0 0-5 16,-4 4 2-16,2-1 16 0,-1-1-16 15,-5 3 34-15,0 0-24 0,0 0-9 0,7 6-1 16,-7-2 8-16,0-4-5 0,-4 8-23 0,1-2 5 16,0 1-11-16,-1-1 9 15,0 0-9-15,0 1-12 0,1 0 8 0,0-2-3 16,1 2-5-16,0-2-8 0,1-1 13 0,1-1 3 0,0-3-1 15,3 5-17-15,-3-5 25 0,0 0-25 0,12-2 30 16,-4-1-25-16,0 0-10 16,0-1-3-16,2 3 13 0,0-1-6 0,-2 0-2 0,0 0-10 15,2 2-2-15,0 0 9 0,0 2 3 16,-2 0-2-16,2 1 2 16,0-2-28-16,-2 4-10 0,2-3-8 0,-1 4-34 15,1-3-35-15,-3 3-41 0,4-4-25 0,-4 3-65 0,3-3-110 16,0 2 37-16,-2-2-47 0,3-1-420 15,-1 1 33-15,0-2 121 0,0 0 54 0</inkml:trace>
  <inkml:trace contextRef="#ctx0" brushRef="#br0" timeOffset="-53778.28">2011 8614 957 0,'-5'-2'399'0,"0"-3"-12"0,5 5-24 0,0 0-43 0,18-4 8 0,-5 4-54 16,10 0 2-16,7 1-56 0,17 2 11 0,7 1-29 16,17-2-31-16,4 3-17 0,4 1-29 15,1-1 3-15,2-1-51 16,0 2 8-16,2 0-21 0,1-1-21 0,-6 2-38 0,1-1 0 0,2-2-23 15,-2 0-28-15,-6 1-13 0,-2 1-10 0,-16-2-15 16,-2-1-26-16,-8 3-39 0,0-3-48 0,-13 0 13 16,-4-3-72-16,-6-2-148 0,2 4-408 15,-10-2 85 1,1 3 49-16,-6-2 87 0</inkml:trace>
  <inkml:trace contextRef="#ctx0" brushRef="#br0" timeOffset="-53513.52">2470 8802 1090 0,'-2'4'353'0,"2"-4"-5"16,13 4-35-16,-1-1-27 0,6-2-17 0,8-1-13 15,10 2-31-15,18-4 8 0,20 1-41 0,2-2-13 16,7 0 57-16,-1 0-19 0,8-3-35 15,-3 2 13-15,0 0-44 0,-2-1 2 0,-1 1-2 16,-5-3-38-16,-1 2 0 0,-6 0-44 0,-1 2-13 16,-14-1-56-16,-2 1-18 0,-3 2-25 0,-4-1-24 15,-9 2-41-15,-5 0-17 0,-3 0-69 16,-3 2-75-16,-3 1-77 0,-4-2-86 0,-1 5-413 16,-1-1 62-16,-1 1 74 0,-1 0 56 0,-3 0 108 15</inkml:trace>
  <inkml:trace contextRef="#ctx0" brushRef="#br0" timeOffset="-52987.41">4316 8912 1177 0,'-3'14'386'0,"3"-1"-4"15,3 4-52-15,-3 5-25 0,5 5-14 16,0 11-12-16,-2 2-40 0,0 8-7 0,-1 0 53 15,-2 17-22-15,0 0 6 0,-5 2-64 16,2-2-13-16,1 1 0 0,-4-1-44 0,1-1-38 0,3-13-25 16,-3-1-49-16,2-2-16 0,3-4-25 15,-2-1-28-15,2-9-34 0,0-5-7 16,2-2-34-16,-2-7-35 0,1 1-41 0,1-5-75 16,0 1-63-1,1-6-124-15,-3-2-409 0,0-3 80 0,2 1 73 0,-2-5 42 0,0-2 71 16</inkml:trace>
  <inkml:trace contextRef="#ctx0" brushRef="#br0" timeOffset="-52646.29">4334 8857 1046 0,'0'-3'384'16,"-2"0"-5"-16,2 3-18 16,0 0-56-16,0 0-19 0,0 0-7 0,0 13-30 15,2 2-27-15,0 4-4 0,1 7-11 0,2 13-4 16,-2 2-27-16,3 4-7 0,1 12-23 16,0 6 102-16,-1 4-43 0,-2 3-51 15,-1 0 35-15,2 4-28 0,-2 0-43 0,2 2-3 0,-3-1-94 16,1 0-3-16,0-1 5 0,-1-4-16 0,1-2 11 15,-3-4-36-15,2-11-12 0,-2-5-9 16,0-1-15-16,0-4-10 0,3-3-25 16,-3-10 12-16,0-6-30 15,2-3-27-15,-1-4-6 0,-1-2-24 0,2-4-38 0,-2 1-34 0,0-5-86 16,0-3-85-16,-3-3-128 0,3-1-297 0,0 0 87 16,0 0 69-16,0 0 57 0</inkml:trace>
  <inkml:trace contextRef="#ctx0" brushRef="#br0" timeOffset="-52220.87">4126 10056 1261 0,'0'0'510'0,"8"17"-49"0,-6-5-37 0,4 3-17 0,-1 5-43 0,3 4-100 15,0-1-24-15,2-2-58 0,2 12 2 16,-1-4-10-16,1-3-12 0,-4-2 63 16,3-5-31-16,1 0-14 0,1-1-14 0,-3-5-13 0,3-1-17 15,3-5-21-15,-1-1 6 0,-2-3-34 0,2-6-75 16,3 0-17-16,3-7-10 15,1-2 2-15,7-6-2 0,-1-7-3 0,0-1 8 16,-2-5-36-16,0 0-13 0,-1 0-8 0,-2 3 6 0,0-1-6 16,-5 2-17-16,-2 1 9 15,-1 4-14-15,-5 3-11 0,-2 4-28 0,-1-1-26 16,1 4-27-16,-2-1-34 0,-2 5-51 0,2-3-72 16,-4 0-41-16,1 7-458 0,2 0 36 0,-5 0 99 15,0 4 108-15,5-2 39 0</inkml:trace>
  <inkml:trace contextRef="#ctx0" brushRef="#br0" timeOffset="-45861.78">2670 11155 1092 0,'-3'2'313'0,"3"-2"-24"16,-5 3-7-16,5-3-57 0,0 0 3 15,0 0-39-15,0 0 0 0,0 0 9 16,0 0-37 0,11 2-23-16,-3-2-2 0,-8 0-26 0,17 0-5 0,-7-1-18 0,6-1 5 0,-3-2-41 15,3 3 11-15,4-4-19 0,0 0-15 16,-2-1-30-16,3-1-44 0,-1 2-29 0,-2 0-45 16,3-1-57-16,-4 0-91 0,-1 0-40 0,-1 2-467 15,0-1 38-15,-2 2 84 31,-5-1 54-31</inkml:trace>
  <inkml:trace contextRef="#ctx0" brushRef="#br0" timeOffset="-31796.49">2819 11166 1108 0,'-3'-4'361'0,"3"4"-34"0,-2-3-45 0,2 3-39 0,0 0-7 0,0 0 12 15,0 0-36-15,0 0-2 0,5 20-13 0,0-7-25 16,-2 1-6-16,2 4-17 16,2 5-34-16,-2-1 8 0,-2 2 64 0,2 1-31 15,0-1-23-15,-2 3-8 0,2-2-74 0,-2-1 3 0,2 1-74 16,-3-6-6-16,1 2-61 15,0-2-61-15,1-2-157 0,-6-2-161 0,7-2-384 16,0-2 47-16,0-1 99 0,0-3 71 0,-2-1 127 31</inkml:trace>
  <inkml:trace contextRef="#ctx0" brushRef="#br0" timeOffset="-31194.94">2993 11378 970 0,'2'6'302'0,"1"0"-26"0,0 2 8 0,-1 0-51 15,3-2-8-15,-2 1-30 0,2 4-16 0,1-4-89 16,-1 0-26-16,2-1 20 0,1 1-10 16,0-2-7-16,-1-1 23 0,1 1-16 15,0-2 84-15,-3 1 19 0,2-1-8 0,-1-3 13 16,-1 0-59-16,-5 0-13 0,10 0 18 15,-10 0 20-15,8-5-12 0,-3 3-11 0,-3-3 44 0,1 1-20 16,-1 0-26-16,-2-2 2 0,1 0-15 16,-1 0-18-16,0 0 8 0,0 0-31 15,0 0-10-15,-1-1 18 0,1 1-34 0,0 0 11 16,0 1-51-16,0 1-32 0,-2 0-37 0,2-1-24 16,0 2-50-16,0 3-29 0,-2-6-34 15,2 6-155-15,-1-5-121 0,-1 4-434 0,2 1 101 16,0 0 39-16,0 0 115 0,0 0 39 15</inkml:trace>
  <inkml:trace contextRef="#ctx0" brushRef="#br0" timeOffset="-30121.81">3237 11322 1105 0,'2'4'315'0,"3"1"-3"0,-5 1-56 0,3 0-15 0,0 1 2 0,-1-3-61 0,0 3 28 16,1-2-49-16,0 1-7 0,-3-3 2 16,2 2-31-16,1 1 21 0,-3-4-79 0,2 3 17 0,-2-5 13 15,3 6 106-15,-3-6-40 16,3 2 22-16,-3-2-24 0,0 0-38 0,0 0 28 15,0 0-23-15,0 0-3 0,8-8-38 0,-8 3 8 16,2 4-21-16,0-4 36 0,-1 0-41 0,4 1-10 16,-3-1 0-16,1 0 5 0,-1 2 18 15,1-1-38 1,2 2 9-16,0-1-9 0,0 2-29 0,-2-1 8 0,-3 2-5 0,10-1 15 0,-10 1-10 16,8 1 11-16,-8-1-4 0,7 2-24 15,-7-2 9-15,8 0-2 0,-8 0 5 0,5 1 7 16,-5-1-25-16,5 2 34 0,-5-2 4 15,0 0-2-15,5 1 18 0,-5-1 7 0,0 0 8 0,0 0 13 16,0 0-23-16,8-4 2 31,-8 4 19-31,3-4-19 0,0 1-12 0,-1 0 7 0,-2 3 0 0,2-8-12 0,0 7 2 0,2-2 3 16,-2-1-21-16,-2 4 13 0,5-5-3 16,0 4-17-1,-5 1 7-15,5-5 2 0,1 4 6 0,-6 1-18 0,10 0 5 0,-5 0-5 0,-5 0-15 16,10 0-21-16,-5 1 10 15,1 1-69-15,-6-2-17 0,7 3-6 0,-4-2-21 0,2 1-63 16,-5-2-41-16,5 3 0 0,-5-3-77 0,8 2-70 16,-8-2-65-16,8-2-73 15,-3 1-429-15,-1-3 74 0,4 1 117 16,-3-1 88-16,3-3 46 0,-2 2 74 0,1-2 501 0,-2-2 65 16,0 0 56-16,0 2 79 15,-2 1 56-15,2 0 34 0,-3-1 87 0,1 1 10 0,0 0-128 16,-1 5 1-1,-1-3-14-15,1 1-15 0,-2 3-13 0,0 0 16 0,0 0-21 0,0 0-28 16,10 8-1-16,-8-2-4 0,2 0-18 0,-2 1 0 16,1-1-28-16,2 1 2 0,-3 0-15 15,3 1-23-15,0-2 0 0,0 1 5 16,1-2-21-16,-1 0 26 0,2-1-35 16,1-2 9-16,-3 0 8 0,1-1 6 0,1 1-9 0,-7-2 103 15,8-3-18-15,-3 0 87 16,0 2-56-16,-2-3-5 0,1 0-16 0,-4 0 8 0,4-2-20 15,-4 1-21-15,0 1 26 0,0-1-24 0,-3-1 6 16,2 2-13 0,-1 0-31-16,-3-1-5 0,0 1-15 0,2 1-36 0,-2-1-28 0,0 1-29 15,0 0-45-15,2 0-24 16,-2 0-32-16,0 1-19 0,3-1-33 0,2 3-64 0,-8-4-15 16,6 1-19-16,2 3 16 0,-1-5 18 0,1 5 13 15,3-5 62-15,-1 2-14 0,-1 0 44 16,1 0 33-1,3 0 49-15,-3 0 41 0,-2 3 15 0,8-3 18 0,-5 2 18 0,-3 1 34 0,10 1 35 16,-2 2 18-16,-3 0 28 0,3 0-48 0,0 1 25 16,2 3-3-1,0 0-12-15,0-1-23 0,0 1 31 0,-2 2-52 0,2-1 5 32,-2 0 14-32,-3 1-1 0,0-1-15 0,3-2-6 0,-5 1-1 0,1-1 4 0,2-2 18 15,-4 1 59-15,1-1-10 0,2-2 20 0,-4 1-2 31,-1-3-26-31,4 2-4 0,-4-2 9 0,0 0-23 0,6-7-20 0,-4 1 0 0,0 0-11 16,2-2-7 0,0-2-23-16,-2-2 28 0,4-1-31 0,-1 0-23 0,0-2-35 0,3-1-42 0,-3 1-30 15,3-1-46-15,-1 3-42 0,1 0-112 0,-1 1-163 16,1 3-562-16,0 0 124 16,0 1 71-16,-3 2 54 0,0-1 79 0,0 4 75 31</inkml:trace>
  <inkml:trace contextRef="#ctx0" brushRef="#br0" timeOffset="-28942.47">4322 10787 1052 0,'-4'-2'478'0,"-3"2"-71"0,7 0-15 0,-10 6-29 0,4 1-48 15,-2 1-8-15,1 5 16 0,0 3-47 16,-1 2-15-16,0 3-30 0,3 2-34 0,-2-1-23 16,4 3-13-16,0-1-23 15,1-1 3-15,2-2-26 0,2-2-15 0,1 0-26 0,1 0 13 16,2-1-23-16,2-4-35 0,-1 1 1 0,1-3-22 15,0-3 7-15,2-2-38 0,0-1-2 16,3-1-16-16,-3-3-21 0,1-2-9 16,1 0-1-16,4-3-41 0,-3-2-2 0,4-1-13 31,1-1-43-31,3-3-6 0,-6 2 0 0,1-4 19 0,2 0-9 0,0 0 27 0,-5 2 9 16,2-1 49-16,-5 0 57 0,0 3 19 0,-2-2 24 15,0 2 13-15,-3 2 33 0,-2-1 8 16,1 0-19-16,-1 0 4 0,-3 1 20 0,3 0 4 15,-3 1 9-15,0 0-5 0,0-1-1 16,-3 4 29-16,0-3-8 0,3 5-21 0,-7-3-5 0,4 1 21 16,3 2-36-16,-7 0 16 0,7 0-4 15,-13 5 6-15,8 1-95 0,-1-2 21 0,2 2-28 16,-2 1 7-16,-1-1 15 0,2 2-12 0,-1 0 13 16,1 1 7-16,0 1-25 15,0-4 4-15,3 4 16 0,-2-2-25 0,3-2 15 0,0 1 25 16,1-1-4-16,0 0-19 0,0-1-12 15,1 0-11-15,0-3 29 0,3 2 17 16,-4-4-38-16,7 2 11 0,-7-2 7 0,8 0-8 16,-3-5 8-16,2 3-13 0,-1-2 3 0,-1-3 2 15,0 2 6 1,0-2-1-16,0 0 16 16,0-2 0-16,0-1-3 0,-2 2-5 0,2 0-5 0,-2 0-8 0,-1 2 8 15,1-1 8-15,0 1-3 0,-3 0 5 0,2 3-15 0,-2-1-7 16,2 1 12-16,-2 3 2 0,0 0-12 31,3-3 2-31,-3 3-15 0,0 0 8 0,0 0 5 0,0 0 7 0,3 9-10 0,-3-9 0 0,2 4-5 16,-1-1 16-16,-1-3 4 0,1 3-9 15,-1-3-3-15,4 5 25 0,-4-5-10 0,2 1-20 16,-2-1 15-16,2 4 7 0,-2-4 14 0,6 1-16 16,-6-1 8-16,0 0-21 0,7 0 11 15,-7 0-1-15,8 0-7 0,-8 0 20 16,8 2-20-16,-6 0-2 0,-2-2 14 0,8 2-19 0,-3-1 19 15,0 3 3-15,-3-1 13 0,1 1-28 0,2-1 23 16,-2 2-13-16,0 1 1 16,0-2 22-16,-1-1-21 0,0 1-9 0,1-1 38 15,-3 2-3-15,3-2 21 0,-3-3 15 16,4 3-26-16,-3 0 37 0,-1-3 7 0,5 2-13 0,-5-2 36 16,0 0-23-16,0 0-13 0,0 0 16 15,0 0-13-15,4-8-21 0,0 4 0 0,-2-1 31 16,-2 2-13-16,2-1 1 0,1 1 1 15,0 0-19-15,0-3 58 0,1 3-20 0,-1-1 15 16,0 1-18-16,1 0-10 16,-4 3 2-16,8-2-15 0,-8 2 6 0,8 2-9 0,-8-2-38 15,10 1 11-15,-5 1-16 0,-1 0 7 0,0 1 11 16,1 0-30-16,0-1 25 0,-2 1-60 16,2 0-4-16,0 0-54 0,-2 0-40 0,-3-3-12 15,8 3-32-15,-6-1-26 0,-2-2-59 0,8 2-92 16,-8-2-184-16,7 0-507 0,-2 0 51 0,-5 0 125 15,13-6 85-15,-5 4 46 0,0-3 82 16,-1-1 49-16</inkml:trace>
  <inkml:trace contextRef="#ctx0" brushRef="#br0" timeOffset="-28319.36">4845 11055 1361 0,'-9'-9'417'0,"9"9"-30"0,0-4-26 0,0 4 0 0,0-7-59 0,1 1-95 16,1 1-22-16,-2 0-27 0,5-2-4 0,-4 2-6 16,1 1 31-16,3-1-61 0,-4 1 13 15,3-2-11-15,1 3-23 0,-2-1 3 16,2 3-10-16,-2-1-16 0,-3 2-10 0,7-3 18 0,-1 3-31 16,-6 0 0-16,10 5 8 0,-3-4 5 0,-2 4-23 15,-2-1-20-15,2 0-9 0,0 1-35 16,0-1-20-16,-2 0-21 0,2 0-33 0,-3-2-26 15,1 3-41 1,0-2-59-16,0 0-94 0,1-1-54 0,-1 0-513 0,-3-2 104 16,8 1 35-16,-8-1 92 0,10-3 64 0</inkml:trace>
  <inkml:trace contextRef="#ctx0" brushRef="#br0" timeOffset="-27639.4">5088 10737 1131 0,'-5'3'340'0,"-3"1"-22"0,0 2-37 0,1 3-25 0,-1-2-5 0,1 2-13 16,1 2-13-16,-1 0 49 16,-1 2-28-16,3-1-10 0,2 1-27 0,0 0-35 0,1-1-12 15,-1 1-27-15,3-2-22 0,0-1-13 0,3 1 15 16,-1-4-23-16,1 1-7 0,3-1-98 0,1-2-5 15,0 0 3-15,2-4 12 0,3-1-17 16,-2-1-27-16,1 1 22 0,4-3 10 0,-2-3-16 16,2 0 8-16,-2-3 10 0,0 1-5 0,0-3 5 15,-3 1 23-15,-2 0-2 0,-1 2 2 16,-1-3 29-16,-2 1-19 0,-1 2-2 0,2 0 0 16,-4 0 18-16,1 2-26 0,-2 0 11 15,0 1 4-15,0 5-20 0,-2-5 6 0,2 5 7 16,0 0-8-16,0 0 13 0,0 0-16 15,-13 8 1-15,9-3 2 0,0 2 6 0,1-1 2 16,0 0-13-16,1 1 2 0,0 0-4 0,-1 1-21 16,3-1-7-16,3-1 19 0,-3-1-4 15,2 0 0-15,0 0 2 0,-2 0-28 0,3-1 24 16,2-1 12-16,-3-2-31 0,4 2 5 0,-6-3 21 16,8 0 3-16,-8 0-3 0,10-4-3 15,-3 1 18-15,1-1 8 0,-2-1-18 31,1-2 23-31,0 1 15 0,1-1 8 0,0 0 3 0,0 2-18 0,-3 0-3 0,0-1 10 0,2 3-17 32,-1-1-6-32,-1 1 21 0,0 0-8 0,-2 3 18 0,-3 0-15 0,10 0 20 0,-10 0 13 15,10 4-20-15,-4-2 43 0,-2 2-44 0,-1-1-4 16,2 1-6-16,-3-1 0 16,1 1-12-16,0 0 12 0,0-2-7 0,-1 2 2 15,1-1 41-15,-1-2-21 0,-2-1 32 0,3 5 15 16,-3-5-26-16,5 3-3 0,-5-3 8 0,0 0-12 15,0 0-19-15,0 0 1 0,0 0-3 16,3-9-18-16,-3 2-38 16,2 2-29-16,-2-2-12 0,2-1-47 0,-1-2-30 0,4-3-36 0,-3 3-20 15,4-1-31-15,-2 0-29 0,4 0-86 0,0 2-95 16,-5 2-49-16,5-3-411 16,2 1 55-16,-3 1 118 0,3 0 72 0,-4 2 62 15</inkml:trace>
  <inkml:trace contextRef="#ctx0" brushRef="#br0" timeOffset="-27329.71">5534 10679 1016 0,'0'3'373'16,"0"-3"-117"-16,0 11 0 0,0-5-7 0,-2-1-37 15,4 1-2-15,-2 2-23 0,2-2-21 32,-2 1-10-32,1-1 8 0,1 1-31 0,1-1-23 0,0 0-20 0,1-2 17 0,-1-1 6 0,2 2-13 15,-2-4-13-15,2 2-10 16,0-2-6-16,-5-1 1 0,8-4 89 0,-1 2-22 15,-4-2-11-15,4 1 43 0,-4-2-69 32,2 0 19-32,-3-2 9 0,1-1-35 0,-3 2-3 0,3-4 28 0,-3 3-48 0,0 2 10 0,-3-2-13 15,1 1 13-15,0 0-23 0,1 0-10 0,-4 2 7 16,2 1-8-16,-1-1-7 0,0 1-25 16,0 2-39-1,4 1-31-15,-8-1-7 0,8 1-47 0,0 0-38 0,-13 2-41 0,11-1-38 16,-3 2-67-16,5-3-48 0,-3 4-34 0,3-4-12 0,-3 4-103 15,3-4-264-15,0 0 6 16,0 0 79-16,0 0 99 0,0 0 40 0</inkml:trace>
  <inkml:trace contextRef="#ctx0" brushRef="#br0" timeOffset="-27037.15">5632 10619 724 0,'2'-1'358'0,"0"-2"-61"0,-2 3-26 0,6-2-22 0,-6 2-34 0,0 0 0 0,0 0-21 15,0 0 21-15,0 0-18 0,0 0-12 16,5 6-6-16,-5-6-41 15,2 6 11-15,-2-1-24 0,3 1-2 0,-3-4-13 0,0 4-26 0,2-1-22 16,-2-2 2-16,1 1 10 0,1 1-5 16,1-4 8-16,-1 5-13 0,-2-6 10 0,5 4 75 15,-5-1 2-15,0-3-3 0,0 0-92 0,0 0-12 16,13-6 28-16,-13 6 10 16,5-3 20-16,-2-1-2 0,2 2-18 0,-3-2-11 15,-1 0 22-15,4 1-24 0,-5 3-5 0,3-5-16 16,-1 2 16-16,-2 3-25 15,5-4-37-15,-5 2-20 0,0 2-61 0,3-5-16 0,-3 5-43 16,7-5-31-16,-4 4-54 0,-3 1-79 0,5-5-146 16,0 4-61-16,-2-1-379 0,2-1 53 0,2 0 144 15,-1-2 44-15,2 0 78 16</inkml:trace>
  <inkml:trace contextRef="#ctx0" brushRef="#br0" timeOffset="-26809.53">5834 10538 870 0,'0'0'407'0,"0"0"-44"0,2-3-17 0,-2 3-21 15,0 0-46-15,0 0-13 0,0 0-41 0,0 0 11 16,0 0-34-16,6 10-41 0,-4-5 24 16,-1 0 1-16,3 2-40 0,-1 0 28 0,-1 3-2 15,1-3-26-15,0 1 0 0,0-1-21 0,-1 2 3 16,0-1 16-16,-2-1-19 0,0 0 26 16,3-2-23-16,-6 2-21 0,3 0 14 15,-2-2-16-15,0 0-16 0,-1 2 11 0,0-2-46 16,0-2-36-16,1 2-16 0,-4-1-71 15,4 1-43-15,-3-1-29 0,0 1-59 0,0 0-71 16,2 1-146-16,-2 0-546 0,-2-1 85 0,4 1 72 0,-4 1 53 16,4-1 116-16,-3 1 38 15</inkml:trace>
  <inkml:trace contextRef="#ctx0" brushRef="#br0" timeOffset="-16803.68">2222 11690 824 0,'7'-4'317'0,"1"-4"-28"0,5 0-48 15,0 0-16-15,2 0-20 0,5-3-31 0,1 1-5 16,-3-1-64-16,5 0-74 0,-2-1-59 15,-4 4-90-15,-1 1-13 0,-1-2-63 16,1 3-510-16,-1 3 95 0,-7-2 12 0</inkml:trace>
  <inkml:trace contextRef="#ctx0" brushRef="#br0" timeOffset="-16656.34">2319 11734 711 0,'0'0'261'0,"0"0"-30"0,10-9-32 0,-3 5 1 0,1-1 64 16,1-1-70-16,0 0-22 0,4 0-68 0,0-3-45 15,-3 2-92 17,1 0-105-32,-1 1-361 0,0-1-162 0,0 1 37 0</inkml:trace>
  <inkml:trace contextRef="#ctx0" brushRef="#br0" timeOffset="-16421.43">2383 11431 1072 0,'0'0'335'0,"0"0"-40"0,10 0 27 16,-10 0-117-16,11 7-31 0,-1-1 10 0,-2 0 67 16,2 5-23-16,1-1-26 0,0 0-12 15,0 3-14-15,-1 3-14 0,0-2-1 0,-1-1-8 16,-2 3-30-16,0-1-10 0,-1 2 10 15,-4-2-39-15,1 0-35 0,-3 1-42 0,0 0-7 16,0 0-61-16,-3 1-41 0,1-1-106 0,2 3-101 16,-3-4-551-16,0-1 74 0,3 2 41 15,-4 0 69-15,3 0 93 0</inkml:trace>
  <inkml:trace contextRef="#ctx0" brushRef="#br0" timeOffset="-16155.5">2222 12515 982 0,'7'-5'349'0,"0"-2"-42"0,4 1-18 0,2-3-38 0,2 1-39 16,4-3-25-16,1 1-33 0,0 0-52 16,3 1-66-16,1 1-49 15,-4 0-128-15,8-10-81 0,-3 10-490 0,-6 2 6 0,-4 0 148 16,-2 2 48-16</inkml:trace>
  <inkml:trace contextRef="#ctx0" brushRef="#br0" timeOffset="-15916.71">2319 12499 1300 0,'0'0'409'0,"-5"1"-55"0,5-1-29 16,0 0-34-16,0 0-47 0,0 0-9 0,0 0-15 0,0 0-35 16,0 0 12-16,29-4-51 0,-17 0-26 15,3 0-2-15,0 1-123 0,3-4-31 0,0 0-18 16,0-1-92-16,3-1-64 0,0-2-133 0,-1 0-438 15,-5 2 62-15,1-1 51 0,-4 0 118 16,-1 0 10-16</inkml:trace>
  <inkml:trace contextRef="#ctx0" brushRef="#br0" timeOffset="-15679.72">2321 12160 936 0,'5'-6'389'0,"1"6"-56"0,-6 0 15 0,12-1-145 0,-2 2 4 0,1 0 3 15,2 2-29-15,3 0 4 0,2 4-16 16,4 0 2 0,-3 2-2-16,1-1-33 0,0 3-3 0,-2 0 3 0,0 2-31 0,-5-2 12 15,0 1-19-15,-3 1-11 0,-2-1 10 16,0 6-5-16,-4-3-46 0,-3 0 21 0,1 0-37 15,-5 2-25-15,1 2-15 0,0-1-49 0,-4 1-56 16,1-2-69 0,-2 1-108-16,-2 2-125 15,2-5-433-15,-1 2 64 0,1-4 95 0,-1-2 61 0,0-1 62 0</inkml:trace>
  <inkml:trace contextRef="#ctx0" brushRef="#br0" timeOffset="-9434.18">2981 12132 924 0,'0'0'368'0,"-4"-2"-27"0,4 2-50 0,0 0-9 0,0 0-44 15,0 0-26-15,-2 13-9 0,4-5-14 16,-2 2-23-16,1 0-2 0,2 3-25 0,-3 1-14 15,2-1-15-15,-2 4-2 0,2-1-16 16,1 2-21-16,0-3 14 16,-1-1-24-16,0 3-20 0,1-4-23 15,-3 0 18-15,3-2-16 0,-1-1-9 0,-1-4 30 0,1 2-13 0,0-3 26 16,-2-1-21-16,0-2 13 0,0-2-10 0,0 0 30 16,0 0-7-16,0 0 15 15,0-18 1-15,-2 9-22 16,0-4-55-16,-1-5-1 0,0-1 8 0,-1-7 21 0,1 1-34 0,0 0 24 15,0-3-9-15,3 1 24 0,0 4-8 0,1-2-8 16,1 4 1-16,3 1 9 0,-3 3-9 16,4 1 20-16,-1 4-24 0,0 3 11 15,3 1 6-15,0 4-4 0,2 2 124 0,0 3-21 0,3 2-23 16,2 4 2-16,-2 2-22 0,0 1-27 16,5 6 22-16,-5 1-9 0,2-1-30 0,-2 3-7 15,0 0-22-15,-1 1-47 0,-1 0-1 0,-1 0-21 16,0-1-17-16,0 0-28 0,-4-3-47 15,1-1 19-15,-1-1-77 0,-1-2-101 16,-1-2-134 0,2 0-470-16,-6-1 37 0,5-4 176 0,-3 1 41 0,-2-2 72 0,0-1 54 0</inkml:trace>
  <inkml:trace contextRef="#ctx0" brushRef="#br0" timeOffset="-9012.31">3081 12228 1036 0,'-13'0'376'0,"13"0"-22"0,0 0-42 16,0 0-30-16,0 0-42 0,0 0 6 0,0 0 0 0,0 0-54 15,0 0-18-15,0 0-3 16,30-1-109-16,-20-3-50 0,1 0-45 16,2-1-10-16,2-2-37 0,-2-1-94 0,4 1-77 0,-1-4 29 15,-3 1-24-15,2 0-202 0,3-2-141 16,-5-1 164-16,-2 2 218 0,-1-1 112 0,-2-1 57 15,-1 0 51-15,-2 2 92 0,-2-3 74 0,-1 2 15 16,1-1 16-16,-3 1 18 16,0 2 20-16,0-1 3 0,0 1 18 0,-3 2-5 15,3 2-21-15,0-1-10 0,-2 1 7 0,2 1-53 0,0 5-18 16,0-3 26-16,0 3-44 16,0 0-80-16,0 0 9 0,7 15-11 0,-4-9-8 0,2 5-10 15,-2 2 3-15,2 1 5 0,2 3-10 16,-1-2-21-16,-1 4-3 0,3 2-2 15,-1 0 3-15,1-2-67 0,-1 2-23 0,1-4-33 16,-2-1-39-16,-1-1-28 0,3 1-74 0,-1-2-41 16,-2-3-41-16,1-1-465 0,1-4 22 15,0 1 74-15,-4-4 36 0,4-2 103 32</inkml:trace>
  <inkml:trace contextRef="#ctx0" brushRef="#br0" timeOffset="-8629.25">3473 12049 1282 0,'0'0'358'0,"0"-5"-5"15,0 5-48-15,8-6-28 0,-4 4-19 16,4-3-20-16,0 4-25 0,2-1-34 0,0-1-13 0,1-1-25 0,1 2-31 15,1 0 13-15,-3 1-21 0,1 0 1 16,2-1-1-16,-6 4-5 0,3-1 11 16,-2 0-90-16,-3 0 33 0,0 3 13 0,-2 1 69 0,0-1-13 15,-3 3 21-15,-3 3-5 16,0-1-36-16,-1 2 28 0,0 0-39 0,0 2 3 16,-2-1 6-16,1 0 1 0,0-1-22 0,1 1 3 15,1 1-24-15,-1-2 39 16,2 2-34-16,0-1-7 0,2-2-3 0,0 0-10 0,2-2 5 15,-1 0-33-15,4 1 0 0,-2-2-3 0,4-1-23 16,0-2-23-16,1-1 18 16,2 0-30-16,0-3-47 0,1 0 16 15,2-2-39-15,0-1-10 0,1-1-28 0,0-1-29 0,-3-1-37 16,1-1-47-16,-2 2-82 0,0-4-92 0,-2 3-452 16,-3 0 73-16,0 1 77 15,-2-1 64-15,-1 2 44 0</inkml:trace>
  <inkml:trace contextRef="#ctx0" brushRef="#br0" timeOffset="-8256.93">3542 12174 947 0,'0'0'424'0,"-8"-3"-45"0,8 3-41 16,-5-2-26-16,5 2-25 0,0 0-26 0,0-4-12 16,0 4-29-16,7-5-13 0,-1 2-38 15,-1 0-18-15,5 0-13 0,0-4 0 0,0 2-120 16,4-2-2-16,-1 0 9 0,4-1-35 0,-1 2 7 15,1-2 6-15,4-2-6 16,-3 3 14-16,0 0-50 0,0-3 21 0,-1 3 8 16,-1 2 5-16,-3 0 13 0,-2 1 5 0,-2 0-11 15,0 1 34-15,0 0 5 0,-3 2 10 16,1 0 13-16,-1 1-10 0,-6 0 10 16,10 4-18-16,-5-2 100 0,0 1-23 0,-3 1 0 15,4 2-26-15,-4 0 8 0,1-1 5 0,-1 2-51 16,1 0 43-16,0 1-25 0,-1-3-21 15,0 3-2-15,-1-3-8 16,1 2-20-16,-2-1 2 0,3-1-69 0,-3-1-31 0,2 2-5 16,-2-1-35-16,0-3-65 0,2 1-133 0,-2-3-222 15,0 5-346-15,0-5 23 0,0 0 97 0,0 0 90 16,0 0 16-16,0 0 55 0</inkml:trace>
  <inkml:trace contextRef="#ctx0" brushRef="#br0" timeOffset="-8136.08">3849 11903 752 0,'-5'-1'261'0,"5"1"-125"0,0 0-159 0,-7 3-563 0,7-3 56 0</inkml:trace>
  <inkml:trace contextRef="#ctx0" brushRef="#br0" timeOffset="-7621.93">3967 11940 1200 0,'3'4'394'0,"2"3"-7"0,-3-2-116 0,1 1-25 0,0 1 7 0,-1-2-61 15,1 1 13-15,2 0-16 0,-5-1-12 16,3 0-36-16,-1 0 7 0,1-1 75 0,-1 0-3 15,-1 0-10-15,1-1 31 0,0 0-16 16,-2-3-23-16,3 5-15 0,-3-5 2 0,2 3-79 16,-2-3-25-16,0 0-16 0,0 0-5 0,0 0-3 15,0 0 1-15,6-8 7 16,-3 5-31-16,1-1 21 0,-3 0-31 0,4 0 31 16,-1-1-41-16,-1 3-8 0,2-1-5 0,0 2 34 0,-5 1-16 15,8-3 0-15,-2 2 10 0,-6 1-35 16,10 2 17-16,-5 0 11 0,0-1 2 15,-1 3 10-15,2-3 24 0,-3 1-62 0,2 1 25 0,0-2-2 16,-5-1 72-16,5 3-57 0,-5-3 26 16,5 2 105-16,-5-2-25 0,5 1 25 15,-5-1-13-15,0 0-92 0,6-4-36 0,-6 4 15 16,7-6 1-16,-5 2 22 0,1 0-17 0,2 0 10 16,-4 0-8-16,3-1-18 0,-1 2 8 15,0 0-20-15,2-1 12 0,-2 1-12 0,1 1-14 16,-1 0 14-16,2 0 7 0,-5 2-5 15,8-5-3-15,-3 5-20 0,0-1-7 0,-5 1-27 0,10-1-50 16,-7 0-11-16,-3 1-40 0,10 1-29 0,-10-1-28 16,8 1-74-16,-3 0-31 15,0 2-3-15,0-1-61 0,0 0-25 0,-4 1-198 0,6-2-435 16,-4 2 152-16,4-1 37 0,-7-2 83 16,8 1 94-16,-1 0 49 0</inkml:trace>
  <inkml:trace contextRef="#ctx0" brushRef="#br0" timeOffset="-6781.63">4413 11919 734 0,'0'0'269'0,"1"-4"-18"0,-1 4-29 0,2-4-1 0,0 0-6 0,-2 4-3 15,0-5-15-15,3 2-23 0,-3-2 26 16,0 5 43-16,0-7-23 0,0 4 3 16,0-2-6-16,-2 1 9 0,2 4-29 0,-1-8-18 15,1 3 5-15,0 5-20 0,-2-6 0 0,0 3-87 16,2 3-8-16,-1-6 5 0,1 6-2 16,-2-4-6-16,2 4 3 0,0-6 6 0,0 6-17 15,0 0 1-15,-3-1-15 0,3 1-11 0,0 0-5 16,0 0 8-16,0 0 0 15,0 0-33 1,0 0 37-16,0 0-24 0,0 0 7 0,3 12-8 0,-3-12-2 0,2 6 5 0,1-4-18 0,-3 2 5 16,3-2 13-16,0 4 2 15,1-3 3-15,-1 1 1 0,0 0-22 0,1-2 16 16,-1 3-31-16,2 0 31 0,-3-2-36 16,1 0 5-16,1-1-12 0,0 1 2 0,-1 0-28 15,-3-3-3-15,2 4-18 0,1-2-12 0,-3-2-11 16,5 3 8-16,-5-3 8 0,3 4 25 0,-3-4-13 15,0 0 19-15,2 1 7 0,-2-1 13 0,0 0 20 16,0 0-18 0,0 0 1-16,5-9 25 0,-2 6 20 0,-1-1 19 0,-2 0 12 0,2 0 15 15,2 1-7-15,-2-1 18 0,0 1-10 0,1-1-1 16,0 0-10-16,-1 1 16 16,-2 3 0-16,8-5-8 0,-5 4-11 0,1 1 6 15,-4 0-5-15,11 0 0 0,-11 0 10 0,7 0-16 16,-1 1 1-16,-6-1 2 0,7 3-38 15,-2-2 41-15,-5-1 0 0,8 2 12 0,-8-2-15 16,5 2 3-16,-5-2 10 0,6 2-36 0,-6-2 41 16,7 0 6-16,-7 0-29 0,0 0 18 15,8-4-21-15,-5 1-2 0,1-1-28 0,-3-2-5 16,4 2-26-16,-3-5-41 0,3 1-28 16,0-3-18-1,1 3-36-15,1-3-10 0,-1 2-18 0,1-1-38 0,-2-1-39 0,3 2-23 0,-3-2-17 16,1 0-34-16,1 3-44 15,0 1 60-15,-1 0-68 0,-3 0 34 0,2 2 44 0,-1-2 7 16,2 2 52-16,-1 0 48 0,-3 0 72 47,1 4 97-47,0-3 59 0,1 1 41 0,-4 3 20 0,6-1 24 0,-6 1 22 0,0 0 11 0,10 1 33 0,-10-1 2 0,5 4 29 0,0-1-11 16,-3 1 6-16,1 0-18 0,3 1 48 15,1 1 11-15,-4 0-3 0,2-1-13 0,-2 1-33 0,1 1-31 16,-1-2 5-16,0 1-7 0,-3-1-19 0,2 2-22 15,-2-4-16 1,0 4-43-16,0-2-56 0,-2 2-47 0,-3-1-43 0,2 1-51 0,-2-1-65 16,-3 0-63-16,0 1-213 0,-2 2-529 15,0-1 73 1,0-2 134-16,-3 2 48 0,-5 2 75 0,-2-2 69 0,0 4 63 0</inkml:trace>
  <inkml:trace contextRef="#ctx0" brushRef="#br0" timeOffset="-6306.24">2367 13061 811 0,'9'-7'366'0,"1"2"-41"15,2-1-46-15,6-2-23 0,3-1-15 0,12-5-34 16,5 0-10-16,4 0-36 0,-1 0-10 15,0-1-51-15,2 2-33 0,-2-3-37 0,0 4-73 16,-4 0-93-16,1-5-186 0,-10 8-410 0,-5 4 20 0,-5-1 144 16,-5 2 71-1</inkml:trace>
  <inkml:trace contextRef="#ctx0" brushRef="#br0" timeOffset="-6099.83">2616 13058 1249 0,'-4'1'401'0,"4"-1"-29"0,0 0-24 0,0 0-23 0,0 0-33 15,0 0-100-15,22-2-44 0,-9-1 31 0,2 1-46 16,4-2 0-16,1-1-15 0,5-2-3 16,1 1-43-16,-1-1-16 0,1-1-25 15,0 0-67-15,-3-1 11 0,0 1-88 0,-5 0-41 16,-3 0-112-16,-4 2-95 0,2-2-384 0,-1 0 11 15,-3 1 71-15,-2-2 82 0</inkml:trace>
  <inkml:trace contextRef="#ctx0" brushRef="#br0" timeOffset="-5794.72">2757 12735 1159 0,'5'-3'417'0,"0"1"-104"0,1 0-40 0,2 1 12 0,2-1-29 0,0 4-1 16,3 1 7-16,2 0-40 0,0 0 37 15,3 4-44-15,-2-2 2 0,2 2-9 0,0 1-44 0,0 4 17 16,-3-1-14-16,-2-1-1 0,-3 3-17 16,3 1-27-16,-5 1-14 0,-4 0 5 0,-1 2-50 15,-3-1-22-15,-2 2-38 0,-1 1-54 0,-4 3-46 16,-1-1-44-16,-5 9-38 0,2-5-113 15,1-3-179-15,-5 8-433 0,5-8 54 16,-3-3 121-16,1-4 51 0,3-1 81 0,-1 0 85 0</inkml:trace>
  <inkml:trace contextRef="#ctx0" brushRef="#br0" timeOffset="-4792.17">3360 12723 1126 0,'0'0'404'0,"0"0"-66"16,0 0 15-16,0 0-43 0,0 13-51 0,3-6-1 16,-1 4-30-16,1 2-16 0,2 4-9 0,3 1-45 15,-4-1-20-15,2 6 26 0,1-1-41 0,-1 0-3 16,1 0 1-16,-2-3-34 0,0 0 25 16,0 0-37-16,1-2-9 0,-2 0-15 15,-1-3-25-15,2-1 28 0,-2-2-31 0,0 0-18 16,-1-3 41-16,0 0-5 0,1-1-3 15,0-1 21-15,-3-2-28 0,0-1 38 0,0-3-15 16,0 0 5-16,0 0-11 0,0 0 55 0,0 0-1 16,-10-11 11-16,4 4-16 0,-1-4-7 15,-1-4 25-15,3-4-38 0,-3-4 12 16,0-3-7-16,3-1 8 0,0-1-42 0,2 1 19 16,3-1-19-16,3 2 9 0,2 1-9 0,0 2-2 15,1 2-2-15,1 6 12 16,1 0-30-16,-1 5-8 0,2 0 10 0,0 5 5 0,-1 2-5 15,0 0-10-15,-1 3-7 0,1 0 37 16,-2 5-17-16,-2 0-5 0,2 2 2 0,-3 0-8 16,-1 3 3-16,-2-1 13 0,0 1-26 0,-3 2 29 15,1 1-9-15,-3-1-37 0,0-1 14 16,0 0-32-16,0 0-14 0,-1 0-12 0,1-3-59 16,0 0 3-16,0-1-6 0,2 0-41 15,0-1-7-15,1-2-33 0,0 2 4 0,2-1 3 16,0 0-15-16,0-1-15 0,2 0-42 0,0 0-61 15,4-1-61-15,-3-2-47 32,4 0-437-32,1-1 25 0,5 0 183 0,-3-2 27 0,0 0 74 0,3-1 32 0</inkml:trace>
  <inkml:trace contextRef="#ctx0" brushRef="#br0" timeOffset="-4288.48">3727 12727 1021 0,'-3'-2'381'0,"3"2"8"16,-13 0-43-16,6 2-34 15,-1 1-35-15,0 2 7 0,1 1-41 0,-1 1 10 0,-2 1-22 16,4 1-34-16,-1 1-31 0,1 1 3 0,-1 1-5 16,4 0-31-16,-2 0-10 15,2-1-11-15,1 2-19 16,2-3-4-16,0-1-25 0,2 0-7 0,1 0-19 0,2-2 5 0,-2-1 6 15,2 0-13-15,0-2-18 0,0-1 18 16,0-2-16-16,1 0 1 0,-6-1 4 0,14-5-7 16,-6 3 0-16,0-3 5 0,0-1 5 15,-3-2 16-15,3-1-26 0,-3 0-72 0,3 1 10 16,1-2-7-16,-3 2 8 0,1 0 15 16,1 0-26-16,-2 2 8 0,1 2 12 0,-2 0 6 0,1 1-8 15,0 0 13-15,1 3 11 0,2 3 1 31,-1-1 9-31,-3 2 9 0,3 1-4 0,0 1 20 0,-1 3-13 0,1-1-5 0,-2 3 11 16,1-1-9-16,-2 0-4 0,0 0-8 0,-2-2 13 16,-1 0 35-16,0 0-7 0,2 0 5 15,-2-2 28-15,0-2 5 0,-1 1 8 0,0-1 26 16,0-2-3-16,-1-2-31 0,0 0 5 0,0 0-28 16,0 0 18-16,0 0 1 0,6-13-29 15,-5 6-6-15,0-3 24 0,1 1-31 16,3-2-20-16,-2-1-16 0,2 0 6 0,0-1-21 0,0 1-49 15,1 0-15-15,3-1-33 16,-3 1-49-16,1 4-41 0,1-5-36 0,0 2-125 0,-3-1-82 16,5-1-461-16,1 0 59 31,-1 2 105-31,0-3 75 0,-2 1 76 0,2-2 89 0</inkml:trace>
  <inkml:trace contextRef="#ctx0" brushRef="#br0" timeOffset="-4105.73">4132 12467 770 0,'0'0'379'0,"0"0"38"0,0 0-15 0,0 0-10 0,0 14-14 0,2-6-37 0,-2 2-26 0,2 0-26 0,-1 2-20 0,1 2 12 15,3 3-40-15,-3 1-16 0,1-1-28 0,1 3-38 0,0-1-29 16,-1-1-43-16,-1 0-28 31,1-1-36-31,-1 0-43 0,1-4-8 0,0 0-36 0,1-2-62 0,-1-1-40 0,2-4-41 0,1-1-203 16,-2-2-455-16,2-1 84 15,4-4-2-15,-3-1 69 0,1-3 92 0</inkml:trace>
  <inkml:trace contextRef="#ctx0" brushRef="#br0" timeOffset="-3701.3">4380 12487 865 0,'-7'5'289'0,"-4"2"74"16,-2 2-27-16,0 1-14 0,-5 3-2 0,1 0-5 15,-1 4-44-15,-5 2-22 0,5 0 7 16,2-3-49-16,1-1 18 0,2-3-58 0,3 1-6 16,0 1 13-16,2-2-23 0,3-1-8 0,0-1-17 15,2-1-6-15,1-1-12 0,1-2-11 16,2 2 23-16,1-4-46 0,1 2 6 16,2-3 4-16,0-2-28 0,3 0-7 0,2-2-8 0,0-2-3 15,3-1 9-15,0-1-9 0,-1-3-61 16,4-2-36-16,-3 2 28 0,0-4 13 0,2 2-15 15,-2 0-13-15,0 1 28 0,-3 0-13 0,0 2-2 16,0 1 41-16,-2 1-16 16,-3 1 39-1,3 1 10-15,-3 3 59 0,0 0 10 0,-5 0-23 0,11 2-18 0,-6 1 5 0,2 0-18 16,-6 4 24 0,1-3-14-16,0 2-22 0,1 1-42 0,-3 1 1 0,2-1-8 0,-1 0-44 15,-1 1 0-15,2-1-66 0,-2-1-46 0,0-1-18 16,0 1-23-16,0-2-75 0,0-4-160 15,-5 6-152-15,5-3-261 0,0-3 33 16,0 0 78-16,0 0 50 0,0 0 85 0,0 0 79 0</inkml:trace>
  <inkml:trace contextRef="#ctx0" brushRef="#br0" timeOffset="-3616.18">4388 12535 491 0,'-1'-10'187'0,"0"4"7"0,0 1-40 15,1 0-95-15,0 1-136 0,0 4-261 0,-2-5-176 16</inkml:trace>
  <inkml:trace contextRef="#ctx0" brushRef="#br0" timeOffset="-2302.9">4724 12475 1249 0,'0'5'368'0,"0"0"-20"0,0 0-7 0,0 2-55 0,0 1-17 0,2-1-36 16,-2 0-36-16,3 3 11 0,-3-1-45 0,3 0-6 15,-3 0-4-15,2-2-53 0,0 2 18 16,-2-1-16-16,3-3 13 0,-3 1-102 0,0-1 38 16,0-1 13-16,3 0 51 0,-3-1 3 0,0-3-31 15,2 3 8-15,-2-3 0 0,0 0 2 16,0 0-10-16,0 0-33 16,8-10 7-16,-5 7 8 0,2-1-20 0,0 0 0 0,0 0-1 0,2-1-15 15,1 3 8-15,0-2-12 16,0 2-6-16,-1 0 5 0,3-1-8 0,-2 2 3 15,2-1-38-15,-1 0-34 0,1 1-2 0,0 1-28 16,0-2-39-16,1-1-15 16,1 0-26-16,-2-1 3 0,1 1-28 0,2-2-11 15,-1 0-28-15,-2-1-7 0,1-1-16 0,-1 0 49 0,-2 0 36 16,0-2 23-16,-1 4 10 16,-1-3 10-16,-2 2 13 0,-1-2 72 0,0 2 12 15,-1 1 39-15,-2 0 23 0,2 1 28 0,-2-1-2 0,0 1 22 16,0 4 11-16,1-7-33 15,-1 7 12-15,2-3-15 0,-2 3 8 0,0 0 7 16,0 0 3-16,0 0-5 0,0 0 28 0,3 14-31 0,-1-7 29 16,1 1-11-16,-3 0 7 15,0 0 6-15,3 3-25 0,-1 1 4 16,0 0 14-16,-1-1-24 0,1 1-18 0,-2-2-28 16,0-1 23-16,0 1-2 0,-2-2-8 0,2 1-3 15,-1-2 3-15,2-1-10 0,-2-2-23 0,1 1-42 16,-2-1-1-16,2-4-32 0,0 0-15 0,0 0 3 15,0 0-54-15,0 0-23 0,0 0-93 16,8-12-107-16,-4 5-40 0,2-3-308 0,-1 1-54 16,8-1 105-16,-6 0 482 0,1-3 76 15,0 5 24-15,-3 0 45 0,1 0 72 16,-2 1 39-16,1 0 32 0,0 3 27 0,-1 0 14 16,-2 1-2-16,0 0 6 0,-2 3 7 0,6-1 81 15,-6 1 1-15,0 0-48 0,0 0 19 16,4 7-35-16,-4-2-5 0,1-2-80 15,1 4-38-15,1-2-2 0,-3 2 27 16,3 1-27-16,1-2-3 0,-1 1-6 0,2 0-4 16,-2 1-6-16,2-2-2 0,0-1-15 0,0 0 7 0,0-2-20 15,2 1 23-15,-1-2-16 0,-1 0 1 16,0-2-13-16,3 0 17 0,-8 0-7 16,10-4 13-16,-5 1-1 0,1 1-4 0,-2-4-16 15,-1 3 13-15,0-1 3 0,-1-1 0 0,-2 0-21 16,0 1 20-16,0-1-7 0,-2-1-5 15,-1 1 5-15,1 0-3 0,1 2-12 16,-1-1 20-16,-3 0-8 0,5 0-5 0,-5-1 3 0,3 3 5 16,-2-2-10-16,2 2-8 15,2 2-26-15,-3-6 3 0,1 3 28 0,2 3-20 0,0-4 7 16,0 4 6-16,0 0-21 0,2-4 0 16,-2 4 12-16,0 0 9 0,0 0-6 0,13 1 8 15,-13-1-23-15,8 6 26 16,-3-3-19-16,-2 1 4 0,0-1 22 0,1 0 3 0,-1 2-16 15,-1-2 18-15,1 0 31 0,0 1 21 16,-1-1-11-16,-2-3 29 0,3 5-3 0,-1-4 48 16,-2-1-9-16,3 5 12 0,-3-5 7 0,5 0-12 15,-5 0 59 1,0 0-2-16,0 0-47 0,10-5 3 0,-10 5 4 0,8-5-22 0,-6 4-10 16,4-2-8-16,-2-2-44 0,2 0 42 15,1 2-39-15,-1-1 2 0,-1-2-20 0,3 3-17 16,1-5-50-16,0 4-53 0,1-2-39 15,0 0-15-15,0-1-66 0,-2 1-67 0,3 0-90 0,-7 0-171 16,10-4-451-16,0 3 44 16,-1-4 112-16,0 2 108 0,0-1 31 0,-1 1 69 0,-3 0 61 15</inkml:trace>
  <inkml:trace contextRef="#ctx0" brushRef="#br0" timeOffset="-734.16">5024 11393 1139 0,'0'-5'302'0,"0"5"-13"0,2-3-15 15,1 0-41-15,4 3-36 0,1-2-5 0,3 2-18 16,4 4-10-16,0-2-34 0,3 0 1 0,0 4-6 16,0 4-15-16,3-2-20 0,-1 3-3 15,-2 2 15-15,0 4-12 0,-2-1-6 16,-3 5-7-16,4 6-21 0,-6-1 3 0,-1-4 5 16,-5 1-7-16,2 1-6 0,1-1-3 0,-3 1 4 15,-2-3 1-15,4-2-30 16,-1-1 8-16,-1-1-8 0,0-2-8 0,0 0 9 0,2 0-4 15,1-4-5-15,-2-1 13 0,1 0-20 16,-2-1 13-16,1-1-1 0,-1-1 1 0,0-2-14 16,2 0-9-16,-1 0 7 0,-2 0 5 0,2 0-5 15,-1-2 0-15,0 2 16 0,0-3-16 16,1 4 21-16,-2-1-16 0,2 1-8 0,-1 0 44 16,0 1-7-16,0 1-3 0,3 1-16 15,-3 1 36-15,0 2 21 0,0-1-13 16,0 1 3-16,1 4 22 0,-2 0-32 0,-1 0 27 15,3 1 16-15,-2-1-23 0,-1 3-16 0,2-1 34 16,0 1-16-16,0 0-22 0,-2 0-14 0,4-1 16 16,-1 4-3-16,-2 0-7 0,2-2 2 15,-3-1 5-15,2 0-22 0,0-1-4 0,0 1 34 16,0-2-25-16,-2 0-42 0,2 0 24 0,-1-1 2 16,0-1-23-16,0 0 28 0,-1 0 3 15,0-3-31-15,0 1-11 0,1-2 22 16,-1 1 14-16,-3-2 14 0,2-1 53 0,1 0-10 15,-3 0-3-15,2-1-5 0,-2-1 6 16,3-1-47 0,-3 1 5-16,0-2 1 0,0 0-60 0,0-1 6 0,0 0-39 0,0 0-18 0,-3-1-27 0,3-3-19 15,-2 4-18 1,2-4-35-16,0 0-14 0,0 0-30 0,-5 2-23 0,5-2-41 16,0 0-28-16,0 0-74 0,0 0-57 31,-3-12 3-31,3 9-366 0,0 0 7 0,0 3 95 0,-3-7 116 0,1 4 9 0</inkml:trace>
</inkml:ink>
</file>

<file path=ppt/ink/ink3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5:59:35.99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1826 2550 811 0,'-7'0'345'0,"7"0"-19"0,0 0-6 0,0 0-36 16,0 0-10-16,20-4-13 0,-2 3-34 0,13 0-12 15,17-1-2-15,9 2-13 0,5 0-14 16,18-1-17-16,9 1-15 0,6 0 5 0,5 1-24 16,2-1-9-16,3 3-3 0,1 2-13 0,-2-3-5 15,2 0-6-15,2 1-17 0,-6 3-10 16,-4-3 5-16,-1 0-8 16,-2 0-36-16,-3 1-2 0,-4-1 0 0,-2 0-11 0,-7-1-22 0,-4 1-27 15,-16 0-22-15,-5-3-5 0,-5 2-21 16,-13 1-28-16,-3-1-28 15,-10-2-28-15,-2 0-11 0,-3 1-9 0,-3-1-58 0,-5 0-57 16,1 0 24-16,-7-1-222 0,-1 1-307 0,-3 0 89 16,0 0 67-16,0 0 90 0</inkml:trace>
  <inkml:trace contextRef="#ctx0" brushRef="#br0" timeOffset="327.64">1873 2747 1172 0,'-29'6'363'0,"9"-1"-48"15,5 0-10-15,7-4-3 0,8 1-8 0,0-2-23 16,25 0-86-16,9-2 4 0,33-3-2 0,14-3-18 16,12 1-3-16,33-3-35 0,9-1 2 15,7 1-10 1,-1-2-8-16,5 2 77 0,-1 0-38 15,0 2-14-15,-12 0 4 0,-2 2-19 0,-26 2-28 0,-5 0 1 0,0 3 2 0,-8 1-47 0,-7-4 24 16,-6 3-31 0,-20 1-7-16,-5-1-4 0,-6-2-45 0,-11 3-21 0,-7-1 1 0,-4 0-16 15,-9 0 5-15,0 1 2 0,0-3-35 16,-4-1-31-16,-3 1-23 0,0-3-31 16,-5 3-33-16,1-3-94 0,-4-3-224 0,-2 0-368 15,0-3 87-15,-5-5 65 0,-3-2 22 0,-7-2 100 16</inkml:trace>
  <inkml:trace contextRef="#ctx0" brushRef="#br0" timeOffset="858.69">2019 1851 1092 0,'-10'2'308'0,"5"-2"-19"0,5 0-5 15,0 0-36-15,0 0 6 0,35-5-34 16,-7 1-5-16,19-1-28 0,22-2-26 0,8-3 59 15,7 1-13-15,11-1-20 0,29-2-5 32,4 1-10-32,0 0-14 0,6-1-7 0,1 3-20 0,-7 2-6 0,0 1 6 0,-22 2-113 0,1 1 2 15,-2 2 3-15,-2 0-15 0,-6 2 2 16,-6-1-12-16,-5 1-27 0,-7 0-12 16,-6 1-12-16,-15-2-9 0,-6 0-22 0,-7 2-16 15,-11 0-33-15,-8-2-36 0,-6 0-8 0,-4 2-17 16,-9-1-116-16,-2 1-23 15,-4-1-499-15,-1-1 121 0,0 0 12 0,-26 3 100 0</inkml:trace>
  <inkml:trace contextRef="#ctx0" brushRef="#br0" timeOffset="1158.28">2363 1942 908 0,'-6'-1'366'0,"9"-3"-25"0,-3 4-6 16,25-9-7-16,14 0-126 0,22-3-13 0,14-1 6 16,12-3-26-16,29-3 7 0,7 2 32 15,7 2 2-15,-1 0 2 0,1 2-25 0,-2 5-10 16,-2-1-119-16,2 3 4 0,-30 2-14 0,0 2 6 16,-7 1-8-16,-1 1-20 0,-6 1-11 15,-6 0-22-15,-14 0 4 0,-6-1-28 16,-6 2-10-16,-3 0-10 0,-8 0-21 0,-13 0 1 0,-3-1-11 15,-2 0-28-15,-7 0-5 0,2 0-1 16,-8 1-24-16,1-2-45 0,-1 1-104 16,-3-1-108-16,-2 0-365 0,-5 0 40 15,3 2 141-15,-3-2 10 0</inkml:trace>
  <inkml:trace contextRef="#ctx0" brushRef="#br0" timeOffset="23111.19">2712 6418 1517 0,'0'0'566'0,"0"0"-36"0,0 0-46 0,0 0-59 15,-19 7-8-15,17-5-33 0,2 3-5 16,0 2-29-16,0 3-37 0,0-1-29 0,0 3-100 16,-3 1-28-16,3 4-20 0,0-3-3 0,0 3-13 15,0 2-15-15,-2 0-8 0,1 1 8 16,-1 0-28-16,2 1-10 0,-2-1-6 0,-1 0-30 16,2-2-41-16,-3 1-42 0,1-2-27 0,0-3-23 15,1-1-24-15,-1-1-32 0,1 0-42 16,-1-4-18-16,3 2-61 0,-3-2-110 15,2-8-138-15,0 5-425 0,1 0 102 0,0-5 46 16,1 4 95-16,-1-4 74 0,2 5 70 0</inkml:trace>
  <inkml:trace contextRef="#ctx0" brushRef="#br0" timeOffset="23390.67">2957 6636 1717 0,'10'1'581'0,"-7"1"-51"15,4 3-46-15,-1 0-118 0,-1 0-31 0,0 2-15 16,-2-1-8-16,2 2-38 16,-3 3-18-16,-1-3-20 0,-1 5-9 0,-1-1-45 15,-1 0-5-15,-1 2-16 0,-1 3-12 0,-2-3-42 16,1 2-30-16,-3-2-34 0,-2 0-25 15,2 0-69-15,1-2-26 0,-4 0-53 16,1-2-44-16,2-2-52 0,-2 2-101 0,2-8-203 0,1 5-481 16,-1-2 118-16,3 0 86 0,-1-4 70 15,2 1 82-15,-2 1 143 0</inkml:trace>
  <inkml:trace contextRef="#ctx0" brushRef="#br0" timeOffset="23705.43">3301 6459 1469 0,'0'0'578'0,"5"-1"-40"0,-5 1-44 0,0 0-51 16,0 0-39-16,5 11-51 0,-4-6-10 0,1 2-100 15,-2-1-30-15,2 3-21 16,-2 2-5-16,0 2-16 0,-2 1-12 0,2 1 7 16,-3-1-30-16,0 4-21 0,1-1-35 0,-3-1-19 15,2 1-48-15,0-4-49 0,1 0-54 0,0 0-40 16,-3 0-26-16,4-1-62 0,-1 0-69 0,0-4-196 16,-1 3-528-1,3-3 133-15,-1 0 58 0,2 0 111 0,-1-3 100 0,3 1 38 0</inkml:trace>
  <inkml:trace contextRef="#ctx0" brushRef="#br0" timeOffset="23974.4">3539 6624 1338 0,'0'0'558'0,"0"0"-33"0,13 6-26 0,-12-3-36 16,3 1-35-16,-1 3-39 0,-1 0-43 16,1 4-16-16,-3-3-64 0,2 3-15 0,-2 2-21 15,-2 0-33-15,-1 1-7 0,1 2-57 16,-4-2-44-16,2 4-68 0,-2-5-62 0,1 1-74 16,0-1-65-16,-3 1-186 0,3-3-660 0,0-1 74 15,-3-1 82-15,3 0 109 0,3-2 65 0,-3 0 97 16,3-4 28-16</inkml:trace>
  <inkml:trace contextRef="#ctx0" brushRef="#br0" timeOffset="24334.4">3921 6437 1346 0,'6'8'507'0,"-4"-4"12"0,-2 2-53 0,0 2 0 15,0 0-62-15,3 4-30 0,-3 1-31 0,0 0-20 16,0 3-31-16,0-2-21 0,0 3-41 0,-3-2-12 16,3 2-29-16,0-1-28 0,-3 3-56 0,3-4-53 15,-2 1-40-15,0 0-55 16,-1-3-62-16,2-1-59 0,-1 1-71 0,-1-2-185 0,2 0-601 16,0-2 94-16,1 1 108 0,0-3 102 15,0 0 36-15,0-1 69 0</inkml:trace>
  <inkml:trace contextRef="#ctx0" brushRef="#br0" timeOffset="24585.01">4206 6694 1761 0,'5'4'596'0,"0"0"-28"0,-3 2-43 16,1 3-18-16,0 0-77 0,-1 2-8 0,-1 1-69 16,-2 1-15-16,-1 1-51 31,-1 4-21-31,-2-3-59 0,0 2-66 0,-3 1-77 0,-1-1-77 0,1-2-35 0,0-2-85 0,0-1-64 0,1 0-185 16,1-2-649-16,-2-1 114 0,3-4 85 0,0 2 62 15,2-5 69-15,1 1 89 16,2-3 38-16</inkml:trace>
  <inkml:trace contextRef="#ctx0" brushRef="#br0" timeOffset="25096.62">4586 6428 1156 0,'0'0'592'0,"0"0"-60"0,0 0 8 0,0 0-56 0,0 0-44 16,5 15-51-16,-3-8-69 15,-2 1-43-15,2 3-3 0,1 0-44 0,0 2-7 0,0 0-29 16,-1 1-25-16,0-1 0 0,1 4 3 16,-3-3-44-16,0 1-16 0,2 1-43 0,-2-3-33 15,1-1-54-15,-1 1-18 0,2 0-61 16,-2-2-36-16,0 0-20 0,2-3-45 0,-2 3-52 16,0-4-81-16,0 0-140 0,0 0-504 0,3 0 115 15,-2-1 49-15,1-1 107 0,0 0 87 16,-2 0 41-16</inkml:trace>
  <inkml:trace contextRef="#ctx0" brushRef="#br0" timeOffset="25331.15">4891 6702 1369 0,'0'0'558'0,"4"5"-59"16,-1-1 44-16,0 0-52 0,-3 2-40 0,2 4-47 16,-1-2-40-16,-1 3-29 0,0 0-36 0,0 2-25 15,-1 0-41-15,-4 1-48 16,2 2-29-16,-4 0-97 0,2-1-52 0,-1-1-63 16,2 1-54-16,-2-3-39 0,1-1-150 0,-2-3-262 15,4 2-434-15,-2-4 68 0,2 0 144 0,-2-4 92 16,5 2 76-16,-3-3 9 0</inkml:trace>
  <inkml:trace contextRef="#ctx0" brushRef="#br0" timeOffset="25762.71">5265 6406 1400 0,'0'0'558'0,"0"0"38"0,7 5-58 16,-4 1-14-16,-1 1-142 0,1 0-9 0,0 2-53 16,-1 1-15-16,0 3-39 0,2-1-10 15,-4 1-33-15,0 3-13 0,0 0-41 0,0 2-11 16,-3 1-19-16,2 0-55 0,-3-2-40 15,1 2-73-15,-2-3-50 0,0 1-67 0,0 1-56 16,2-4-46-16,-2 3-210 16,0-4-564-16,0-1 70 0,3 0 97 0,1-4 115 0,-1 2 18 15,2-3 77-15</inkml:trace>
  <inkml:trace contextRef="#ctx0" brushRef="#br0" timeOffset="26014.67">5716 6688 1773 0,'2'5'520'0,"2"0"-18"0,-2 3-49 16,-2-1-64-16,0 5-13 0,-3 1-28 15,-2 0-53-15,0 5-68 0,-3 1-60 0,-4 2-80 16,-2 8-103-16,-1-2-109 0,-3 3-167 0,0-1-675 16,0-4 81-16,5-4 103 0,-2-2 99 15,2 0 24-15,1-1 81 0</inkml:trace>
  <inkml:trace contextRef="#ctx0" brushRef="#br0" timeOffset="26481.89">6370 6445 1364 0,'0'0'614'0,"0"0"-40"0,-7 16-124 16,6-8-7-16,1 5-59 0,-3 0-13 16,3 2-36-16,-2 4-25 0,-1 1-8 0,-2 2-23 0,2 2-51 15,-1 0-39-15,-2 1-20 0,2-1-41 16,-2-3-41-16,1 1-48 0,0-4-45 0,2-2-40 0,1 3-51 16,-3-5-39-16,3 0-50 15,-1-2-27-15,0-2-45 0,3 0-157 0,-3-3-46 0,3-1-453 16,0-1 44-16,0-3 112 0,0-2 75 15,1 5 56-15,-1-5 79 0</inkml:trace>
  <inkml:trace contextRef="#ctx0" brushRef="#br0" timeOffset="27005.39">6649 6501 1331 0,'16'4'622'0,"-1"-2"-75"0,-7 4-37 15,5-1-21-15,-8-3-6 0,2 3-45 16,-2 1-23-16,-1 0-131 0,-2 0-13 0,-2 0 6 0,0 2-39 16,-3-1-49-16,0 0 3 0,-1 2 0 15,1-1-26-15,0-1-20 0,-1-2-33 16,1 0-21-16,3 1-13 0,-3 0-7 15,1-3-13-15,2 3 5 0,0 0 10 0,2 0-20 0,1 1-8 16,-1-1 21-16,0 0-47 0,1 1 31 16,0 2 18-16,-1-2-2 0,-1 1-6 0,-1-1 6 15,0 3 10-15,-1-3 2 0,-1 2-10 0,-1 0-33 32,-2 0 49-32,-3 2-85 0,1-3 0 0,-1 3 0 0,1-3 0 0,-1 1 0 0,-3-1-80 15,3-1-66-15,-2-2-61 0,0 2-57 16,2-3-63-16,3-1-62 0,-2-3-213 0,4 0-496 15,-2 0 110-15,5 0 54 0,0 0 127 0,-3-7 103 16,6 1 44 0,0 0 71-16</inkml:trace>
  <inkml:trace contextRef="#ctx0" brushRef="#br0" timeOffset="27164.97">6729 6769 1318 0,'7'11'588'0,"-4"-2"1"0,0 3-54 15,-1 0-31-15,-2 0-30 16,-2 0-29-16,2 1-71 0,-5 5-23 0,2 0-47 0,-3 2-27 15,-1 2-139-15,-1 1-61 0,1-1-85 0,2-1-92 16,-1-3-128-16,-9 9-319 0,12-3-457 16,1-7 96-1,-1-3 83-15,3-2 78 0,3-4 87 0,-3 1 48 0</inkml:trace>
  <inkml:trace contextRef="#ctx0" brushRef="#br0" timeOffset="27528.1">7321 6544 1538 0,'0'0'627'0,"0"0"-59"16,0 0-76-16,0 0-65 0,-3 12-15 16,3-6-38-16,-2 3 0 0,2 2-67 0,0 5 13 0,-2-2-44 15,-1 4-58-15,0 1 10 0,1 2-24 16,-1-3-17-16,-2 1-48 0,2 0-14 15,1 0-51-15,-3 0-7 0,2-1-42 0,1-5-35 16,-1-1-64-16,0 1-67 0,1-2-25 0,-1 1-47 16,3-5-35-16,-2 0-90 0,-3-1-169 15,5 0-509-15,-1-1 89 0,1-3 80 0,0-2 97 16,0 0 82-16,0 0 69 0</inkml:trace>
  <inkml:trace contextRef="#ctx0" brushRef="#br0" timeOffset="27891.32">7546 6533 1474 0,'8'0'496'0,"-3"3"-2"15,-1-1-104-15,0 2-30 0,-1-1-4 0,-1 3-28 16,-2 4-34-16,-2-2-53 0,-1 0-8 15,0 4-5-15,-2 0-24 0,1 0-42 0,1 0-9 16,-3 0 6-16,4 0-31 0,0-2 5 0,2 1-25 16,0-1-29-16,0-1 8 0,4 2 5 0,-3 0 10 15,4-1 19-15,-3 1-21 16,-1 2 15-16,3-2 38 0,-1 0-37 0,-1 0-12 16,1 0-1-16,-3 0-11 0,-2-2-10 0,0 2 15 15,-2 2-15-15,-1-2 5 0,0 1-23 0,-2-1-46 16,1-2-38-16,-2 2-42 0,1-3-68 15,-3-1-57-15,2 2-67 0,0-3-58 0,1-3-156 16,2 2-620-16,2-3 56 0,-2-1 139 16,5-1 99-16,0 0 57 0,-3-9 169 0,4 3-34 15</inkml:trace>
  <inkml:trace contextRef="#ctx0" brushRef="#br0" timeOffset="28054.09">7624 6826 1366 0,'4'7'643'0,"0"-1"-42"0,0 5-43 0,-1 0-33 0,0 2-51 0,-1 1-103 16,-2 0-38-16,0 5-8 0,-2 3-59 16,-1 2-18-16,-2 1-35 0,-1-3-70 0,2 2-46 15,-2-1-89-15,1-1-87 0,0-3-90 0,2-1-118 16,-1 1-263-16,4-4-451 0,2-2 164 16,0-3-3-16,-1 0 72 0,4-5 69 0,0-2 108 15</inkml:trace>
  <inkml:trace contextRef="#ctx0" brushRef="#br0" timeOffset="28342.77">8080 6548 1497 0,'3'7'650'0,"-1"0"-38"0,3 2-82 16,0 4-44-16,1 3-51 0,-4 1 8 16,1 2-62-16,-1-1-45 0,1 3-4 15,-3 0-42-15,0 2-37 0,-3 3-28 0,0-2-30 0,-1 2-44 16,0-1-92-16,-3-2-44 0,4-4-63 0,-1 3-68 16,-2-5-65-16,1 1-60 15,0-1-74-15,2-7-130 0,1 1-600 0,-3-1 73 16,2-2 104-16,1-3 80 0,-1-2 114 0,0 0 65 15,3-3 54-15</inkml:trace>
  <inkml:trace contextRef="#ctx0" brushRef="#br0" timeOffset="28670.09">8223 6628 1707 0,'11'-3'458'0,"-1"3"-18"0,-2 0-15 0,-1 1 8 0,-2 0-72 15,1 2 5-15,-4-1-46 16,1 2-11-16,-3 0-48 0,-2 2-2 0,1 3-31 0,-4-1-31 16,0 3-13-16,-1-2-30 0,2 2-26 15,-2-2-28-15,2 0-21 16,1 0-2-16,3 1-18 0,-3-2-11 0,3-2-20 0,0 4 6 0,3-2 9 16,0-1-20-16,-1 1 8 0,0 1 23 0,1-2 40 15,2 1-22-15,-3 1 36 0,-1 0-21 16,1-3 2-16,-2 2 8 0,3 2-22 15,-3-3-4-15,-3 3 4 0,1 0 1 0,-1 1-17 0,-2 0 13 16,0 1-64-16,0-3-54 0,-3 2-70 16,0 0-78-16,1-3-70 0,-1 0-104 15,3 1-283-15,-1-6-470 0,2 3 126 0,1-2 88 0,0-3 104 16,3-1 68-16,0 0 54 16,0 0 75-16</inkml:trace>
  <inkml:trace contextRef="#ctx0" brushRef="#br0" timeOffset="28848.5">8390 6881 1650 0,'5'3'574'0,"-3"1"-37"16,-2 3-45-16,4-2-21 0,-4 3-59 15,0 3-38-15,-3 1-19 0,2 0-63 0,-1 1-49 0,-3 1-48 16,0 4-100-16,0-1-90 16,2-1-90-16,-2 3-96 0,0-1-296 0,2-1-518 15,3-2 78-15,0-1 114 0,1-1 78 0,4 0 78 16,2-4 48-16</inkml:trace>
  <inkml:trace contextRef="#ctx0" brushRef="#br0" timeOffset="29247.4">8942 6557 1725 0,'0'0'573'0,"0"0"-61"0,0 0-36 15,-3 19-38-15,2-10-29 0,1 5-27 16,0 1-44-16,-2 3-34 0,2 2-22 16,-2 2-6-16,-1 2-58 0,-2-1-47 0,2 1-38 15,1 1-38-15,-3-1-97 0,2 0-29 0,1-5-89 16,-3 0-49-16,2-4-77 15,1 1-194-15,-2-3-579 0,2-2 90 0,0-2 110 0,2 1 51 16,-3-3 100-16,3-2 74 0</inkml:trace>
  <inkml:trace contextRef="#ctx0" brushRef="#br0" timeOffset="29631.73">9093 6606 1551 0,'5'0'445'0,"0"0"0"0,-5 0-50 0,8 5-42 0,-6-2-10 0,-2 2-28 0,0-5-26 0,-2 11-18 15,-1-5-15-15,0 2-54 0,1-1 6 0,2 1-26 16,-3 1-24-16,3-1-27 0,0 2 2 15,3-2-10-15,-1 3-13 0,1 1-21 0,2-2 6 16,0 2 15-16,0 0 3 0,0 0 15 16,-1 3 2-16,0 0 6 0,-2-1 12 0,-2-1 34 15,0 3-72-15,-2-3-2 0,-2 0-3 16,0 1-8-16,0-2-13 0,1 0-37 0,-2-1-12 0,0-2-1 16,-1 2-50-16,1-5-50 15,0 1-60-15,0-2-66 0,2-3-41 0,-1 1-66 0,1-1-93 16,3-2-212-16,0 0-448 0,0 0 82 0,-3-10 82 15,3 10 115 1,6-10 74-16,-4 0 67 0,3 1 56 0</inkml:trace>
  <inkml:trace contextRef="#ctx0" brushRef="#br0" timeOffset="29753.54">9239 6857 1069 0,'3'6'515'0,"-1"2"66"0,-2 2-23 0,0 1-10 0,0 3-39 0,-2 4-58 0,-2 2-49 0,0 1-34 16,-2 2-125-16,-1 1-40 0,-6 7-91 15,2 0-79-15,1-6-84 0,3-4-107 0,-1-5-221 16,0 5-635-16,3-4 100 0,0 0 111 0,3-2 117 16,-3-2 23-16,4-2 64 0</inkml:trace>
  <inkml:trace contextRef="#ctx0" brushRef="#br0" timeOffset="30240.64">9675 6703 1709 0,'0'0'561'0,"0"0"-29"0,-2 14-66 0,1-5-56 16,1 1 27-16,0 3-78 0,-3 1-16 15,1 5-44-15,0 0-9 0,1 0-22 0,-1 5-45 16,-1 0 0-16,1 1-26 0,1 1-36 16,-1-3-25-16,0-2-49 0,-1-3-31 0,0 2-35 15,-1-2-60-15,1-5-12 0,2 3-44 0,-1-5-48 16,0-1-36-16,2-2-62 0,0 1-53 15,-3-2-172-15,3-4-123 0,0 0-386 0,3-1 105 16,-3-2 79-16,0 0 61 0,0 0 80 0,10-8 82 16</inkml:trace>
  <inkml:trace contextRef="#ctx0" brushRef="#br0" timeOffset="30620.3">9867 6738 1208 0,'8'0'445'16,"-1"1"-35"-16,-2 2-26 0,-2 0-8 0,0 2-51 15,-1 0 13-15,-2 1-34 0,-5 2 91 0,0 0-65 16,0 3-18-16,-3 1-20 0,0 0-49 0,0 1-2 16,1-4-21-16,0 1-28 15,1 2-28-15,4-5-26 0,-1 4-8 0,3-3-27 16,0 0-16-16,3 2 23 0,1 1-36 0,2-2 13 15,-1 3 3-15,2-2-3 0,2 0 10 16,-2 2-15-16,3 0-46 0,-5-2-13 0,3-1 54 16,-3 3-6-16,-2-4-12 0,0 1 5 0,-1-1 0 15,-2 2 10-15,0-1-22 0,-3-1 40 0,-2 2-57 16,2-3-4-16,-4 3-28 16,2-2-26-16,-3-1-49 0,0-1-38 0,3 0-49 0,-5 1-66 15,5-2-46-15,-2-4-70 0,1 6-173 16,1-4-515-16,0-1-8 0,2-1 139 15,-2 2 40 1,5-3 116-16,0 0 58 0,0 0 55 0</inkml:trace>
  <inkml:trace contextRef="#ctx0" brushRef="#br0" timeOffset="30804.25">10049 7034 1643 0,'3'5'619'0,"2"1"-102"0,2 4-18 0,-4-1-56 15,2 3-36-15,-4 1-41 0,1 0-7 0,0 3-34 16,-2-1-62-16,0 2-19 16,0 2-45-16,-4 0-43 0,0-1-35 0,2 1-93 15,-3 0-51-15,2-1-90 0,0-3-66 0,1 0-87 0,0-7-236 16,-1 3-509-16,3-3 97 0,-3-3 90 16,3 0 107-16,0-2 42 0,0-3 104 15</inkml:trace>
  <inkml:trace contextRef="#ctx0" brushRef="#br0" timeOffset="31106.86">10298 6768 1648 0,'0'0'512'0,"0"0"10"0,10 3 3 16,-5 1-49-16,-3 2-49 0,1 0-17 0,2 3-47 15,0 1-53-15,-2 2-5 0,0 0-34 16,1 3-43-16,2 2-18 0,-4 1-8 0,-2 1 44 16,3-1-34-16,-3 1-45 0,0 1-37 0,-3-1-33 15,1 0-48-15,0-1-44 0,-2 1-43 16,2-2-47-16,-3-1-12 0,5-3-31 0,-5 0-46 16,3-2-26-16,1-1-51 0,1-3-79 0,-2 0-128 15,2-2-579-15,0-2 83 0,0 1 86 0,0-4 100 16,3 2 54-16,-3-2 79 0,0 0 77 15</inkml:trace>
  <inkml:trace contextRef="#ctx0" brushRef="#br0" timeOffset="31574.49">10634 6745 1587 0,'8'0'624'0,"-8"0"-33"0,12 0-38 16,-4 5-64-16,-3 0-26 0,0-2-25 0,0 3-28 15,-2 3-52-15,-1-1-30 0,-2-2-29 0,-2 3-17 16,-1 1-52-16,0-2-43 0,-2 2-16 16,3-3-14-16,-1 1-35 0,3 2-34 0,-2-2-27 15,2 0-2-15,2 1 15 0,3-1-23 16,0 3-2-16,1 1 20 0,1 0 36 0,1 1-13 15,2-1 85 1,-2 1-147-16,-3 2 17 0,1-1-47 0,-4 0 0 0,0 0 0 16,-4 0 0-16,-1-1 0 0,-4 0 0 0,-1 3 0 0,-3-3 0 15,-1 0 0-15,-1 0 0 0,-5 0 0 16,2 0-180-16,-1-2-214 0,1 0-223 0,1-2-576 16,-3 3 106-16,2-4 129 0,1 1 98 0,-3-1 79 15,-5 2 67-15,8-2 82 0,-3-1 28 0</inkml:trace>
  <inkml:trace contextRef="#ctx0" brushRef="#br1" timeOffset="37359.01">6306 7170 1656 0,'-1'-5'509'0,"1"5"-61"0,-1-4-74 0,1 4-13 16,0 0-16-16,0 0-53 0,0 0-28 15,0 15-8-15,0-5-36 0,0-1-16 0,1 4-22 16,2 2-23-16,-3 0-8 0,5 4-13 0,-2 0-20 15,2-1-3-15,-2 1 8 16,2-1-28-16,2-1-8 0,1-2-11 0,0 2-6 0,-1-3-12 16,4-1-1-16,-4 0-11 0,3-2-10 15,-1 2 5-15,1-7-8 0,0 5-2 0,0-5-6 16,0 1 1-16,0-2-6 0,1 0-2 16,-1-1 21-16,3 0-27 0,0-1-9 0,-1-3 35 15,4 4-45-15,-1-3 30 0,1-2-8 16,2 1-7-16,5-4 5 0,0 2-1 0,-2-2-7 15,7 2 24-15,-3-4-6 0,3 1 2 0,0-2-7 16,1 2 3-16,-1-1-24 0,0 2 18 0,0-2 6 16,3 2-57-16,-3-2-13 0,3 0 16 0,-3 0 5 15,1 3-3-15,1-2 8 16,-1 0 5-16,1-1 6 0,1 4-1 0,-2-2 0 0,1 2 10 16,-1-3-7-16,1 1 15 0,1 2 8 15,-1 2-10-15,-4-2 4 0,0 2 27 16,2 0-1-1,-2 0-10-15,5 2 10 0,-6-2-17 0,5 0-1 0,1 4 0 0,-2-2 21 0,1 1-26 16,1 1 13-16,-2 1-18 0,-1 0 13 0,2 0-7 16,-1-1 9-16,-4 2-10 0,3 1 1 15,-2 2 4-15,-3-3 18 0,0 2-10 0,-5-1 3 16,0-1 12-16,0 1-4 0,-5-1-14 16,0 1 11-16,-3-1 5 0,3 0 17 0,-5 0-25 15,2 0 13-15,-5 0-15 0,3 0 5 16,-4-2 2-16,2 0-28 0,-1 1 3 0,0-1 7 15,-2-2 6-15,2 3 2 0,-2-3 7 0,1-1-4 16,-1 3 33-16,0-3-3 0,-3-1-28 16,5 4 18-16,-5-4-15 0,0 0-8 0,0 0 16 15,0 0-9-15,13-6-37 0,-10 2 30 16,4-3-8-16,1 1 3 0,2-5-16 0,3 1 16 16,5-6 8-16,7-3-23 0,3 1 20 0,5 0-18 15,1 2 13-15,0-1-29 0,6-2 9 0,-1 7-6 16,5 1 6-16,2 3-6 0,0 1 34 0,0 2-11 15,3 3-7-15,-3 1 15 0,3 2-13 16,-5 1-8-16,1 2-4 0,-1 3 7 16,-1 0 5-16,4-1-7 0,-6 2 12 0,2 3-7 15,1-3-26-15,-1 3 33 0,1-4 3 0,0 3-13 0,-1-3 6 16,0-1-11-16,-1-1 0 0,-6-3 0 16,-3 0-11-16,1 0 6 0,-1-2-3 15,3-4 8 1,10 4 6-16,2-5-4 0,-1 2-15 0,-2-4 18 0,4-1 13 0,-2 1-30 15,-1 0 9-15,-3-1 13 0,-2-1 1 0,-10 2-11 16,-3 0 0-16,-2 1 0 0,-3-1 0 0,-5 1 0 16,0 1 0-16,-2-2 0 15,-2 1 0-15,-3 2 0 0,2-1 0 0,-3-1 0 0,0 0 0 0,-2 1 0 16,-3 0-3-16,0 2-64 0,-2-1-30 16,-1-1-33-16,-1 3-55 0,-1 2-35 15,0 0-54-15,-6-6-30 0,1 6-52 16,-7 0-151-16,-4 1-471 15,-2 4-17-15,-8 0 65 0,-14 4 152 0,-4 3 72 0,0 1 43 0,-15 6 69 16</inkml:trace>
  <inkml:trace contextRef="#ctx0" brushRef="#br1" timeOffset="37942.01">8283 7795 1415 0,'0'0'520'0,"2"-2"-44"16,-2 2-49-16,0 0-33 0,0 0-17 16,0 0 7-16,-8 12-29 0,6-4-22 0,-3 2-23 15,0 3-23-15,-1 2-14 0,1 4-32 0,-2 4-11 16,2 1-48-16,-1 1 18 0,1 10-82 15,-2 1 53-15,4-5-33 0,0-2-43 0,3-1 15 16,0-2-15-16,3 1-26 0,-1-2-44 16,3-4 29-16,1-2-13 0,-1 0-18 0,2-6 5 0,1 0-10 15,0-2 10-15,0-4-12 0,-1 0-3 16,1-2 10-16,0-5-11 16,0 2 101-16,-1-2-5 0,1-2-19 0,0 0 24 0,-1-2 10 15,-2-3-75-15,1 0-30 0,-2 0 33 0,-3-2-4 16,1 2-47-16,-2-1 0 0,0 1 0 15,-2-2 0-15,1 3 0 16,-3 1 0-16,-2 0 0 0,1 0 0 0,-2-1 0 0,1 4 0 0,-1-2 0 16,-1 3 0-16,0 0-169 0,1-1-98 0,2 2-55 15,-1 0-65-15,6 0-178 0,-13 3-567 16,8-2 111-16,0-1 61 0,0 3 118 0,0 0 123 16,0 1 61-16,0-1 36 0</inkml:trace>
  <inkml:trace contextRef="#ctx0" brushRef="#br1" timeOffset="39436.8">2547 7068 1197 0,'-3'-5'500'0,"3"5"-40"0,0 0-40 0,0 0-41 15,0 0 13-15,0 0-116 0,-9 14-25 16,8-4-26-16,-4-1-15 0,5 6-8 0,-3-1-17 0,1 4 7 16,2 0-26-16,-2 3-18 15,2-1-22-15,2 2 9 0,0 3 1 0,1-1-36 0,3-2-16 16,1 2-2-16,-2-2-5 0,5 0-8 15,-2-3 0-15,4 0-5 0,-1 0-23 0,2-2 21 16,2 0-24-16,-2-2-10 16,2-2 13-16,1 0-5 0,2-1-5 0,-1-1 5 0,0-4-18 15,0 0 2-15,1-3-15 0,2-1 16 0,-4 0-6 16,2-1 5-16,0-2 19 0,-3 0 4 16,3-1-30-16,-3 0 8 0,3-3 2 15,-2 2 20-15,-3-2-22 0,2 1-3 0,0-2 15 0,3 0-5 16,1-1 0-16,-4-2 0 0,3-2 3 0,2 3-5 15,0-4 2-15,3 2 13 16,-2-2-11-16,0-1-4 0,4 3-3 0,-2-2 13 0,8-2 10 16,3 0-18-16,-4 2 8 15,6 2 2-15,0-1-2 0,-5 3 8 0,-3 1-8 0,-2 1 2 16,2 2-2-16,-2 0-8 0,-1 3-10 0,1-2 15 16,0 2-2-16,-3 2-11 0,5-2 1 15,0 6 10-15,0-2-14 0,0 1 22 0,-2 2-3 0,0 0-18 16,2 1-13-16,-2-1 20 15,-3 3 27-15,2 0-14 0,-2 1 5 0,0-1-9 16,-2-1-11-16,-1 2-3 0,-1 2 31 0,-4-4-28 16,2 1-12-16,-3 1 9 0,-2-3 8 0,-1 3-20 15,-1-4 25-15,0 4-22 0,-5-3-11 16,2 1 0-16,-1 1 0 0,-1-1 0 0,-2-1 0 16,0-1 0-16,-1 0 0 0,0-1 0 15,1 0 0-15,-3-1 0 0,3-2 0 0,-3 2 0 16,2-1 0-16,-2-4 0 0,2 4 0 0,-1 1 0 15,-1-5 0-15,5 0 0 0,-5 0 0 0,0 0 0 16,0 0 0-16,0 0 0 0,10-7 0 0,-7 1 0 16,2-1 0-16,2-3 0 15,1 2 0-15,3-4 0 0,4-3 0 0,3 0 0 16,2 1 0-16,8-6 0 0,0 3 0 0,-2 4 0 16,-3 2 0-16,3 3 0 0,-1 0 0 0,2 2 0 15,-2 1 0-15,3 0 0 0,-5 3 0 16,1 0 0-16,0 2 0 0,0 0 0 0,1 2 0 15,-1 0 0-15,2 3 0 0,-1 1 0 0,0 1 0 16,-1 0 0-16,-1 3 0 0,-2-3 0 16,1 1 0-16,-2 1 0 0,-1-2 0 0,-1 0 0 15,2 0 0-15,-5-1 0 0,3 0 0 16,-2-4 0-16,-3 3 0 0,-1-3 0 0,4 1 0 0,-5-2 0 16,1-1 0-16,1 0 0 15,-3-1 0-15,0-2 0 0,1 1 0 0,-1-4 0 0,3 3 0 16,-3-5 0-16,0 0 0 0,1 0 0 15,1-2 0-15,-1-3 0 0,1 0 0 16,-4-1 0-16,0-2 0 0,0 3 0 0,-4 0 0 0,-1 2 0 16,0 3 0-16,-1 0 0 0,-2-2-226 15,-2 3-114-15,-1 1-26 0,-2 3-31 0,0-1-115 16,-5 3-77-16,2 1-486 0,-7 3 90 0,-4 3 107 16,-3 5 84-16,-9 3 98 0,-5 4 72 15,-2 1 89-15</inkml:trace>
  <inkml:trace contextRef="#ctx0" brushRef="#br1" timeOffset="40149.49">3818 8163 1548 0,'9'-2'484'0,"-2"-2"-26"16,1 3-82-16,-3-1-45 0,0-1-9 0,0 1-15 15,-2 1 11-15,-3 1-1 0,10-4-38 0,-10 4 0 16,3 0 8-16,-3 0-49 0,0 0-21 16,0 0-12-16,0 0-31 0,-16 7-7 0,8-3-1 15,-2 2-48-15,0 0 2 0,-1 2-30 0,-1-2 7 16,0 5 10-16,-1-3-20 0,2-1-12 0,1 0-14 16,-1 2-5-1,4-3-17-15,-1 0-9 0,0 0 11 0,3-2-18 0,0 2-5 0,1-1-18 16,0 1 3-16,2-3 15 15,2 1-8-15,2 1 11 0,1-2-14 0,0 1 6 0,4-2-10 16,-1 3-3-16,3-2-3 0,1 0 13 16,4 2-12-1,-4 0 15-15,5 1 25 0,-2-3-12 0,0 4-3 0,0-1 20 0,0-1 11 0,-1 0-3 16,-1 2-10-16,2-2 31 0,-8-1 58 0,3 1-25 16,-3 1-25-16,-2 0-80 15,-2 1 0-15,-3-1 0 0,-5 7 0 0,-2-2 0 16,-8 3 0-16,1 2 0 0,-12 4 0 0,0-2 0 15,0-2 0-15,-3 0 0 0,0-3 0 0,3 0-285 0,-6 0-183 16,-1-2-300-16,-1 2-376 16,-3-2 133-16,-4-2 56 0,-6 3 90 0,-17 0 107 15,-4 7 75-15,-12 3 25 0,-22 6 161 0</inkml:trace>
  <inkml:trace contextRef="#ctx0" brushRef="#br1" timeOffset="42573.97">3075 10261 1149 0,'0'0'509'0,"0"0"-30"0,-7 16-52 15,6-6-20-15,-1 3-36 0,0 0-35 16,-1 4-37-16,0 4-17 0,-1 3-11 16,1 0-40-16,-2 1-4 0,2 1-24 0,-3-1-27 0,2 1-27 15,-1 1-57-15,2-1-23 0,0-1-38 16,1 0-31-16,-3-3-46 0,2-3-21 0,3 0-66 16,-5-2-97-16,5-4-249 0,-2 0-491 0,1-1 94 15,-1-4 78-15,2-1 99 0,0-4 49 0,0 3 84 16</inkml:trace>
  <inkml:trace contextRef="#ctx0" brushRef="#br1" timeOffset="42841.93">3001 10297 1556 0,'0'-5'471'0,"2"0"-49"15,1 4-17-15,2-1-57 0,-5 2-8 0,8-2-99 16,-1 2-6-16,1 4-35 0,2-3-16 16,-2 5-17-16,3-1 65 0,1 2-19 0,-2-1-36 15,0 1-14-15,1 0-19 0,-1 4-6 0,-2-3-33 16,0 2-33-16,-1-2-39 16,4 5-38-16,-6-2-31 0,0 1-41 0,2-3-46 0,-1 0-30 15,-4-1-88-15,4 2-117 0,-2-2-152 16,-1-2-419-16,2-1 123 0,-3-2 58 0,1 1 98 15,2-3 15-15,0 0 75 0</inkml:trace>
  <inkml:trace contextRef="#ctx0" brushRef="#br1" timeOffset="43084.67">3422 10232 1282 0,'-10'3'502'0,"10"-3"-26"0,-14 3-51 0,9 2-47 16,-5 1-17-16,2 2-112 0,-2 3-19 0,-1 0-28 16,2 2-17-16,-1 1-19 0,-1 3-25 15,-2-2 69-15,0 4-34 0,0-1 9 16,1 1-34-16,1 0-44 0,1-1-46 0,-3 1-20 0,3-1-61 16,2-4-26-16,-1 2-62 0,3-2-68 0,-2-1-137 15,-4-2-147-15,11-2-462 0,-3 0 93 16,4-4 81-16,0-2 75 0,0 1 120 0,0-4-25 15</inkml:trace>
  <inkml:trace contextRef="#ctx0" brushRef="#br1" timeOffset="43334.57">3450 10266 1034 0,'0'0'453'0,"0"0"36"0,0 0-6 15,0 0-42-15,5 7-119 0,-3-1-10 0,1 2-22 16,-3 2-16-16,0 3-31 0,0 1-13 16,0 3 54-16,0 2-23 0,0 2-38 0,-5 3-11 15,2 2-45-15,1-1-47 0,-4 12-58 16,-1-9-45-16,4-2-52 0,1 0-70 0,-1-6-39 16,1-1-81-16,2 1-100 0,-8-4-156 15,11-3-479-15,-1-2 95 0,1-3 92 0,4-2 100 16,-4-1 40-16,4-3 83 0</inkml:trace>
  <inkml:trace contextRef="#ctx0" brushRef="#br1" timeOffset="43641.07">3596 10579 1195 0,'0'0'455'0,"0"0"-7"16,0 10-66-16,0-5-47 0,2 1 0 15,-2 0-27-15,3 1-45 0,-1 0-17 16,1 2-28-16,2-1-16 0,0-1-18 0,0 0-5 0,3-2-7 15,0 1-3-15,2 0-87 0,0-5 25 16,0 2 1-16,0-3 86 0,1-1 19 16,2-1 17-16,-3 1-33 0,-2-5-82 0,0 4 57 15,-1-2 10-15,1-3 2 0,-4 2-36 0,-1-2 37 16,0 0-32-16,-1 1 3 0,-2-1-25 0,-2 0-19 16,-1 0 16-1,0-2-48-15,-1 4 20 0,-2-2-13 0,2 4-51 0,-4-3-36 0,0 2 0 16,0 1 0-16,-2 0 0 0,3 2 0 0,-3 1-80 15,2 0-76-15,-3 0-59 0,3 4-38 16,1-2-19-16,2 0-112 0,-3 2-174 0,3-2-565 16,3 1 114-16,2-3 90 0,0 0 95 15,0 0 92-15,0 0 84 0,17-6 83 0</inkml:trace>
  <inkml:trace contextRef="#ctx0" brushRef="#br1" timeOffset="44192.28">4026 10306 1039 0,'0'0'478'0,"10"6"-12"0,-9-1-118 0,1 2-23 16,1-1 11-16,-1 7-37 0,-2 0 24 15,1 0-6-15,0 4-38 0,-1-2-18 0,1 6-28 16,-1-1-13-16,0-1-46 0,2 2-7 16,1-2-9-16,-3-1-14 0,2 1-19 15,1-3-10-15,0-2-12 0,0-1-26 0,1-1-6 16,-1-1-17-16,2-3 13 0,-3-1-19 0,1-2 6 15,0-3 7-15,1 2-25 0,0-4 23 0,-4 0-10 16,0 0 2-16,0 0-15 0,0 0 30 16,5-6-14-16,-5 6-1 0,0 0 2 0,-3-6-32 15,3 6 35-15,-7-3-22 0,4 1 22 0,3 2-20 16,-13 2-13-16,5 0 13 0,0 0-8 16,-2 3-5-16,0 1 25 0,-2 1-17 0,2 0 13 15,1 1-1-15,-1 2-7 0,0-3-8 16,2 3 5-16,0-2-17 0,1 0 22 0,4 0-15 15,0 0-5-15,1-3 5 0,2 1-5 16,1-2 0-16,1 1 0 0,3-5-28 0,2 1-6 16,1-2-2-16,2 1 3 0,3-5 23 0,3-2-8 15,-1 0-23-15,5-5 28 0,1 2-13 16,-5-1 6 0,1 0-1-16,-4 0 13 0,3 3 13 0,-4 0 23 0,-2 2 18 0,-1 0 18 0,-2 1-41 15,0 0 31-15,-1 3 15 0,-2-2-28 16,2 4 18-16,-6 0-11 0,0 0-2 0,11 5-25 15,-7-3-39-15,-1 2 0 0,-1 2 0 0,1-1 0 16,0 1 0-16,2-2 0 0,-3 2 0 16,1-1 0-16,2 1 0 0,-2 0 0 15,2-2-39-15,-1-1-148 0,2 0-66 0,-1-3-52 16,-5 0-94-16,13 0-223 0,-6-3-520 0,2 3 108 16,0-6 123-16,2 4 105 15,-1-4 86-15,3-1 55 0,0 1 66 0</inkml:trace>
  <inkml:trace contextRef="#ctx0" brushRef="#br1" timeOffset="44362.12">4591 10494 1410 0,'4'-1'466'16,"-4"1"-49"-16,11-2-54 0,-6-2-27 0,3 2-34 15,2-1-33-15,3-1-26 0,-1 0-56 0,1 0-59 16,3 1-46-16,-4-1-72 0,1 1-56 15,-2 0-169-15,-1 2-197 0,-3 1-441 0,1 0 70 16,-8 0 112-16,8 4 47 0,-8-2 104 0</inkml:trace>
  <inkml:trace contextRef="#ctx0" brushRef="#br1" timeOffset="44554.51">4662 10592 1538 0,'-2'2'463'0,"2"-2"-43"0,0 0 2 0,2 6-25 0,-2-6-46 15,5 0-34-15,-5 0-22 16,10 3-19-16,-2-2-41 0,-8-1 1 0,13-1-54 16,-3 1-21-16,0-3-56 0,-2 1-51 0,2 1-34 15,1-2-53-15,2 2-59 0,-3-1-98 0,0-2-191 16,1 3-574-16,-1-1 67 0,0-1 138 16,-3 3 43-16,4-2 68 0,-4-1 98 0</inkml:trace>
  <inkml:trace contextRef="#ctx0" brushRef="#br1" timeOffset="44805.21">5718 10330 1415 0,'-4'7'538'0,"1"4"-11"0,3 3-115 0,-5-1-18 15,2 5-12-15,1 0-45 0,-1 0 17 0,-2 3-40 16,0 2-35-16,2-1-30 16,-4 2-24-16,2 1-28 0,2 0-41 0,-4-1-56 15,1-1-69-15,3-1-67 0,-2-3-74 0,1-1-69 0,1-2-126 16,-7-2-202-16,10-3-473 16,0-3 102-16,2-1 77 0,-2-3 110 0,2-2 61 0,-2-2 62 15</inkml:trace>
  <inkml:trace contextRef="#ctx0" brushRef="#br1" timeOffset="45388.15">6016 10356 1738 0,'10'1'535'0,"-10"-1"-21"16,8 4-48-16,-3-3-51 0,0 5-21 0,-2-5-31 15,-1 5-43-15,1-1-41 0,-1 0-15 16,-2 1-1-16,0 1-35 0,0-2-26 0,-2 2-17 15,2-1-34-15,0 0-13 0,-3-1-18 16,6 2 6 0,-3 0-11-16,2 0-18 0,-1 0-35 0,4 0 25 0,-3 0 5 0,1 2-18 0,-1 0-7 15,1-2 45 1,-3 3 44-16,3-2-48 0,-3 3-16 0,-3 1 8 0,0 1 12 0,-4 1-30 16,-1 0 23-16,-8 3-76 0,1-3-29 15,-2 3 0-15,0-3 0 0,0 2 0 0,-1-3 0 16,0-1-93-16,2-3-160 0,3 1-77 0,-1-3-126 15,3 0-529-15,1 0-98 0,0-2 103 0,-1 0 76 16,4-2 87-16,1 1 78 16,2-3 104-16,1 3 49 0</inkml:trace>
  <inkml:trace contextRef="#ctx0" brushRef="#br1" timeOffset="45826.75">6665 10537 875 0,'0'0'289'16,"0"0"-28"-16,23-6-36 0,-7 5-9 0,9-6-9 16,19-4 62-16,17-3 5 0,11-2-113 15,10-3-15-15,27-7-3 0,5 2 0 0,3-1 1 16,10-4-34-16,11-1 2 0,3-3-2 0,5-1-5 15,16-3-20-15,4 0 7 0,1-1-10 0,5 4 2 16,54-13 49-16,-55 14 3 0,-4-3-16 16,2 4-25-16,3-1 13 15,-8 4-16-15,-5-2-18 0,-6 6-28 0,-4-1-25 0,-8 2-37 16,-13 3-27-16,-12 2-62 0,-29 7-85 0,-10 1-173 16,-8 3-100-16,-20 3-400 0,-13 0 69 0,-13 5 73 15,-10 0 91-15,-5 0 82 0</inkml:trace>
  <inkml:trace contextRef="#ctx0" brushRef="#br1" timeOffset="46188.27">8180 10540 949 0,'-5'1'476'0,"5"-1"-18"16,0 0-38-16,30-10-100 0,-4 4-20 0,23-3 35 15,26-8-36-15,14 0-12 0,23-8-18 0,12 2 7 16,12-4-53-16,7 0-10 0,1-2-22 16,-1 2-4-16,11-3-18 0,-2-1-25 0,-4 3 2 15,1-1-42-15,-8-2 1 0,0 2-12 0,-3 2-29 16,-10 2 17-16,-9 0-6 0,-7 1-16 15,-25 4 10-15,-7 5-23 0,-6-2-26 16,-5 0 21 0,-10 3-61-16,-12 1-26 0,-8 2-34 0,-11 1-35 0,-8 1-54 0,-7 2-59 0,-5 2-158 15,-4-1-620-15,-4 2 79 0,-2-1 98 16,-4-1 97-16,-4-1 54 0,-2-3 109 0,-3 4 19 16</inkml:trace>
  <inkml:trace contextRef="#ctx0" brushRef="#br1" timeOffset="46474.08">10456 9576 1494 0,'26'-4'479'0,"3"0"-34"0,2 2-32 0,2-1-27 16,15 6-35-16,1-1-21 0,3 3-38 0,1 1-41 15,8 2 7-15,-1 6-15 0,-1 2-17 16,-3-1-11-16,-5 6-3 0,-10-2-10 16,3 7-20-16,-10-1-3 0,-9 2-18 0,-2 4-2 15,-10 1 15-15,-8 5-38 0,-6 1-8 0,-9 5-8 0,-13 8 18 16,-7 3-56-16,-9-2-20 0,-10-1-57 0,-12 16-23 16,-3-3-36-16,-3-2-56 15,-2-1-61 1,2-1-68-16,1-1-88 0,1 2-241 0,14-15-484 0,2 1 92 0,-2-1 97 0,2 2 75 15,4-7 135-15,1 1 28 0,3-4 42 0</inkml:trace>
  <inkml:trace contextRef="#ctx0" brushRef="#br1" timeOffset="52524.11">6028 10175 1356 0,'0'0'456'0,"9"-1"-11"0,-2 1-76 0,-7 0-13 15,13 0-31-15,-5 0-98 0,0 1-17 16,2-1-2-16,-2 3-4 0,2-2 1 0,-3 2-26 16,1-1-28-16,0 1 16 0,0 3-19 15,-1-1-27-15,0 1 1 0,-1 2-12 0,-1 1-5 0,3 1 8 16,-3 0-3-16,0-1 72 0,0 3-18 16,-2-1 2-16,-1-2 6 0,0 2-3 15,-2 0-6-15,0-2-88 0,-2 0-27 0,-3-1 8 0,5-1-12 16,-5 1-6-16,0-1-35 15,0 0-36-15,-3-4-62 0,3 3-48 0,-1-5-52 16,-1 5-48-16,2-6-87 0,0 0-169 0,2 0-536 16,-2 3 124-16,5-3 115 0,0 0 54 0,-13-3 53 15,13 3 149-15,-7 0-23 16</inkml:trace>
  <inkml:trace contextRef="#ctx0" brushRef="#br1" timeOffset="54202.43">5996 10201 962 0,'0'0'322'0,"0"0"-7"0,-3-3-31 16,3 3 59-16,0 0-28 0,0 0-18 0,0-4-20 16,0 4-6-16,0 0-30 0,0 0-34 0,0 0 8 15,5-7-38-15,-5 7-16 0,3-1-5 16,-3 1 13-16,5-2-31 0,-5 2-15 0,8-2 0 15,-4 1-18-15,-4 1-5 0,10-3-21 16,-4 1 5-16,2 1-9 0,-3 1-9 0,2-1 16 16,1 1-26-16,0-1 11 0,-1 1-6 0,1 0-7 15,2 0-8-15,-2-1 5 0,0 2-76 0,-1 0-3 16,1 0 7-16,2 0 8 16,-4 2 6-16,1 0 4 0,1-1 11 0,-2 1 0 15,1 1-1-15,-2-1-9 0,0 3-3 0,-2-2 20 0,1 2 0 16,-3-2 6-16,2 1-6 15,-1 1 6-15,0 1-21 0,-2-1 15 0,1 0 11 16,-1 0-9-16,0 1-4 0,0-2 21 0,0 2-24 16,-1 0 15-16,1-2-14 0,0 1 9 0,-2 1 6 15,0-1-11-15,2 0 0 0,-3-1 24 16,2 0-24-16,1 2-15 0,-2-4 26 0,0 3-11 16,2-2-5-16,-3 1 3 0,3-2 13 0,-3 2-26 15,1-2 41-15,2-3 43 0,-3 5-17 16,1-1 12-16,-1-3-7 0,1 4-11 15,2-5-22-15,-5 4 12 0,2-2-15 0,3-2 2 16,-5 2 3-16,0 2 0 0,5-4-8 0,-8 2-10 16,5-2 0-16,3 0 0 0,-8 4 3 15,4-4-3-15,4 0 10 0,-8 1-25 0,8-1 7 16,-10 2-5-16,7-2 19 0,3 0-9 0,-10 0-20 16,4 2 13-16,6-2-11 15,-7 1-2-15,4 1-5 0,3-2 21 0,-7 0-4 0,7 0-6 16,0 0-17-16,-10 0 22 0,10 0-6 0,-8 1 5 15,8-1 3-15,-8 0-11 0,8 0-4 16,-5 0 7-16,5 0-8 0,0 0 8 0,0 0 3 16,-10 3-8-16,10-3 5 0,0 0 8 0,-5 0-16 15,5 0 14-15,0 0 7 0,0 0-6 0,0 0 4 16,0 0 2-16,-6 1-21 16,6-1-10-16,0 0 31 0,0 0-10 0,0 0-8 15,0 0 8-15,0 0 27 0,0 0-24 0,-7 1 32 16,7-1-15-16,0 0-12 0,0 0 12 0,0 0 3 15,0 0 4-15,0 0 14 0,0 0 13 16,0 0-22-16,0 0-22 0,0 0 18 0,0 0-18 16,0 0 13-16,0 0-26 0,0 0 21 15,-8-2-11-15,8 2 8 0,0 0-15 16,0 0 4-16,0 0-22 0,0 0 36 0,0 0-3 0,0 0 0 16,0 0-13-16,0 0 5 0,0 0-4 15,0 0-1-15,0 0-23 0,0 0 29 0,0 0-16 16,0 0 0-16,0 0-8 0,0 0 8 0,0 0-8 15,0 0 21-15,0 0-10 0,0 0-3 16,0 0 0-16,0 0 0 0,0 0-11 0,0 0 22 16,0 0-11-16,0 0 0 0,0 0 0 15,0 0 0-15,0 0 0 0,0 0 0 0,0 0 0 16,0 0 0-16,21-3 0 0,-21 3 0 16,5 4 0-16,-5-4 0 0,8 2 0 0,-3-2 0 0,-3 3 0 15,1-1 0 1,2 2 0-16,0-1 0 0,0-2 0 0,-2 4 0 0,-1-4 0 0,1 4 0 15,0-2 0-15,1 1 0 0,-1-1 0 16,0 0 0-16,-1 2 0 0,-2-3-3 0,2 4-12 16,-2-3-3-16,1 0-18 0,2 1-20 15,-3-4-21-15,0 7-18 0,0-7-25 0,-3 6-72 16,3-6-21-16,-1 5-25 0,1-5-31 0,0 2-102 16,0-2-146-16,0 0-555 0,-4 2 99 15,4-2 123-15,-3 5 80 0,3-1 43 0,0-4 84 16,-3 6 60-16</inkml:trace>
  <inkml:trace contextRef="#ctx0" brushRef="#br1" timeOffset="54999.52">5708 10247 1377 0,'0'-4'381'15,"0"4"-2"-15,-2-5-39 0,2 5-25 16,0 0-18-16,0 0-10 0,0 0 66 0,0 0-46 15,0 0-7-15,0 0 7 0,0 0-28 16,0 0 0-16,0 0-21 0,2 18-35 0,1-12-31 0,-3 6 0 16,2 0 8-16,-1 2-95 15,1-1-11-15,-2 6-9 0,2 0-6 0,-2-1-23 16,0 4 11-16,0-1-8 0,0-2-5 0,-2 1-57 16,0 2-35-16,-1-2-19 0,3-1-45 0,-5 0-16 15,3-1-56-15,1-1-43 0,-1-4-34 16,-1-1-69-16,0-2-159 0,3 0-501 0,-2-1 107 15,2-3 41-15,0 2 102 0,0-5 103 0,0 3 44 16</inkml:trace>
  <inkml:trace contextRef="#ctx0" brushRef="#br1" timeOffset="56555.67">4186 10643 793 0,'0'0'335'15,"0"0"-25"-15,0 0-10 0,5-5-29 0,-5 5-18 0,3-1-15 16,1-1-18-16,-1-1 54 16,2 0-30-16,-3-1-24 0,4 1 7 0,-1-2-14 0,2 0-34 15,-1-1-5-15,-1 0-20 0,3-1-88 16,-1-2-9-16,1 1-9 0,-3-2 1 15,0 1 12-15,0 1-30 0,0-1 13 0,-2 0-4 16,0 3 7-16,-1-1-1 0,1 0 10 0,-3 2-15 16,0-2 20-16,0 2 3 0,-3 2 77 0,1-1-23 15,1-1 2-15,-1 3-7 0,2 2-24 16,-8-2 4-16,8 2-6 0,0 0-16 0,-13 4-20 16,8-1 19-16,0 0-17 0,-1 3-12 15,2 1-5-15,-2-1-3 0,2 5 8 0,1-4-15 16,-2 5 5-16,2-1-1 0,0 1-7 15,1-2-2-15,2 2 7 0,-2 0-18 0,1 0-10 16,1-2-5-16,3-1-26 16,-3 3 6-16,2-5-11 0,2 3-41 0,0-2-25 0,-1-1 5 15,2 0-49-15,-2-1-36 0,4 0-87 0,-2-1-151 16,0-1-570-16,3-2 86 0,-3-1 108 0,3-1 56 16,2 1 93-16,-4-1 38 0</inkml:trace>
  <inkml:trace contextRef="#ctx0" brushRef="#br1" timeOffset="57231.8">4562 10484 1274 0,'0'0'387'15,"0"0"-37"-15,15 0-35 0,-9-2-33 0,-1 2-34 0,3-2-7 16,2 2-26-16,0-2-18 0,0 0-23 16,0 1-26-16,1 0-15 0,2 0-22 0,-3-2-27 15,-2 2-48-15,2 0-34 0,0 0-50 16,0 1-88-16,-4 0-125 0,2 0-261 0,-1 0-300 15,-7 0 100-15,10 2 54 0,-5-2 56 16</inkml:trace>
  <inkml:trace contextRef="#ctx0" brushRef="#br1" timeOffset="57489.47">4614 10634 1098 0,'0'0'442'0,"0"0"-63"16,12-8-28-16,-6 7-34 0,-1 0-30 0,2 0-36 0,1-2-23 0,0 2-26 0,-1-1-18 15,1 1-40-15,2-2-34 16,0 2-34-16,-2 0-47 0,2-3-101 0,-1 3-123 0,-5 1-145 15,6-1-497-15,0 0 82 16,-1 0 46-16,1-1 82 0,0 4 81 0</inkml:trace>
</inkml:ink>
</file>

<file path=ppt/ink/ink3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01:00"/>
    </inkml:context>
    <inkml:brush xml:id="br0">
      <inkml:brushProperty name="width" value="0.05292" units="cm"/>
      <inkml:brushProperty name="height" value="0.05292" units="cm"/>
      <inkml:brushProperty name="color" value="#FF0000"/>
    </inkml:brush>
  </inkml:definitions>
  <inkml:trace contextRef="#ctx0" brushRef="#br0">12636 4238 1205 0,'0'0'261'15,"5"-1"-15"-15,-5 1-21 0,3-3-12 0,-3 3-14 16,0 0-9-16,0 0 2 0,0 0-16 16,0 0-22-16,0 0-13 0,0 0-11 0,0 0-15 15,0 0-15-15,-18-2 64 0,10 2-8 0,-3 1 0 16,-3 0-30-16,-2-1-6 0,1 1 5 16,-3 1-22-16,0-2-19 0,-3 1-2 0,1-1-100 15,2 2 11-15,0-2-1 0,3 0 3 16,-1 4-8-16,1-4-23 0,-1 0-5 0,6 1-20 15,-3-1-26-15,3-1-16 0,0 1-27 16,2 0-47-16,8 0-76 0,-13 0-72 0,5-1-72 16,8 1-407-16,-5 0 100 0,5 0 90 0,0 0 38 15</inkml:trace>
  <inkml:trace contextRef="#ctx0" brushRef="#br0" timeOffset="306.08">12523 4319 726 0,'0'0'382'0,"-13"-4"-26"16,8 4-44-16,-5 0-20 0,0-3-18 0,-1 3-18 15,1-1-34-15,-2-1-27 0,1 1-8 0,-2 0 2 16,3 1-48-16,-3 0-11 0,3-3 1 15,0 3-36-15,-1-2-19 0,-1 2-12 0,2-2-33 16,-1 2-18-16,3 0-49 0,-2 0 3 0,0 0-85 16,0 0-89-16,2 0-47 15,0 0-347-15,8 0-177 0,-13 0 107 0,8-1 41 0,0-1 34 16</inkml:trace>
  <inkml:trace contextRef="#ctx0" brushRef="#br0" timeOffset="716.93">12393 4146 824 0,'0'0'297'0,"-14"0"-29"0,7 1-12 0,-3 2-25 16,0-2-19-16,-1 2-25 0,-4 1-5 16,4 0-3-16,-1-1-15 0,-1 3-18 0,-2-2-3 15,4 2-20-15,-4 1-10 0,2 1-11 0,0-1-7 16,-2 3-13-16,4-1-8 0,-1 2 0 15,4 0-7-15,0-2 66 0,3 1-16 16,0-1-4-16,2 2-13 0,1-2 2 0,4 0-2 16,1 2-23-16,0-1 0 0,1 0-1 15,-1-1-29-15,5 1-12 0,-2-1-14 0,1 0 7 16,0-1-33-16,1 1-18 0,0-1-21 16,0-2-20-16,2 2-28 0,-3-2-54 0,1 1-87 15,2-1-102-15,-2 0-538 0,0 1 108 0,-3-1 99 16,1-1 26-16,-2 1 82 0</inkml:trace>
  <inkml:trace contextRef="#ctx0" brushRef="#br0" timeOffset="14406.16">13321 4074 967 0,'7'8'443'0,"-4"-3"-64"0,-3 2-34 16,2 0-35-16,-2 5-31 0,1 1-28 0,-2 2-26 0,1 3-15 15,-2 4-23-15,-3 0-26 0,0 2-15 16,1 2-8-16,-3-2-30 15,2-1-11-15,0 2-23 0,-2-4-23 0,1 0-12 0,-2-1-19 16,3-1-43-16,-2-3 41 0,2 0-38 0,-1-4-44 16,2 0-118-16,0-3-120 0,0 0-87 0,1-1-435 15,0-2 76-15,1 0 55 0,0-3 94 16,2 0 18-16</inkml:trace>
  <inkml:trace contextRef="#ctx0" brushRef="#br0" timeOffset="15337.79">13328 4157 1008 0,'0'0'315'16,"0"0"-13"-16,0 0-5 15,-2-11-31-15,2 11 8 0,5-7-28 0,-3 3-24 16,1 0-4-16,2-1 46 0,2-1-11 0,1 0-23 15,2-1-15-15,-1 0-2 0,3 2-39 16,1 0-5-16,0-1-8 0,2 4-7 16,-2 1-11-16,2-3-82 0,-2 4 14 0,0 4-16 0,0-1-6 15,-1 1 11-15,-2 2 80 0,-1 1-16 16,-1 1 2-16,-1 2-20 0,-4-1 34 0,-3 3-27 16,0 0-25-16,-6 1 1 0,1 3 9 15,-5 3-35-15,-3-3 4 0,0 2-2 0,1-2 16 16,2-2-42-16,-1-1 11 0,1-2-5 0,2-2-3 15,0 1-33-15,1-2 10 0,2-2-18 0,0-2-8 16,2 2-5-16,3-3 1 0,0 1-1 16,0-4 6-16,5 5 7 0,0-3-23 0,1 2 23 15,1-2 13-15,0 3-44 0,4-2 31 16,-4 2-7-16,4 0-14 0,-1 0 22 0,0 2-30 16,-2-1 32-16,0 1 13 0,2-1 9 0,-5 2 6 15,0 0 8-15,-2 1-3 16,-1-3 43-16,1 2-5 0,-6 0 3 0,1 2 26 0,-3 1-6 15,-8-1-4-15,2 1-40 0,-4 2-11 16,-5 0 1-16,0-2 3 0,-1 0 6 0,0-2-27 16,-2 1-4-16,0-2-18 0,0 2-13 0,5-6-24 15,-2 1-40-15,2 0-41 0,2-2-33 16,3 0-34-16,-2-3-35 0,5 2-47 0,-3-2-74 16,3 0-176-16,2 0-592 0,3 0 93 15,5 0 107-15,-10-4 102 0,9 1 39 0,-1-1 72 16,2 0 114-16</inkml:trace>
  <inkml:trace contextRef="#ctx0" brushRef="#br0" timeOffset="15557.74">13674 4330 1548 0,'3'7'486'0,"-1"0"-53"15,3 1-46-15,-4 0-24 0,1 3-43 0,1 0-10 16,0 0-34-16,-3 1-28 0,2-1-27 0,-2 1-32 16,0 2-35-16,0-2-47 0,-2-1-43 15,2 2-46-15,-1-3-36 0,-1 1-66 0,2-2-83 16,-3-1-176-16,1 1-609 0,-1-2 87 0,3-2 74 16,-3-2 110-16,1 2 54 0,2-5 102 15</inkml:trace>
  <inkml:trace contextRef="#ctx0" brushRef="#br0" timeOffset="15691.61">13703 4213 990 0,'0'-3'384'0,"-3"-1"-84"0,3 4-129 0,-3-5-230 0,1 4-617 0,2 1 85 16,0 0 89-16</inkml:trace>
  <inkml:trace contextRef="#ctx0" brushRef="#br0" timeOffset="16791.97">14187 4259 1016 0,'0'0'455'15,"0"0"-60"-15,0 0-35 0,0 0-32 0,0 14-36 16,0-6-11-16,-2 0-35 0,2 3-110 15,-1-2-18-15,-1 3-13 0,-1 0-21 0,3 0-17 16,-2-1-1-16,1-1-20 0,-1 0-15 16,2 0-16-16,0-1 3 0,0-1 5 15,0 1 8-15,0-5 7 0,-2 4 11 0,2-5-18 16,0 1 25-16,0-4-2 0,2 3-3 0,-2-3 8 16,0 0-8-16,0 0-5 0,0 0-18 0,13-9 5 15,-8 2 3-15,-2 2-8 0,5-5 8 16,-1 2-10-16,-2 3-8 0,0-3 25 0,3 0-22 15,-2 3-3-15,1 0 15 0,-2 1-7 0,1 0 4 16,0 4 11-16,0 0 74 16,-6 0 1-16,10 2 12 0,-7 0-41 0,2 3 13 0,-2-1 4 15,-1 2-19-15,0 0 2 0,-2-1-10 16,3 2-13-16,-3-3 7 0,0 4-4 0,0-4-3 16,0 3-5-16,0-1-11 0,0-1 39 15,0-1-2-15,0 2 5 0,0-3 27 0,-3 1 4 16,3-4-83-16,0 5 13 0,0-5 11 15,0 0-24-15,0 0-5 0,0 0-2 0,0 0-3 0,8-14-2 16,-5 10-24-16,4-5-4 0,-1 3 22 16,-1 2 1-16,2-2 9 0,-1 1-14 0,1 0-11 15,1 3-5-15,2-2 18 0,-2 4-23 0,0 0 2 16,-3 0-5-16,3 0-2 0,0 4-5 16,-1-2-16-16,0 2 3 0,-1 1-36 0,-1-1-26 15,0 1-15-15,0 0-25 0,0 1-26 0,-2-3-26 16,2 3-15-16,0-2-28 0,0 0-3 0,-2-2-23 15,2 1-13-15,2 0-50 16,-1-3 50-16,-1 0-64 0,5 0 1 0,-2-3 27 16,0 0 52-16,2 1 58 0,-3-2 50 0,6-1 40 15,-3-1 59-15,-2 0 54 0,3 0 56 0,-4 4 8 16,0-3 25-16,-1 3 8 0,-1-1 8 16,0 0 5-16,-5 3 17 0,8 0-4 15,-8 0-5-15,0 0-9 0,7 6-4 0,-4-3-18 0,-3 2 13 16,3 2-13-16,-1-1-16 0,1 2 16 15,2 1-31-15,0-1 8 0,3-1-6 16,0 2-9-16,-1-2-3 0,4 0-3 0,-1 0-15 16,0-2 13-16,0 0-6 0,0-3 4 0,-2 0 22 15,2 1 20-15,-2-3 27 0,2 0 4 16,-4 0 31-16,1-4 77 0,-2 2-7 0,1-3-1 16,-4 0-33-16,0 2-95 0,-2-3-25 0,-2-3 2 15,0 2-18-15,-2 1 29 0,0-1-32 0,-4-1 17 16,0 2-32-1,-2-1 16-15,0 0-26 0,-1 1-3 0,-3 0-27 0,0 0-39 16,4 0-13-16,-3 2-48 0,1 1-39 0,1 0-10 16,1 0-59-16,0 0-56 0,2 1-90 0,3 1-187 15,0-1-496-15,2-1 97 0,0 2 87 0,3 1 105 16,3-9 64 0,2 5 64-16,1-2 123 0</inkml:trace>
  <inkml:trace contextRef="#ctx0" brushRef="#br0" timeOffset="17390.39">15010 4125 1430 0,'0'0'397'0,"7"2"0"0,-6 2-5 15,-1 0-34-15,0 1-33 0,2 2-8 0,-2 3 39 0,0-2-21 16,0 3-2-16,0 4-31 16,0 1-25-16,-2 2-116 0,-1 2 0 0,1 0-33 0,-1 2 0 15,0-2-18-15,1-1-15 0,0 1 5 0,1 0-29 16,-1-2-7-16,2-2-23 0,0-2-7 15,2 0-24-15,-1 0-5 0,1 0-15 16,0-5-18-16,1 1 23 0,0-4-3 0,2 2 0 16,-3-3 11-16,1 1 2 0,0-4 0 0,2-1-8 15,-5-1 6-15,5 3 30 0,-5-3-33 16,0 0 0-16,2-7 5 0,-2 7 6 16,0-8 7-16,0 8-6 0,-5-7 9 0,3 4-19 0,-4 0 21 15,1 1-7-15,0 1-1 0,-3 1 0 16,-2 0-22-16,0 0 40 0,-1 3-7 0,-1 0-8 15,-1 0 5-15,3 2 12 0,-3-3 1 0,3 3-2 16,2 0-11-16,1 0 5 0,1-2-21 16,2 2 1-16,0 0 5 0,4-2 0 0,0 1 10 15,0-4-5-15,8 6 10 0,0-5-23 16,0 2-15-16,4-3-16 0,1-2-10 0,5 1 11 16,2-3-11-16,1 0 3 0,2-2-3 15,3 0 2-15,-3-1 17 0,3-3-6 0,-3 1-8 16,-3-3 10-16,1 0-9 0,-1 0 14 0,-2-1-4 15,-5 2 7-15,0 0 10 0,-1 1 9 0,-4 4 32 16,-3 0 13-16,1 0-7 0,-4 4-1 16,-2 2 8-16,0 0 11 0,0 0-19 0,0 0 14 15,-8 14 12-15,6-8-26 0,-1 2-15 0,1 3 39 16,-1-3-21-16,1 3-2 0,2 1-9 16,2 0 4-16,1-2-11 0,0 1 10 0,4 0-30 15,-2-3-3-15,1 0-7 0,4 0-11 16,-3-1 0-16,3-2-28 0,1-1-26 0,-1-1-17 15,-2-1-26-15,2-1-21 0,0 0-15 0,0 2-22 16,-2-3-14-16,2-3-20 16,-4 2-49-16,1 1-77 0,1-2-135 0,-1 2-530 0,-4-1 86 15,3-2 86-15,-6 3 114 0,7 0 60 16,-7 0 53-16</inkml:trace>
  <inkml:trace contextRef="#ctx0" brushRef="#br0" timeOffset="23918.42">7090 6448 1343 0,'0'0'392'0,"0"0"-26"16,3 15-26-16,-3-7-40 0,2 3-19 0,-4 2-4 15,2 1-39-15,-3 3-18 0,1 1-10 16,1 0-31-16,-3 1-5 0,1 4-18 0,-2-3-15 15,2 0-13-15,-2-1-13 0,1 1-5 0,0-1-30 16,-1 0 12-16,0-2-18 0,0 0-30 0,0-2-6 16,2 1-46-16,-1-6-38 15,0 1-13-15,2-1-53 0,0-2-11 0,-1 0-72 0,3-2-66 16,0 0-97-16,0-5-6 0,0 3-493 0,3-2 69 16,-3-2 96-16,0 0 55 0,0 0 92 15</inkml:trace>
  <inkml:trace contextRef="#ctx0" brushRef="#br0" timeOffset="24288.6">7280 6581 1213 0,'0'0'374'0,"-10"1"-37"16,10-1-17-16,-8 10-20 0,3-4-19 0,2 2-32 0,-2 3-22 15,2-2-17-15,1 3-30 0,0 1-14 0,-1 1-7 16,3 1-31-16,0-1-18 15,3 0-13-15,-1 2-23 0,3-3-2 0,0-2-8 16,4 2-13-16,0-5 10 0,2 0-7 0,-1 1-3 16,2-5-10-16,1 0 16 0,0-2-16 15,-2-2 15-15,1 0 21 0,-3-1 10 0,1-1 5 0,0-4 10 16,-5 1 11-16,2 0 2 0,-1-3 26 16,-4-2-44-16,0 1 59 0,-2-2-10 15,-2-2-15-15,0 1-19 0,-3-2 19 0,2 2-18 31,-5-2-16-31,3 2-18 0,-2 1-12 0,1 0-31 0,-2 3-24 0,1 0-30 0,-1 3-35 0,3 0-47 16,-3 2 0-16,1 1-36 16,7 2-27-16,-13 4-58 0,7 0-106 0,-2-2-200 0,4 4-490 15,1-1 80-15,0 1 136 0,1-3 120 16,2 2 11-16,2 0 68 0,4-3 93 0</inkml:trace>
  <inkml:trace contextRef="#ctx0" brushRef="#br0" timeOffset="24464.71">7580 6670 1392 0,'7'6'399'0,"1"2"-28"0,-2 2-25 0,-2-3-11 15,-1 3-33-15,0-2-18 0,-1 4-15 16,-1 0-36-16,1 0-10 0,-4 1-31 0,1 1-26 16,-1-1-22-16,-3 1-34 0,0 2-51 0,-1-2-29 15,-1 2-43-15,-1-2-68 0,3-1-45 16,-3 0-94-16,3-8-179 0,0 4-490 0,0-1 73 15,-1-4 94-15,4 1 72 0,-3-1 120 0</inkml:trace>
  <inkml:trace contextRef="#ctx0" brushRef="#br0" timeOffset="24714.89">7844 6595 972 0,'0'0'430'0,"8"5"-41"0,-5-1-23 16,1 3-28-16,-1-1-28 0,-1 2-18 15,-2 0-44-15,0 3-20 0,0-1-21 16,-2 1-48-16,-1 4-59 0,1-3-39 0,-1 1-61 0,-2-1-54 16,0-2-79-16,3 2-153 0,-1-1-539 0,0-2 55 15,1 1 71-15,2-5 59 0,0-1 82 16</inkml:trace>
  <inkml:trace contextRef="#ctx0" brushRef="#br0" timeOffset="24919.92">8049 6538 1469 0,'0'0'417'0,"0"0"-23"0,5 8-33 16,-5-2-26-16,0 0-27 0,0 3-37 15,1 0-28-15,-2 3-23 0,1 0 26 0,0 1-103 16,-2 2-28-16,-1 1-40 0,0 2-52 0,-1 0-74 16,1-2-85-16,-2 2-207 0,2 0-550 15,-4 0 61-15,4-1 133 0,0-6 31 0,1 1 102 16</inkml:trace>
  <inkml:trace contextRef="#ctx0" brushRef="#br0" timeOffset="25140.06">8218 6713 1159 0,'0'0'438'0,"0"0"-29"0,8 7-12 0,-6-1-18 16,1-3-31-16,0 4-31 0,-3 2 6 0,2-3-36 15,-2 6-8-15,0-1-11 16,-2 2-40-16,0 1-5 0,-4 2-49 0,-2 0-69 0,1 1-44 15,-1 2-53-15,-2-4-44 0,2 0-74 16,-2-1-67-16,0 0-194 0,2-2-591 0,-2-2 81 16,2-2 96-16,1-2 132 0,1-1 41 0,1-3 31 15</inkml:trace>
  <inkml:trace contextRef="#ctx0" brushRef="#br0" timeOffset="25629.64">8472 6576 1809 0,'3'-5'540'0,"-3"5"-12"0,0 0-57 16,0 0-39-16,10 13-114 0,-8-5-16 0,1 0-23 16,0 5-11-16,-1-1-17 0,0 3-20 0,-2 1-27 15,0 3-42-15,0 0-40 0,-2 1-45 16,0-2-77-16,-1 1-36 0,-2 0-45 0,0-2-60 15,2 0-59-15,1-4-87 0,0 0-155 16,1-5-534-16,1 0 98 0,0-2 52 0,0-1 155 16,0 0 31-16,0-5 118 0</inkml:trace>
  <inkml:trace contextRef="#ctx0" brushRef="#br0" timeOffset="25825.98">8716 6589 1141 0,'0'0'443'16,"0"0"-26"-16,0 0-20 0,0 0-34 0,-3 12-20 16,1-5-12-16,2 3-40 0,0-1-27 15,0 4-16-15,-3 1 6 0,3 2-42 16,-3 1-56-16,1 1-40 0,-3 1-76 0,2 0-57 16,-2 0-63-16,0 1-94 0,0-1-264 0,0-2-496 0,2 1 92 15,1-4 105-15,-1-2 76 16,1-3 52-16</inkml:trace>
  <inkml:trace contextRef="#ctx0" brushRef="#br0" timeOffset="26041.23">8908 6764 1159 0,'3'-1'494'0,"-3"1"64"0,7 6-26 0,-4-4-68 16,-1 4-21-16,1 3-39 0,-1 0-33 0,1 2-46 0,-3 3-15 15,0 2-46-15,-3 0-31 16,-2 3-34-16,0 5-73 0,-2-1-67 0,-3-1-57 16,2 1-99-16,-2 0-111 0,-6 4-324 0,5-6-479 15,2-4 95-15,4-4 104 0,-1-1 124 16,1-2 27-16,0-2 67 0</inkml:trace>
  <inkml:trace contextRef="#ctx0" brushRef="#br0" timeOffset="26307.12">9275 6626 1610 0,'-2'7'586'0,"2"2"-67"0,-1 0-9 0,1 4-55 16,-3-1-50-16,3 5-55 0,-2 1-24 0,0 0-30 15,1 1-50-15,-1 0-62 0,-1 0-84 0,-2 1-54 16,3 0-135-16,-4-1-90 0,2 0-118 0,1-2-113 16,0 0-550-16,1-2 64 0,2-5 141 15,-2 3 44-15,1-5 78 0,1-1 45 16</inkml:trace>
  <inkml:trace contextRef="#ctx0" brushRef="#br0" timeOffset="26786.81">9585 6705 1620 0,'15'1'489'0,"-4"0"-49"16,1-1-25-16,-4 5-14 15,-3-2-14-15,1 2-36 0,-4 1-21 0,0-1-31 0,-4 3-15 16,2 2-30-16,-6 0-19 0,2 2-9 15,-4 3-32-15,0-1 3 0,-2-1-10 0,5-2-15 16,-3-2-16-16,3 1-21 0,0-3-9 16,0 0-3-16,2-1-6 0,-1 1 29 0,3-1-38 15,-2-1 12-15,1-2-17 0,-1 2 25 0,3 1-21 16,0-3-2-16,0-3-33 0,3 7 10 16,-1-6-3-16,-2-1-76 0,8 3-3 0,-2-1 0 15,1-1 0-15,-7-1 0 0,13-1 0 0,-5-1-18 16,-1 1-126-16,3-1-40 0,0 2-72 0,-2-1-28 15,0 1-108-15,-6-3-263 0,7 2-479 16,-2 1 97-16,1-1 141 0,-3 1 70 0,0-2 63 16,-5 2 95-16,5-3 69 31</inkml:trace>
  <inkml:trace contextRef="#ctx0" brushRef="#br0" timeOffset="26995.81">9952 6655 1479 0,'2'10'563'15,"-2"-5"23"-15,0 1-25 0,0 2-13 0,2 2-85 16,-1 3-48-16,1 0-37 0,-2 1-37 0,0 2-52 16,0-2-28-16,0 4-41 0,0-4-79 15,-2 4-77-15,1 1-54 0,-1-1-97 16,-3 0-66-16,5-5-129 0,-10 4-227 0,9-4-492 15,1-4 51-15,0 2 124 0,1-4 78 0,2-1 77 16,-3 0 111-16,2-2 43 0</inkml:trace>
  <inkml:trace contextRef="#ctx0" brushRef="#br0" timeOffset="27338.52">10213 6726 1420 0,'10'-1'407'0,"-2"1"62"0,2 1-47 0,-5-1-15 0,3 3-33 0,-3-1-11 0,0 3-7 0,-2-2-26 16,-1 3-38-16,-2 0-5 0,-2 1-26 0,0 3-36 16,-1-3-8-16,0 1-30 0,0 1-10 15,1 0-26-15,-3-4-26 0,5 3-15 0,0-2-12 16,-3-1 7-16,3 0-21 0,3-1-2 0,-3 0 0 15,5 1-10-15,-3-4-31 0,4 0-13 32,1 2-21-32,-1-2-24 0,1 0-9 0,1-1-28 0,-1 0-38 0,1 1 13 0,0-1-44 0,-8 0-28 15,11 0-34-15,-4 0-24 0,-7 0-76 16,5 2-114-16,-3 1-223 0,-2-3-358 0,0 0 51 16,0 0 130-16,0 0 100 0,-12 6 77 0,4-5 80 15</inkml:trace>
  <inkml:trace contextRef="#ctx0" brushRef="#br0" timeOffset="27631.73">9754 6908 1034 0,'2'4'468'0,"1"-2"-33"15,2 3-12-15,-2 0 32 0,-1 3-20 0,1-2 18 16,-2 5-84-16,-1-3-23 0,0 8-55 15,-1-3-96-15,-4 2-36 0,0 3-54 16,-1-1-88-16,-1-2-68 0,-4 4-69 0,4-2-180 16,-1-2-649-16,0 3 58 0,4-7 113 0,-2 2 97 15,1-3 21-15,2-1 96 0</inkml:trace>
  <inkml:trace contextRef="#ctx0" brushRef="#br0" timeOffset="27986.14">10805 6844 1384 0,'2'4'666'0,"-4"0"-39"0,2 2-72 0,-7 5-48 15,2-1-61-15,-6 6-47 0,-4 0-43 16,-6 9-80-16,-4-2-74 0,-1 1-115 0,0 1-105 15,3-1-94-15,0 2-234 0,0-3-621 0,6-5 91 16,6-4 50-16,1-2 88 16,4-1 109-16,-1-3 60 0</inkml:trace>
  <inkml:trace contextRef="#ctx0" brushRef="#br0" timeOffset="28408.25">11311 6614 1231 0,'0'0'509'0,"-8"11"-35"15,5-3 58-15,3 2-69 0,-3 2-12 0,1 3-21 16,0 2-59-16,-1 3-38 0,-4 3-29 15,1 2-17-15,1 0-59 0,-1 0-46 0,-1 0-75 16,0 0-71-16,1-3-36 0,1 1-84 0,-2-4-57 16,4-1-87-16,0-9-212 0,1 7-574 0,0-3 103 15,2-5 107-15,0-2 80 0,2-1 86 16,-2-1 39-16</inkml:trace>
  <inkml:trace contextRef="#ctx0" brushRef="#br0" timeOffset="28761.95">11534 6651 957 0,'7'3'420'0,"-2"-1"-34"0,1-1-22 0,-2 5-34 0,2-2 54 15,-4-1-41-15,0 3-49 0,-2-1-5 16,-2 2-22-16,0-1-35 0,-3 1-6 16,4-1-34-16,-3 2-16 0,0 1-27 0,4-3-8 0,-2 2-21 15,2-1 3-15,0 3 0 16,0-2-29-16,2-1 11 0,2 5-10 0,-2-4 2 16,0 3 8-16,1 0 5 0,0-3 36 0,-1 2-13 15,-2-1-7-15,0 2-6 0,0-3 26 0,-2 3-23 16,2-1-3-16,-6 0-23 0,2 1-15 15,-2-2-31-15,-2 1-68 0,3-1-53 0,-5 0-32 16,0 3-67-16,2-4-56 0,-2 0-174 16,2 1-741-16,0-3 155 0,3-3 43 0,3 0 141 0,-3-1 92 15,5-2 48-15,0 0 42 0</inkml:trace>
  <inkml:trace contextRef="#ctx0" brushRef="#br0" timeOffset="28958.95">11613 6932 1707 0,'2'7'568'0,"1"0"-28"16,-3 2-107-16,3 0-26 0,-6 2-28 0,3 2-13 0,-3 2-57 15,1 3-78-15,-3 0 7 0,0 1-16 0,-1 1-73 16,-1 1-70-16,-1 0-74 0,-2-2-79 16,4-1-77-16,-1-1-153 0,0-2-644 15,3-3 24-15,2 1 126 0,0-6 30 0,-1 1 105 16,3-5 66-16</inkml:trace>
  <inkml:trace contextRef="#ctx0" brushRef="#br0" timeOffset="29209.97">11895 6652 1523 0,'0'0'573'0,"0"0"-30"0,8 10-67 0,-6-4-64 0,0 2 5 16,1 4-56-16,-3 0-28 0,3 2-19 15,-1 3-24-15,-2-3-37 0,1 5-22 0,1 0-37 16,-5 2-43-16,3-1-74 0,-5-1-67 0,3 0-71 16,-1 0-62-16,1 0-64 0,-1-1-95 0,-2-3-189 15,3 1-524-15,-1-8 114 0,0 5 54 0,1-3 108 16,2-3 92-16,-3 0 38 15</inkml:trace>
  <inkml:trace contextRef="#ctx0" brushRef="#br0" timeOffset="29530.77">12108 6718 1259 0,'0'0'420'15,"0"0"-54"-15,0 0-28 0,0 0-26 16,0 0-23-16,8 6-38 0,-8-6-41 0,0 5-13 16,-1-2-28-16,1 2-21 0,0-5-20 15,0 8-36-15,1-3-10 0,1 0-2 0,-2-1-16 0,5 1 13 16,-3 1-24-16,-1 1 9 0,1-2-1 16,1 2 21-16,-1 0-3 0,-1 1 24 15,-1 0 27-15,0 0-2 0,0-2 8 0,-1 4-18 16,-4-2 12-16,3-2 3 0,-3 5-17 15,-1-3-24-15,-2 2 8 0,1-1-49 0,0-2-38 16,1 0-54-16,-2 3-64 0,1-3-57 0,-1 0-165 16,3-1-303-16,2-1-353 0,-1-2 138 15,4 1 62-15,0-4 43 0,0 0 80 0,0 0 69 16</inkml:trace>
  <inkml:trace contextRef="#ctx0" brushRef="#br0" timeOffset="29716.05">12234 6895 1213 0,'4'4'632'0,"-1"-2"-36"0,0 2-15 0,1 0-51 0,-4 4-133 0,1 0-39 0,-1-1-32 16,-1 3-37-16,-1 0-18 0,0 2-46 15,-4 0-22-15,-1 6-65 0,-1-4-84 0,-2 4-98 16,0 1-97-16,-3-2-133 0,5-2-598 16,0 1-81-16,0-2 83 0,4-1 146 0,1 0-3 15,3-3 82-15,3-3 105 0</inkml:trace>
  <inkml:trace contextRef="#ctx0" brushRef="#br0" timeOffset="30022.85">12792 6702 1359 0,'0'0'627'0,"-8"9"-28"0,3-2-36 0,3 1-64 16,-3 5-59-16,0 3 6 0,-3-2-70 15,1 5-30-15,-4 2-62 0,-5 7-28 16,-2-1-46-16,1-1-65 0,1 2-109 0,1-7-84 16,2-1-55-16,1-2-107 0,4-9-243 0,-2 5-583 15,2-1 91-15,5-2 123 0,1-4 85 16,-1-4 46-16,6 1 110 0,-3-4 77 0</inkml:trace>
  <inkml:trace contextRef="#ctx0" brushRef="#br0" timeOffset="30308.84">13005 6769 1423 0,'0'0'568'0,"0"0"-36"0,0 0-40 0,0 0-47 16,-23 6-35-16,13 0-26 0,-6 1-44 0,-4 4-10 16,-1-1-51-16,1 1-33 0,-3 0 5 15,3 2-23-15,1-2-26 0,3-3 10 0,2 3-40 16,4-4-24-16,1 1 14 0,2 1-50 0,-1-2 6 15,5 1 2-15,3-2-7 0,0 0-18 16,3 1-8-16,2-3-21 0,3 2 11 0,0-2-44 16,2 1-15-16,3-2-13 0,2-1-23 0,1-1-38 15,2-1-62-15,-1 0-15 0,1 0-51 16,0-1-49-16,0-1-5 0,-3-1-138 16,1-4-182-16,-3 3-461 0,0 0 62 0,-3 0 102 15,-2-1 48-15,1-2 75 0,-3 1 90 0,-1 0 76 16</inkml:trace>
  <inkml:trace contextRef="#ctx0" brushRef="#br0" timeOffset="30473.21">13041 6833 852 0,'-7'-2'435'0,"7"2"-95"0,0 0 14 0,-8 6-9 0,5-4 8 15,-2 3 65-15,2 3-9 0,-2 1-20 16,2 0-15-16,-1 3-36 0,-2 1 13 0,4 0-83 16,-1 4-35-16,-2 2 3 0,3 0-52 0,-4-1-33 0,2 1-56 15,1 1-80 1,0-1-76-16,1-2-106 0,-1-2-63 0,1 0-310 15,2-2-471-15,2-3 158 0,0-1 16 0,-2-3 46 0,6-3 146 0,-3 1 26 16</inkml:trace>
  <inkml:trace contextRef="#ctx0" brushRef="#br0" timeOffset="30663.37">13256 6908 1428 0,'0'0'502'0,"10"5"-29"0,-10-4 11 0,3 5-29 15,0 2-32-15,-3 0-44 0,2 0-29 0,-2 4-32 16,-2 2 45-16,-1-1-53 0,-2 4-121 0,0 2-20 16,-2 0-54-16,-4 1-71 0,3-1-77 15,-2 0-82-15,0-1-77 0,2-1-128 16,0-4-528-16,3-1-117 0,0-5 136 16,3 0 48-16,1-1 67 0,1-6 67 0,0 0 119 0</inkml:trace>
  <inkml:trace contextRef="#ctx0" brushRef="#br0" timeOffset="30876.62">13525 6778 1814 0,'3'-1'643'0,"-3"1"-54"0,0 0-95 0,8 5-34 16,-3-1-25-16,-2 2-53 0,-1 2-26 15,0-1-21-15,-2 4-15 0,3 1-59 0,-6 2 0 0,1-1-54 16,0 6-35-16,-4-2-47 15,-4 4-76-15,0-2-123 0,-1 3-82 0,1-2-98 0,0-2-117 16,2-4-343-16,1 0-307 0,2-4 79 16,4-3 92-16,2-2 110 15,1-3 49-15,4-2 59 0</inkml:trace>
  <inkml:trace contextRef="#ctx0" brushRef="#br0" timeOffset="31154.38">13844 6839 1177 0,'0'0'550'0,"0"0"31"0,0 0-43 0,0 0-1 0,-11-1-66 16,11 1-41-16,-12 5-46 0,4-4-43 0,0 4-3 15,0-1-29-15,1 1-27 0,1 0-39 16,-2 2-25-16,1-1 22 0,0 0-30 0,3 1-25 16,-2-1-57-16,2 1-75 0,0 0 14 0,1 1 2 15,0-2 13-15,3 1-16 0,0-1 11 0,0-3-8 16,3 2-5-16,0 0 11 0,-1-2-27 15,4 1-32-15,1-3-19 0,0 3-10 0,3-3-28 16,-1-1-33-16,1-1-44 0,0-1-20 16,0 0-64-16,1 1-34 0,-3-3-53 0,1 1-59 31,-1-1-177-31,-3-1-343 0,1 1-91 0,-2 0 47 0,-1-1 91 0,2-2 86 0,-3 1 90 16,-1-2 20-16</inkml:trace>
  <inkml:trace contextRef="#ctx0" brushRef="#br0" timeOffset="31356.62">13900 6826 1346 0,'0'0'430'0,"0"0"0"0,-10 7 10 0,5-3 13 16,-1 2 18-16,4 0-66 0,-1 2 40 16,-4 2 16-16,4 2-52 0,-3 4-40 0,0-2-95 15,0 4-16-15,1 0-9 16,-2 1-70-16,1 3 21 0,1-1-70 0,-3 1-25 0,3-1-36 16,-5-2-79-16,7-1-98 0,-4-1-68 15,2-1-90-15,-1-3-162 0,3-2-660 0,-1 0 72 16,1-3 128-16,0-2 46 0,3-3 120 0,0 1 49 15,0-4 56-15</inkml:trace>
  <inkml:trace contextRef="#ctx0" brushRef="#br0" timeOffset="31551.42">14154 6942 1645 0,'0'0'720'0,"5"4"-155"16,-2 2-53-16,-1 1 21 0,-2 1-62 15,0 1-59-15,0 3-28 0,-2 0-72 0,-1 6 82 16,-2 0-41-16,-1 2 1 0,-1-1-47 0,-3 2-72 16,-3 1-66-16,0-2-64 0,1-1-112 15,-2 0-114-15,1 0-78 0,1-2-109 0,-6-3-385 16,10-2-434-16,3-1 129 0,0-5 84 0,0-2 100 16,2 0 57-16,3-3 84 0,0-1 84 0</inkml:trace>
  <inkml:trace contextRef="#ctx0" brushRef="#br0" timeOffset="31802.94">14362 6795 1658 0,'2'4'671'0,"1"1"7"0,2 2-48 15,-3 0-131-15,3 2-72 0,-2 3 32 0,-3 0-93 16,3 0-64-16,-1 4 10 0,-2-2-28 0,0 1 57 15,-2 2-75-15,-1 1-28 0,0 0-72 16,-2-3-92-16,-3 3-92 0,4-1-92 0,-4-2-115 16,2-2-182-16,-1-2-768 15,2-2 121-15,0 1 109 0,2-5 113 0,1-3 62 0,2 2 74 0,0-4 51 16</inkml:trace>
  <inkml:trace contextRef="#ctx0" brushRef="#br0" timeOffset="32117.27">14754 6809 1369 0,'-6'-3'571'0,"2"3"-52"0,-4-1-43 0,-2 1-66 0,-1 0-18 16,1 1-62-16,0 0-31 0,2 1-32 0,-2 2-19 16,2-3-31-16,3 3-7 0,0-2-33 0,2 3-18 0,1-3-13 15,-1 4-3-15,6-1-23 0,-3 1 8 16,4-1 46-16,0 2-36 0,0-1 31 0,4 2-5 15,0 1 5-15,-1 0 49 0,1 1-21 16,-2 0 15-16,-2 0-10 0,2-1-115 0,-2 0 77 16,-3 0-51-16,-1 2-110 0,-1-3-3 15,-3 3 0-15,-2 2 0 0,-1-1 0 0,-4 0 0 16,-1 0 0-16,-1 1 0 0,0-1 0 0,0-3 0 16,-2 2-82-16,2-3-259 0,3-3-207 0,-1 0-680 15,6-2 117-15,-2 0 105 0,2-2 113 16,5-1 73-16,0 0 83 0,-6-8 74 15,9 2 59-15</inkml:trace>
  <inkml:trace contextRef="#ctx0" brushRef="#br0" timeOffset="32267">14802 6945 1571 0,'3'4'725'0,"2"-2"-206"16,2 2 8-16,-1 3-56 15,-1 1 8-15,0-1-64 0,-2 5-34 0,-1 0-12 16,1 1 43-16,-3 4-72 0,0-3 8 0,-3 5-46 0,-2-1-74 15,-3 5-66-15,1-3-86 0,-1 1-109 0,-2 1-92 16,-1-2-67 0,4 0-103-16,-1-5-365 0,3 0-448 0,0-2 135 0,-1-3 67 0,4-3 94 15,0-2 85-15,2-2 54 16,2 1 74-16</inkml:trace>
  <inkml:trace contextRef="#ctx0" brushRef="#br0" timeOffset="32516.08">15154 6855 2040 0,'0'0'680'0,"12"3"-101"0,-9 1-31 0,0 3-36 15,-1-2-41-15,1 3-13 0,-1 2-64 16,-2 0-20-16,3 2-34 0,-6 2-56 0,1 2-35 15,-1-1-42-15,-2 1-48 0,0 1-98 16,-1-2-48-16,-1 2-105 0,-1-2-90 0,-2-2-89 16,-6 4-346-16,6-4-497 0,3-5 88 0,-1 3 135 15,1-3 100-15,1-3 51 0,4 1 72 16,1-6 82-16</inkml:trace>
  <inkml:trace contextRef="#ctx0" brushRef="#br0" timeOffset="32850.75">15494 6806 1592 0,'-7'0'519'0,"7"0"-48"0,-13 0-46 0,5 1-49 0,0 3-27 16,1-2-45-16,-1 0-43 0,1 3-53 15,2 0-6-15,2 0-26 0,2-2-7 0,-1 3-20 16,4-1-11-16,-1 3-36 0,2-2 29 0,2 5 23 15,0-4 25-15,0 1 46 0,0 3-2 0,0-5-88 16,0 6 1-16,-2-4 41 16,-1 2 32-16,-2-3 19 0,0 1-43 0,-2 2 53 15,-4-1-21-15,-6 2-66 0,-1 1 11 0,-7-1-162 0,-4 1 0 16,-9 1 0-16,5-1-3 0,5-3-271 16,-3 1-141-16,8-4-834 0,-2-3 110 15,7 2 151-15,2-1 67 0,4-4 86 0,4 0 93 16,3 0 92-16,0 0 97 15</inkml:trace>
  <inkml:trace contextRef="#ctx0" brushRef="#br0" timeOffset="32951.36">15651 7021 1131 0,'3'-2'389'31,"1"0"-46"-31,-1-2-69 0,0 2-90 16,-3 2-151-16,2-4-391 0,-2 4-343 0,0 0 53 0,0 0 98 0</inkml:trace>
  <inkml:trace contextRef="#ctx0" brushRef="#br0" timeOffset="33456.08">15807 6917 1561 0,'3'6'609'16,"-3"1"-59"-16,0 0 21 0,0 5-66 0,-3 2-45 0,1 4-32 15,-1 1-55-15,-4 5-37 0,-1-3-37 0,-3 11-12 16,-3-2-80-16,-2 1-20 0,1-4-59 0,-3 0-97 16,5-5-64-16,0-4-52 15,0 1-92-15,3-4-99 0,-3-4-300 0,5 1-453 0,1-1 85 16,2-4 96-16,-1-1 96 0,4-5 104 0,2-1 39 16,0 0 64-16</inkml:trace>
  <inkml:trace contextRef="#ctx0" brushRef="#br0" timeOffset="33775.15">16256 6670 1584 0,'0'0'512'0,"0"0"-18"15,0 0-44-15,8 10-14 16,-6-4-27-16,-2 2-33 0,2 4-20 0,-4 1-49 0,4 6-15 0,-2-1 8 16,-2 4-39-16,0 4-16 0,0 0-9 15,-6 6-77-15,0-4 2 0,-3 7-31 0,-4-4-30 16,2 1-28-16,-2-1-46 0,-1-2-50 0,-2-3-70 15,3-6-32-15,0 0-60 0,4-4-58 16,-1-2-37-16,7-3-167 0,-3-3-573 0,3 1 58 16,2-4 129-16,3-1 119 0,0-3 58 0,0-1 88 15,0 0 9-15</inkml:trace>
  <inkml:trace contextRef="#ctx0" brushRef="#br0" timeOffset="34043.54">16503 6853 1584 0,'0'0'440'0,"-16"10"-33"0,11-3-25 0,-3 2-24 16,0 1 57-16,0 2-65 0,1 4 1 15,0-1-39-15,1-1-38 0,1 3-26 0,3-4-15 16,-1 3-28-16,6-3-21 0,-1 0-33 16,3-1 0-16,3-3-33 0,4 1 26 0,2-4-29 0,-2-2 0 15,1 0 36-15,-3-3-23 0,0 2 36 16,1-3-23-16,-3-3-95 0,0 3 33 0,-4-2 18 15,1-2-12-15,-4 1-16 0,-1 3 0 16,-8-6-28-16,0 2-51 0,-3 4-36 0,-3 0-98 16,-4 0-84-16,-5 0-79 0,-22 5-358 15,15 1-474-15,5 0 140 0,-16 3 83 0,2 3 79 16,1 1 105-16,-3-2 38 0,0 2 126 0</inkml:trace>
  <inkml:trace contextRef="#ctx0" brushRef="#br0" timeOffset="36550.94">7636 7118 801 0,'0'0'243'0,"0"0"-26"0,26-4-7 0,-11 3-36 0,5-3-25 16,4 2-8-16,7-1-62 0,12 0-48 0,1-2-75 16,2 2-51-16,-3-3-27 0,-7 1-60 15,-3 5-440-15,1-4 0 0</inkml:trace>
  <inkml:trace contextRef="#ctx0" brushRef="#br0" timeOffset="37315.57">9221 7255 1000 0,'0'0'325'0,"31"8"-43"0,-11-4-21 16,6-1-25-16,7 1-21 0,11-2-39 0,4 3-22 15,4-1-26-15,1-2-51 0,6 0-47 16,3 2-35-16,12-3-51 0,-12-1-54 0,10 2-82 0,-11-2-36 16,-2 2-473-16,2-1 84 15,-2 0 46-15</inkml:trace>
  <inkml:trace contextRef="#ctx0" brushRef="#br0" timeOffset="37984.6">11013 7257 796 0,'0'0'350'16,"0"0"-30"-16,0 0-33 15,33 0-34-15,-12 2-10 0,12-4-38 0,13 6-28 0,8-3-26 16,-2 0-31-16,4 0-40 0,3 1-42 15,2 0-53-15,-2 0-62 0,0 2-59 0,2-4-94 16,6 6-497-16,-10-3 56 16,-3 2 29-16</inkml:trace>
  <inkml:trace contextRef="#ctx0" brushRef="#br0" timeOffset="38568.11">12469 7352 773 0,'0'0'307'0,"18"-2"-31"0,-5 1-17 16,8 1-19-16,6 0-17 0,8-1-23 16,16 1-26-16,0 0-18 0,5 1 82 0,0-1-110 15,3 2-10-15,0-2-42 0,1 1-14 0,1 2-42 16,-2 0-20-16,0 2-51 0,-3 0-44 16,0-3-86-16,-1 3-57 0,-12 2-151 0,3-1-326 15,-4 0 29-15,-1 1 113 0</inkml:trace>
  <inkml:trace contextRef="#ctx0" brushRef="#br0" timeOffset="39154.44">14820 7420 453 0,'42'-4'81'0,"3"1"-40"16,2 2-46-16,-1-4-71 0</inkml:trace>
  <inkml:trace contextRef="#ctx0" brushRef="#br0" timeOffset="40389.9">13282 7975 1100 0,'3'-2'328'0,"-3"2"-29"16,2-3-30-16,-2 3-16 0,0 0 9 0,0 0-45 0,8 12-10 15,-6-6 49-15,1 2-12 0,-3 3-22 16,3 0-27-16,-3 3-6 0,4 4-7 16,-4 3-110-16,0 3-13 0,0 3 22 0,-2 2-32 0,-3 10 10 15,0 0 2-15,0 1-12 16,0-2-13-16,-3-1 5 0,3-7-5 0,0-4-8 16,2-1 5-16,-2-1-15 15,0-5 8-15,2 0 20 0,-2-1-3 0,0-4-2 0,2-1 18 16,-1 1-10-16,1-3 2 0,-2 1 15 0,2-6-14 15,-2 3 9-15,4-1 3 0,-3-2-20 16,1-3 7-16,0 3 13 0,1-1-13 0,0-3-8 0,-1 4-9 16,3-4-16-16,0-2 10 0,-3 4 10 15,3-4-10-15,0 5-5 0,0-5-7 16,0 0-9-16,0 0-9 0,10 0-14 0,-10 0 11 0,14-2 5 16,-7-1-10-16,6 2 8 0,0-1-6 15,2-1-23-15,6 0 13 0,-1-1-2 16,3 2-6-16,6-2 1 0,-4 0-9 15,3 0-14-15,-7 1-24 0,2 1-10 0,0 0-23 16,-2-2-2-16,-6 2-39 0,1 1-44 0,-4-2-48 16,-2 3-84-16,0-1-55 0,1 0-508 0,-3-2 94 15,0 1 61-15,-4 2 75 0,2-2 46 0</inkml:trace>
  <inkml:trace contextRef="#ctx0" brushRef="#br0" timeOffset="40862.07">13552 8033 988 0,'2'-3'309'0,"-2"3"-25"0,0 0-23 0,0 0-7 15,-6 13-26-15,4-6 58 0,0 6-35 0,-4 0-15 16,1 3-32-16,-2 5-1 0,-1 4-29 16,0-1-18-16,-2 8-18 0,0 3-18 0,-3-3 1 15,2 0-16-15,-1-1-16 0,4-6 1 0,0-5-6 16,3-1 3-16,0-1-28 0,0-4 5 15,3-1-20-15,-1 0 20 0,3-2-16 0,0-2 11 16,0 0 5-16,3-2-5 0,1 1-3 0,-1-4 6 16,3 2-16-16,1-1-3 0,3-3 4 15,1 2-9-15,1-2-10 0,-1-1 8 0,4 1-3 16,0-2-89-16,3 1 5 16,0-1-3-16,-2-1-15 0,2-1 13 0,0 1-47 0,-3 1-33 15,3-2-17-15,-6 1-83 0,-1 1-119 16,2-2-73-16,-3 2-455 0,0 0 92 0,-2-1 64 15,-3 1 49-15,0 0 76 0</inkml:trace>
  <inkml:trace contextRef="#ctx0" brushRef="#br0" timeOffset="41136.07">13676 8269 908 0,'0'0'369'0,"16"10"-26"0,-8-3-26 0,-1 3-20 0,7 4-15 15,-1 2-6-15,9 8-20 0,-1 2-10 16,2 4-18-16,-8 0-34 0,1 1 1 0,-4 1-3 16,-7-5-41-16,-1 2 0 0,-8-2-23 15,-6 11 56-15,-2-1-2 0,-4-1-59 0,-4 0-26 16,-8 3-20-16,-1 0-34 0,-4-4-33 0,-1-2-48 15,4-3-36-15,4-4-77 0,-5-1-185 0,0-2-480 16,4-2-77-16,-1-4 97 0,4-5 69 16,3-5 107-16,6-2 19 0</inkml:trace>
  <inkml:trace contextRef="#ctx0" brushRef="#br0" timeOffset="41535.81">14462 8213 1200 0,'4'0'410'0,"-4"0"-37"16,6 6-91-16,-4 2-26 0,0 4-23 16,-1 4-11-16,1 2-30 0,1 3-12 15,-6 5-14 1,3 2-10-16,-2 10-18 0,-3-2-12 0,2-1-26 0,-4 3-3 0,1-1-10 0,-4-5-21 15,5-2-25 1,-3-6-41-16,0 0-35 0,1-3-32 0,-1 1-48 0,3-6-95 0,0 2-115 16,-3-3-154-16,3-3-314 0,0-2 48 0,-1-3 72 15,2-1 122-15</inkml:trace>
  <inkml:trace contextRef="#ctx0" brushRef="#br0" timeOffset="41775.08">14428 8263 1062 0,'10'6'394'16,"3"-1"-56"-16,2 3-21 0,3 4-33 15,-2 1-25-15,2 0-36 0,0 3-11 0,-3-2-25 0,3 2-18 16,-2 0-26-16,-1-2-25 15,0 2 0-15,-2-3-62 0,-3-2-28 0,3 1-33 0,-5-3-46 16,2 2-57-16,-2-3-66 0,0 1-61 0,-1-4-83 16,-2 0-426-16,3 0 6 0,-3 2 119 15,0-4 48-15</inkml:trace>
  <inkml:trace contextRef="#ctx0" brushRef="#br0" timeOffset="41992.92">14777 8338 993 0,'-13'7'325'0,"0"4"-10"0,0-4-49 0,0 4-10 16,-2 0-11-16,0 3-12 0,-1 0-43 0,1 3-29 0,-3-3-2 15,-5 10-24-15,5-6-32 16,2-4-26-16,1 3-36 0,3-5-44 0,1 0-43 0,-2-2-72 15,8 1-122-15,-3-6-62 0,3 3-456 16,3-3 34-16,2-1 109 0,0 0 75 16</inkml:trace>
  <inkml:trace contextRef="#ctx0" brushRef="#br0" timeOffset="42264.85">14825 8256 1382 0,'0'0'358'0,"0"0"-23"0,3 8-7 15,0 1-18-15,-1 0-31 16,-2 7-16-16,2 0-14 0,-1 7-16 0,-1-2-16 0,0 7-12 16,0-1-8-16,0 4-25 0,0-1-9 15,-3 9-4-15,1-1 43 0,-3 0-20 0,2-5-13 16,0-5-46-16,0-2-8 0,1-1-43 0,0-6-44 15,-1 3-36-15,3-3-30 0,-3-4-31 0,3 1-39 16,0-3-33 0,0-4-66-16,0 1-67 0,0-2-130 0,3-2-513 0,0-1 55 15,1-1 104-15,-1-1 77 0,0-2 59 0,2 2 69 0</inkml:trace>
  <inkml:trace contextRef="#ctx0" brushRef="#br0" timeOffset="42783.86">15013 8594 995 0,'0'0'456'0,"0"0"-49"0,-6 11-97 0,6-5-39 16,-2 3-18-16,2-3-15 0,-2 6-28 15,2 0-18-15,0 1-15 0,0 0 46 0,0 0-19 16,0 3-1-16,2-2-27 0,0-1-53 15,4-1 8-15,-1-1-11 0,0 0-28 0,5-2 31 16,-2-3-39-16,2 1 6 0,1-2 7 0,-1-4 3 16,0 2-13-16,0-3 5 0,0-2 16 15,-2 1-24-15,0-3 31 0,2-1-15 0,0-1 0 16,-2-3-16-16,0 1-7 0,-4-3 18 16,2-1-26-16,-1 0-2 0,0-2 7 0,0 1-38 15,0-5 23-15,-2 5-24 0,-1 1-17 16,2-1-5-16,0 1 0 0,-1 4-41 0,-1-3 15 15,-1 5-61-15,1 0-29 0,-2-1-27 16,2 1-26-16,-2 3-29 0,0 0-17 0,0 3-105 0,3-3-141 16,-3 3-356-16,0 0-109 0,0 0 137 15,0 0-23-15,0 0 129 0,0 0 53 0</inkml:trace>
  <inkml:trace contextRef="#ctx0" brushRef="#br0" timeOffset="43013.37">15418 8413 1075 0,'0'6'453'16,"-1"5"-28"-16,-1 0-16 0,2 5-35 16,-2 0-26-16,2 5-18 0,-3-2-33 0,3 6-102 0,0 4-34 15,-5-2-5-15,3 10-23 0,-4-5-10 0,1 5-18 16,0-7-16-16,0-3-32 15,0-2-24-15,2 0-20 0,-2 0-26 0,0-6-18 16,2-1-33-16,0-6-12 0,-1 1-9 0,1 0-71 16,3-4-82-16,0 0-149 0,0-3-434 0,0-2 117 15,0-2-33-15,3 3 61 0,-3-5 79 16</inkml:trace>
  <inkml:trace contextRef="#ctx0" brushRef="#br0" timeOffset="43318.03">15707 8323 1141 0,'0'-3'402'0,"0"3"-18"15,0 0-31-15,0 0-15 0,0 0-33 16,0 0-24-16,0 18-27 0,-2-8-11 0,2 5-18 15,0 4-20-15,-2 0-18 0,2 4-21 0,-1 4-23 16,-1 1 14-16,2-1-27 0,-5 10-30 16,4-5 79-16,-1-6-48 0,-1 3-21 0,3-9-31 15,0 4-33-15,0-3-28 0,-2-2-33 0,4 1-47 16,-2-5-32-16,0-1-14 0,3-1-22 0,-6-1-78 16,6-3-63-16,-3 0-116 15,0-2-511-15,0-1 53 0,0-1 144 0,-3-3 46 16,3-2 33-16,0 0 133 0</inkml:trace>
  <inkml:trace contextRef="#ctx0" brushRef="#br0" timeOffset="43649.81">15554 8779 1077 0,'0'0'356'0,"0"0"-8"0,0 0-38 0,0 0-29 0,0 0-89 0,0 0-18 0,0 0-17 0,18-9-22 16,-11 8-17-16,3 0 2 15,1-3-5-15,2 2-22 0,-1-3-14 0,4 2-15 16,-3-2-8-16,5 0 31 0,-1-1-15 0,1 0-13 16,2 1 10-16,-3 0 8 0,1 0 2 0,-1 1 16 15,-2-2 20-15,-4 4-18 0,1-2-12 16,-2 2 17-16,-1 1-7 0,-1-2 7 0,-1 3-5 16,0 0 26-16,1 3-25 0,-2-1 14 15,-1 3-22-15,0-2 7 0,-2 6-15 16,1-3-13-16,-1 3-13 0,0 0-7 0,-1 1 12 0,-2 2-17 15,0-2-18-15,0-1-32 0,0 3-32 0,-2 0-16 16,2-2-46-16,-1 0-40 0,-1 1-16 16,-1-3-75-16,1 2-145 0,0-3-144 0,1 0-376 15,-1-1 80-15,2-4 71 0,-3 2 62 16,3-4 63-16</inkml:trace>
  <inkml:trace contextRef="#ctx0" brushRef="#br0" timeOffset="43784.46">15907 8586 982 0,'0'0'297'0,"-4"-4"-92"0,1 2-223 16,3 2-632-16,-11 0 110 0</inkml:trace>
  <inkml:trace contextRef="#ctx0" brushRef="#br0" timeOffset="44897.98">16479 8563 1277 0,'0'0'435'0,"0"0"-15"16,0 0-64-16,0 0-34 0,0 0-22 15,0 0-27-15,-2 19-35 0,2-10-15 0,-1 1-33 16,-1 0 7-16,0 3-28 0,-1 1-44 0,0-2-81 16,-1 2-14-16,0 0-7 0,2-3-10 15,-1 1-10-15,1-1 4 0,-1-3-2 0,1 2 3 16,0-2 15-16,2-2-13 0,-1-1-2 0,1 0 7 15,-2-2-15-15,2-3 41 0,0 5-2 16,0-5 2-16,0 0-8 0,0 0 0 0,0 0-7 16,0 0 2-16,7-11-2 0,-2 9 20 15,0-4-10-15,-1 1-21 0,3-1 3 0,0 1 0 16,-1 1 15-16,1 0-20 0,3 2 5 0,-2-2-21 16,0 2 11-16,2 2-3 0,-2-1 21 0,-8 1-16 15,15 2-5 16,-7-1 10-31,-2 1 3 0,1 1-8 0,0 1-4 0,-1-1 11 0,-1 2 12 0,2-1-14 0,-2 0 11 0,-1 2-3 16,0-1 2 0,-1-1-7-16,0 0 15 0,-1 1-12 0,0-1-1 0,1-1 29 0,-3 1-16 15,0-1 36-15,0-3-10 0,3 6 0 0,-3-3 77 16,0-3 12 0,0 0-15-16,0 0-10 0,0 0 0 0,0 0 5 0,0 0-8 0,0 0-35 0,0 0 25 15,0 0 5-15,0 0-5 0,5-9-5 16,-2 5-36-16,-1 0 18 15,3-1-18-15,1-1-15 0,1 0-3 0,0-1-7 0,1 1 15 16,2-1-21-16,0 1-12 0,-1-1 12 16,1 1-2-16,0 0-3 0,0 4-12 0,-2-1-3 15,0 1-23-15,-1 1 17 0,-1 2-1 16,-6-1-14-16,14 2 11 0,-8 2-3 0,2-2-5 0,-4 4 0 16,-1 0-23-16,0 0-26 0,0 0-17 15,-1 1-19-15,-2-1-56 0,0 1-23 16,0-1-4-16,0 0-50 0,2 1-12 0,-2-1-47 0,0 0-45 15,4 0-55-15,-2 0-53 0,3-5-100 16,0 4-394-16,3-5 29 0,-1 0 129 16,1 2 65-16,2 2 61 0,-2-8 504 0,2 2 82 0,1-4 57 15,1 2 66-15,-2-1 62 0,1 0 48 16,-1 0 0-16,-2-1 36 16,0 3 82-16,0 0-23 0,-4 0-23 0,2 0 5 0,-2 3-26 15,-4 0-20-15,0 0-77 0,10 3-13 16,-10-3-17-16,4 4 2 15,-2 1-26-15,3 1 6 0,-2-2 2 0,2 0-13 0,0 1 8 16,0 1-16-16,3 0-12 0,-1-2 18 0,1-1-6 0,0 0-2 16,2 0-10-16,-2-3 15 0,2 0 16 15,-2 0-1-15,2 0 26 16,-2-4 8-16,-1 1 94 0,-1-1-12 0,1 2 2 0,-4-4-5 16,-1 2-20-16,2 0-11 0,-4-1-35 0,-1-1 2 15,-2 0-13-15,-1 0-2 0,-2 0-16 16,1 3-30-16,-5-2-18 0,2 0-29 0,-5 2-30 15,3 0-31-15,-3-1-43 0,2 1-28 0,-1 1-47 16,0-2-46-16,3 4-91 0,-3-6-206 16,2 6-512-16,2-2 65 0,0-2 140 0,3 2 85 15,0-2 48-15,4-2 85 0</inkml:trace>
  <inkml:trace contextRef="#ctx0" brushRef="#br0" timeOffset="45325.78">17466 8250 1021 0,'0'0'450'0,"6"7"-40"0,-2 0-21 0,-4 2-23 0,3 1-8 15,0 6-15-15,-1 1-46 0,0 3-15 16,-1 1-36-16,-1 3-14 0,0 2-17 0,0 3-23 16,0-2-33-16,-1-1 84 0,-1 1-53 0,2-5-1 15,0 0-38-15,2-2-25 16,-1-1-1-16,-1-5-33 0,2 2-23 0,-2-3 29 0,3-5-17 15,-1 3-6-15,-2-3-11 0,1-3-5 0,-1 0-8 16,-1-2-3-16,1-3 11 16,-7 0 0-16,7 0-23 0,-8 3 23 0,8-3-18 0,-10-3 0 15,10 3-11-15,-11 3 1 0,4-3 10 16,-3 2-15-16,-1-1 25 0,4 2-36 0,-6 1 24 16,2 0-19-16,-1 1 6 0,1-2-24 0,3 3 29 15,-2 0-3-15,0 0-2 0,5-1-19 16,-2 0 14-16,1 1 2 0,3-3-3 0,1 4 11 15,2-3-28-15,2-2 4 0,-2-2-7 0,6 6-23 16,-1-3-5-16,3-1-8 0,0-1-17 16,2-1-29-16,0 0-5 0,2 0-34 0,-1-1-30 15,2 0 0-15,2-3-35 0,-2 3-6 16,5-1-70-16,-2-1-86 0,1 0-112 0,-1 0-518 16,2-2 51-16,-3 2 93 0,3-2 81 0,0 1 77 15,-3-1 88-15</inkml:trace>
  <inkml:trace contextRef="#ctx0" brushRef="#br0" timeOffset="45993.07">17864 8626 1075 0,'0'0'422'0,"-3"-6"-15"15,3 6-31-15,0-3-28 0,0 3-33 0,-7-4-26 16,4 3 21-16,3 1-72 0,-8-5 8 16,2 5-36-16,6 0-5 0,-14 0-85 0,4 4 0 15,2-3-15-15,-2 0 5 0,2 2 3 0,0-1-16 16,-2 0-10-16,2 2 8 0,1-2-21 15,-1 3 0-15,3-3-7 0,0 3-21 16,2-3-3-16,-2 2-9 0,4-3-1 0,-1 4-13 0,2-5 9 16,-2 4-17-16,2-4 17 15,5 3-17-15,2-3 4 0,-1 2 7 0,-1 0-18 16,3 0-10-16,-1-2 7 0,4 3-12 0,-1-2 10 16,0 1-15-16,0 0-3 0,-2 1 31 0,2-1-34 15,-2 2 8 1,2-2 3-16,-2 3 5 0,0-3 13 0,-1 2-8 0,4-2-3 0,-4 0-15 15,1 0 26-15,0 0-8 0,0-2-10 16,1-1 7-16,-1-1-5 0,5-1 16 0,-3-4 5 16,1 1 10-16,1 0 15 0,1-6 3 15,0 3 10-15,-1-4 21 0,1-3 13 0,-2-3 71 16,2 0-28-16,-3-2-5 0,3-14-1 16,2 3-1-16,-2-5-14 0,0-3-94 0,2-1 2 15,-2 1 8 1,0-1-20-16,-1 3 0 0,2 6 7 0,-4 7-5 0,-5 6 18 0,0 2-3 0,-5 7-9 15,0 1 4-15,-3 2 26 0,1 6-13 0,2 1-2 16,-13 3-1-16,3 3-2 16,0 9 21-1,-1 5 12-15,-5 11-28 0,4 2 47 0,2 4-24 0,4 4 10 0,6-9 36 0,3-4-35 0,2 10 22 16,3-2 9-16,2-4-22 0,2-1-7 16,-3-7-43-16,3-5-19 0,2 0-7 0,-4-6-18 15,0-1-43-15,2 1-29 0,-3-4-38 0,-2-2-41 16,3-2-90-16,1-2-46 15,-1 1-115-15,0-2-209 0,-1-3-454 0,0 0 115 0,1-3 103 16,0 4 109-16,3 0 42 0,-2-3 148 16,1 0 3-16</inkml:trace>
  <inkml:trace contextRef="#ctx0" brushRef="#br0" timeOffset="46134.99">18548 8685 1443 0,'6'2'417'0,"-6"-2"11"16,4 1-65-16,-4-1-22 0,0 0-34 0,0 0-33 0,10-3-21 15,-10 3-43-15,4-3-43 0,-4 3-50 16,2-2-45-16,-2 2-57 0,2-4-43 0,-2 4-69 0,0 0-149 16,-8-5-156-16,6 3-465 15,2 2 96-15,-2-6 88 0,-1 0 38 0,3-1 66 16</inkml:trace>
  <inkml:trace contextRef="#ctx0" brushRef="#br0" timeOffset="47856.71">5254 2650 839 0,'13'1'253'16,"5"-1"-25"-16,5 0-15 0,3-1-24 0,7 1-53 15,1-2-26-15,9-1-67 0,-2 3-76 16,-8-1-95-16,1 1-2 0,1-3-538 0,10 0 48 16</inkml:trace>
  <inkml:trace contextRef="#ctx0" brushRef="#br0" timeOffset="48116.7">5301 2813 959 0,'-14'2'310'0,"5"2"-44"0,3-4-25 0,1 2-26 0,3-1-13 0,2-1-7 15,0 0-37-15,0 0-1 0,8 6 4 0,-8-6-33 16,14 0-5-16,-3 0-21 0,4 0-10 16,1-2-5-16,2 1-33 0,5-2-36 0,-2 1 2 15,-1-1-32-15,1-1-11 0,-1 0-62 0,-2 2-28 16,0-2-38-16,-2 1-10 0,-2-1-85 15,2 2-4-15,-5-2-470 0,1 2 57 16,-2-1 52-16</inkml:trace>
</inkml:ink>
</file>

<file path=ppt/ink/ink3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02:36.947"/>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635 4896 972 0,'-16'4'382'0,"5"-2"-27"16,9 0-19-16,4 1-24 0,-2-3-13 0,26 0-12 16,0 0 66-16,22 0-122 15,27 0-9-15,9-5-27 0,11 5-3 0,10-1-15 16,31 0-32-16,3 1-1 0,2 0-9 0,-2 0-19 15,-4-1-6-15,-25 1-21 0,-2-3-9 16,-2 3-11-16,-10-2 8 0,-6 2-34 0,-7 0 21 16,-9 0-59-16,-20-2 11 0,-3 2-45 0,-15 0-6 15,-7 0-6-15,-5 0-36 0,-6 0-8 0,-2 2-25 16,-3-2-25-16,-3-2-65 0,-4 2-76 16,-2-1-93-16,-1-3-43 0,-3 2-466 15,0 2 87-15,0 0 79 0,-13-2 93 0,0 0 92 0</inkml:trace>
  <inkml:trace contextRef="#ctx0" brushRef="#br0" timeOffset="371.04">1786 4581 1146 0,'-5'0'402'0,"5"0"-36"16,-5-3-31-16,5 3-17 0,0 0-31 0,28 3 48 15,-3-3-13-15,22 2-25 0,11 2-36 16,22-2-20-16,4 3-21 0,6 0-38 16,5 0-5-16,7-1-37 0,22 3-9 0,-21 0-19 15,-4 1-40-15,-2-4-54 0,-11 1-38 16,-3 1-60-16,-8 1-50 0,-6 0-106 0,-17-10-145 0,-6 10-548 16,-8-1 74-16,-10 0 100 0,-5 1 33 15,-7-5 72-15,-4 1 61 0</inkml:trace>
  <inkml:trace contextRef="#ctx0" brushRef="#br0" timeOffset="2409.66">10438 4206 1538 0,'8'0'389'0,"0"-3"-31"0,2 2-27 0,0 1-19 0,-1 0-31 16,3 1-14-16,-2 2-35 0,-2-2-16 0,2 1-22 15,-2 2-28-15,-1-1 1 0,-1 2-24 16,-1 1 13-16,-2-1-23 0,-3 0-20 16,-3 2-8-16,0-1-13 0,-1 2 62 0,-2-1-19 15,-2 1 9-15,1 0-19 0,-1 0-22 0,2-1 12 16,-1-1-31-16,2-1 8 0,0 0-7 0,2 1-24 15,-1-3-15-15,1 1-7 0,0-1-9 16,1 0 6-16,2 0-13 0,0-3 26 0,2 5-26 0,1-1 3 16,2-2-11-16,0 3 21 0,2-3-18 15,3 2 0-15,-2-1-3 0,1 2-2 16,1 0-6-16,2 1 6 0,-2 0 3 16,1 0 12-16,-3 0 0 0,0 1-10 0,-1-2 15 15,-2-1 5-15,0 2-2 0,-2 1 41 0,-3-2 54 16,-3 1-32-16,0-1-1 0,-1 1-11 0,-2 0 7 15,-4 1-4-15,0-2-11 0,-1 2-9 16,-1-1-14-16,-1-3-8 0,-2 2-37 0,2 0-19 16,-3-3-18-16,1 1-12 0,-1-2-8 15,2 1-23-15,-2-1 5 0,3-1-8 0,-3 2-25 0,4-2-16 16,1 0-20-16,-1 0-26 0,2-2 1 16,0 1-55-16,2 0-14 0,0 0-50 15,3 1-58-15,5 0-118 0,-8-1-75 0,6-2-447 16,2 3 61-16,0 0 118 0,0 0 97 0,0 0 60 15,7-7 83-15</inkml:trace>
  <inkml:trace contextRef="#ctx0" brushRef="#br0" timeOffset="2969.8">10880 4277 1302 0,'5'-1'379'0,"-5"1"-23"15,12-1-10-15,-6 1 40 0,-1-2-5 0,-5 2-22 16,7-1-14-16,-7 1 6 0,8-1-54 16,-8 1 5-16,3-2-28 0,-3 2-23 15,0 0-16-15,0 0-15 0,0 0-20 0,0 0-13 16,-19 0-34-16,9 0-4 16,0 2-6-16,-3 0-25 0,-2 1 33 0,2-1-20 0,-2 1-19 15,5 0-15-15,-6 1-7 0,4 0 12 0,1 0-40 16,3 0-3-16,-2-2 18 0,3 3-24 0,-1-3-25 15,3 1-4-15,3 0 11 0,2 2-12 16,0 0 8-16,2-2 0 0,0 1-13 0,1 1 12 16,4-2-9-16,1 1-11 0,0 1 8 0,0-2 5 15,5 3 8-15,-1-1-13 16,1-2-11-16,0 2 29 16,-2-1-5-16,-1 0 7 0,2-1-7 0,-4 1 8 0,0 0-39 0,-3 0 0 15,0-2-21-15,-2 2 21 0,-1 1-13 0,-2-1-5 16,-5 1 13-16,2 0-2 0,-4 1 19 15,-4 0-12-15,1 0 0 0,-3-1 11 0,-2 2-1 16,-1 0-46-16,-2-2-28 0,1 2-31 16,-1-3-53-16,0 4-52 0,0-4-66 0,0 2-41 0,3 0-39 15,2-1-48-15,2-5-213 0,1 5-486 16,3-3 139-16,-1 2 71 16,6-4 107-16,2 0 77 0,0 0 95 0,0 0 43 0</inkml:trace>
  <inkml:trace contextRef="#ctx0" brushRef="#br0" timeOffset="3184.34">10998 4397 1236 0,'9'3'601'0,"-1"-3"-140"0,0 3 8 0,0 0-45 0,-1 0-70 16,4 4-11-16,-4 1 7 0,1-1-32 16,-3 3-34-16,1 0-41 0,-1 1-5 0,-2 2-33 15,-1 0-36-15,-2-1-18 0,-3 1-39 0,1 1-71 16,-3-1-35-16,-1 0-78 0,1 2-54 15,-3-5-58-15,4 1-105 0,-2-6-195 0,1 7-509 16,0-5 89-16,0 1 96 0,0-1 106 16,2-1 96-16,1-1 17 0</inkml:trace>
  <inkml:trace contextRef="#ctx0" brushRef="#br0" timeOffset="3686.32">11421 4271 1082 0,'5'-2'461'0,"3"1"-23"0,-1-1-39 0,4 2-18 16,-4 2-22-16,3-1 45 0,0 2-15 0,1 0-36 15,-4-1-17-15,-1 2-29 0,-1 2 3 16,0-2-52-16,-3 1-12 0,-2 0-23 0,0 3-90 16,-2-2-8-16,-4 0-12 0,4 1-39 15,-3-1 23-15,0 0-25 0,0 1 2 0,2-2-20 16,1 1 15-16,0-1-13 0,1-2-20 0,1 2-8 15,0-5 11-15,0 6-19 0,3-1 21 16,-1-1 13-16,1 0-8 0,2 0-20 0,0-1 9 16,0 3-1-16,1-2 32 0,-2 2-17 0,-1-3 20 15,0 1-5-15,0 1-5 0,-1 1 28 0,0-3-18 16,-2 2-10-16,0 0 20 0,-4 0-15 16,1-2 8-16,-3 3-26 0,-2-2-8 15,1 2 6-15,0-3-42 0,-4 1-32 0,-2-1-29 0,3 0-59 16,-3 0-74-16,1 0-48 0,1-2-34 0,1 0-41 15,0 0-105-15,2-3-207 0,3 3-464 16,-2-1 121-16,7 0 82 0,-8-1 133 0,8 1 51 16,0 0 77-16,4-10 54 0</inkml:trace>
  <inkml:trace contextRef="#ctx0" brushRef="#br0" timeOffset="3992.61">11777 4238 1254 0,'0'0'484'0,"0"0"-24"16,0 0 29-16,-2 12-31 0,-1-6-43 16,-2 1-39-16,-3 3-109 0,-3 2-32 0,1 3-20 15,0 4-5-15,0-1-36 0,-1 1-38 0,4-4-39 16,2 2-36-16,3 0-22 0,-1-3-21 16,3 0 0-16,3-1-6 0,-1 0-7 15,3-1 3-15,3-2 18 0,2-2-13 0,0-1-1 16,0-1 40-16,0-2 35 0,-2 0 28 0,0-1 59 15,0-3 13-15,-3 0-18 0,-5 0 5 16,8-5-5-16,-3 3-11 0,-5-2-2 0,0-1-17 16,0-1-6-16,-3 2-18 0,-1-2-43 0,0 0 15 15,-1 0-26-15,-2-1-43 0,2 2-46 0,-3 0-62 16,2 3-53-16,-1-2-36 16,-1 2-85-16,1 2-74 0,-1 0-153 0,3 0-623 0,-1 2 113 15,-1-1 111-15,7-1 124 0,-7 4 29 16,4-3 97-16,3-1 49 0</inkml:trace>
  <inkml:trace contextRef="#ctx0" brushRef="#br0" timeOffset="4196.59">12000 4488 1781 0,'15'2'625'0,"-7"2"17"0,2 1-51 0,-5-1-48 0,1 3-57 0,-2 0-40 0,0 1-24 15,-2 0-64-15,-2 2-63 0,-2-1-11 16,-4 3-51-16,-2 1-113 0,-2 2-94 0,-5 1-116 15,-1 1-109-15,1-1-301 0,-8 7-626 0,0-1 133 16,3-5 69-16,4-2 107 0,-5-2 73 16,1 0 81-16,-1-1 53 0</inkml:trace>
  <inkml:trace contextRef="#ctx0" brushRef="#br0" timeOffset="6002.65">12618 4234 1131 0,'8'-2'476'0,"0"2"-33"0,-1 0-103 15,0 0-33-15,-1 0-7 0,2 2-42 0,-3 1-12 16,0 0-15-16,-2 2-32 0,-1 0-12 0,-2-1-15 15,0 5 48-15,-3-3-16 0,-4 2-1 16,2 3-42-16,-3-2-23 0,0 0 5 0,0 0-32 16,1 1-12-16,-1-3 6 0,1 0-7 15,1 0-16-15,3-1-13 0,1-2-3 16,0 3-22-16,-1-5 12 0,3 2 0 0,3 1-28 16,-1-3 26-16,3 3-13 0,1-2 8 0,1 1 2 0,1 2-2 15,-1-3-6-15,1 3 31 0,2-1-2 16,-2 0 0-16,-3 1 12 0,1 0 67 15,1 0-46-15,-4-2-25 0,-1 1-1 0,1 1 10 16,-3-1-4-16,0 1-6 0,-3-1 24 0,1 2-57 16,-4-4 10-16,1 3-5 0,-5 0 8 15,0-1-20-15,0 0-34 0,-1 0-34 0,-1-2-42 16,-1 1-24-16,0-1-51 0,3 1-38 0,-1-3-52 16,-1 1-48-16,2-1-141 15,-1 1-399-15,3-2-225 0,-2 0 61 0,2 0 169 0,0-3 43 16,1 1 75-16,2 1 73 0</inkml:trace>
  <inkml:trace contextRef="#ctx0" brushRef="#br0" timeOffset="6320.63">12923 4265 1226 0,'13'4'504'0,"-5"0"-31"0,0-1-14 15,-4 2-27-15,-1-1-94 0,0 2-49 0,-3-1-7 16,-3 3-29-16,0-1-17 0,-1 2-29 0,-2 1-7 16,-2 0-24-16,-4 1-19 0,3 1-1 15,-3-1 0-15,0-1-33 0,-2 0 15 16,4-1-33-16,0 0-8 0,-1-3-23 0,4 1 8 16,-1-1-25-16,3-2 27 0,0 1-12 0,0-1-1 15,4 1-14-15,-1-2 2 16,2-3-3-16,3 7-10 0,0-4 8 0,2 0-21 15,2-3-20-15,1 4-26 0,2-3-33 0,-2 0-31 0,2 3-46 16,3-4-23-16,-2 0-46 0,1 0-23 0,-2 1-48 16,1 1-162-1,-3-2-69-15,2 2-494 0,0-2 110 0,0 0 56 0,0-2 108 0,-2 2 74 16,0-3 59-16</inkml:trace>
  <inkml:trace contextRef="#ctx0" brushRef="#br0" timeOffset="6520.2">13141 4441 1044 0,'0'0'458'0,"0"0"-15"0,11 5-13 0,-9-1-10 16,3 3-29-16,-5-2-30 0,5 2-10 0,-3 0 33 15,1 4-10-15,0-3-44 0,-3 3-8 16,0 0-22-16,0 3-26 0,-5-1-34 16,2 0-48-16,-2 2-43 0,-2 0-44 0,-1-1-67 0,0 0-58 15,-2-1-73-15,2-1-65 0,0 0-62 16,-2 0-167-16,5-1-296 0,-3-4-321 15,3 1 57 1,-2-2 146-16,1-2 71 0,3-1 70 0,-1 0 82 0</inkml:trace>
  <inkml:trace contextRef="#ctx0" brushRef="#br0" timeOffset="7571.67">13954 4297 1195 0,'0'0'455'0,"0"0"-35"0,0 0-28 0,0 0-21 16,0 0 39-16,-8 10-24 0,0-8-22 0,-2 4-42 15,-3 0-43-15,-2 3-25 0,0-1-19 16,-3 1-17-16,-1 2-44 0,4-2 5 0,-3-1-23 16,3 1-36-16,0 1 1 0,2-3-11 15,0 1 5-15,2-1-28 0,1 1 0 0,3-4-8 0,-1 1-28 16,3 0 8-16,2 1 3 0,1-4-8 16,-1 2 12-16,3-4-20 0,5 8 0 15,-2-4 16-15,2-1-14 0,3 1 3 0,4-3-25 16,1 1 0-16,3 1 4 0,5 0 9 15,1 0-19-15,4-3-35 16,-3 1-23-16,3-1-44 16,-3 0-39-16,0-1-30 0,0 1-30 0,-3-1-27 0,-2-1-48 0,-2 0-110 0,-1-3-161 0,0 4-464 15,-6-1 72-15,-2-1 87 0,1-1 80 16,-1 0 94-16,-4-2 39 0</inkml:trace>
  <inkml:trace contextRef="#ctx0" brushRef="#br0" timeOffset="7793.56">13969 4309 1361 0,'-5'2'384'0,"-1"2"-2"0,0 0-16 15,0 2-18-15,1 1 54 0,0 0-31 0,0 4-41 16,0 2 13-16,0 0-18 0,-1 1-31 16,1 2-38-16,-2 0-35 0,1 1-17 0,2 1 4 15,-2 0-39-15,1-2-11 0,0 1-14 0,0 0-42 16,-1-2-64-16,2 1-45 0,1-3-62 15,0-1-29-15,1-1-91 0,0-1-118 0,2 1-187 16,-1-3-522-16,-2 1 66 0,6-2 156 0,-3-4 44 16,1 1 100-16,-1 1 51 0</inkml:trace>
  <inkml:trace contextRef="#ctx0" brushRef="#br0" timeOffset="8163.76">14246 4338 1492 0,'13'-1'512'0,"2"2"-34"0,-4 0-45 15,-3 4-34-15,-1-2-7 0,-2 2-44 0,0-1-20 16,-2 3-24-16,-1-1 1 0,-2 2-44 15,-2 2-26-15,-1-1-2 0,-2 2-20 0,0 1-44 16,-2-3 7-16,1 2-32 0,-2 0-6 0,1-2-41 16,-1 1 13-16,2-3 0 0,2 1 11 15,1-1-16-15,-2 1-34 0,2-1-2 0,1-3-5 16,-1 1-38-16,3-1 15 0,0 2-13 0,0-4 11 16,5 3-39-16,-2-1-41 0,2-3-26 15,-2 2-61-15,5 0-43 0,-3-2-37 0,4-1-58 16,-1 0-51-16,0 1-136 0,0-2-113 0,2 1-484 15,-2 0 114-15,2-4 81 0,0 2 128 0,0 0 56 16,-2-1 77-16</inkml:trace>
  <inkml:trace contextRef="#ctx0" brushRef="#br0" timeOffset="8325.16">14489 4491 1144 0,'3'3'453'15,"-2"2"-13"-15,1-2-5 0,0 4-20 16,1 0-39-16,-3 2 41 0,0-1-25 0,0 3-34 15,-3 0-15-15,1-1-43 0,-1 2-19 0,-4 0-58 16,-1 3-74-16,0 0-65 0,-3-2-104 0,1 0-75 16,0 2-141-16,-2 0-468 0,1-3-279 15,3 1 77-15,-2 0 100 0,2-6 92 16,1 1 87-16,2-1 33 0</inkml:trace>
  <inkml:trace contextRef="#ctx0" brushRef="#br0" timeOffset="9508.42">15251 4325 1313 0,'13'-4'399'0,"-1"3"-18"0,-3 0-117 16,0 1-34-16,-1-1-20 0,-3 1-20 15,-5 0-6-15,8-3-23 0,-8 3-7 0,8 0-13 16,-8 0-16-16,0 0-7 0,0 0-3 16,0 0-2-16,0 0-24 0,-10 10 19 0,2-7-24 15,0 0 6-15,-5 3-16 0,-2-3 0 0,0 3-5 16,-3 0-5-16,2 1 5 0,1 0-10 0,2-2-5 15,0 0 10-15,0 1-8 16,3-1-12-16,-2-2 10 0,4 3-21 0,3-2-2 0,-1 2-3 16,1-3 8-16,2 2-21 0,3 0 11 0,0 1 2 15,1 0-5-15,4-3-8 16,0 3-10-16,2-2 11 0,2 4 1 16,-2-2-1-16,6 1 4 0,-3-1 1 0,1 1-3 0,-1-1-13 15,0 1 26-15,0 2 12 0,-2-3-10 0,0 1 13 16,-3 1 13-16,0-2 5 0,-2 0-10 15,-3 1 41-15,0-1-16 0,-1 0 23 0,-4 1-14 16,0 0 1-16,-3 1-22 0,-2-1 9 0,-2-3-4 16,-2 2 0-16,-1 0-18 0,-3-1 2 15,0 1-38-15,0 1 5 0,-2-3-36 0,-1-2-20 16,6 2-21-16,-5-1-36 16,7 0-12-16,-3-2-41 0,6 1-44 0,-2-2-36 15,4 0-84-15,0 0-115 0,8 0-90 0,-8 0-476 0,8 0 112 16,0 0 129-16,0 0 40 0,5-8 88 15,0 7 53-15</inkml:trace>
  <inkml:trace contextRef="#ctx0" brushRef="#br0" timeOffset="9962.26">15444 4382 1487 0,'0'0'506'0,"4"6"-40"0,-1 0-23 0,0 0-56 16,4 1 25-16,-4 1-77 15,2 2-10-15,2 0-15 0,-4 1-39 0,3 2-17 16,-2-1-14-16,1 0-43 0,-4 1-30 0,-1-1-39 16,0-1-21-16,-3 2-9 0,-2-1-19 0,0-3 8 15,0 2-54-15,-3-3 18 16,3-2-7-16,-1 1-11 0,-1-1 0 0,4-1-4 0,-1-2-11 15,-2-1-3-15,3-1-18 0,3-1 8 0,0 0-10 16,0 0 3-16,-7-8-19 0,7 8 3 16,5-7 26-16,-2 1-13 0,4-1 2 15,1-3-2-15,-1 2-5 0,4-4 15 0,-1 1-23 0,0-3 49 16,1 1-34-16,-1 0 37 0,-2-2 12 16,-1 2 15-16,1-2-2 0,-3 0 18 15,1 2 23-15,-2 0-3 0,-1 1-84 0,-3 3 15 0,3-2 10 16,-3 3-15-16,0-1-2 0,-3 1 2 15,3 1 0-15,-5 1-15 0,2 1-8 16,-4 1-34-16,2-1-50 0,-1 5-54 0,-2-3-13 16,1 6-47-16,-1-3-52 0,0 3-106 0,-7 3-230 15,8-1-472-15,-3 2 137 0,2 0 53 0,0 0 105 16,3 0 93-16,0 0 99 16</inkml:trace>
  <inkml:trace contextRef="#ctx0" brushRef="#br0" timeOffset="10147.48">15774 4550 1599 0,'3'9'540'0,"-1"2"-40"0,1 2-32 0,-3-2-66 16,-3-1-36-16,1 1-23 0,-3 2 31 0,-3 2-85 15,-5 1-77-15,0 1-76 16,-2 1-75-16,-8 2-104 0,0 4-205 0,4-5-751 0,4-5 98 15,-1 2 80-15,2-8 48 0,-2 3 107 0,4-3 67 16</inkml:trace>
  <inkml:trace contextRef="#ctx0" brushRef="#br0" timeOffset="10964.69">16366 4371 982 0,'11'-4'364'15,"-1"0"-31"-15,-2 1-36 0,0 1-16 0,-1 0-25 16,-2 2 0-16,-3-4-18 0,-2 4-10 0,8-1-13 0,-8 1-18 16,0 0-36-16,0 0 16 15,0 0-49-15,0 0 5 0,0 0-10 0,-25 1 56 16,14 3-30-16,1-4-16 0,-3 3-8 0,1 1-15 16,-1 0-20-16,0-2 4 0,0 3-4 0,1-2-13 15,4 1-6-15,-1-2-12 16,0 2-31-16,4-1 6 0,1 0 25 0,0 0-36 0,4 1 30 15,0-1-14-15,0-3-3 0,4 6-16 0,2-1 6 16,2 0 2-16,-1 0 3 0,4-2-19 16,-1 5 4-16,3-2 9 0,-1-1-4 0,-1 1 15 15,1 0 7-15,-1 1 1 0,-1-2 7 0,0 0 15 16,-2 1 16-16,0 1-7 0,-3-2-6 16,0 1 41-16,-3-2-5 0,1 1-3 15,-3 0-7-15,0 1 12 0,-5-1-25 0,0 0-23 16,0 0 10-16,-3 1-15 0,-2-1-11 15,-3 0 6-15,1 1-31 0,-2-3-21 0,-1 2-14 16,-1 0-30-16,2-2-37 0,0 1-47 0,-1-2-27 16,3 3-50-16,-2-4-60 0,4 2-114 0,-8-2-199 15,11 0-468-15,1 1 84 0,1-2 110 16,5 0 113-16,0 0 56 16,-2-6 51-16</inkml:trace>
  <inkml:trace contextRef="#ctx0" brushRef="#br0" timeOffset="11329.65">16692 4292 1149 0,'0'0'473'0,"-13"8"-58"0,8-2-34 0,-5 0 24 0,2 4-16 0,-4 2-36 0,-1 5-53 15,2-1-9-15,-2 1-63 0,1 2-15 0,3 0-39 16,0 0-31-16,1 1-30 0,3-3-24 0,5-1 6 15,0-2-8-15,2 0-15 0,4 1 17 16,1-1-14-16,3-1-9 0,3-2-4 16,-2-3-4-16,1 0 4 0,-1-3 15 0,-1 0 15 15,2-2 8-15,-2 0 12 0,-2-3 78 0,0-3-11 16,2 0-51-16,-5 1 13 0,1-3 28 16,-4-1-21-16,1-1-20 0,-3 1 5 0,-3-3-25 15,1 2-11-15,-4-2-13 0,-4 2-2 0,3-3-46 16,-3 3-46-16,-1 0-57 0,-2 2-25 0,0 0-31 15,-2 2-53-15,2-2-62 0,1 3-26 16,1-1-138-16,-1 2-205 0,2 0-478 16,2 2 89-16,2 0 141 0,6-1 103 0,-7 1 48 0,7-1 67 15,0 0 86 1</inkml:trace>
  <inkml:trace contextRef="#ctx0" brushRef="#br0" timeOffset="11486.06">16954 4594 1220 0,'12'13'530'0,"-4"-2"74"16,0-1-48-16,-3 1-52 0,-3-1-66 0,1-1 0 16,-6 2-16-16,1 3-77 0,-6-1-12 15,1 4-146-15,-9 1-41 0,-4 5-67 0,-3 0-71 0,-3 0-108 16,3-4-92-16,2-2-315 0,3-3-511 0,-2 0 135 16,1-2 61-16,-1-1 80 15,2-4 48-15,3-1 133 0</inkml:trace>
  <inkml:trace contextRef="#ctx0" brushRef="#br0" timeOffset="12072.4">17723 4338 1251 0,'5'0'384'0,"3"0"-36"0,-1 1-10 16,1 1-43-16,-3 2-16 0,0 1-18 0,0 1-31 16,-3 0-5-16,-2-1-23 0,-2 3-38 15,-3 1-2-15,0 0-19 0,0-2-25 0,-5 2 4 16,2 1-9-16,-2-2-23 0,2 2-6 0,0-3-15 15,3-1-20-15,-2 1 5 0,4-2-1 16,0 2-14-16,1-4 4 0,4 3 1 0,1 0 2 16,0-1-15-16,1 1 7 0,2 0 8 15,2 1 8-15,-1-1 7 0,0-1 1 0,1 3 4 0,-2-2 24 16,-1 1 17-16,0-2 14 16,-2 0-4-16,-1 1-9 0,0 0-26 0,-2-3 87 15,-2 2-11-15,0 2 1 0,-4-1-21 0,-1-1-15 0,-1 1-2 16,-5-1-70-16,3-2-26 15,-5 2-40-15,4-3-49 0,-4 1-36 0,0 0-69 16,2 0-41-16,0-2-41 0,2-1-166 0,-1 1-189 16,2-1-431-16,2-1 82 0,3 1 123 0,-1-4 80 15,4 2 89-15,-3 0 54 16</inkml:trace>
  <inkml:trace contextRef="#ctx0" brushRef="#br0" timeOffset="12407.1">18028 4390 1589 0,'0'-4'507'0,"0"4"-34"0,0 0-25 0,-8-4-48 0,1 4-45 15,7 0-42-15,-16 2-16 0,6 1-34 16,-1 0-35-16,-1 0-21 0,1 0-22 0,1 1-9 16,-3-1-32-16,6 0-9 0,-1 3-37 0,3-3 1 15,0 3-17-15,3-1-20 0,1 0 4 0,2 2-9 16,1-1-4-16,0 2-4 0,6 2 2 0,-3-1 31 15,5 1-10-15,-2-2 20 16,2 2 5-16,0-1 1 0,-2 2-4 0,2-4 44 0,-2 3-12 16,-3-2-16-16,1 1-26 15,-2 0 32-15,-1-2-32 0,-3 0-12 0,-3 0-3 16,1 1 0-16,-3 0-15 0,-1 0-13 0,-4 0-44 16,-2-1-43-16,-1 2-38 0,-1-1-67 0,0-2-49 15,-2 1-46-15,4-1-40 0,1 0-178 0,-1-1-237 16,1-2-372-16,4 0 93 15,-1-1 115-15,3-2 99 0,1 2 55 0,4-2 84 0,0 0 66 16</inkml:trace>
  <inkml:trace contextRef="#ctx0" brushRef="#br0" timeOffset="12615.16">18082 4584 1308 0,'5'1'514'0,"0"2"-35"0,0 0-39 0,1 2 77 16,-4 0-43-16,3 2-44 0,-2 0-26 0,1 3-41 0,-1-1-43 15,-3 2-18-15,-3 2-43 16,1 0-36-16,-1-1-49 0,-5 5-33 0,-1-4-77 16,1 1-36-16,0 0-62 0,-1 1-40 15,0-2-61-15,-1 0-78 0,5-1-191 0,-3-3-659 0,3 2 106 16,-3-3 115-16,3-3 79 0,2 1 67 16,-1-3 92-16,4-3 36 0</inkml:trace>
  <inkml:trace contextRef="#ctx0" brushRef="#br0" timeOffset="13337.82">18410 4428 1397 0,'0'0'415'0,"10"3"-31"0,-7 0-18 0,2 1-31 15,-3 2-30-15,1-3-95 0,1 4-18 0,-3-2-11 16,-2 1-9-16,-1 4-37 0,-3-4 22 16,2 1-32-16,-1-1-10 0,1 2-7 15,-4-2-8-15,4 1-16 0,0-3-5 0,0 2 1 16,1 0-21-16,2-3 7 0,1 3-4 0,1-2-4 15,3-2 6-15,2 2-30 0,-1 1 9 0,4-2 16 16,0 2 0-16,1 0-18 0,1-1 25 16,-2 1 34-16,3 1-25 0,-3 0 27 0,1-1 8 31,-4 1-15-31,1 1 28 0,-3-2-1 0,0-2-4 0,-3 2 15 0,-1 0-25 16,2-2-19-16,-3-3-12 0,-6 10 15 0,-1-8-12 0,2 2-16 15,-5-1 97-15,0 1-66 0,-4-2 17 16,4 1-38-16,-3-1-40 0,3-1-39 15,-3 0-49-15,3 1-66 0,0-1-47 16,0-1-30-16,2 0-51 0,0 0-88 0,8 0-209 0,-10-1-532 16,7-1 83-16,3 2 155 0,0 0 71 0,0-7 38 15,0 7 129-15,8-6 10 0</inkml:trace>
  <inkml:trace contextRef="#ctx0" brushRef="#br0" timeOffset="13643.56">18899 4428 1615 0,'-10'3'478'0,"10"-3"-19"15,-17 2-27-15,3 2-61 0,2-1-5 0,-4 3-12 16,-1 0-42-16,0 1-23 0,0-1-28 16,4 1-41-16,0 2-2 0,1-2-47 15,1-1-45-15,6 1-26 0,-3-2-21 0,4 2-20 0,3-4 5 16,1 0-26-16,0-3 29 0,5 5-29 15,1-4 8-15,1-1 13 0,4 0 3 0,-1 0 22 16,2 0-10-16,-3 0 24 16,1 0 6-16,-3 2-4 0,3 2-5 0,-2-2-13 0,-2 3 23 15,1 1-46-15,-2 0 28 0,-1 3 2 16,-3 1-27-16,-1-1-6 0,0 2-51 0,-3 0-25 16,-1 1-60-16,-2 1-68 0,2 0-47 0,-2-2-96 15,3 0-186-15,-2 0-641 0,3 0 86 0,2-6 162 16,0 2 66-16,2-1 52 0,3-1 96 15,1-2 40-15</inkml:trace>
  <inkml:trace contextRef="#ctx0" brushRef="#br0" timeOffset="13791.47">19089 4667 1220 0,'7'2'523'0,"-4"1"7"16,0 2-19-16,-3 1-63 0,0 1-30 15,-3 0-29-15,1 3-46 0,-3 1-28 0,-3 2 66 16,-2 0-69-16,-1 0-89 0,-6 1-82 0,1 2-98 15,1-3-102-15,-4 3-138 0,-1-3-855 0,6-2 97 16,-2-1 80 0,3-1 117-16,3-4 60 0,0 1 60 0</inkml:trace>
  <inkml:trace contextRef="#ctx0" brushRef="#br0" timeOffset="14378.54">20009 4401 993 0,'0'0'448'0,"0"0"-21"0,0 0-30 0,0 0-13 16,0 0-34-16,-4 12-32 0,-2-9-3 15,-4 5-34-15,0-1-30 0,-3 1-13 16,-2 2-18-16,-3 0 6 0,-2 2-29 0,-1-2-21 16,-3 3-12-16,7-1-15 0,-4-3-19 15,4 1-25-15,3-2-8 0,-1 2 6 0,5-3-27 16,0 0 12-16,2-1-12 0,3 0-14 0,0 0-14 15,2 0-7-15,3-3 26 0,0 2-8 16,3 0-5-16,2-2-8 0,2 0 5 16,1 1-15-16,2-1-11 0,6-1 14 0,-1 0-9 0,3-1-14 15,3 0-19-15,-1-1-43 0,0 0-10 0,1-1-49 16,2 1-44-16,-5-1-20 0,0-2-48 16,-2 2-62-16,-1-4-108 0,-5 3-163 15,3-1-438-15,-3 0 107 0,-2-2 73 0,-3 3 63 16,-2-2 92-16,2-2 59 0</inkml:trace>
  <inkml:trace contextRef="#ctx0" brushRef="#br0" timeOffset="14614.54">19976 4418 1610 0,'0'0'486'0,"-10"8"-13"0,8-3-50 16,1-1-32-16,-4 5-12 0,3-2-20 0,0 4-50 15,-1 2-22-15,-2 0-11 0,2 0 14 0,0 5-62 16,-2-1-13-16,0-1-13 0,0 2-31 16,-3 3-22-16,0 0-26 0,3-3-31 0,-5 2-54 15,0-3-58-15,4-1-34 0,-1 1-64 16,-1-4-46-16,1-1-46 0,2 0-87 0,0-5-225 0,2 1-432 16,0-2 27-16,1-1 108 15,4-2 84-15,-2-3 77 0,6 3 67 0</inkml:trace>
  <inkml:trace contextRef="#ctx0" brushRef="#br0" timeOffset="14950.22">20335 4307 1666 0,'0'0'555'0,"0"0"-9"0,-14 8-60 0,6 2-130 0,-1 2-29 16,-1 1-35-16,-2 2-5 0,1 4-41 15,-2 0-26-15,3 3-5 0,0-1-31 16,2 2-23-16,1-2-20 0,4-1-18 0,0 1-18 0,3-6-18 16,4 2-8-16,0-3 1 0,4 1-14 15,-1-3-2-15,1-1 8 0,0-1 7 0,2-4-23 16,-2-3 47-16,0 1-19 0,-1-3 29 16,0-1 20-16,-7 0 3 0,8-5-36 0,-7 2 38 15,1-3-23-15,-4 0-28 0,1-2-8 16,-4-2-10-16,0 1-28 0,-1-2-12 0,-6 0-65 15,2 4-39-15,0-1-42 0,2-1-78 0,-2 3-53 16,2-2-90-16,1 3-223 0,-1 2-570 0,2-2 138 16,1 2 102-16,3 0 67 0,-1 0 46 15,3 3 99-15,0 0 60 0</inkml:trace>
  <inkml:trace contextRef="#ctx0" brushRef="#br0" timeOffset="15116.43">20615 4606 1602 0,'7'13'537'0,"-2"-1"-55"0,-2 0 99 0,-3-2-72 0,0 1-35 0,-3 1-39 16,-2 2-41-16,-3 1-84 0,-4 0-80 0,-6 3-87 15,-5 3-86-15,-3 1-106 0,-4-1-140 0,3 2-753 16,4-7 23-16,3-5 33 0,0 1 123 16,4-4 62-16,5-3 35 0,1-1 78 0</inkml:trace>
  <inkml:trace contextRef="#ctx0" brushRef="#br0" timeOffset="15637.63">21358 4397 1766 0,'0'0'563'0,"0"0"-23"0,0 0-36 0,0 0-46 15,-2 11-51-15,-6-5-41 0,3 2-12 16,-5 1-57-16,-1 0-16 0,-4 2-35 0,2 0-21 16,-5 2-5-16,5-4-38 0,-2 1-23 0,4 2-21 15,1-5 5-15,0 1-17 0,5-2-24 16,-1 0-5-16,-1 1-17 0,7-1-6 15,-2-2-8-15,4 2-2 0,1 0 16 0,1-3-19 0,3 1 1 16,1 1 4-16,1-3-20 0,4 3-12 16,0-5-19-16,4 3-10 0,-2-2-15 15,3-1-34-15,1 2-48 0,4-4-10 0,0 1-44 16,-2 0-62-16,0-1-19 0,-4-1-88 0,0 2-148 16,-3-1-226-16,-2-3-378 15,-1 1 125-15,-1 0 79 0,-5-2 93 0,2 0 68 0,-6-4 78 16</inkml:trace>
  <inkml:trace contextRef="#ctx0" brushRef="#br0" timeOffset="15837.44">21414 4387 1459 0,'-5'3'409'0,"2"2"-7"0,-1 1-10 0,1 2-8 0,-2 2-24 0,3 2-40 15,-1-1 26-15,2 4-57 0,-3 3-20 0,1 0 2 16,0 1-20-16,1 1-41 0,0 0-10 15,0 3-8-15,1-4-13 0,-2 2-54 0,1-2 8 16,0 3-23-16,-1-6-35 0,3-1-47 0,-3 0-51 16,3-2-31-16,-2-1-51 0,2-2-41 15,2-3-46-15,-2 1-92 0,5-8-218 0,-2 5-509 16,-1-4 77-16,-2-1 107 0,13 0 121 16,-6-4 61-16,1-3 71 0</inkml:trace>
  <inkml:trace contextRef="#ctx0" brushRef="#br0" timeOffset="16301.96">21674 4300 1308 0,'8'-4'432'16,"-8"4"-27"-16,10 0-32 0,-3 3-37 0,1-2-37 15,4 3 13-15,2-1-17 0,0 2-14 0,-3-2-25 16,4 3 67-16,-4-1-3 0,2 3-36 16,-3-2 18-16,0 3-10 0,-2 0-47 15,0 0-30-15,-1 1 11 0,-2 3-9 0,-2 0-43 16,-1-1-18-16,-2 4-10 0,0-3-15 0,0 4 5 16,0-2-6-16,-2 3 13 0,-1 0-48 15,-2-3-18-15,2 2-3 0,-4-2-41 0,4-4-2 16,-1 3-51-16,0-2-60 0,2-1-45 0,0-3-41 15,0 2-55-15,-2-3-35 0,2 0-81 16,2-2-198 0,-1 1-566-16,1-4 54 0,0-2 141 0,1 6 82 0,-1-6 71 0,0 0 62 15,0 0 92-15</inkml:trace>
  <inkml:trace contextRef="#ctx0" brushRef="#br0" timeOffset="16484.93">21704 4478 1374 0,'0'0'517'0,"-2"-3"-23"0,2 3-82 16,0 0-28-16,0 0-33 0,0 0-34 0,17 3-25 15,-9-1-44-15,5-1-45 0,0 1-50 0,2-1-63 16,1 3-70-16,-1-3-74 0,1 1-76 0,2 1-185 16,-3-2-568-16,3 1 5 0,-2-2 128 15,-1 0 90-15,1-1 38 0</inkml:trace>
  <inkml:trace contextRef="#ctx0" brushRef="#br0" timeOffset="16702.84">22163 4468 1292 0,'2'4'474'0,"1"5"-19"0,0-1-7 0,0 3 69 0,-3 2-48 15,0-2-37-15,0 2-55 0,0 2-40 0,-1 3-9 16,-4 0-13-16,2 0-54 0,-4 1-59 0,-3-1-43 15,1-1-80-15,-5 0-56 0,2 1-56 16,-2-1-74-16,-4-3-108 0,0-1-336 0,3-1-450 16,2-1 57-16,1-3 102 0,1-2 81 0,1-2 104 15,5-3 47-15</inkml:trace>
  <inkml:trace contextRef="#ctx0" brushRef="#br0" timeOffset="17484.32">22819 4328 1566 0,'0'0'369'0,"0"0"-39"16,11 0-3-16,-11 0-30 0,5 3-33 15,-5-3-3-15,5 6-20 0,-2-4-24 0,-3 3 1 16,2 0-34-16,-2-2 85 0,-2 3-41 0,-1-1-11 15,-2 1-35-15,1 0-8 0,-2 1-36 16,0-2-17-16,2 2-32 0,1-1-7 0,-2-3-5 16,4 3-26-16,1-1 16 0,0 0-19 0,3 1-4 15,2 0-3-15,0 0 2 0,3 1-2 0,2-1 31 16,0 0-26-16,-1 0 41 16,1 1 0-16,0-1 8 0,-2 0 23 0,-1 1-26 15,-4-4 38-15,2 3-15 0,-5-1 26 0,0 1-31 16,0-1-20-16,-3 1 7 0,-1-1-15 15,0-2 0 1,-3 2-39-16,-1 0-2 0,-1-2-33 0,-2 1-39 0,1-2-48 0,0-1-67 16,0 2-36-16,0-2-63 0,-1 0-93 0,1 0-261 15,2-1-481-15,0-2 63 0,4 1 127 0,-2 1 96 16,4-5 42-16,1 0 78 0,1 5 70 0</inkml:trace>
  <inkml:trace contextRef="#ctx0" brushRef="#br0" timeOffset="17772.27">23153 4352 1714 0,'0'0'495'16,"8"1"-25"-16,-8-1-50 0,-3 5-26 0,3-5-35 0,-8 9-11 0,3-5-46 0,-5 2-41 16,-1 1-2-16,-4 3-16 0,0-1-23 0,1 1-26 15,-3-3 4-15,1 1-40 0,1 2-14 0,0-2-14 16,5-2-20-16,-1 1-2 0,-1-1-21 15,4 1 2-15,0-1-17 0,4-1-21 16,-2 1 16-16,5-1-11 0,-1-2-30 0,4 2 12 0,-2-1 3 16,4-1-21-16,1 1 9 0,3-1-17 0,-1 0-17 15,4-1-5-15,4 1-18 16,2-2-23-16,-1 1-36 0,7-2-21 0,-2 0-51 16,2 0-48-16,1 0-69 0,-5-1-103 0,-1 0-182 15,-2-2-480-15,-1 0 124 0,-2 0 80 16,-3-3 123-1,-1 2 51-15,-3-2 95 0</inkml:trace>
  <inkml:trace contextRef="#ctx0" brushRef="#br0" timeOffset="18036.29">23165 4400 1274 0,'-4'9'528'0,"0"3"-14"16,0 0-46-16,1-1-20 0,0 4-5 15,-1 1-54-15,1 0 3 0,0 3-62 0,1 0-25 16,-1 2-34-16,-2-3-23 0,3 2-25 16,-4 1-41-16,1-2 10 0,-2 0-34 0,2-2-76 0,1 1-10 15,-2-4-69 1,2-1-60-16,-3-2-12 0,6 0-100 0,-3-3-74 0,1 0-282 0,2-3-496 16,0 1 107-16,1-2 59 0,0-4 80 0,0 0 55 15,3 1 116-15,-3-1 39 0</inkml:trace>
  <inkml:trace contextRef="#ctx0" brushRef="#br0" timeOffset="18216.03">23433 4487 1561 0,'12'-3'486'15,"-2"6"1"-15,-1-1-9 0,1 3-43 0,2 1-53 0,0 0 22 16,-3 2-66-16,1 3-26 0,-2 1-30 15,-2-2-18 1,-4 2-14-16,0 3-27 0,-4-1-39 0,1-1-22 0,-6 1-27 0,1 3-40 16,-1-2-51-16,-3 1-60 0,2-3-40 0,-2 1-77 15,2-1-54-15,3-2-51 0,-2 0-126 16,-9-2-165-16,11 1-467 0,2-7 167 0,3 2 22 16,0-3 55-16,0-2 78 0,0 0 93 0</inkml:trace>
  <inkml:trace contextRef="#ctx0" brushRef="#br0" timeOffset="18671.09">23906 4386 1146 0,'10'1'466'0,"-4"0"-28"0,-3 1-13 0,3 4-59 0,-4 1-8 16,0-2-20-16,0 1-46 0,-4 4-23 0,0-3-26 15,-4 0-13-15,1 2-12 0,-3 1 7 16,-1-2-25-16,2-1-24 0,-1 2 6 0,1-2-16 16,2 0-38-16,1-1 11 0,1 1-14 0,0-1-2 15,1 1-11-15,4-1-4 0,1 4-8 16,-1-2 12-16,1 2 6 0,-1-1-3 15,4 2-2-15,-4-3 18 0,3 1-6 0,-4 0-69 16,1-1-15-16,0 2 28 0,-2-3 11 0,-2 1 14 16,0 2-32-16,0-3-26 0,-2 0 30 15,-1 1 3-15,-2-2-10 0,-1 1-18 16,3-3 10-16,-1 3-28 0,-2-3-38 0,1-2-31 0,0 2-59 16,1-2-43-16,1-1-39 0,5-1-62 15,-10 0-42-15,10 0-83 0,-5-7-223 0,4 6-478 16,1-1 121-16,0 2 35 0,3-10 166 15,4 4 42-15,0-2 106 0,1-1 17 16</inkml:trace>
  <inkml:trace contextRef="#ctx0" brushRef="#br0" timeOffset="19012.4">24181 4387 1180 0,'0'0'407'0,"0"0"-29"0,0 0-27 16,0 0-23-16,11-3-3 0,-11 3-5 15,0 0-26-15,13 6 3 0,-9-3-18 16,3-1-8-16,-4 3 11 0,3 0 2 0,0-1 33 15,-2 5-66-15,-2-1-15 0,1 0 15 0,-3 2-57 16,0 2-7-16,0 1 2 0,-1 0-9 0,-3 1 12 16,2 2-47-16,0-1-27 0,-4 3-13 15,3-1-8-15,-2-2 21 0,0 0-38 16,2 0-29-16,-1-3-59 0,1 0-46 0,0 0-61 0,2-3-85 16,-3 2-50-16,4-3-52 0,0 0-98 15,0 0-204-15,2-2-471 16,0-3 133-16,-2 1 62 0,1-2 84 0,-1-2 71 0,5 4 60 0,-5-4 94 15</inkml:trace>
  <inkml:trace contextRef="#ctx0" brushRef="#br0" timeOffset="19213.38">24076 4544 1430 0,'12'0'515'15,"-6"0"-80"-15,2 0-31 0,4 0-35 16,-1 0-41-16,4 1-42 0,2-1-55 0,-1 1-50 0,2 0-63 16,-2 2-38-16,4-3-78 0,-2 2-132 15,2 2-221-15,-2-3-535 0,-3 1 57 16,3 1 135-16,-7-1 62 0,2-1 71 16</inkml:trace>
  <inkml:trace contextRef="#ctx0" brushRef="#br1" timeOffset="30719.34">2301 5845 972 0,'7'0'387'0,"4"4"-32"16,-3-3-27-16,4 3-16 0,-1 1-15 15,-1 0-10-15,-3 0 36 0,1 3-14 0,-2-2-35 16,-2 1-10-16,-1-1-21 0,0 1-8 0,-3 0-17 16,-3 1-41-16,3-1-3 0,-3-1-21 0,1 1-25 15,-3-1 21-15,3 0-16 16,1-1-5-16,-1-2-18 0,-1 1-13 0,1-1 3 0,1 1-82 15,1-4-3-15,0 0-10 0,1 7 1 16,-1-7 11-16,5 1-9 0,-1 2-3 0,2-2 18 16,-3 0-30-16,2 1 17 15,0 1-3-15,0-1-4 0,2 4 10 0,-1-4 23 0,1 2 10 16,-2 1 0-16,-2-2 26 0,0 1-34 0,0 2 59 16,-2-2-20-16,-1 0 110 15,-1 2 12-15,-2-2-48 0,-5 3-12 0,3-1 4 16,-5-1 0-16,2 0-40 0,-5 0-8 15,0 0-3-15,1 0-28 0,-1-1-21 0,-3 0 3 0,1-1-33 0,-1-1-44 16,1-1-20-16,2 1-69 0,-2 0-31 16,5-1-39-16,-4-1-55 15,4 0-57-15,0 0-80 16,2 0-271-16,1 0-468 0,4 0 126 0,3 0 83 0,-5-3 132 0,5 3 109 16,0 0 57-16,5-8 12 0</inkml:trace>
  <inkml:trace contextRef="#ctx0" brushRef="#br1" timeOffset="31089.28">2598 5871 1136 0,'0'0'402'0,"0"0"-23"0,0 0-49 0,-10 10-38 0,7-4 2 0,1 1-56 16,0 0-10-16,2 5 41 15,-3-3-39-15,3 2-25 0,3 2-54 0,-1-1-15 0,0 0-19 0,4 0-25 16,-2-1-30-16,4 0 10 16,0-2-24-16,0 1-9 0,5-2 14 0,-3-3-17 0,2 1 8 15,1-2 27-15,-3 0 9 0,1-3 17 0,-1-1 21 16,0 0 35-16,-2-2 14 0,0-2 7 16,0-1 15-16,-5 1-48 0,1-2-13 15,1-1-3-15,-5-2-2 0,0 1 21 0,0-3-14 0,-5 1-25 16,0 0 0-16,-3-2-13 0,1 1-13 15,-4 2-27-15,4-1-1 16,-3 2-23-16,-3 1-8 0,3 1-35 0,-1 0-23 0,4 1-60 16,-4 0-45-16,1 4-28 0,2 0-49 0,1 1-54 15,7 0-59-15,-13 2-159 0,6 2-544 0,4-3 124 16,0 4 42-16,3-2 113 0,0-3 73 16,0 8 75-16,5-5 64 0</inkml:trace>
  <inkml:trace contextRef="#ctx0" brushRef="#br1" timeOffset="31386.19">3008 6042 1325 0,'0'0'471'0,"-7"2"-46"15,7-2-41-15,0 0-23 0,0 0-36 0,0 0-43 16,15 6-16-16,-9-5-18 0,1-1-25 16,1 0-28-16,2 1-37 0,3 0-53 0,-3-1-43 15,3 0-62-15,-2-1-46 0,1 1-103 16,1-1-191-16,0 1-561 0,0 0 53 15,-1-1 73-15,-1 0 94 0,2-3 85 0</inkml:trace>
  <inkml:trace contextRef="#ctx0" brushRef="#br1" timeOffset="31998.59">3481 5880 1520 0,'7'1'435'0,"1"0"-25"16,2 1-111-16,0 1-20 0,-2 2-13 0,0-2-28 15,-1 3-10-15,-2-1-10 16,-2-1-6-16,0 1 57 0,-3 0-8 0,0 2-48 0,-3-1-19 15,0 0-15-15,-2 1 0 0,-2 2-17 0,2-5-39 16,2 2 2-16,-3-1-23 0,4 0-12 16,0-4-21-16,-1 3-20 0,3-2 12 0,0-2-5 15,0 7 1-15,1-1-27 0,3-4 11 16,1 2 0-16,0 1-10 0,1 2 31 0,1-1-1 16,1 0-2-16,-2 1 20 0,1-1 3 15,-2 0 44-15,0 1-29 0,0-1 10 0,-3 1 8 16,-1-1-76-16,-1 1 7 0,-1 2 13 0,-3-1-5 15,-2-1 2-15,-4 0-33 0,0 2 28 16,-3-1 5-16,-3-2-45 0,4 1-1 0,-1-5-48 16,-3 3-29-16,2 0-43 0,1-3-39 0,-1 1-76 15,4-2-36-15,0 1-51 0,0-1-141 16,2-1-123-16,3 0-463 0,-1-1 81 0,6 1 129 16,0 0 110-16,-4-4 38 0,4 4 66 0,5-7 57 15</inkml:trace>
  <inkml:trace contextRef="#ctx0" brushRef="#br1" timeOffset="32312.92">3960 5962 1507 0,'0'0'530'0,"0"0"-26"0,0 0-99 0,-18 8-39 0,8-2-18 16,-1-4-46-16,1 4-23 0,-7-1-23 0,3 5-21 15,-1-4-25-15,3 1-20 0,-2 0-27 0,2-1 9 16,1 1-39 0,1-1-2-16,-1 0-21 0,4 0-36 0,2-1 3 0,-1-1 5 15,2 1-31-15,1-1 18 0,0-2-10 0,3 3 2 16,0-1 1-16,0-4-26 0,6 7 7 16,-2-5 3-16,4 3-5 0,0-4-3 0,5 1 1 15,-1 1-19-15,4-2-2 0,-1 1-23 16,1-2-31-16,2 0-38 0,0 0-28 0,-3 0-31 15,3 0-34-15,-3-1-20 0,1 0-48 0,-4 0-54 16,-2-2-118-16,-4 1-52 16,4 1-506-16,-5-4 136 0,3 3 66 0,-6-3 85 0,1 0 46 0,-2 3 81 15</inkml:trace>
  <inkml:trace contextRef="#ctx0" brushRef="#br1" timeOffset="32552.59">3942 5944 1351 0,'0'0'402'0,"-8"2"79"0,6 2-43 16,-3 3-31-16,2-2-115 0,-3 4 5 16,4 1-29-16,-2 4-25 0,0-3-7 15,-1 6-6-15,3-2-15 0,-1 3-18 0,0 1-7 0,2-1-24 16,0-3-28-16,1 3-15 0,0-5 3 0,0 4-47 16,-2-3-33-16,2 0-43 15,0 1-52-15,0-5-25 0,0 1-39 0,0-1-40 16,0-2-50-16,0-1-65 0,2 0-170 15,-1-2-504-15,3-3 90 0,-1 1 43 0,-3-3 102 16,10 0 80-16,-10 0 97 0</inkml:trace>
  <inkml:trace contextRef="#ctx0" brushRef="#br1" timeOffset="33485.71">4686 5958 1499 0,'0'0'599'0,"-1"-3"-76"0,1 3-50 0,0-5-40 16,0 5-70-16,0 0-56 0,0 0-48 0,0 0-72 15,0 0-67-15,0 0-82 0,0 0-58 0,0 0-85 16,0 0-174-16,2 11-660 16,-2-7 120-16,0 2 25 0,0-1 139 0,0 3 33 15,0-2 61-15</inkml:trace>
  <inkml:trace contextRef="#ctx0" brushRef="#br1" timeOffset="33642.93">4706 6163 1435 0,'0'6'479'0,"0"-6"-16"15,0 4-35-15,0-4-19 0,0 0-71 0,0 0-30 16,0 4-60-16,0-4-82 0,0 0-92 0,0 0-81 16,-3 4-142-16,3-4-278 0,0 0-438 15,0 0 92-15,0 0 87 0,5 2 35 0,-5-2 114 16</inkml:trace>
  <inkml:trace contextRef="#ctx0" brushRef="#br1" timeOffset="35376.43">2360 6590 1126 0,'0'0'358'0,"0"0"-20"0,0 0-41 16,15 9-23-16,-12-7-11 0,2 3-35 0,-2 0-18 15,2 2-8-15,-2-1-33 0,-2 2-7 16,0-2-22-16,-1 2-17 0,-1 1-2 0,-1-1-14 15,-3-1-5-15,2 4-4 0,-1-3-16 16,-2-1-6-16,1 2-4 16,2-3-5-16,-2-2 2 0,3 2 0 0,-1-1 5 0,0-2-2 15,2 0-24-15,0 1 19 0,1-4-29 0,0 6 11 16,0-6-3-16,3 8-2 0,-1-7-9 16,3 6 6-16,-2-3-7 0,2 1 7 15,0-2 5-15,-2 2 7 0,2 1 32 0,-3-1 7 0,1-1 74 16,0 1-12-16,-3 1-16 0,0-1 8 0,-3 0 15 15,3-2-28 17,-3 3 16-32,-1-1-3 0,-2 0-23 0,-1-2-16 0,-1 2-2 0,1 0-36 0,-2-3-12 0,-1 2-11 0,-2-2-28 0,1 2-26 15,1-2-31-15,-5-1-17 16,2 2-39-16,2-2 1 0,-1 1-57 0,-2 1-23 16,4-2-18-16,0 0-41 0,0 0-69 0,2 0-128 15,3-1-208-15,-2 3-334 0,7-3 122 16,-8 2 21-16,8-2 84 0,0 0 77 0,0 0 84 15</inkml:trace>
  <inkml:trace contextRef="#ctx0" brushRef="#br1" timeOffset="35894.64">2691 6676 1343 0,'0'0'392'16,"0"0"23"-16,7-1-62 0,-7 1-95 0,0 0-32 15,0 0-24-15,0 0-2 0,0 0-37 0,-21 5-14 16,12-4-24-16,1 1 3 0,0 3-15 16,-2-4-8-16,2 4-16 0,-2-4-9 0,2 4-1 15,0-3-17-15,1 2 4 0,0-3-17 16,4 3-6-16,-3-3 1 0,4 1-8 16,0 3-1-16,2-5 4 0,-3 6 9 15,3-6-14-15,5 6-6 0,0-3 15 0,1 2-9 0,1 1-4 16,0-2 14-16,4 2 10 0,-3-2-11 15,-1 1 29-15,-2 0 20 0,1 1 18 0,1 0 3 0,-5-1 35 16,1 1-38-16,-3-2 90 0,-2 1 15 16,-1 1-18-16,-2 0-33 0,0 1-6 0,-5-2-4 15,-3 1-3-15,0 0-105 0,1 0 5 16,-1-1-10-16,-3-2-38 0,-2 3 17 0,3-2-30 16,2-1-31-16,-3 1-46 0,1-2-36 15,2 2-48-15,1-2-31 0,1-1-49 0,2 2-67 16,1-7-240-16,0 7-478 0,5-1 124 15,3-2 57-15,-5 1 100 0,5-1 136 0,0 0-1 16,0 0 47-16</inkml:trace>
  <inkml:trace contextRef="#ctx0" brushRef="#br1" timeOffset="36129.47">2865 6783 1180 0,'10'0'486'0,"-10"0"-43"0,10-1-54 16,-2 1-18-16,0 0-49 0,2 0-25 15,-2 0-30-15,5 0-29 0,-3 0-26 0,0 0-20 16,-2 0-69-16,0 1-41 0,1-1-69 0,-1 3-65 16,-2-3-58-16,1 1-184 15,1-1-448-15,-2 1-126 0,-6-1 126 0,10 0 97 16,-3 0 69-16,-7 0 25 0</inkml:trace>
  <inkml:trace contextRef="#ctx0" brushRef="#br1" timeOffset="36576.9">3329 6705 1185 0,'7'0'404'16,"-1"2"-40"-16,2-2-44 0,-3 1-11 0,0 3-27 16,0-2-11-16,-3 3-12 0,-2 0-29 0,0-5-18 15,-2 7-17-15,-3 0-21 0,2-2-18 16,-2 1-20-16,0 0-16 0,2 0 6 0,-2 0-29 15,1-2-28-15,3 0 13 0,-1 1-31 0,-1-2 3 16,3 2 5-16,0 0-31 0,3 1 8 16,-1-3-6-16,0 2 9 0,4 1-8 0,-3 1 20 15,2-2 8-15,0 1-6 0,0 1 22 0,2-1 4 16,-1 0-2-16,-4 1 40 0,1-2 14 0,0 2-23 16,-3-2 14-16,0 2 78 15,-4 0-8-15,2 0 3 0,-5-2-24 0,-1 1-15 16,0 1-48-16,-2-1-8 0,0-1-103 0,-3-1-2 15,2 0-36-15,-2 0-59 0,3-2-28 16,0 0-31-16,0 0-43 0,2 0-51 0,1-2-39 16,-1 2-153-16,2-2-344 0,2 0-222 0,4 0 118 15,0 0 81-15,0 0 103 0,0 0 69 0,0 0 54 16</inkml:trace>
  <inkml:trace contextRef="#ctx0" brushRef="#br1" timeOffset="36969.54">3703 6726 1510 0,'0'0'565'0,"-10"-1"-32"0,4 1-47 0,6 0-56 16,-17 1-38-16,7 3-31 0,-3-2-18 15,0 4-59 1,-3-2-20-16,4-1-11 0,0 3-46 0,1 1 1 0,-2-2-50 0,5 1-25 0,0 0-35 15,1 1-6-15,4-3-18 0,1-1 8 16,-1 2-28-16,3-5-18 0,6 2 2 0,1 2 18 16,1-4-25-16,-1-1 23 15,3-2 17-15,1 2-9 0,-1 0-6 0,0 0 3 0,0 0 10 0,-2-1 28 16,0 1 6 0,0 1-11-16,-8 0 21 0,11 1-14 0,-7 1 11 0,4 1-99 15,-3 3 4-15,0-2 26 0,-2 3-15 0,2 1-11 16,-3-2 11-16,-1 4-9 0,0-2 7 15,0 0-7-15,-1 1-11 16,0 1-32-16,0-1-30 0,-1-1-47 0,1 2-40 0,-1-3-67 0,1 1-51 16,-1-1-59-16,1 0-84 0,1 2-206 0,0-3-439 15,3-2 112-15,-2-1 49 16,1-1 89-16,2 2 98 0,0-3 48 0,1 0 57 16</inkml:trace>
  <inkml:trace contextRef="#ctx0" brushRef="#br1" timeOffset="37237.82">4667 6706 1512 0,'-2'-4'579'0,"2"4"-65"16,0 0-94-16,0 0-87 0,0 0-70 16,0 0-178-16,0 0-111 0,0 0-109 0,0 0-459 15,5 9-218-15,-2-6 93 0,-3 3 97 16,0 0 51-16</inkml:trace>
  <inkml:trace contextRef="#ctx0" brushRef="#br1" timeOffset="37400.58">4724 6967 1374 0,'5'3'512'0,"-5"-3"-54"0,0 0-64 0,3 3-53 16,-3-3-88-16,0 0-102 0,0 0-107 15,0 0-190-15,0 0-663 0,0 0 44 16,0 0 120-16,0 0 41 0,0 0 61 0</inkml:trace>
  <inkml:trace contextRef="#ctx0" brushRef="#br1" timeOffset="38903.97">2283 7420 1451 0,'-13'6'415'0,"0"1"-39"0,-1-1-41 0,0 1-23 0,-1 1-25 15,2-1-41-15,-3 1-11 0,-2-1 1 0,3 3-42 16,-1-3-20-1,2 1-92-15,0-1 18 0,2-1-15 0,2 1-29 0,1-3 28 0,2 2 6 16,0-1-26-16,1-2 8 0,2 2-1 16,1-2-25-16,0 1 26 0,3-1-23 0,0-3-3 15,6 8 8-15,1-7-6 0,0 4-7 0,2-3 3 16,3 3-3-16,3-4-11 0,1 3-7 16,2-3 8-16,2-1-28 0,4 2-21 15,-4 0-26-15,1-2-28 0,0-2-32 0,1 1-30 16,-4 0-70-16,0 1-86 0,-3-4-94 0,-5 3-30 15,3 0-439-15,-2-4 45 0,-4 5 93 16,1-3 86-16,-5 0 71 0</inkml:trace>
  <inkml:trace contextRef="#ctx0" brushRef="#br1" timeOffset="39161.06">2321 7445 1469 0,'0'0'443'0,"0"0"-54"0,0 0 2 16,-10 5-17-16,7-1-36 0,1-1-31 0,-1 5 0 16,1 1-28-16,-1-1-23 0,0 5-41 15,1-1 54-15,0 2-8 0,-1 1-20 0,0 1-83 16,-1 2-50-16,-2 0-8 0,1 0-18 0,0-2-36 16,0 0-39-16,-1 1-68 0,2-3-39 15,-4 0-36-15,3-3-58 0,2 2-83 16,-2-9-234-16,2 3-501 0,3-1 132 0,0-4 66 0,0 3 105 15,0-5 74-15,8 0 103 16</inkml:trace>
  <inkml:trace contextRef="#ctx0" brushRef="#br1" timeOffset="39471.87">2463 7465 1054 0,'0'0'387'16,"0"0"-39"-16,0 0-33 0,-6 14-24 0,6-7-12 15,-2 2-25-15,2-3-42 0,-1 6-17 16,1-2-21-16,-1-1-36 0,2 3-25 0,2 0 66 16,2-1-20-16,0-2-29 0,1 2-4 0,4-4-14 15,-2-1-15-15,2 1 8 0,3-1 18 0,-3-6 8 16,0 2 10-16,0 0 12 0,0-5 39 16,1 2 36-16,-3-5 20 0,0 3-17 15,-4-3-27-15,2-3-12 0,-3 2-74 0,-1 0-21 16,-2-4 19-16,0 4-35 0,-2-3 4 0,-1 1 5 15,-2 0-19-15,0-1-15 0,-1 2-38 16,-4-2-23-16,2 4-56 0,1-1-59 0,-1 3-60 16,0 1-68-16,0-1-82 0,-2 4-179 0,3 0-564 15,-1 0 113-15,8 0 108 0,-10 4 66 0,4-3 82 16,2 3 115-16,0-2 3 0</inkml:trace>
  <inkml:trace contextRef="#ctx0" brushRef="#br1" timeOffset="39638.54">2814 7556 1571 0,'7'1'556'0,"4"-1"-52"0,-4 0-33 0,6 0-46 16,-3 4-52-16,3-3-24 0,-2 0-32 0,1-1-48 16,1 0-59-1,-2 3-54-15,1-2-87 0,-4 0-61 0,2 1-78 0,-2-2-88 0,-3 0-234 16,0 0-563-16,0 3 59 15,-5-3 195-15,8 2-3 0,-8-2 64 0,2 1 54 0</inkml:trace>
  <inkml:trace contextRef="#ctx0" brushRef="#br1" timeOffset="40429.42">3555 7495 1254 0,'8'0'458'16,"-8"0"-33"-16,0 6-105 0,0-6-10 0,-6 6-24 16,1 0-14-16,-3 0-27 0,-2 0-22 15,-5 5-3-15,2-3-33 0,0 3-8 0,-3-2-36 16,-1 1 83-16,4-2-34 0,-2 3-5 0,2-4-21 15,-2 0-20 1,5 0-34-16,1 0 16 0,1-1-15 0,1-1-8 0,2 1 3 0,0-2-9 16,0-1-30-16,2 1 11 0,3-2-3 0,0 3-8 15,0-5 0-15,5 7-5 0,0-3-10 16,3-2-6-16,3 0-2 0,1 2-18 16,3-4 3-16,1 4-5 0,4-1-3 0,-2-3-26 15,3 0 1-15,-1 0-52 0,1 0-25 0,-3 0-16 16,0-1-46-16,-1 1-33 0,-1-2-21 15,-5 0-86-15,-1 0-118 0,0 1-205 16,-5-2-372-16,0 1 62 0,-3 0 149 16,-1-2 51-16,1 1 79 0,-2 3 131 0</inkml:trace>
  <inkml:trace contextRef="#ctx0" brushRef="#br1" timeOffset="40624.31">3593 7513 1354 0,'0'0'496'0,"0"0"-109"0,0 0-11 0,0 0-18 16,-10 12-38-16,8-5-5 0,-2-1 41 16,2 3-44-16,-3 1-23 0,2 3 3 0,1 0-38 15,-3 3-27-15,-2-2-14 0,1 0-26 0,-2 2-49 16,-2-2-25-16,2 0-70 0,-1 1-45 16,1-2-70-16,2-3-66 0,1 1-93 15,-1-5-212-15,4 1-537 0,2-1 43 0,-2-1 134 16,4-4 60-16,-2-1 88 0,11 1 61 15</inkml:trace>
  <inkml:trace contextRef="#ctx0" brushRef="#br1" timeOffset="40936.21">3942 7533 1333 0,'2'-1'433'0,"-2"1"-29"0,0 0-7 0,0 0-31 16,0 0 31-16,0 0-24 0,-10 10-22 0,2-8-46 15,0 5-3-15,-2-3-118 0,0 3-7 0,-1-2-21 16,-1 2-28-16,2-1-5 0,-2 2 2 16,3-2-20-16,-1 0-21 0,0 0-14 0,4-1-1 15,-1 1 0-15,2-2 5 0,0 1-7 16,2-1 2-16,0 0 2 0,2 0-19 16,1 1 1-16,2-2-9 0,0 2-3 0,4 0 13 15,1-1-21-15,0-1-5 0,4 2-10 0,2-4-21 16,-1 4-7-16,4-4-28 0,-1 1-44 0,1-2-33 15,1 2-34-15,1-4-30 0,-1 2-54 16,0-2-59-16,-2 1-117 0,-2-2-55 0,0 1-475 16,-2 0 104-16,-1-2 55 15,-3 1 84-15,0-1 81 0,-1 0 65 0</inkml:trace>
  <inkml:trace contextRef="#ctx0" brushRef="#br1" timeOffset="41163.21">4013 7577 1441 0,'-5'4'483'0,"0"2"-42"0,0 0 7 16,0 0 5-16,0 2-28 0,2 4-108 0,-2-1-10 15,0 1-36-15,0 2-45 0,0 3-11 0,0-1-10 16,0 2 2-16,3-1-61 0,-2 1-16 0,2-3-15 16,0 2-38-16,1-3-43 0,-1 0-32 15,2 3-38-15,-3-4-66 0,3-1-57 0,-3 1-51 16,3 0-148-16,0-3-351 0,3-2-241 15,0 1 116-15,0-6 40 0,4 4 119 0,1-6 106 16</inkml:trace>
  <inkml:trace contextRef="#ctx0" brushRef="#br1" timeOffset="41503.91">4921 7442 1141 0,'0'0'466'0,"0"0"-33"0,1-4-42 0,-1 4-55 16,0 0-73-16,0 0-40 0,0 0-87 0,0 0-57 0,0 0-71 15,0 0-149-15,-8 12-210 0,5-5-458 16,3 1 95-16,-5 3 72 0,5-1 99 15</inkml:trace>
  <inkml:trace contextRef="#ctx0" brushRef="#br1" timeOffset="41658.08">4903 7656 1144 0,'0'0'542'0,"1"4"-12"0,-1-4-61 0,0 0-50 0,0 0-35 0,2 3-56 0,-2-3-46 0,0 0-60 15,0 0-94-15,0 0-77 0,0 0-97 0,0 5-194 16,2-4-679-16,-2-1 87 0,0 0 64 15,0 0 100-15,-2 6 46 0</inkml:trace>
  <inkml:trace contextRef="#ctx0" brushRef="#br1" timeOffset="43118.09">2152 8231 1374 0,'0'0'379'16,"-16"6"-36"-16,9-2-33 0,-3 0-37 15,-1 2-11-15,-4 3-27 0,3-1-20 0,-2-1-25 16,-1 4-29-16,0-3-5 0,4 2-3 16,-3-1-27-16,3-2-3 0,1 2-18 0,2-2-5 0,-2 0 17 15,4-3-32-15,-1-1-11 16,2 4 16-16,0-3-19 0,2 1 6 0,0-2 0 15,2 2-21-15,1-3 0 0,0-2 8 0,4 10-15 16,-1-8-3-16,4 3 5 0,-1-2-5 16,6 2-15-16,-2-1 0 0,6-1-11 15,2 1-25-15,-3-3-15 0,6 1-26 0,0 0-34 0,-2-2-4 16,0 0-49-16,-1-2-31 0,0 0-72 16,-3 1-101-16,1-5-93 0,-3 5-477 0,-3-3 106 15,-2 3 54-15,-1-4 86 0,-4 3 60 0</inkml:trace>
  <inkml:trace contextRef="#ctx0" brushRef="#br1" timeOffset="43360.78">2170 8269 1162 0,'0'0'481'0,"0"0"-90"0,-10 4-22 0,7 0-39 15,1 2-20-15,-3 3 2 0,2 0-25 16,-2 3-23-16,-1 1-34 0,-1 1-10 0,2 3-28 15,-3-1-10-15,0-1-8 0,1 4-36 0,-1-1 3 16,-2 1-26-16,2-2-18 0,0-2 1 16,1 2-52-16,2-3-34 0,-3-2-40 0,0 1-31 15,3 0-46-15,0-2-33 0,0-2-82 16,0 1-138-16,2-3-574 0,1-3 41 0,-3 1 116 16,4-2 91-16,1-3 49 0,-2 2 100 0</inkml:trace>
  <inkml:trace contextRef="#ctx0" brushRef="#br1" timeOffset="43726.49">2460 8270 1238 0,'0'0'372'0,"-17"5"-19"0,8-3-38 0,-1 3-26 15,-3-4-20-15,0 4-42 0,3 1-12 16,-3 1-33-16,3-3-21 0,-1 3-22 0,2-3-22 16,1 4-27-16,3-2 0 0,-1-1-14 0,2 2 1 15,3-1 15 1,-1 1-35-16,4 1-14 0,1-2 19 0,-1 2-11 0,4 1-13 0,-3-3 18 16,5 3-17-16,-1-3 4 0,0 2 32 0,-1 1-19 15,1-1 18-15,-2-2 6 16,1 0 1-16,-2-1 9 0,-3 1 28 0,1-1-24 15,1-1 1-15,-6 2 0 0,0 0-6 0,-1 1-9 16,-4 0-11-16,-2 0 3 0,-1 0-8 0,-2-3-26 16,1 2-10-16,-1-1-28 0,0 2-23 0,0-4-43 15,0 0-24 1,0 1-38-16,3-2-67 0,0-2-135 0,0 3-207 0,2-1-413 0,3 0 93 16,5-2 86-16,-7 0 60 0,7 0 58 15,0 0 79-15</inkml:trace>
  <inkml:trace contextRef="#ctx0" brushRef="#br1" timeOffset="43984.28">2747 8457 1456 0,'0'0'530'0,"0"0"-49"0,0 0-43 16,5-1-21-16,-5 1-56 0,8-1-26 15,-8 1-43-15,7 0-28 0,-7 0-19 0,14 0-32 16,-9 0-60-16,2 1-40 0,1-2-64 0,-8 1-77 16,13 0-70-16,-8 0-81 15,3-1-202-15,0-1-574 0,1 2 59 0,-1-1 154 0,0 1 74 16,2 0 33-16,-3-2 59 0</inkml:trace>
  <inkml:trace contextRef="#ctx0" brushRef="#br1" timeOffset="44467.83">3606 8286 1479 0,'-5'7'417'0,"-5"-1"-15"0,-4 2-31 16,0 1-33-16,-2 1-38 0,-2 2-16 0,0-2-46 16,-2-1-28-16,2 2-11 0,5-2-32 15,-3 1-3-15,1-2-26 0,5-2-3 16,-1 0 1-16,4 1-31 0,-3-2-5 0,4 1 7 16,2 0-22-16,-2-2-3 0,4-1 12 15,-1 2-12-15,3-4-5 0,0-1-18 0,5 8 8 16,-3-5 4-16,4-1-22 0,2 1 5 0,-1 0-16 15,1-3-10-15,2 3-5 0,3-1 36 16,2 0-46-16,-2-2-16 0,3 0-35 31,-2 0-49-31,2-2-26 0,-1 1-53 0,-4 0-105 0,2-1-106 0,-3 1-542 0,0 1 13 0,-2-2 95 16,-1-2 43-16,-3 2 87 0,0-2 97 16</inkml:trace>
  <inkml:trace contextRef="#ctx0" brushRef="#br1" timeOffset="44680.23">3498 8307 1446 0,'0'0'468'16,"0"0"-43"-16,-4 13-26 0,3-9-61 0,-1 2-49 16,2 2-17-16,-4 1-16 0,2 1-28 0,0 2-26 15,-3 0-13-15,2 2-12 0,-2 1-26 0,0 0-5 16,0 1-11-16,0-1-35 0,0-1-20 31,0-2-47-31,-1 4-31 0,1-6-37 0,0 1-47 0,2 1-82 0,1-4-123 0,-3 1-151 16,5-2-491-16,0-2 110 0,0-2 54 0,0 2 79 15,0-5 87-15</inkml:trace>
  <inkml:trace contextRef="#ctx0" brushRef="#br1" timeOffset="45408.21">3980 8237 1126 0,'-2'-5'414'0,"2"5"-42"0,-8-1-35 0,8 1-11 15,-10-2-47-15,10 2-29 0,-13 3 60 0,5-3-33 0,-2 4-32 16,2-2-4-16,-2 5-47 0,0-2-12 16,0 0-18-16,0 0-8 15,-1 0-2-15,4 0-39 0,1 2 0 0,-2-2-13 0,3 1-35 16,0-1-6-16,2-2-12 0,1 2-18 16,2-2 12-16,0-3-9 0,8 3-6 0,-4 0-5 31,-4-3 25-31,14-3-14 0,-4 1-1 0,1-2-10 0,1 2 18 0,1-4-3 0,-1 1 8 0,-1-1 31 15,-1 1 13-15,0 2-6 0,-2-2 31 16,0 3-15-16,0-1 10 0,-3 2-12 0,2 0 12 16,-7 1-21-16,9 3 14 15,-5 1 9-15,-1 0-35 0,-1 3 13 0,1-1-6 0,-3 2-33 16,0 2 6-16,0-1-4 0,0 3-6 0,-2-1-19 16,1 1-33-16,-1 0-44 0,-1 2-51 15,0-3-33-15,2 0-51 0,0-1-44 0,1 2-72 16,0-8-206-16,0 6-541 0,1-1 43 15,1-1 116-15,3-1 92 0,-2 0 84 0,1-4 55 16,2 1 86-16</inkml:trace>
  <inkml:trace contextRef="#ctx0" brushRef="#br1" timeOffset="45833.8">4967 8243 1891 0,'0'0'540'0,"0"-5"-133"0,0 5-54 0,0-6-33 0,0 6-48 0,0 0-47 16,0 0-46-16,0 0-69 0,0 0-79 0,0 0-64 15,0 0-126-15,0 0-217 0,10 9-502 16,-9-4 87-16,1 0 61 0,-2 0 65 16,0 2 79-16</inkml:trace>
  <inkml:trace contextRef="#ctx0" brushRef="#br1" timeOffset="46006.77">4980 8529 1218 0,'0'0'463'0,"0"0"-138"0,0 0-66 0,0 0-62 0,0 0-77 0,0 0-104 15,0 0-237-15,-5-6-472 0,5 6 25 0,0 0 64 16</inkml:trace>
  <inkml:trace contextRef="#ctx0" brushRef="#br1" timeOffset="47345.95">2155 8926 913 0,'0'0'295'0,"8"-1"-32"16,-8 1 1-16,7-1 5 0,-7 1-24 0,0 0-22 15,0 0-8-15,0 0-38 0,0 0-16 16,0 0-7-16,0 0 7 0,-20 8-41 0,12-3 1 16,-5-3-11-16,3 3-21 0,-3-1-12 0,1 0-3 15,1 0 3-15,-2 3-10 0,3-4 63 16,0 0-20-16,2 2-10 0,0-3-10 0,0 2-29 16,1-2 3-16,2 2-13 0,0-2 23 0,2 2-10 15,3-2-30-15,0-2-1 16,-3 6 18-16,3-6-18 0,3 6 8 0,0-4-12 0,2 2 4 15,0-1-5-15,2 1 3 16,-1 2 20-16,1-2 0 0,1-1-2 0,0 3 20 16,-3 0 5-16,2-1-2 0,-1 0 12 0,-1 1 44 15,0-3-87-15,-3 4 21 0,-2-1 22 0,0-1-2 16,-2 1 5-16,0 1-20 0,-4-1 2 16,-2 4-11-16,-2-2-1 0,3-1-9 0,-4 0 1 15,1-1-16-15,0 1 72 0,-3-1-20 31,2-1-24-31,-1 1-58 0,2-3-37 0,-3 1-9 0,5-1-49 0,-2 0-11 0,0-3-37 0,2 2-52 16,0-2-39-16,1 0-119 0,2-4-116 0,2 4-520 16,3 0 75-16,0 0 97 0,0-6 85 0,3 1 132 31,2-1-2-31</inkml:trace>
  <inkml:trace contextRef="#ctx0" brushRef="#br1" timeOffset="47631.1">2212 9001 1172 0,'4'7'481'16,"-6"-3"-61"-16,2 2-39 16,-2-2-10-16,-1 1-38 0,2 3-46 0,-1 1-31 0,0 0-23 15,1 1-3-15,1-1-38 0,0 0-18 0,3 3 10 16,-1-5-40-16,2 6-21 16,3-5-3-16,0 2-13 15,-1-3-2-15,4 0-23 0,0-1-13 0,-2 0-61 0,2-1 7 0,-2-3 19 0,2 2 27 16,0-4 31-16,-2 0 93 15,2-1-1-15,-2-4-2 0,-3 1-13 0,3 2 17 16,-2-3-106-16,-2-2-9 0,1 0 9 16,-5-2 9-16,0 0-30 0,0-1-5 0,-5 1 5 15,0-4-16-15,-1 2 9 0,-3 1-24 0,1 1-23 16,-3 0-33 0,1 0-62-16,0 2-48 0,-1 4-44 0,1-1-53 0,0 2-98 0,3-2-225 15,-4 5-494-15,6 2 115 16,-3-1 44-16,4 4 112 0,1-5 103 0,3 5 56 0,0-3 94 0</inkml:trace>
  <inkml:trace contextRef="#ctx0" brushRef="#br1" timeOffset="48011.84">3211 9192 1046 0,'0'0'441'0,"0"0"-32"0,0 0-43 0,-5 2-38 16,5-2-26-16,0 0-28 0,0 0-41 16,0 0-16-16,15 2-40 0,-15-2-36 0,8 2-52 15,-3-1-76-15,0-1-49 0,3 1-128 16,-8-1-181-16,10 0-502 15,-2 0 74-15,0 1 64 0,0-1 99 0</inkml:trace>
  <inkml:trace contextRef="#ctx0" brushRef="#br1" timeOffset="48587.35">3901 9095 1310 0,'0'0'369'0,"-13"-1"-44"16,8 2-33-16,-3 1-26 0,-2-2-23 15,2 3-18-15,0-3-7 0,-2 0-34 16,3 2-23-16,-3 1-22 0,2-2 4 0,0 3-15 0,0-1-23 15,3-2-3-15,-2 3-12 16,2-3-21-16,1 4 5 0,2-3-5 0,0 2-7 16,2-4-21-16,0 8-6 0,2-4-4 0,0 2-8 0,4 0 8 15,-1-2-3-15,1 0 0 16,1 3-7-16,3-1 25 0,-5 0-5 0,1-1 7 0,-1-2 1 16,2 2-16-16,-5 0 21 0,1-4 41 15,2 5 69-15,-5-4-19 0,0-2 17 16,0 6-32-16,-2-1-2 0,-3-1-77 0,0-1-22 15,-6 2-1 1,1-1 2-16,-3-2-4 0,0 3-36 0,-2-3-13 0,-1 4-16 0,1-6-32 0,0 6-44 16,2-5-11-16,-2 3-48 0,2-2-67 15,3 1-148-15,2-1-591 0,0-1 99 0,1-1 68 16,7 0 139-16,0 0 50 0,0 0 63 16</inkml:trace>
  <inkml:trace contextRef="#ctx0" brushRef="#br1" timeOffset="48896.03">4183 9113 1587 0,'0'0'483'0,"0"0"-25"0,0 0-99 0,0 0-55 16,-13 8-7-16,6-4-36 0,-1 1-12 0,-2 2-44 15,-1-1-8-15,-4 2-23 0,2-2-13 16,0 2-13-16,0 0-17 0,3 0-6 0,0-3-22 15,2 2-3-15,1-1-11 0,1-2-4 16,1 1-11-16,3 0 18 0,-3 1 59 0,4-1-13 16,1 0-23-16,3-2-12 0,0 2-6 0,2 0-10 15,2-3-15-15,3 2-13 0,3-2-34 16,3 2-30-16,-3-2-26 0,4-2-50 0,-1 0-42 16,2-1-54-16,0-2-120 0,0 1-199 15,0-4-500-15,-1 2 59 0,-1-1 138 0,-4 1 60 16,-1-3 63-16,-1 0 64 0,-2 0 82 0</inkml:trace>
  <inkml:trace contextRef="#ctx0" brushRef="#br1" timeOffset="49080.38">4265 9076 1059 0,'-12'5'492'0,"8"-1"-9"0,-1 1-45 0,0 0-10 0,0 2-119 0,0 2 6 15,0 1-18-15,-1 1-36 16,1 1-28-16,0 0 5 0,1 1-38 0,-2-1 63 0,3 1-12 15,1 1-23-15,-3 1-26 0,2-2-33 16,1 1-25-16,-3-3-55 0,4 2-40 16,-1-1-44-16,0-4-46 0,-1 4-90 15,3-6-91-15,0 2-236 0,5 1-543 0,-3-6 64 0,1 3 110 16,4-6 87-16,0 0 111 0,0 0 2 16</inkml:trace>
  <inkml:trace contextRef="#ctx0" brushRef="#br1" timeOffset="49417.66">5111 8987 1238 0,'0'0'538'15,"-3"-5"-47"-15,3 5-40 0,0 0-67 0,0 0-33 16,0 0-42-16,0 0-76 0,0 0-69 15,0 0-62-15,0 0-86 0,-5 10-137 0,-2-5-245 16,7-1-512-16,0 3 77 0,-1 2 128 0,1-1 31 16,-2-2 66-16</inkml:trace>
  <inkml:trace contextRef="#ctx0" brushRef="#br1" timeOffset="49588.57">5091 9219 1200 0,'0'0'540'0,"0"0"-46"0,0 0-51 0,0 0-39 15,0 0-73-15,0 0-75 0,0 0-62 16,0 0-89 0,0 0-79-16,-14-9-144 0,7 5-217 0,-1 1-500 0,-2 0 90 0,-3-1 54 15,-2 2 77-15,-6-4 112 0</inkml:trace>
  <inkml:trace contextRef="#ctx0" brushRef="#br1" timeOffset="50203.07">3078 9185 1433 0,'0'0'430'0,"-11"0"-23"0,11 0-41 16,-7 0-20-16,7 0-42 0,-7 0-35 0,7 0-18 16,0 0-16-16,0 0-10 0,0 0-25 15,0 0-8-15,12 7 39 0,-4-6 4 16,2 0-20-16,0-1-26 0,3 0-22 0,3 2-1 0,1 0-48 15,1-2-46-15,0 0-44 0,2 0-33 0,-1 0-67 16,3 0-36-16,2-2-91 16,-7 2-152-16,7-2-248 0,-6 2-376 0,-2 2 82 15,1 0 130-15,-4-1 56 0,-1 0 80 0,-3-1 110 16</inkml:trace>
  <inkml:trace contextRef="#ctx0" brushRef="#br1" timeOffset="53276.11">2209 9716 1008 0,'0'0'340'0,"0"0"-30"0,15 2-44 16,-15-2-20-16,8-2-28 0,-4 0-16 0,-4 2-8 15,9-1-22-15,-4 1-34 0,-5 0 8 16,10 0-36-16,-10 0 18 0,5-3 8 16,-5 3-21-16,5 0 77 0,-5 0-23 0,0 0-16 0,0 0-14 15,0 0-11-15,0 0 0 0,-13 6-18 16,6-3-26-16,-4 1-10 0,1-2 1 0,0 4-1 16,-3 0-20-16,0-1-1 0,-4 1 1 0,1 0 2 15,6-1-7-15,-5 0-5 0,2 0-6 16,2 1-10-1,1-2-5-15,2-2-10 0,0 2 7 0,1-1 1 0,2 2-16 0,-1-4 5 16,2 3 34-16,1-2-24 0,0 1-15 16,1 0 8-16,2-3 5 0,0 6-10 0,2 0-13 15,1-2 7-15,0 0 1 0,1 1 20 0,2 1-21 32,-1 1 9-32,2-1-1 0,-1 1-5 0,1 0 3 0,-1 2-1 0,-1-3 4 15,2 1 17-15,-4-1-10 0,2 1 18 0,-2-2 7 0,-1 2-7 16,1-1 0-16,-3-1 23 15,0 1-13-15,-3-3-67 0,1 4-4 16,-1-2 30-16,-2 0 7 0,0 0-9 0,-1-1-6 0,-1 1 16 16,-1-1-8-16,0-1 3 0,0-2-10 0,1 3-6 15,-1-2 3-15,1 1-11 0,-1-1 6 16,-2-2-31-16,2 1 0 0,1 2-28 0,-3-2 0 16,4 0-13-16,-2-1-23 0,1 0-25 15,1 0-24-15,6 0-30 0,-10 0-65 0,5 2-53 16,5-2-35-16,-8 3-9 0,8-3-30 0,-2 2-472 15,2-2 86-15,0 0 65 0,0 0 63 16</inkml:trace>
  <inkml:trace contextRef="#ctx0" brushRef="#br1" timeOffset="53868.9">2509 9816 1092 0,'7'-3'418'0,"1"3"-47"0,-8 0-36 0,10-1-28 16,-10 1-25-16,8 0-16 0,-8 0-12 15,0 0-29-15,8 0-3 0,-8 0-101 0,0 0-3 16,0 0-19-16,0 0-19 0,-16 10-11 16,8-6 8-16,-2 1-8 0,-2 1-8 0,1 0-17 15,1 1-3-15,-6-1-3 0,3 1-2 0,1 2 5 16,-1-3-13-16,0 1 3 0,3-1 2 15,0 0-20-15,2-2 5 0,-2 2-29 0,5-1-9 16,-1 2 10-16,1-3-11 0,3 1 11 16,-1-2 7-16,3 4-9 0,0-4 9 0,3 0-10 15,2 2 6-15,-2 1 1 0,4-3 6 16,1 1-10 0,0 2 0-16,-1-1 18 0,1-2-3 0,2 2-8 0,-2 0 16 0,0-2 13 0,-1 2 7 15,-1-1 3-15,1-2 18 0,-4 3 10 16,2-4 15-16,-5 4 5 0,2-3 11 0,-2-2 0 15,-2 9-16-15,-4-6-2 0,2 1-8 16,-4 1 3-16,-2-2-34 16,-1 3 16-16,-1-4-11 0,1 3-12 0,-2-1-31 0,-2-2-10 0,5 1-41 15,0-1-8-15,-1-1-54 0,1 1-30 16,3 0-57-16,1 0-128 0,-1-1-153 0,4 1-453 16,1-1 107-16,2-1 59 15,0 0 75-15,0 0 53 0</inkml:trace>
  <inkml:trace contextRef="#ctx0" brushRef="#br1" timeOffset="54148.71">2793 10037 1441 0,'0'0'496'0,"1"-5"-45"16,-1 5-49-16,4-2-11 0,-4 2-40 15,6-1-36-15,-6 1-29 0,10-3-7 0,-10 3-46 16,12 2-15-16,-4-1-36 0,0-1-6 0,0 1-40 16,-1-1-54-16,1 1-28 0,2 0-52 15,-2-1-35-15,-3 0-23 0,2 2-60 0,-1 0-91 16,1-1-159-16,-3-1-596 0,3 4 117 0,-4-2 54 15,1-2 67-15,-4 0 81 16,10 1 88-16</inkml:trace>
  <inkml:trace contextRef="#ctx0" brushRef="#br1" timeOffset="55908.07">3677 9951 1205 0,'8'-1'387'0,"-2"0"-29"0,-6 1-43 0,10-1-82 16,-7-3-11-16,1 4 1 0,-4 0-16 0,6-2 16 15,-6 2-36-15,0 0-21 0,0 0-12 0,0 0-13 16,0 0-8-16,0 0-10 15,0 0-26-15,-28 2 3 0,19 3-16 0,2-3-12 16,-3 2 2-16,0-1-5 0,-3 1-20 0,3 0 12 0,1-1-4 16,2 3-19-16,-1-5-2 31,-1 4-16-31,2-1-4 0,3-2-1 0,-1 3-2 0,2-3-5 0,1 1 7 0,2-3-7 0,0 6-3 16,0-6 5-1,4 7-5-15,2-4 0 0,-3 1 13 0,4 1 0 0,-2-2-5 0,1 2 2 16,1-1 3-16,0-1 8 0,-1 1-3 15,-1-1 7-15,-2 2 6 0,1-2 41 0,-1 1-15 16,0-1-4-16,-1 0 19 0,-2 3 13 0,-2-2-39 16,2-1 36-16,-5 3-28 0,0 1 20 0,-3-2-30 15,0 1 10-15,-4 0-13 0,1 1-8 0,-5-1 1 16,2 1-19-16,-2-1-12 16,1-1-21-16,-1 1-20 0,1-2-29 15,1 0-22-15,2 0-24 0,-1-2-35 0,3 2-39 16,2-3-35-16,0 1-108 0,4 1-103 0,-2-1-260 15,6-2-201-15,0 0 80 0,0 0 129 0,0 0 45 16,0 0 43-16</inkml:trace>
  <inkml:trace contextRef="#ctx0" brushRef="#br1" timeOffset="56322.8">3985 9981 1077 0,'-15'3'448'0,"5"-2"-46"0,-1 1-97 15,-2 0-37-15,1 3-12 0,-6-1-15 16,3-2-21-16,-1 4-20 0,1-1-16 0,0 0-18 16,4-2 1-16,-1 2-42 0,3-3-5 0,2 3-17 15,-1-2-11-15,3 0-10 16,0-3 5-16,3 4-15 0,2-4-14 0,0 0 1 15,0 0-5-15,0 0 5 0,17 0-18 0,-17 0 8 0,16-4 12 16,-6 3 3-16,0-1 5 0,0 0 26 16,1 1-24-16,-1 0 9 0,-2-1 15 15,0 2-24-15,-1 0 19 16,3 2 10 0,-5 0 25-16,0 1-17 0,0-1-11 0,1 4-8 0,-3 0 9 0,2 1-14 0,-3-1 1 0,0 1 4 15,-2-1-22-15,0 5-16 0,0-3 26 16,0 2-47-16,0-2-9 0,0 0-42 0,-2 1-27 15,2-1-60-15,-2-1-48 0,2 2-49 16,0-2-76-16,2-1-205 0,1 0-543 0,2-2 71 16,0 1 129-16,5-2 102 0,-2-2 51 0,2-1 59 0,2-1 126 15</inkml:trace>
  <inkml:trace contextRef="#ctx0" brushRef="#br1" timeOffset="56691.66">4944 9898 1356 0,'0'0'484'0,"0"0"-41"0,1-4-54 16,-1 4-46-16,0 0-67 16,0 0-71-16,0 0-69 0,0 0-108 0,0 0-269 15,0 0-560-15,0 0 43 0,-9 12 65 0,5-9 78 16,1 0 68-16</inkml:trace>
  <inkml:trace contextRef="#ctx0" brushRef="#br1" timeOffset="56845.17">4924 10166 1356 0,'0'0'379'0,"0"0"-82"0,0 0-103 0,0 0-217 16,0 0-637-16,0 0 18 0,0 0 37 0</inkml:trace>
  <inkml:trace contextRef="#ctx0" brushRef="#br1" timeOffset="71675.12">5457 5843 1233 0,'0'0'525'0,"6"-4"-131"0,-2 2-23 0,4 0-23 16,0 0-25-16,2 1-6 0,0 0-40 15,1 1-14-15,1 0-19 0,1 2 68 0,0 0-23 16,0 1-28-16,-1-1-25 0,-2 3-6 0,1 0-12 16,-1 0-108-16,-2 1 33 0,-2 1-33 15,-2 0 0-15,-1 0-2 0,-3 1-6 0,0 3-2 16,-3 0-3-16,-2-1-2 0,-5 4 2 0,2 0-5 16,-4 0 1-16,-4 3-29 0,1-3 12 15,-1 2-19-15,1-3-32 0,2-3 32 0,1 1-9 16,3-3-22-16,1 1-13 0,-1-3 12 0,4 1-25 15,2-2 5-15,0 1 26 0,1-3-16 16,2 2 1-16,2-1-11 0,3-1 15 16,1 2-7-16,3-3-10 0,-1 1 4 0,2-1 6 15,1-1 10-15,2 2-15 0,2-2-6 0,1 0 9 16,-1-1 4-16,1-1 3 0,1 1-18 0,1-1-28 16,0 1-21-16,-2-2-2 15,-1 2-26-15,-3 0-23 0,2 0-33 0,-4 0-18 16,0-1-56-16,-2 1-26 0,-1 0-13 15,1 3-17-15,-3-2-63 0,1 0-168 0,-1 4-532 0,-3-3 107 0,-1 3 92 16,1-2 103-16,-2 2 48 0,0 1 80 16,-2 0 76-1</inkml:trace>
  <inkml:trace contextRef="#ctx0" brushRef="#br1" timeOffset="103907.6">5618 6588 1251 0,'6'1'374'0,"-6"-1"-8"16,5 3-36-16,-5-3-20 0,5 3 61 16,-5-3-20-16,8 0-57 0,-3 3 13 0,2-1-23 15,-1-2-23-15,-6 0-38 0,10 1-100 0,-5 2-21 16,-2-2 29-16,-3-1-6 0,9 1-12 15,-9-1 28-15,6 2-39 0,-4 1-2 0,-2-3 10 16,0 0 3-16,-10 8-29 0,2-4-20 16,-4 1 10-16,-6 0-10 0,0 2-2 0,-6 3-1 15,2-3 11-15,-4 0-23 16,6-1-1-16,1 0 3 0,-1 1-25 0,5-1 5 0,2-1-8 16,3 1 5-16,-3-3-10 0,5 1-16 0,3 1 29 15,0 0-31-15,5-1 10 16,0 1 8-16,3 0-15 0,2 2-3 0,5 0 2 0,5-1 3 15,-2 2 6-15,3 2-22 0,-2-3 19 0,5 4-5 16,-1 1-1-16,0-4 8 0,-3 0-10 0,-2 2 11 16,0-4-6-16,-3 2 5 15,-3-2 11 1,1 4 20-16,-5-3-13 0,-3 1 2 0,0-1 1 0,-5 4-5 0,-3-4-3 0,-5 4 0 16,-2 2 15-16,-3-4-17 0,-5 1-57 15,2 1-44-15,-2-3-50 0,0 0-11 0,0 0-35 16,0-1-16-16,2-1-47 0,1 0-34 0,-3 0-81 15,-21 1-165-15,26-1-495 0,1-3 121 16,1 2 81-16,3 0 111 0,0-2 84 0,3 1 0 16</inkml:trace>
  <inkml:trace contextRef="#ctx0" brushRef="#br1" timeOffset="110958.47">5505 7511 1054 0,'-4'2'461'0,"4"-2"-49"0,0 0-36 16,0 0-48-16,0 0-29 0,0 0-4 15,10-11-32-15,0 8-19 0,-2-3-27 0,5 1 3 0,-3-2-92 16,0-3 0-16,0 2-23 0,3 1 21 16,-3-1-14-16,0-1-7 0,-1 5 41 15,1-1-41-15,-2-1 87 0,-4 2-28 0,4-2-6 0,-5 5-19 16,2-1-6-16,-5 2-5 0,0 0-3 16,11 5-15-16,-9-1 8 0,0 3-31 15,-2 4-5-15,0-1 10 0,0 0-30 0,0 6-4 16,-2-2-4-16,-1 3-21 15,1-2-15-15,-4 3-13 0,4 1-33 0,-3 0-43 0,2-2-1 16,1 1-25-16,-4-3-44 0,4 0-43 16,0-1-31-16,-1 0-75 0,3-2-119 0,-3 0-229 0,3-4-329 15,-2 3 79-15,2-3 130 16,0-3 44-16,0 1 105 0,0-1 38 0</inkml:trace>
  <inkml:trace contextRef="#ctx0" brushRef="#br1" timeOffset="111168.9">5487 7733 1220 0,'0'0'446'16,"11"-3"-129"-16,-11 3-35 0,18 0-19 0,-8 0-22 16,3 0-18-16,2-3-24 0,1 2-9 15,5 1 40-15,-1-1-28 0,8-3-17 16,3 3-47-16,0-3-25 0,0 1-39 0,-1 3-26 0,-1-4-42 15,-7 2-35-15,1 1-53 0,-2-1-99 16,-1 2-106-16,-1 0-465 0,-4 0-47 0,0 0 62 16,-4 1 125-16,1-1 21 0</inkml:trace>
  <inkml:trace contextRef="#ctx0" brushRef="#br1" timeOffset="114092.38">5618 8199 1100 0,'6'-5'415'0,"-1"4"-95"0,5-3-34 0,-2 3-32 0,2-1-16 0,0 2-20 16,1 1 48-16,2 0-10 0,-1 1-34 0,-1 2-19 16,1 1-22-16,-1 2-4 0,-2 0-13 0,-1 1-11 15,-2 3-35-15,-4-1 13 0,-2-1-16 16,-2 5-5-16,-1-2-26 0,-5 4 3 15,3-2-7-15,-5 0-9 0,0 1 37 0,-1-1-47 16,-1 0-15-16,-1-1 1 0,2-2-12 0,-1 1 1 16,4-4 5-16,0 1 0 0,3-2-13 0,-2-1 21 15,2-3-29-15,2 2 11 16,0 0 10-16,1-4-10 0,2-1 15 0,5 7 20 0,-2-4-2 16,2-1 8-16,4-1 5 0,2 2-23 0,2-1-11 15,4-1 13-15,1-1-20 16,6 0 28-16,-1 0-28 0,2 0 15 0,1 0-30 15,0 0-11-15,-3-1 5 0,0 0-38 0,0 1-15 16,-3-1-36-16,-4 1-24 0,2 0-40 16,-5 0-15-16,-1 1-29 0,-4 0-46 0,2 0-79 15,-4 4-118-15,-2-2-535 0,-1 2 54 0,0-1 115 16,-3 2 74-16,0 1 65 0,-3 0 32 0</inkml:trace>
  <inkml:trace contextRef="#ctx0" brushRef="#br1" timeOffset="116076.98">5908 8988 1085 0,'-2'-6'463'0,"2"6"-41"0,-3-2-25 16,3 2-113-16,-5-2-10 0,5 2-38 0,0 0-1 15,-13 7-22-15,6-4-37 0,-1 4 11 16,0 4-33-16,0-2-19 0,-2 5-14 0,3 1-11 0,-1-1 0 16,1 3 0-16,1-2 46 0,3 1-5 15,-2 2-15-15,3-4-19 0,1-1-22 16,1 4-13-16,1-4-13 0,1 0-25 0,3 0 7 15,0-2-23-15,3 1 10 0,0-5-2 0,2 0 3 16,1 1-9-16,1-4-17 0,-1 0 13 16,2-3 10-16,0-1 5 0,1-2 7 0,0-1 14 15,0-3 7-15,-3 1 18 0,2-3 5 16,-3 2-28-16,-2-6 31 0,0 1-8 0,-3-1 5 0,-2-2-28 16,-1 1-13-16,-2-1-15 0,-1-3 10 15,-3 2-18-15,-2-2-20 0,-2-2-1 16,-2 6-17-16,-2-3-26 15,-4 2-15-15,4 1-41 0,-1 5-49 0,-3-1-38 0,3 5-51 16,-2 0-83-16,2-1-181 0,0 5-527 0,-2 3 102 16,0-1 95-16,-1 4 71 0,-1 1 85 0,1-1 100 15</inkml:trace>
  <inkml:trace contextRef="#ctx0" brushRef="#br1" timeOffset="117676.86">5705 9719 1305 0,'6'-3'392'0,"4"0"-34"0,-2 0-13 16,2-1-35-16,3 4-23 0,2 0-18 0,1 1-36 16,-1 2 0-16,5 0-24 0,-1 2-9 15,1 0-11-15,-2 0-20 0,-2 3 8 0,-4 0-5 0,-2 4 7 16,-5-2 54-16,-1-1-31 0,-5 7-31 0,-2 0-81 16,-4 2-8-16,-6 1 2 0,-5 6-15 15,3-3 21-15,-6 3-31 0,1-3-8 16,2-4 3-16,3-4-13 0,4-2 7 0,-2 0 19 15,3-1-31-15,2-3 0 0,3 1-6 0,-2-3 11 16,2 1-5-16,5-1-28 0,-3-2 30 16,6 2-2-16,-1-1-10 15,3-2-8-15,3 0-18 0,7 1 20 0,0-1-10 0,4-3-15 0,6 4-2 16,-1-2-14-16,6-2-17 0,3 0-39 16,1 0-28-16,-4 0-21 0,2 0-22 0,0 3-29 15,-1-2-30-15,-5 0-77 0,5 0-110 16,-9-3-123-1,-1 4-456-15,-1 5 108 0,-6-3 64 0,1 3 189 0,-3-3-13 0,-3 4 60 16</inkml:trace>
  <inkml:trace contextRef="#ctx0" brushRef="#br1" timeOffset="121810.99">1919 6490 1075 0,'0'-4'401'0,"0"0"-19"0,0-2-24 0,0 6-22 0,0-7-32 0,0 2-25 16,0 5-23-16,0-6-20 0,0 6-37 15,-3-4-17-15,3 4-11 16,0 0-7-16,0 0-77 0,0 0-23 0,-2 16-2 0,2-4-6 16,-2 1-7-16,-2 5-6 0,2 5 6 15,-3 2-11-15,-3 9-12 0,-2 3 20 0,2-1-26 16,0 1-22-16,-2-3-11 0,3-4-18 15,0-5-10 1,1-4-5-16,3 0-7 0,-2-4-29 0,2 1-16 0,1-2-40 0,-3-3-54 0,2 0-48 16,3-3-91-16,-2-1-14 0,2-1-433 15,-2-2 20-15,4-1 105 0,-2-4 44 0</inkml:trace>
  <inkml:trace contextRef="#ctx0" brushRef="#br1" timeOffset="124589.24">1855 6526 591 0,'0'0'197'0,"10"0"-18"16,-10 0-23-16,10 4-10 0,-2-3 20 16,0 1-17-16,2-1-1 0,3 2-12 0,2-3-13 15,3 1 18-15,5-1-26 0,0 1 5 0,3-1-10 16,-1 0-33-16,1 0 18 0,5 3-21 16,0-2-20-16,0 0-6 0,0-1 83 0,1 0-11 15,2 2 13-15,-1-2-30 0,0 3 2 0,1-2 5 16,-1-1-31-1,1 2-7-15,1-1 5 0,-2 1-13 0,4-1 0 0,-2 0-26 0,-1-1 3 16,12 1-8-16,-8 2 6 0,6-2-6 0,-8 1-8 16,-3-1-7-16,-2 1 11 15,2-2 9-15,-1 2-15 0,-2-2-13 0,0 1-69 16,-1-1 3-16,0 1 2 0,-4-1 11 16,3 0-6-16,-2 3 16 0,-1-2 5 0,-2-2 5 15,3 3 2-15,0-2 6 0,-1-1 2 16,1 1 3-16,-1 0 2 0,1-1 6 0,0-2 17 0,-1 2-30 15,-2 0 12-15,3 0 0 16,-3 0-15-16,0-1 13 0,-2 0 10 0,4 1-12 0,-4 0 17 16,0-2-13-16,2 2-2 0,-3-1-2 0,-3-1 9 15,2 2-2-15,-1 0-7 16,2-1-4 0,-4 2 14-16,2-2 5 0,-1 0-6 0,2 2 3 0,-1 0-5 0,-3 0-7 0,3-2 9 15,2-1 3 1,-2 2-5-16,3 0 0 0,-1-3 16 0,1 2-14 0,1 1-7 0,2-3 5 0,-1 3 5 15,0-4 8-15,5 2-8 0,-2-1 0 16,-3 1 3-16,0 0 5 0,0 0 5 16,3 0-8-16,-5 1-8 0,4-2 9 0,-4 2-11 15,1-2 7-15,-1 2-2 0,0-2 16 0,2 2-19 16,0-3-7-16,-3 3 16 0,3-2 9 0,-2 3-12 16,2-4 7-1,0 2-2-15,0 0-13 0,3-3 5 0,2 3 21 0,-5-1-16 0,0 1 8 16,-2 0 7-16,4 1-17 0,-2-3 5 15,0 3 20-15,-2-2-28 0,3-1 3 16,-2 3-3-16,1 0 16 0,-3-3-14 16,1 1 6-16,0 3-8 0,2-3 8 0,-3 1-5 0,1 1-6 15,-1-2 3-15,-2 3 3 0,-2-3 7 16,2 3-7-16,2-1 7 0,-2-1-12 0,0 1-8 16,0 2 5-16,-3-2 20 0,3-1-20 0,0 3 21 15,-2-1-3 1,2 0-18-16,0-3 12 0,0 4 6 0,-1 0 5 0,1 0-15 15,0-2 15-15,0 1-10 0,3-1-11 0,-1 1 16 0,1 1-7 16,0-1-6-16,1 1 2 0,-2-1-1 0,4-1 6 16,-6 1 9-16,2-1 15 0,1 2-29 15,-4 0 9-15,2 0-6 16,1 0 5-16,-2 0-12 0,0-1 10 0,0 1 12 0,0 0-17 16,0 0 7-16,0 1-4 0,0-2-11 15,0 1 12-15,-1 0-9 0,0 0 7 0,1 0-2 16,-1 0-1-16,4 0 9 15,-4-1-14-15,1 1 11 0,0 0-3 0,1 0-7 0,-2 0 43 16,4 1-25-16,-4-1-21 0,0 0 33 16,0 1-36-16,1-1 3 0,-2 0 11 0,1 0-17 0,-1 0 6 15,1 0 6-15,0 0 1 0,0 0-4 0,-1 0 4 16,1 0-12-16,-2 2 10 16,2-2-2-16,0 0 0 0,-2 1-9 0,1-1 27 0,-5 2-21 15,1-2 20-15,0 0-14 0,-3 1-6 0,1-1-3 16,-2 0 6-16,-1 0-3 0,0 0-13 15,-7 0 10-15,11 0 13 0,-6 1-4 16,-5-1 4-16,10 0 5 0,-10 0-12 0,8 0 9 16,-8 0-6-16,5 0 1 0,-5 0-4 15,0 0 10-15,8 0-13 0,-8 0 2 0,0 0 1 16,8 0 12-16,-8 0-17 0,0 0 9 0,4 4 3 16,-4-4-15-16,0 0 5 0,4 4 16 15,-2-1-16-15,0 2 0 0,-2-1 12 16,0 3 12-16,1 2-17 0,-1 0 24 0,2 3-11 0,-2 1 6 15,0 3-6-15,0 3 6 0,0 0-8 16,0 0 26-16,0 3-9 0,0-1-17 16,0 0 3-16,-2 3 4 0,2-1 1 0,-1-3 0 15,1 4-6-15,0-3-15 0,0 3 8 0,0-4 2 16,0 3-2-16,0-4 8 0,0 2-9 16,0 0-4-16,0-2 10 0,0-5-10 0,0 3 10 15,0-2-3-15,0-2 3 0,0 3-3 0,-2-4-15 16,2-2 16-16,-2 0-24 0,2-1 10 15,0 1 4-15,-3-2-1 0,2-2-3 16,1 1 1 0,-2-1-1-16,2 0 6 0,0-1 5 0,-2 0-6 0,2-2 11 0,-3 2-15 0,3-5-18 15,-3 5 22-15,1-3 1 0,-3 1-13 0,5-3 18 16,-5 2-3-16,0-2-18 16,5 0 16-16,-11 1 5 0,4 0-6 0,7-1-2 0,-14-1-5 0,4 1 0 15,-2-1 8-15,1 1 2 16,-4-1-12-16,0 0 27 0,-1 1-19 0,-1-2 1 15,1 1-2-15,-2 1 13 0,0-1 39 16,0 0-9-16,0 1 26 0,0 0-20 0,3 0 13 16,-3 0-37-16,0-1 9 0,3 1-3 15,-1 0-8-15,-2 0 5 0,0 0-7 0,3 0-3 0,-3 0-8 16,0 0-10-16,0 1 16 0,1-1-14 0,-1 0 34 16,-1 0-28-16,-4 0-10 0,3 1 15 15,-4 1 12-15,-1 1-14 0,-1-2-1 16,3-1-10-16,-3 1-2 0,1 0 10 0,-1-1-11 15,1 3-7-15,-1-1 25 0,3-2-20 0,-7 3-2 16,6-1-8-16,-2-2 10 0,1 1-8 16,0 1 16-16,1 1-11 0,-2-1 6 0,4-2-14 15,-4 0 9-15,3 1-13 16,-3 2 15-16,3-1-11 0,0-2 19 0,-2 0-5 0,1 3 2 16,-2-2-23-16,1 0 7 15,-1-1 1-15,0 0-3 0,-1 0-10 0,-4 0 13 0,0 1-8 0,-3-1 11 16,2 0 4-16,1 1-2 15,0 2-13 1,3-3 5-16,1 0 5 0,0 0 1 0,4 1 12 0,0 1-8 0,-1-2-4 0,1 0 7 16,5 0 0-16,-2 1 0 0,2 1 7 15,0-2 11-15,0 0-33 0,0 1 20 0,-2-2-2 16,2 1-1-16,0-2-10 0,0 2 1 16,-3 0-1-16,-4 0 8 0,2 2-2 0,-3-2-1 15,0 0 11-15,0 0-26 0,1 1 15 0,-1-1-4 16,1 0-6-16,0 0 13 0,1 0 13 0,3 1-13 15,-2 0 0-15,0-2-13 0,0 1 5 0,0 0 13 16,5 0-18-16,-2-1 18 0,2 1-15 16,-2 0 0-16,1-1 18 0,1 1 4 15,-5-2-14-15,0 1 12 0,0 1-15 16,0 0 5-16,-2 0 23 0,2 0-18 0,0 0-12 0,-1 0 24 16,1 1-17-16,1 1-10 0,3-1 26 15,1-2-14-15,3 2-10 0,-3-1 21 0,2 0-15 16,-2 1-19-16,4-2 21 0,1 1-2 15,-3 0 2-15,1 1-3 0,-1-1 11 0,1 0-16 16,-1 1 0-16,-2-1 14 0,1 3-4 0,1-1-10 16,-2-2 3-16,-2 2 5 0,0 0-5 15,1-2 13-15,-2 2-16 0,-1-2-2 0,4 2 10 16,2 1 28-16,-4-2-23 0,4 0-10 16,-1-1-8-16,4 0 3 0,-5 0 7 0,2 4-9 0,1-4 22 15,-1 1-5-15,1-1-13 0,-3 0 13 16,3 0 6-16,-3 0 4 0,0 2-33 0,-2-3 31 15,-4 2-3-15,-1 0-10 0,2 1 5 0,-8-1 0 16,5 0 6 0,-2-1-19-16,-3 2 16 0,6-2-19 0,-6 3 22 0,6-3-4 15,1 2-14-15,-1-2 22 0,4 0-23 0,-5 0-7 16,5 0 18-16,-1 1-14 0,3-1 9 0,2 0-1 16,-7 3 8-16,4-3 6 0,-2 1-24 15,1-1 18-15,-3 1 3 0,1-1-8 0,1 0-3 16,1 2-5-16,-2 0-4 0,5-2 19 0,-2 1 6 15,4 0-21-15,-2-1 21 0,5 0-18 0,1 0 0 16,-2 1 7-16,4-1-7 16,0 0 13-16,-1 0 12 15,2 0-25-15,1 0 3 0,1 1-3 0,-1-1 2 0,0-1 3 0,3 2-8 16,-3-1 8-16,0 2-5 0,0-1-2 0,1-1 25 16,7 0-29-16,-13 0 6 0,6 0 5 15,7 0-2-15,-13 0-1 0,7 0 6 0,-1 0-1 16,7 0-7-16,-12 0 26 0,5 0-27 15,0 0 12-15,7 0 17 0,-10 2-29 0,3-2-4 16,7 0 15-16,-11 0 8 0,4 0-31 0,7 0 23 16,-9 0-5-16,2 0 34 0,7 0-45 0,-10 0 6 15,10 0 3-15,-11 0 12 0,11 0 0 16,-7 0 0-16,7 0 11 0,-11-2-8 16,11 2 5-16,-7-1 2 0,7 1-10 0,-8 0 11 15,8 0-11-15,0 0 26 0,-10 0-23 0,10 0-8 16,-5-3 15-16,5 3-17 15,0 0 17-15,-8 0-2 0,8 0-13 0,0 0 3 0,-5-1-5 16,5 1 12-16,0 0-2 0,0 0-8 0,-5 0 10 16,5 0-7-16,0 0 7 15,0 0-17-15,-8-1 30 0,8 1-26 16,0 0-9-16,-7-1 17 0,7 1-10 0,0 0 20 0,0 0-22 0,-6-4-11 16,6 4 18-16,0 0 8 0,0 0-16 15,0 0 9-15,-5-1-6 0,5 1-3 16,0 0 13-16,0-5-12 0,0 5-6 15,-5-2-5-15,5 2-7 0,0-5-26 0,0 5 0 0,-3-4-16 16,3 4-50-16,0-4-22 0,0 4-29 16,0-9-40-16,3 6-40 0,0-2-113 0,1 0-122 15,4 0-492-15,2 1 58 0,-1-2 119 16,8-3 99-16,6 1 65 0,10-4 55 0</inkml:trace>
  <inkml:trace contextRef="#ctx0" brushRef="#br1" timeOffset="125375.06">6495 6921 622 0,'-5'-2'243'0,"5"2"-10"0,-3-2 12 15,-1-1-91-15,4 3 15 0,-6-2 15 16,1-1-12-16,0 2 2 0,5 1 0 0,-10-2 74 16,5 1 5-16,-1-2-14 0,6 3-30 15,-7-1 6-15,7 1-51 0,-7-1-5 0,7 1 5 16,0 0-18-16,0 0 0 0,0 0-95 0,20 0 13 15,-5 0-16-15,8 0 16 0,5 0 13 16,8-1 3-16,13 1-19 0,5-1-2 16,2 2 7-16,3-2-9 0,15 1 45 0,-14 2-2 0,1-2-8 15,0 1-13-15,-4 3 8 0,-3-4-53 16,-6 1-39-16,-9 2-29 0,-8 0-40 0,-5-2-15 16,-3 0-52-16,-3 2-54 0,-4-1-86 15,-3-4-119-15,-3 4-496 16,0-2 44-16,-8 2 107 0,1 0 54 0,-3-2 82 0</inkml:trace>
  <inkml:trace contextRef="#ctx0" brushRef="#br1" timeOffset="125628.26">6616 7020 1297 0,'0'0'400'0,"0"0"-19"16,0 0-30-16,21 4-19 0,-6-2-35 0,0-2-2 0,8 0-39 15,1 1-82-15,1 1-3 16,8-1-7-16,0-1-39 0,14 1 75 0,-1 0-23 16,-5-1-36-16,-8-1-1 0,1 2-30 0,-1-1-5 15,-2 0-28-15,0 0-21 0,-6 0-38 0,-2 0-18 16,-2 0-25-16,-4 0-16 0,-1 0-21 16,-3-1-45-16,-1 0-90 0,-1-2-136 0,-3 2-586 15,0-1 46-15,-1-2 108 0,-2-1 81 0,-2 2 24 16,-1-3 92-16</inkml:trace>
  <inkml:trace contextRef="#ctx0" brushRef="#br1" timeOffset="125940.72">6955 6786 890 0,'0'0'423'0,"12"-4"-29"0,-4 4-26 16,2 4-32-16,3-3-98 16,7 5-41-16,1-3-21 0,5 5 9 0,4-1-32 0,11 2-25 15,-2 4-7-15,2-1-6 0,-5 0 0 0,0 2-28 16,0-1 13-16,-11-2-16 16,-1 2 9-16,-4-1-9 0,0 1 3 0,-4 0 0 15,-1 3 0-15,-5-3 0 0,-5 0 5 0,-5 2-12 16,-4 3-16-16,-7 4 0 0,-15 4 0 15,-12 10-16-15,-6-2-15 0,-5 1-30 0,-6 1-44 16,-2 0-54-16,0 1-71 0,2-1-267 0,-3 1-470 16,2 0 91-16,3-4 57 0,-1-2 59 0,2 1 105 15,4-2 38-15</inkml:trace>
  <inkml:trace contextRef="#ctx0" brushRef="#br1" timeOffset="130561.32">9764 6426 1208 0,'13'0'476'0,"0"0"-41"16,0 0-23-16,-1 1-43 0,-1 2-31 16,-3-2-13-16,0 0-26 0,-1 4-17 0,-2-3-24 15,-2 2-10-15,-1 1-12 0,-2-2-3 16,-2 4-10-16,-1-1-47 0,-2 3-20 0,-2 0-7 0,-1-3 2 16,0 5-33-16,0-4-31 0,1 1-8 15,1 1-7-15,1-1-24 0,0-1 6 16,3-1-13-16,2 1 8 0,2 3-11 0,0-2-7 15,1 2 5-15,3 0-16 16,1 1 3-16,1 1 10 0,2 0 1 0,-3-3 22 0,4 3 5 16,-4-1-4-16,-1-2 12 0,1 1 49 0,-1-2-37 15,-4 2 17-15,-2-3 12 0,-2 0-10 0,0 1-1 16,-4 2-22-16,-2-4 18 0,1 2-8 0,-6-2 8 16,0 4-31-16,0-2 2 0,-3-2-43 15,2-1-30-15,0-1-40 0,1 0-24 0,-1 1-55 16,0-2-55-16,1 1-24 0,3-3-26 0,-2 0-71 15,4 2-58-15,-2-1-326 0,4-2-400 16,1-1 96-16,5 1 91 0,-10-4 129 16,8 3 58-16,2 1 72 0,-3-5 64 0</inkml:trace>
  <inkml:trace contextRef="#ctx0" brushRef="#br1" timeOffset="130930.97">10193 6496 1494 0,'0'0'372'16,"-16"3"-22"-16,6-2-25 0,-3 0-33 0,-3 3-26 16,1-2-28-16,-3 4-20 0,3 1-8 15,-3-2-36-15,2 1-26 0,4 1-15 0,-1-1-10 16,5 0-10-16,3 0-11 0,0-1-17 0,0 2-16 15,5-1 5-15,3 0-5 0,-1-1-7 0,1 3 2 16,4-1-16-16,1 1 6 16,3 1-21-16,-1-2 1 0,-3 1-6 0,3-2 10 0,3 2 3 15,-2 1 5-15,-4-2 5 0,1-1 8 0,-1 1 18 16,-1-1 2-16,-4 1 16 0,-2-1 2 16,0 1-4-16,-5 0-4 15,-2 3-7-15,-4-1-8 0,-2 3-15 0,-5-1-33 0,1 1-24 16,-4-1-63-16,1-1-36 15,-1 2-34-15,3-2-99 0,0-2-108 0,2-1-172 0,1 3-449 16,3-6 57-16,1 0 137 0,4-3 48 16,1 2 85-16,1-2 61 0</inkml:trace>
  <inkml:trace contextRef="#ctx0" brushRef="#br1" timeOffset="131131.79">10321 6509 1523 0,'2'-2'524'0,"-2"2"-7"16,0 0-10-16,8 7-64 0,-8-1-113 16,3 0-12-16,-3 5-55 0,2 1-20 0,-2 2-22 15,0 3-30-15,0 2 7 0,0 1-35 0,0 0-24 16,-2 5-45-16,-1-1-78 0,-2 0-42 16,3 1-84-16,1-6-67 0,-4 2-91 0,3-6-216 15,1 2-445-15,-3 0 48 0,4-1 85 0,-4-3 95 16,2-1 63-16,0-3 119 15</inkml:trace>
  <inkml:trace contextRef="#ctx0" brushRef="#br1" timeOffset="131348.34">10185 6758 1402 0,'0'0'510'15,"5"-3"-109"-15,-5 3-24 0,5-4-29 16,0 3-44-16,3 1-9 0,2 0-26 0,0 1 53 15,4-1-43-15,1 1-31 0,3 2-66 16,0-3-62-16,2 3-63 0,1-2-62 0,-3 2-93 16,4-2-181-16,-1 0-611 0,-3-1 4 15,-3 4 128-15,3-3 57 0,-5-1 71 0,3 1 47 16</inkml:trace>
  <inkml:trace contextRef="#ctx0" brushRef="#br1" timeOffset="131848.26">10797 6531 1290 0,'8'0'583'16,"0"2"-35"-16,2-1-39 0,-2 2-38 0,2-1-59 15,-2 3-81-15,-1 0-34 0,1-1-21 0,-3 4-30 16,-2-4-18-16,-1 2-13 0,-2 3-21 15,-2-1-20-15,-3 2-15 0,0-2-18 0,-1 3-21 0,2-2-7 16,-2 1-44-16,4-2 2 0,0 0 6 16,1 2 5-16,-2-2-23 0,6-1-3 15,-2 2-5-15,1-1-12 0,0-1-11 16,1 3 8-16,0-3 5 0,1 0 18 0,-1-1 2 0,-3 1-12 16,3 0 10-16,-1-1-1 0,-2-1 32 15,0 1 30-15,0 0-48 0,-2-1 41 0,-1-1 10 16,-2 1-34-16,0 1-27 0,-2 0 14 0,-1-1-55 15,-3-3-31-15,1 2-21 16,0-2-64-16,2 2-61 0,-2-2-82 0,2-1-51 16,3 0-67-16,-2 2-187 0,4-1-158 0,3-2-349 0,0 0 73 15,0 0 142-15,0 0 78 0,5-13 76 0,3 11 61 16,0-3 57-16</inkml:trace>
  <inkml:trace contextRef="#ctx0" brushRef="#br1" timeOffset="132147.57">11062 6628 1423 0,'0'0'491'0,"0"0"-38"0,0 0-33 16,-13 10-16-16,10-5-63 0,-1-2-21 0,-2 2-26 15,4 0-38-15,-1 2-31 16,0-5-17-16,1 3-39 0,2 0-36 0,2 0-3 0,1-4-20 16,2 1-12-16,1-1-6 0,1 1 3 0,1-5-14 15,2 1-6-15,0 1 27 0,0-3 6 16,-2 3 14-16,2-4 1 0,-2 5 41 15,0-5-18-15,-3 4 15 0,0 0-74 0,-5 1 3 0,11 0-6 16,-9 2 14-16,2 3-11 0,-3 2 7 16,2 3-19-16,-1-2 17 0,-2 5-31 15,-2 3 24-15,2-2-21 0,-4 0-29 0,2 3 17 16,2-3-68-16,0 4-37 0,-2-4-47 16,2 2-44-16,0-1-42 0,0 0-58 0,0 0-53 15,-2-2-197-15,4 0-627 0,-4-2 108 16,2-1 104-16,0-1 74 0,0-1 109 0,-1-2 47 15,-2-1 80-15</inkml:trace>
  <inkml:trace contextRef="#ctx0" brushRef="#br1" timeOffset="132459.46">9649 6962 1543 0,'-3'1'433'0,"3"-1"-29"16,0 0 34-16,18 2-8 0,-2-2-36 0,4 2-5 15,11-1-41-15,20 1-38 16,3-4 23 0,5 4-36-16,15-2-31 0,6 0 0 0,5 0-105 0,7 0-5 0,0 0-43 0,1 0 12 15,-1 0 1-15,-2 5-8 0,-1-4-19 0,-7 3-6 16,-5-3 1-16,-20 1-12 0,-1-1-46 15,-10 1-56-15,-10 0-57 0,-8-1-26 0,-7-1-20 16,-6 4-33-16,0-3-13 0,-4 0-66 0,-4 3-85 16,-2-2-182-16,-2 3-514 0,-6-4 89 15,3-1 78-15,-7 8 99 0,-1-2 64 0,-7 0 66 16</inkml:trace>
  <inkml:trace contextRef="#ctx0" brushRef="#br1" timeOffset="132868.49">10446 7283 1589 0,'18'-2'612'0,"1"1"-72"0,1 1-28 15,-2 0-31-15,-3 0-5 0,1 1-71 16,-4 1-42-16,1 2-10 0,-3 1-22 0,-2-2-45 0,-5 6 42 15,-1 0-77-15,-7 0 0 16,-5 6-3-16,-6 3-46 0,-11 4-10 0,-7 2-125 0,3 1 17 16,-2-2-25-16,-3-3-8 0,8 2 8 0,0-5-15 15,7-2 14-15,3-2-63 0,5-5 33 16,3-1-20-16,2 3 18 0,0-3-8 16,1 0 0-16,4-2-6 0,-2 1 1 15,5 0-21-15,0-4 24 0,5 3-11 0,-2-4 0 0,7 4 13 16,3-3-8-16,0-2 26 0,5 4-10 15,3-4-14-15,2 0-27 0,7-3-5 0,1 2-14 16,0-1-27-16,2-3-36 0,8-1-49 16,-3-1-39-16,-4 0-30 0,-6 0-51 0,-3 0-46 0,1-2-100 15,-11 1-172-15,9-3-470 0,7-4 91 16,-6 4 80-16,-5-1 100 0,-1-1 74 0,7-7 100 16,-1-1 53-16</inkml:trace>
  <inkml:trace contextRef="#ctx0" brushRef="#br1" timeOffset="133128.46">11744 6862 1492 0,'8'-1'548'0,"2"-3"-24"16,0 3-50-16,0 0-52 0,3-1-38 0,0 0-125 15,2 1-44-15,3 0-51 0,-3 1-49 0,3-1-3 16,1 2-63-16,-2-1-93 0,-1 1-96 16,-1-5-295-16,0 8-479 0,-2-2 120 0,-5 1 19 15,-2 0 107-15,-4 1 89 0</inkml:trace>
  <inkml:trace contextRef="#ctx0" brushRef="#br1" timeOffset="133269.34">11703 7032 1208 0,'4'5'389'16,"-1"-3"-44"-16,5-1-9 0,0 2-27 0,0-1-48 16,4-2-5-16,4 0-41 0,-1 0-33 0,3 0-21 15,2 0-33-15,1 0-51 0,2 0-56 16,0 0-37-16,-2-2-84 0,-1 1-117 0,-2-7-121 15,-3 6-468-15,-2 2 48 0,-3 2 139 16,-2-4 20-16</inkml:trace>
  <inkml:trace contextRef="#ctx0" brushRef="#br1" timeOffset="138460.99">13138 6695 1499 0,'8'-1'535'0,"0"1"-33"16,0 0-28-16,-1 0-42 0,1 1-40 0,-1 0-49 16,-1 1 5-16,-1 0-18 0,0-1-25 0,0 3-52 15,-3-2-4-15,-2 2 12 0,0-4-31 0,0 7-18 16,-4-4-27-16,1 2-27 15,-2 1-17-15,2 0 13 0,-2 1-34 0,2-2-10 0,-2 0-5 16,3 1-20-16,0 0-9 0,2-2 6 16,2 2-23-16,0 3 3 0,3-2-4 15,1 1-19-15,-3-2 25 0,4 4-8 0,-2-2-7 16,0 0 22-16,0 1-9 0,1-3 28 0,-4 1-90 16,0-1 0-16,-1 0 0 0,-1 1 0 0,-3-1 0 15,-2 0 0-15,0 0 0 0,-5 0 0 16,-1 1 0-16,-4-3 0 0,0 4 0 0,-3-4 0 15,2 1 0-15,-4 1 0 0,5-5 0 16,-1 3 0-16,3-1 0 0,-3 1 0 0,4-2 0 0,1 1 0 16,-1-3 0-16,4 2-141 15,-2-1-305-15,2-2-268 0,3 1-443 0,5 0 105 16,0 0 79-16,-8 0 103 0,8 0 92 0,0 0 77 0,0 0 58 16,0 0 93-16</inkml:trace>
  <inkml:trace contextRef="#ctx0" brushRef="#br1" timeOffset="138765.74">13417 6659 1300 0,'9'-3'458'0,"1"3"44"0,-2-1-36 16,0 2 2-16,-1 0-53 15,0 3 12-15,1-1-43 0,-3 3-10 0,1 1-29 0,1 3-40 16,-4 1 61-16,-1-1-92 0,1 6-5 0,-3-2-13 16,0-1-21-16,-3 4-22 0,1-2-37 15,0 3 3-15,-4 1-20 0,1-3-23 16,0-1-54-16,0 2-13 0,-1-3-85 16,2-1-60-16,1 0-47 0,0-2-59 0,-1 2-48 0,3-5-62 15,-2 3-92-15,1-5-192 0,2 1-502 16,0-1 121-16,0-1 105 0,-2 0 35 0,-1-2 82 15,3-3 75-15,-5 1 87 0</inkml:trace>
  <inkml:trace contextRef="#ctx0" brushRef="#br1" timeOffset="138939.51">13351 6924 1057 0,'-3'-4'514'16,"3"4"-43"-16,-4-6-79 0,4 6-26 16,2-3-23-16,-2 3-28 0,6-5-41 15,1 4-8-15,1-3-38 0,7 3-1 0,-2-4-32 16,7 3-6-16,-1-2-79 0,3 2-38 0,4-4-59 15,0 2-54-15,4 1-82 0,-2-1-84 16,3-2-218-16,0 3-486 0,0-1 79 0,0 0 92 16,-3 0 41-16,0-1 80 0</inkml:trace>
  <inkml:trace contextRef="#ctx0" brushRef="#br1" timeOffset="139090.91">13910 6814 1238 0,'-15'9'561'0,"-3"-1"-118"0,3 0-18 0,1 3 46 15,-1-3-13-15,-3 5-23 0,0 3-115 0,-7 3-46 0,-1 2-21 16,1 3-25-16,1-1-36 0,-1-1-51 16,-1 3-64-16,-2-1-72 0,5-1-59 15,4-5-69-15,2-3-92 0,4-3-235 16,5 0-521-16,1 0 99 0,2-5 78 0,5-1 100 0,2-1 88 16,1-3 30-16</inkml:trace>
  <inkml:trace contextRef="#ctx0" brushRef="#br1" timeOffset="139267.64">14015 6946 1226 0,'-20'17'547'0,"2"1"-45"0,-11 4 56 0,-1 6-54 16,-9 5-56-16,-6 4-115 0,1 4-57 0,-5-1-76 15,-2 7-92-15,-3 0-108 0,0-2-136 0,0 3-701 16,3-3-59-16,0 2 128 0,-1-2 44 15,3 1 71-15,-1 1 75 0</inkml:trace>
  <inkml:trace contextRef="#ctx0" brushRef="#br1" timeOffset="152622.94">17303 3139 821 0,'30'0'346'0,"1"-1"-47"0,-3 1-15 16,5 0-20-16,3-2-36 0,10-1-13 0,5 1-16 16,-2 2-22-16,0-2-3 0,0 1-20 15,0-1-21-15,0 1-23 0,-1 1-8 0,-2-1-43 16,-6 1-26-16,7-2-56 0,-8 1-56 0,-6 2-54 16,-2-1-44-16,2-1-97 0,-5 0-74 15,-4 2-386-15,-7-1 45 0,1 0 80 0</inkml:trace>
  <inkml:trace contextRef="#ctx0" brushRef="#br1" timeOffset="152904.64">17413 3166 980 0,'32'0'205'0,"-1"0"-16"0,0 0-15 16,18 0-10-16,0-1-5 0,4 0 10 0,2-1-36 16,1-1 2-16,3 0-27 0,-3 1-1 15,1 1-20-15,1 0 64 0,-3 0-7 0,-2 0-1 0,-2-2-33 16,-2 1-20-16,-2 1-1 0,-12-2-37 16,-4 2-17-16,0 0-9 0,-6 0-18 15,-2-3-29-15,1 3-40 0,-2-1-19 0,-3 0-27 16,-4-1-57-16,1 2-7 0,-1-3-78 15,-5 2-255-15,3-2-179 0,-3 1 32 0,-2 0 106 16</inkml:trace>
  <inkml:trace contextRef="#ctx0" brushRef="#br1" timeOffset="156540.07">8421 3734 788 0,'0'0'266'0,"0"0"-23"16,25-5-12-16,-6 4-24 0,13-3-10 0,15 0-10 16,6-1-31-16,4-1 3 0,12-1-29 15,9 1 3-15,1 0-30 0,8-1-3 0,2 2-6 0,-1-2-12 16,-4 0-23-16,-1 2-28 0,-4 0-62 15,-2 1-61-15,-2 0-74 0,-17 2-83 16,-2 1-319-16,-7-2-133 0,-2 3 51 0,-14-2 86 16</inkml:trace>
  <inkml:trace contextRef="#ctx0" brushRef="#br1" timeOffset="156804.15">8442 3875 773 0,'0'0'307'16,"0"0"-120"-16,12-6-3 0,7 2-33 0,9-2 13 16,17-2-29-16,6 2-2 0,14-5-7 0,4-1-13 15,5 2 45-15,8 1-12 0,0-1-5 16,5 1-11-16,-4 2-25 0,-1-1 8 0,-6 2-39 15,-4-1-48-15,-3 4-44 0,-12 0-41 16,-6 3-66-16,-2-2-83 0,-5-3-25 0,-8 7-527 16,-8 0 89-16,-5-1 88 0,-5-1 117 0</inkml:trace>
</inkml:ink>
</file>

<file path=ppt/ink/ink3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05:36.771"/>
    </inkml:context>
    <inkml:brush xml:id="br0">
      <inkml:brushProperty name="width" value="0.05292" units="cm"/>
      <inkml:brushProperty name="height" value="0.05292" units="cm"/>
      <inkml:brushProperty name="color" value="#0070C0"/>
    </inkml:brush>
  </inkml:definitions>
  <inkml:trace contextRef="#ctx0" brushRef="#br0">1009 4285 936 0,'-3'3'361'0,"3"-3"-38"0,0 0-16 0,0 0-46 0,0 0-5 0,23-5-54 16,-12 3-10-16,6-1-18 0,4 1-41 16,4 1-33-16,6-3-31 0,2 1-64 0,12-1-35 15,-2-1-106-15,4 2-46 0,-15 0-148 0,2 3-433 16,0-2 85-16,-1 1 74 0</inkml:trace>
  <inkml:trace contextRef="#ctx0" brushRef="#br0" timeOffset="503.53">1117 4184 1067 0,'0'0'320'0,"0"0"-21"0,0 0-4 16,20-6-34-16,-4 3-18 0,6 3-38 15,9-6-13-15,13 2-5 0,8-2-39 16,1-1 0-16,0 1-25 0,4 1-20 0,-3 2-9 16,0-2-47-16,0 3-35 0,0-4-71 0,-1 2-53 15,-1 1-72-15,1 0-57 0,-1 2-553 16,-4-4 103-16,-1 4 8 0,-11 0 97 16</inkml:trace>
  <inkml:trace contextRef="#ctx0" brushRef="#br0" timeOffset="5611.11">4524 4613 737 0,'0'0'228'0,"0"0"-31"0,0 0-51 0,0 0-44 16,0-5-46-16,0 5-76 0,0 0-67 15,0 0-26-15,0 0-473 0,0 0 2 0</inkml:trace>
  <inkml:trace contextRef="#ctx0" brushRef="#br0" timeOffset="8875.34">6949 4640 465 0,'0'0'133'0,"0"0"-35"0,0 0-21 15,0 0-47-15,0 0-45 16,0 0-93-16,0 0-445 0</inkml:trace>
  <inkml:trace contextRef="#ctx0" brushRef="#br0" timeOffset="10659.6">8605 4676 611 0,'1'-5'292'0,"-1"5"-39"0,0 0-12 0,0 0-28 15,0 0-39-15,0 0-41 0,0 0-39 16,0 0-63-16,0 0-46 0,0 0-108 0,0 0-192 16,0 0-330-16,0 0 95 0</inkml:trace>
  <inkml:trace contextRef="#ctx0" brushRef="#br0" timeOffset="18847.23">7016 5799 778 0,'-15'1'358'0,"2"-2"-23"0,8 1-35 15,-1 0-37-15,6 0-4 16,-5 1-36-16,5-1-3 0,0 0-113 0,0 0 26 16,21 2-51-16,-6 2-7 0,9-3 6 0,8 0-14 15,15 0-11-15,4 1 6 0,3-1-6 16,0-1 11-16,2 0-26 0,1 1 0 0,2 1-11 16,2-2 62-16,1 0-10 15,12 0-15-15,-10 0-52 0,-5 2-20 0,0-2-33 0,-5 0-60 16,-3 1-55-16,-4 0-57 0,-9-1-23 0,-10 1-194 15,-3 3-306-15,-4-2 48 0,-3-2 86 16,0 0 0-16</inkml:trace>
  <inkml:trace contextRef="#ctx0" brushRef="#br0" timeOffset="19152.59">7026 5936 885 0,'0'0'271'0,"0"0"-15"0,0 0-23 0,0 0-97 16,0 0-23-16,29-5-3 0,-7 3 0 16,7 0-18-16,4 0-5 0,18 1-8 15,-2-3 3-15,5 4-13 0,-1-3-7 0,2 1-16 16,1 1 18-16,0 0-21 0,4 0 16 0,1-2-15 15,-2 2-11-15,-3 1-2 0,0 0-6 16,-6 1-2-16,-8-1-5 0,-8 0 3 0,-8 0-14 16,0 0-7-16,-3 1-30 0,-3 1-29 0,-4-1 10 15,-1 0-2-15,0-1 5 16,-2 1-13-16,-3 1-25 0,0-1-73 16,-1 1 1-16,1-2-43 0,0 2 17 0,0 0-484 0,-2-1 42 15,-1 0 35-15</inkml:trace>
  <inkml:trace contextRef="#ctx0" brushRef="#br0" timeOffset="22287.91">17646 6124 1341 0,'0'-5'343'0,"-1"1"-18"0,1 4-28 0,0-6-28 16,0 6-42-16,-2-2-19 0,2 2-11 0,0 0-5 16,0 0-16-16,0 0-32 0,-10 12-19 0,5-5 1 15,2-1-16-15,-2 7 0 16,2-3-26-16,-1 4-2 0,1-1-13 0,-4 1 5 15,3 2-2-15,-1-2-10 0,0 3-11 0,0-4-8 16,0 0-17-16,2-1-6 0,-1 2 14 16,1-3-42-16,2 1-10 0,-1-5-26 0,0 2-22 15,-1 0-24-15,3-1-4 0,-3-2-37 16,3 0-48-16,-2-2-44 0,4-1-76 0,1 2-154 0,-3-3-354 16,5 1 50-16,-5-3 94 0,6 3 92 15</inkml:trace>
  <inkml:trace contextRef="#ctx0" brushRef="#br0" timeOffset="22564.73">17837 6182 1502 0,'0'-5'443'0,"0"5"-41"0,0-7-44 15,0 7-41-15,0-4-63 0,0 4-47 0,0-3-28 16,0 3-53-16,0 0-42 0,0 0-25 0,0 0-66 16,0 0-70-16,-4 13-159 15,4-6-593-15,-3 3 35 0,1-2 93 0,-1 0 64 16,1 3 45-16</inkml:trace>
  <inkml:trace contextRef="#ctx0" brushRef="#br0" timeOffset="22697.56">17786 6383 1026 0,'-2'4'310'0,"2"-4"-24"0,-5 2-30 0,2 2-23 0,3-4-36 0,-4 2-38 15,4-2-39-15,-3 4-43 0,3-4-105 16,-1 4-110-16,1-4-113 0,0 4-461 0,0-4 31 15,6 1 88-15</inkml:trace>
  <inkml:trace contextRef="#ctx0" brushRef="#br0" timeOffset="23299.42">17992 6258 1044 0,'-3'-2'327'0,"3"2"-30"16,-7-1-25-16,7 1-11 0,-8 3-21 15,5 1-35-15,-2 2-13 0,0 1-23 0,2-1-13 16,-1 1-25-16,3 0-21 0,-1 2-15 16,2 0-11-16,2-2 6 0,1 4-26 0,-1-5-16 15,1 2 1-15,7 0-13 0,-2-1 7 16,0-3 14-16,0 2 1 0,2-4 17 0,0 1 96 16,-2-2 11-16,-1-1 18 15,0-1-19-15,-1 0-68 0,-1-3 20 0,0-1-33 0,-2 2 23 16,-1-3-13-16,1-1-3 0,-3 0-40 0,0-1 7 15,0 0-7-15,-3 1-16 0,1-1 10 16,-1-1-17-16,-2 2-14 0,2 0-12 0,-1-1-28 16,0 2-28-16,-3 0-34 15,4 0-41-15,-1 1-9 0,1 3-14 0,0-1-25 0,3 3-34 16,-4-2-51-16,4 2-102 0,0 0-71 0,0 0-429 16,0 0 88-16,10 8 10 0,-10-8 543 15,14 0 79-15,-8 0 33 0,2 0 64 0,-1 0 65 16,1 0 60-16,0 1-2 0,0 2 113 15,-3-3 18-15,2 2-6 0,-4 2 1 0,5-2-8 16,-3 3-97-16,0-2-3 0,0 1-11 0,0 3-1 16,0-1-9-16,-2-1 1 0,2 3-11 15,0-2 3-15,0 3-15 0,1-2-6 16,-2 0 24-16,2 0 43 0,0-1-3 0,0-1 6 0,0 0 7 16,-1-1 0-16,0 2 28 0,0-6-79 15,0 5 24-15,-2-5 9 0,-3 0-10 16,8 1 18-16,-8-1 15 15,0 0-10-15,7-6-5 0,-7 4-18 0,3-2 6 0,-6-1-32 0,3 1 8 16,-3-2-7 0,1-3-16-16,0 1-13 0,-1 1 11 0,0 0-47 0,0-3-17 0,-2 3-24 15,1 1-27-15,1-1-39 0,-2 0-39 0,2 2-20 16,-2-1-28 0,2 3-51-16,1-1-72 0,-1 3-189 15,-2-3-441-15,5 4 95 0,-5-1 62 0,5 1 68 0,-5-2 65 0</inkml:trace>
  <inkml:trace contextRef="#ctx0" brushRef="#br0" timeOffset="23451.25">18289 6188 742 0,'0'0'333'0,"6"-1"-26"15,-6 1 72-15,0 0-16 0,4 5-28 16,0-1-27-16,-3 1-27 0,0 3-10 0,-1 3-38 16,2-5-30-16,-2 6 22 0,0 0-69 15,0 0-13-15,0 0-38 0,0 1-36 0,0 0-46 16,0 0-41-16,0 0-74 0,0 1-123 15,-2-1-181-15,2 2-503 0,0-3 121 0,0-3 84 16,0 2 59-16,0-3 62 0</inkml:trace>
  <inkml:trace contextRef="#ctx0" brushRef="#br0" timeOffset="23713.53">18399 6162 1000 0,'11'-12'451'0,"-4"4"-57"0,1 1-30 0,-3 3-1 16,2 1-58-16,-1 2-14 0,2 1-30 0,-8 0-5 15,10 1-35 1,-7 2-12-16,3 0 1 0,-4 1-41 0,0 1 0 0,0 1 0 0,-2-1-28 16,-2 4-23-16,-2-3-6 0,-2 5-2 15,-2-3-10-15,-2 4-20 0,-1-3-42 0,1 2-41 0,-2 0-14 16,-2-1-27-16,2 0-53 15,1 1-18-15,1-2-85 0,0-2-118 0,2 0-204 16,3 0-417-16,-3 0 135 0,3-4 67 0,2 1 64 16,1 1 66-16</inkml:trace>
  <inkml:trace contextRef="#ctx0" brushRef="#br0" timeOffset="24299.3">18597 6210 1331 0,'0'0'314'0,"0"0"-37"0,0 0-21 0,0 0 2 0,0 12-50 0,-2-8-16 15,1 4-8-15,-1 1-25 0,-3-2-11 0,2 1-22 16,1 1-4-16,-1 0-22 0,0-3 13 16,3 4-11-16,-2-1-17 0,0-1-19 0,2 2-4 15,-1-2-6-15,0-2 3 0,1 3-23 0,0-5-3 16,0 3 23-16,-2-3-10 0,4 2-2 15,-2-6 7-15,0 7-2 0,1-7 94 0,-1 0-20 16,3 5-5-16,-3-5 17 0,8 0-9 0,-8 0 2 16,0 0-16-16,12-5-25 0,-9 3 0 15,3-2-5-15,-2 3 5 0,2-5-18 0,1 4 3 16,0-2-5-16,-1-1-3 0,2 3-16 0,-3-2 1 16,3 1-6-16,-1-1-7 15,0 3 0-15,-1-1 8 0,-1-1-16 0,0 2-5 16,-5 1 15-16,12 0-28 0,-12 0 21 0,6 2-10 15,-3 1 17-15,2-2-25 0,-5-1 15 16,3 5-2-16,1-3-6 0,-4 2 16 16,3-2 0-16,-3-2-34 15,3 6 42-15,-3-6-29 0,2 2-58 0,-2-2 2 0,2 3 33 0,-2-3 3 0,3 3 10 16,-3-3 39-16,3 3 27 0,-3-3-14 16,0 0-11-16,0 0 92 0,12-3-20 0,-6 1-19 15,-1 1-14-15,1-2 20 0,0 1-21 16,2 1-4-16,0-3-21 0,-3 3 2 15,3 1-2-15,0 0-11 0,0 0-1 0,-1 1 6 16,3 3 6-16,-2-3-36 0,2 3 3 0,0 0-21 16,-2 0-10-16,2 3-39 0,0-2-38 0,0 1-30 15,-2 1-44-15,0-1-41 0,0 1-52 16,-3 1-25-16,0 1-89 0,-2-1-211 0,1 1-511 16,-3 1 82-16,-1-1 117 0,-1 1 100 0,-3 1 82 15,-2 0 64-15,-1-1 149 0</inkml:trace>
  <inkml:trace contextRef="#ctx0" brushRef="#br0" timeOffset="25506.07">17525 6805 793 0,'0'0'335'0,"0"0"-20"16,5-1 51-16,-5 1-30 0,0 0-37 0,0 0-12 16,11 5-31-16,-9-1-26 0,-2-2-2 15,0-2-44-15,-2 10-10 0,-3-5-10 16,2 2-26-16,-2-1-17 0,0-1-1 0,-1 2-15 0,1-1-5 15,-2-2-11-15,4 2-12 0,-2-1-13 16,2 0 3-16,-2 1-19 0,3-4-7 16,1 4 0-16,-1-3 5 0,2 0 5 0,0 2-20 15,2 1 2-15,1 0 24 0,0-3-21 0,0 3-8 16,-1-1 33-16,3 2-46 0,-2-1 6 16,-1 0 22-16,-2-1 19 0,3 2-29 0,-3 0-5 15,0-2 6-15,-3 0-68 0,1 2 19 16,-1-1-16-16,-2 0 8 0,0 0 16 0,-1 0-6 15,-1-2 0-15,0 1 0 0,-1 1 3 16,0-3-16-16,0 0 6 0,1 2-8 0,-4-3-34 16,4-1-22-16,-1 2-29 0,-2-1-20 0,4-2-15 15,-1 0-50-15,2 4-147 0,0-3-118 16,5-1-423-16,-8 1 87 0,3-1 90 0,5 0 69 16,0 0 34-16</inkml:trace>
  <inkml:trace contextRef="#ctx0" brushRef="#br0" timeOffset="25733.18">17689 6857 1261 0,'0'0'372'15,"0"0"-52"-15,0 0-47 0,0 0-50 0,0 0-72 16,0 0-102-16,0 0-175 0,3 12-611 0,-6-7 61 16,3 0 54-16</inkml:trace>
  <inkml:trace contextRef="#ctx0" brushRef="#br0" timeOffset="25868.53">17661 7058 1090 0,'0'0'369'15,"-3"5"-21"-15,3-5-51 0,-4 0-18 0,4 0-29 16,0 0-24-16,0 0-52 0,0 0-36 16,-3 4-82-16,3-4-43 0,0 0-103 0,-5 3-196 15,5-3-482-15,0 0 97 0,0 0 47 0,0 0 71 16</inkml:trace>
  <inkml:trace contextRef="#ctx0" brushRef="#br0" timeOffset="26221.17">17964 6814 1146 0,'4'-1'364'0,"-4"1"-34"15,0 0-38-15,6-4-18 0,-6 4-26 16,0 0-38-16,0 0-8 0,5 8-15 0,-5-5-31 15,0 2-10-15,0 1-26 0,0 0-15 0,0 1 8 16,0-1-16-16,0 2-20 16,0 2-5-16,-3-2-14 0,3 3 19 0,0-3-15 0,0 2-6 15,0-2 5-15,0 0 1 0,-2 3 2 0,0-4-5 16,1 0 43-16,-4 3-25 16,3-2 2-16,-1-2-10 0,-4 4-12 0,1-2-1 0,-1-2-13 15,-1 2-2-15,0-2 13 0,0 1-41 0,1-1-31 16,-1 0-8-16,0-1-73 0,0 1-101 15,1-1-156-15,2 0-583 0,1-3 86 16,0 3 62-16,4-5 85 0,0 0 138 0,0 0-18 16</inkml:trace>
  <inkml:trace contextRef="#ctx0" brushRef="#br0" timeOffset="26502.01">18048 6974 1149 0,'3'2'333'0,"-1"2"-121"16,-1-1-20-16,3 0-18 0,2 0 8 0,2 1-21 0,-1-3-15 16,0 1-5-16,2 1 20 15,0-3 67-15,0 0 7 0,1-1 21 0,-3-1-102 16,1 0 12-16,0 1 8 0,-1-3-2 0,-2 1 20 16,1-2-13-16,-2 0 10 0,0-1-27 0,-2 1 81 15,-2 2-28-15,0-3-23 0,0 1-16 16,-2 0-32-16,-2-1 7 0,-3 2-13 0,2 0-56 15,0-2-31-15,-3 4-43 0,-2-2-44 0,0 3-49 16,0 1-32-16,1-2-29 0,-3 2-56 16,2 2-134-16,0-2-665 0,-1 2 77 15,4 1 87-15,1-2 57 0,1 0 78 0,5-1 60 16</inkml:trace>
  <inkml:trace contextRef="#ctx0" brushRef="#br0" timeOffset="26701.43">18307 6853 1269 0,'0'0'461'16,"10"4"-6"-16,-10 0-48 0,3-1-35 0,-3 4-17 15,3 2-122-15,-3-1-5 0,2 2-31 16,-2 0-5-16,0 3-31 0,2 2-22 0,-2-2-32 16,-2 1-35-16,2-1-49 0,-2 0-36 15,2 1-41-15,-3 1-28 0,3-3-58 0,0 1-75 16,0-1-126-16,-3-3-491 0,6 2 72 15,-3-4 49-15,0 1 65 0,0-2 65 0</inkml:trace>
  <inkml:trace contextRef="#ctx0" brushRef="#br0" timeOffset="26976.96">18376 6865 1046 0,'10'-1'361'0,"-2"1"-30"0,0 1-6 15,0 1-41-15,-3 0-21 0,0 0 9 16,3 1-42-16,-3 0 49 0,-1 1 15 0,0-1-50 16,-2 2-11-16,-2 1-26 0,0-1-18 0,-5 1-17 15,0 0-16-15,-3 1-102 0,0 0-21 16,-2-1-13-16,0 1-27 0,-1 0-19 15,1-2-28-15,-2 1-33 0,4 0-25 0,0-4-42 0,-2 3-69 16,5 0-127-16,-8 0-65 0,10-2-455 16,-1 1 84-16,4-2 159 0,0-2 30 0,0 5 68 15</inkml:trace>
  <inkml:trace contextRef="#ctx0" brushRef="#br0" timeOffset="27679.24">18525 7029 1034 0,'-5'5'304'15,"2"-2"-32"-15,3-3-29 0,-4 3-15 0,3 2-24 16,1-5-17-16,-5 4-3 0,5-4-30 16,0 2 82-16,0-2-21 0,-2 5-6 0,2-5-6 15,0 0 4-15,0 0-12 0,0 0-6 0,0 0 16 16,0 0-26-16,0 0 5 0,0 0-58 0,18-11-34 15,-13 6 5-15,2-1-7 0,-1-1 7 16,1-1-8-16,3 0-14 0,-2 2-4 0,0-1 11 16,0-2-41-16,-1 4 31 0,1 1 2 15,-2-1-20-15,1 0-11 0,-4 5 19 16,4-2-21-16,-2 1 20 0,-5 1-25 0,8 0 2 0,-8 0 6 16,8 3-21-16,-3-3 10 0,0 5-5 15,-5-5-10-15,5 2 0 0,1 1 8 16,-2-2-41-16,2 1 38 0,1-2-8 0,-2 1 0 15,3 1 6-15,2-2-6 0,-2 2-12 0,2-2 9 16,0 1 14-16,-2 3-3 0,0-3-13 0,2 1-5 16,0 1 6-16,-2 0 17 0,2 1-10 15,-2-3 66-15,-1 3-4 16,4-1-47-16,-4 0-36 0,1-1-38 0,0 3-64 0,2-3-56 0,-2-1-21 16,-1 3-58-16,3-3-162 0,1-1-292 15,-1 4-309-15,3-3 84 0,2 0 154 0,-2-1 45 16,3 0 78-16,2-4 86 0</inkml:trace>
  <inkml:trace contextRef="#ctx0" brushRef="#br0" timeOffset="30689.56">18533 7088 691 0,'0'0'312'0,"0"0"-43"0,0 0-16 15,-5-2-12-15,5 2-80 0,0 0-23 16,-3-4-12-16,3 4 4 0,0 0-2 16,0-4-8-16,0 4-10 0,-2-3 6 0,2 3-19 15,0 0-18-15,0-6 8 0,0 6-7 0,2-6 4 16,0 4-2-16,-1-3-5 0,-1 5-8 16,5-6-18-16,-1 1 11 0,0 0 9 0,1 1-7 15,2-1-13-15,-2 0 1 0,3 0-11 0,-2-1 5 16,1 2-10-16,1 0 2 0,0 0 0 15,-1 0 21-15,1 0-28 0,-3 3 10 16,3-4-18-16,-1 5 18 0,-2-1-13 0,1 1-15 16,-6 0 17-16,13 0-4 0,-6 1-13 0,-4 3 87 15,4-3-13-15,-4 1-16 0,2 2 19 16,0-1-23-16,-2 1-14 0,2 0 1 0,-1-2-10 16,-3 3-9-16,4-3 19 0,-3 2-26 15,-1-2 3-15,4 1 0 0,-3-1-8 0,-2-2-5 16,3 6 7-16,-3-4 9 0,2 1-9 0,-2-3-12 15,3 3 2-15,-3-3 8 0,3 4-12 16,-3-4-4-16,2 2 19 0,-2-2-18 16,4 4 2-16,-4-4 33 0,0 0-32 0,4 1-11 0,-4-1 25 15,0 0-9-15,0 0-1 0,10-4 5 0,-10 4 3 16,11-2-20-16,-7 0 20 16,4-1-10-16,0 0 33 0,0 0-33 0,-1 0-77 15,3-1 20-15,1 1-10 0,-4 0 11 0,5 1 7 16,-3-2 8-16,1 3-5 0,0 1 17 15,0 0 9-15,0 0-19 0,-1 1 11 0,1 0 15 16,0 4-5-16,-2-2 12 0,2 0-7 16,-2 3 3-16,0 1-3 0,-3-2 0 0,2 0-5 0,-4 1 2 15,4 0-28-15,-4-2-15 16,-1 0-7-16,2 1-47 0,-2-2-23 0,0 1-18 0,1 1-82 16,0-2-127-16,-3 3-73 0,2-3-455 0,-2-3 90 31,0 3 145-31,0 3 6 0,0-6 102 0</inkml:trace>
  <inkml:trace contextRef="#ctx0" brushRef="#br0" timeOffset="31271.67">17976 6825 1187 0,'0'-5'277'0,"-2"2"-16"0,0-1-18 0,0 0-28 16,-2 1-28-16,-1-2-11 0,2 0-17 0,-1 2-36 16,-2-2-16-1,1 3-45-15,-3-2-54 0,0 4-39 0,1 0-136 0,-1-2-83 0,-1 4-447 16,0-2 4-16,-1 4 101 0,2 0 63 0</inkml:trace>
  <inkml:trace contextRef="#ctx0" brushRef="#br0" timeOffset="31903.53">17941 6755 1203 0,'0'0'343'0,"7"0"-16"16,-7 0-48-16,8 0-25 0,-8 0-24 15,8 1-25-15,-6 1-21 0,3 1-12 0,-2-1-19 16,-1 2 1-16,-2-4-21 0,3 6-21 16,-3-2-7-16,0 1 0 0,-3 0-13 0,-1 2-10 15,0 0-12-15,-3-2 19 0,2 2-22 16,-5 0-11-16,5-1 5 0,-6 1-4 0,6-1-9 0,-3-1-14 15,4 1-11-15,-2-1 5 16,3-3-3-16,-2 3-4 0,3-2 12 0,2 1-5 16,0-4-15-16,-2 5 33 0,2-5-33 0,4 2-10 15,1 1 12-15,-5-3-13 0,8 3 9 16,-5-3-1-16,2 5 5 0,0-4-2 16,0 0-10-16,2 2 2 15,-1 0 20-15,-1 0-76 0,1-1-13 0,1 0 26 0,-4 2 2 0,4-1 3 16,-4 1 7-16,2 0 11 0,-2-2 12 15,-1 3-7-15,1-1 7 0,-3 0 3 0,0 1-5 16,0-5 3-16,-1 7 9 0,-1-2 4 0,-3 0-1 16,0-2-5-16,-1 3-23 0,-1-4-8 15,0 3-35-15,-1 0-39 0,0-3-59 0,-2 4-94 16,2-5-146-16,1 3-456 0,-2-3 59 0,0 4 100 16,1-3 30-16,0 2 77 15</inkml:trace>
  <inkml:trace contextRef="#ctx0" brushRef="#br0" timeOffset="33002.71">5947 4758 790 0,'-5'-1'341'0,"5"1"-34"15,0 0-23-15,0 0-33 0,0 0 0 0,0 0-41 16,0 0-21-16,15 6-20 0,-7-4-20 16,2 2-21-16,0-3-47 0,1 1-78 0,1 1-90 15,2-1-87-15,-2 2-213 0,3-2-378 16,-1 0 105-16,0 0 84 0</inkml:trace>
  <inkml:trace contextRef="#ctx0" brushRef="#br0" timeOffset="33443.08">6690 4821 645 0,'0'0'250'0,"0"0"-35"0,21 0-51 0,-14-2-36 16,-1 2-54-16,1 0-71 0,1-3-121 15,2 1-319-15,-2 2-173 0</inkml:trace>
  <inkml:trace contextRef="#ctx0" brushRef="#br0" timeOffset="34334.98">9075 4802 716 0,'0'0'233'0,"0"0"-51"0,15-2-95 16,-8 2-77-16,1 0-120 0,3 0-15 0,-1 0-446 15</inkml:trace>
  <inkml:trace contextRef="#ctx0" brushRef="#br0" timeOffset="34665.11">10106 4762 591 0,'9'0'192'0,"0"0"-28"16,1 0-83-16,5-3-42 0,1 2-49 15,6-1-44-15,-1-3-130 0,2 3-331 0</inkml:trace>
  <inkml:trace contextRef="#ctx0" brushRef="#br0" timeOffset="45277">13210 4358 1149 0,'-7'-2'443'0,"1"-1"-49"16,4 3-28-16,2 0-44 0,-3-2 1 15,3 2-65-15,0 0-12 0,0 0-23 0,0 0-39 16,15 0-7-16,-4 0-11 0,4 1-43 0,4 0-31 16,1 2-20-16,-2-3-41 0,2 2-6 0,3 0-43 15,-4 1-30-15,-5-2-50 0,2 1-55 16,-3 1-55-16,-3 0-35 0,-5 2-23 16,0 0-46-16,-7-1-8 0,-1 3-62 0,-2 0-45 15,-3-1 99-15,-4 1 139 0,-1-1 97 16,0 0 61-16,-2 0 62 0,4-3 51 0,-1 2 38 0,-1 0 23 15,5-3 3-15,0 1-5 0,1-1-5 16,1-1-3-16,1 3 2 16,5-4-32-16,-2 1-1 0,2-1-12 0,0 0-8 0,0 0 5 15,15 1-23-15,-5-2-21 0,1 1-61 16,4-1-115-16,3-3-33 0,3 2-587 16,1-2 54-16,-1 2 42 0,5-4 76 0</inkml:trace>
  <inkml:trace contextRef="#ctx0" brushRef="#br0" timeOffset="59025.42">460 8451 1011 0,'-3'-5'335'0,"3"5"-18"0,0-5-35 0,0 5-31 16,-2-3-23-16,2 3-19 0,0 0-19 0,0 0-3 16,-2 11-29-16,2-3 6 0,0 3-31 15,-1 1-7-15,1 2-3 0,0 3-21 0,-2 2-5 16,2 0-12-16,-3 1 68 0,3-1-20 15,-2 0-23-15,1 3-25 0,1-4 25 0,0 1-59 16,0-3-41-16,1-1-4 0,-1-1-32 16,2 0-5-16,-2-4-51 0,3 3-43 0,-3-5-49 15,0-1-51-15,3-1-34 0,-1 0-99 16,0-2-466-16,-1-2 84 0,-1-2 74 0,7 0 44 16</inkml:trace>
  <inkml:trace contextRef="#ctx0" brushRef="#br0" timeOffset="62433.28">445 8348 588 0,'0'0'272'0,"0"0"-40"0,12 1-14 0,-12-1-3 15,11 1-8-15,-4 1-33 0,1 0-5 0,3 0-10 16,-1-1-21-16,5-1 1 0,0 0-17 16,1 0-6-16,1 1-17 0,0 1-6 0,3-2 1 15,1-2-14-15,4 1-1 16,-2 1-20-16,0 0-3 0,0 0-5 0,1 0 11 0,0 0-21 16,0 0 10-16,-3 0-13 0,1 0 24 0,-1 0-11 15,-1 0-13-15,1-1-9 31,-1 1 17-31,-2-1-16 0,1 0-2 0,3-1-7 0,-3 0 5 0,1 2-1 0,0 0-9 0,3-1 1 0,-4 0-1 16,-1 1-1 0,2-3 0-16,-2 2 3 0,0 1 0 0,-1 0 13 0,-1 0-16 0,-1 0-4 15,3 0-4-15,-2 0 1 0,2 0 12 16,-1 0-4-16,-1 0 9 0,2 0-14 0,-3 0-9 16,3 0 11-16,-2 0 8 0,1-2-24 15,0 2 16-15,1-2-13 0,2 1-5 16,-3 0 12-16,1 1-7 0,0-1 11 15,-2-1-14-15,-1 0 3 0,3 1-3 0,-3 0 19 0,-1 0-29 16,0 1 8-16,0-1 20 0,-2 1 1 16,-1-3-6-16,1 3-3 0,-2 0-4 0,-1 0 0 15,0 0-1-15,2-1 3 0,-1 1 3 16,-2 0 2-16,2 0-10 0,0 0-74 0,0 0 2 16,-1-1 8-16,1 1-5 0,2 0 21 0,-3-1-1 15,3 1 13-15,-2-2 11 0,1 1-14 0,1 1 8 16,-2 0-2-16,0 0 13 15,1 0-6-15,2 0-5 16,-3 0 19-16,0 0-9 0,1 0 18 0,-1 0-2 0,2 0-5 0,-4 0 5 16,2 0-5-16,1 0 15 0,-1 0-3 15,0 0 6-15,-1 0-8 0,1 0-25 0,2 0 30 16,-2 0-3-16,1 0-4 0,1 0-3 16,-1 0 15-16,2 0-18 0,-1-2 8 0,-1 2-5 15,4 0 2-15,-5-1-7 0,5 1 5 0,-4 0-3 16,1-1 11-16,2 1-6 0,-2-2 3 0,1 1 3 15,-3 1-13-15,3 0 7 16,-2 0-2-16,1 0 0 0,-2 0 31 0,1 0-16 0,-1-1-5 16,0 0-3-16,0 2-4 0,-1-1-1 15,0-1 6-15,-1 1 7 0,0 0-10 16,2-1 0-16,-4 1 5 0,1 0-12 0,1 0 14 16,2 0-9-16,-3 0 7 0,1 0-10 0,2-3 20 15,-1 3-12-15,1 3 4 0,0-3 19 16,2-3-34-16,-2 3 85 0,3 0 5 0,-2 0-31 15,2 0 23-15,-1-1-28 0,-1 1-7 16,2-1 15-16,2 0-34 0,-2 1 16 0,0 0 7 16,4 0-20-16,-4 0 6 0,1-2-17 0,0 2 1 15,0-1 10-15,-2 1-7 0,1 0-4 0,0 0 1 16,-3-2 0-16,3 2 5 16,0-1-5-16,-1-1-6 0,-1 0 4 0,2 2-4 15,-1 0-2-15,1 0 11 16,-2-1-24-16,1 0 11 0,3 0 12 0,-2-1 3 0,3 1-5 15,-1 1-8-15,1 0-3 16,-3-2 1-16,4 2-1 0,-1-3-4 0,-1 2 4 0,-2 1-4 0,3-1 7 16,-1 1-18-16,-2 0 3 0,0-1 25 15,-1 1-17-15,-2-1 7 0,0 1 10 0,1-2-20 16,-1 0 5-16,-2 2 0 0,2 0 16 0,-2 0-14 16,-3-1-2-16,3 0 0 0,-8 1 21 15,13-1-19-15,-8 1 6 0,-5 0 17 0,10-2-7 16,-10 2-10-16,8-1 12 0,-8 1-4 15,8 0 2-15,-8 0-8 0,4-1 3 0,-4 1 12 16,0 0-17-16,8 0 0 0,-8 0 10 16,0 0-11-16,0 0 9 0,8 1-9 0,-8-1 9 15,0 3-6-15,0-3-5 0,2 3 13 0,-2-3 10 16,3 7-18-16,-3-6 8 0,2 4 5 16,1-1-2-16,-3 0-8 0,1 1 5 0,1 1 5 15,-2 0 10-15,0 1-15 0,2 2 2 16,-2-1 6-16,-2-1-13 0,2 4 20 15,0-3-7-15,0 3-24 0,-3 0 21 0,3-1 5 0,-3 2-10 16,3 0 13-16,-2 1-21 0,2 1 8 0,-5-3-3 16,2 3-15-16,1 0 21 15,0-2-13-15,-1 2-1 0,0-1 3 0,0 1-12 0,1-2 22 16,-3 1 3-16,4-1-7 0,-1 1-19 16,0-2 16-16,-1 2-10 0,0-1-1 15,1-1 14-15,0-1-9 0,1 1-2 0,-1-1 8 16,2 0-8-16,-3 0 5 0,3-1-15 0,-2 1 10 15,1-2 6-15,0 1-14 0,0 0-5 16,1-2 6-16,-2-1-16 0,2 3 13 0,0-2 5 16,-3-3 0-16,3 2 10 0,0 0-5 0,0-1-12 15,-2 0 32-15,2-1-35 16,-1 0 12-16,1-4-2 0,0 6 8 0,0-1 5 16,0-5-18-16,-2 5 13 0,2-5 4 0,0 4-1 0,-3 0-14 15,3-4 26-15,0 5-15 0,0-5-6 16,0 0 6-16,-2 3 2 0,2-3-2 15,0 0-11-15,-1 5 6 0,1-5-6 16,0 0-2-16,-2 1 8 0,2-1 12 0,0 0-15 16,0 0-2-16,-7 4 42 0,7-4-42 15,0 0 10-15,0 0 4 0,0 0 4 0,0 0 7 0,-13-4-18 16,13 4-13-16,-3-1 31 16,3 1-18-16,-8-1-7 0,8 1 7 0,-7-1-13 15,7 1 3-15,-5-3 5 0,5 3 5 0,-10-1-7 16,4 1 12-16,6 0-18 0,-10-1 31 15,10 1-25-15,-10 0-8 0,5 0 12 0,5 0 1 16,-11 0-19-16,11 0 14 0,-12 1-1 16,6-1-10-16,1 0 21 0,-3 1-5 0,8-1 17 15,-13 2-25-15,6-2 5 0,0 1 5 0,-1-1-2 16,2 1 2-16,-4 0-13 0,3 0 21 0,-1-1-18 16,0 0-8-16,0 4 10 0,1-3 21 15,-4-1-18-15,4 1-7 0,-1-1 14 0,0 0-9 16,0 1-3-16,-1 1 7 0,1-1 3 15,0 0-5-15,1-1-7 0,-1 1 2 0,0-1 7 16,8 0-2-16,-13 1-8 0,5 1 6 0,1-1 4 16,-1 0-4-1,0 0 15-15,0 0-3 0,1-1 0 0,0 0-7 0,1 4-3 0,-4-3 18 16,5-1-21-16,-2 1 0 0,1 0 6 16,-4 1-6-16,5-1-7 0,-3 0 3 0,0-1 7 15,1 2 0-15,-1-1 7 0,-2 1-17 0,2-1 2 16,0 0 16-1,1-1-13-15,-1 3 2 0,0-3-2 0,1 1 15 0,1 1 3 0,-1-2-3 16,1 0-12-16,-1 2-1 0,7-2 11 16,-10 3-11-16,4-3-2 0,6 0 10 15,-12 1-2-15,6-1-16 0,-1 0 11 0,7 0 14 0,-13 1-17 16,8-1 10-16,-3 2-5 16,0-2 0-16,1 1-15 0,-1 0 33 0,0-1-21 0,1 2-2 15,-1-2 8-15,1 0-1 0,-1 0-4 16,-2 1-3-16,1 1-3 0,2-1 8 15,-1-1-10-15,1 1 7 16,7-1 14-16,-13 0-24 0,5 0 15 0,3 1 14 0,5-1-11 0,-13 0-10 16,8 0 23-16,5 0-8 0,-13-1-20 0,5 1 10 15,8 0 5-15,-13 0-8 0,6 0 1 16,-1 0-9-16,-2 1 19 0,0-1-3 16,2 0-10-16,-2 0 8 0,0 0-9 0,-3 0-4 0,2 0 13 15,1 0-6-15,-3-1-15 0,3 1 21 16,-2 0-8-16,1 0 0 0,1-1 12 0,-3 0-9 15,1 1 12-15,3 1-7 16,-3-2-3-16,1 1 23 0,1-2-16 0,0 1-9 0,0 1 7 16,0 0-13-16,1 0-2 0,0-2 33 15,0 2-31-15,-1-1-7 0,3 0 15 0,-1 1 2 16,-1-2-2-16,1 1 8 0,0 1-13 0,8 0 18 16,-13 0-16-16,5 0-4 0,8 0-1 15,-13 0 5-15,6 0 6 0,7 0-1 0,-11 0 14 16,4 0-14-16,7 0-7 0,-11 0 21 15,6-1-27-15,5 1 6 0,-10 0 5 0,10 0 5 16,-8 1-17-16,8-1 19 0,-8 0-20 0,8 0 3 16,-10 0 0-16,10 0 13 0,-10 0-21 15,5 1 13-15,-2 2-3 0,1-2-5 0,-1 1 10 16,1-2 3-16,-4 0-15 0,2 1 0 16,1 1-6-16,-4 0 8 0,1-1 26 0,3-1-15 15,-3 0-9-15,-1 0 22 0,1 2-16 0,0 0-6 16,-1-1 16-16,1-1-17 0,0 0-1 15,2 1 26-15,-5-1-16 0,3 0-2 0,0 0 8 16,2 1-11-16,-2-1 5 16,-3 0 6-16,2 0-8 0,1 0-11 0,0 0 27 15,-2 0-14-15,1 0 6 0,-1-1 9 0,1 1-12 0,-2 0 0 16,1 0 13-16,1 0-15 0,-4 0-3 0,4 1 10 16,-2-1-8-16,1 0 1 0,0 0 14 15,1 2-27-15,-3-2 12 0,2 1 11 16,0-1-3-16,1 1-5 0,-2-1 8 0,3 0-13 15,-1 0 2-15,-1 0 11 0,4 0-11 16,-3-1-7-16,2 1 33 0,1-1-20 0,-2 1-8 16,3 0 15-16,-2-2-5 0,2 2-5 15,-1-1 0-15,3 1-10 0,-5-1-1 0,2 1 14 0,0-1 7 16,1-1-17-16,1 0 12 0,-2 2-5 16,1 0-3-1,-3-1-15-15,2 0 5 0,-2 0 19 0,2-2-19 0,0 3 15 0,-2 0-30 16,2-3 28-16,1 2 8 0,-1-1-6 0,0 1-9 15,1 1 30-15,1-1-36 0,-1 0 10 16,2-3 3-16,-5 4-5 0,2 0 8 0,0-2-6 16,0 1 11-16,0-1-5 0,1 1-19 0,-1 1 16 15,1-1-7-15,-1 0 22 0,3-2-5 16,-3 1-2-16,0 2-6 0,1-1-2 0,0-2 0 16,0 2 3-16,0 0-6 0,0 1-7 0,1-1 25 15,-1-3-27-15,1 4 19 0,1 0 29 16,5 0-18-16,-13-2-15 0,9 1 7 15,-2-2-13-15,-2 2 16 0,8 1 10 0,-10-2-23 16,5-1 10-16,0 2 8 0,5 1-18 0,-7-1 11 0,1 0 6 16,6 1-6-16,-9-1-16 15,9 1 10-15,-8-3-5 16,8 3 2-16,-8 0 16 0,8 0-36 0,-7 0 21 0,7 0 5 0,-8-2 2 16,8 2-10-16,-6-1 20 0,6 1-15 15,-7-1-12-15,1-1 19 0,6 2 12 0,-10-1-19 16,10 1 20-16,-8 0-30 0,8 0 10 15,-12 0 34-15,7 0-34 0,5 0 0 0,-14 0 5 16,7 0-12-16,7 0-1 0,-13 0 8 16,8-1-5-16,-2 1 13 0,7 0-8 0,-11 1-8 0,4-1 16 15,7 0-15-15,-11-1-11 0,11 1 13 0,-10 0 8 16,5 1-16-16,5-1 18 16,-10-1 13-16,10 1-25 0,-8 0 2 0,8 0 2 15,-8 1-7-15,8-1 5 0,-8 0-5 0,8 0 2 16,-7 1 16-16,7-1-15 0,-8 0 12 15,8 0-13-15,-10 3 6 0,10-3 10 0,-7 1-1 16,7-1-14-16,-6 1 7 0,6-1 5 0,-7 1-74 16,7-1 5-16,-6 0-2 0,6 0 2 0,-7 0 26 15,7 0 15-15,0 0 3 0,-8 0-1 16,8 0-9-16,-5 3-1 0,5-3-7 16,0 0 43-16,-9 1-20 0,9-1 10 0,-4 1 0 15,4-1-3 1,0 0 16-16,0 0-13 0,0 0 2 0,-10-1 11 0,10 1 3 0,0 0-6 15,-10 0 23-15,10 0 6 0,-6 1-19 0,6-1-2 16,-8 0 10-16,8 0-5 0,-10 1-10 0,5-1 15 16,5 0 0-16,-8 0-10 15,8 0 13-15,-10 0 0 0,10 0 10 0,-10 0-16 0,5 0 14 16,5 0 2-16,-10 1-13 0,4 1 13 16,6-2-6-16,-10 1 22 0,5-1-14 0,5 0-2 15,-10 1 5-15,10-1-5 16,-11 1-5-16,11-1-5 0,-7 0 7 0,7 0-7 0,-7 0 0 15,7 0-19-15,0 0-4 0,0 0-16 0,-9-1-25 0,9 1-5 16,0 0-16-16,-4-2-41 0,4 2-10 16,0 0-17-16,-1-4-30 0,1 4-6 15,0 0-27-15,5-6-4 0,-5 6-34 0,8-5-104 16,-3 4-75-16,-2 0-118 0,7 0-376 16,-2-3 54-16,-1 3 115 0,2-3 87 0,0 3 54 15</inkml:trace>
  <inkml:trace contextRef="#ctx0" brushRef="#br0" timeOffset="66505.45">15297 11281 1523 0,'0'-2'422'0,"0"2"-23"16,3-7-56-16,-3 7-36 0,0-3-35 0,0 3 4 15,0 0-25-15,0 0 7 0,-8 11-30 16,1-4-18-16,-4 5-5 0,1 0-3 0,-8 3-23 16,-3 7 77-16,-4 2-102 0,-1 1-29 15,-2 0-7-15,-1 2 69 0,-1 0-21 16,2-1-27-16,5 0-9 0,-3 0 6 0,5-5-21 0,6-2-20 15,0-3 2-15,7-3-28 0,0-3 3 16,1 1-1-16,2-1-17 0,2-3 15 31,0 1-7-31,4-2-21 0,1-1 15 0,3 0 10 0,0-3-17 0,5 4-16 0,1-5 34 0,4 3-18 16,0-3 2-16,1 1-13 0,2-2 18 16,5 0-20-16,0 0 13 0,0-2-16 15,2 2 11-15,-4-1-21 0,3 0 23 0,-2-2-49 0,-3 3 6 31,-4-1-24-31,2-1-14 0,-4 1-35 0,1 0-22 0,-4-1-56 0,0 2-6 0,0-1-20 0,-2 1-20 16,-3-1-39-16,0-2-64 0,0 3-141 16,-5 0-186-16,3-2-449 0,-1-1 169 0,-2 3 29 15,0-5 138-15,0 5 94 0,-3-9 42 0,1 2 40 16</inkml:trace>
  <inkml:trace contextRef="#ctx0" brushRef="#br0" timeOffset="66735.92">15374 11299 1059 0,'0'-2'443'0,"0"2"-10"0,0 0 15 16,0 0 53-16,0 0-40 0,-2 15-18 0,2-3-41 16,-6 6-44-16,2 3 8 0,-7 17-123 0,1 2 0 15,-6 11-30-15,-2 5-31 0,-4 1-6 0,-1 4-27 16,-1-2-32-16,-1-3-42 15,-1 3-45 1,3-5-96-16,0 1-54 0,-1-5-44 0,4-1-56 0,5-11-67 0,2-4-197 0,0 0-496 16,-2 0 97-16,7-8 41 0,0-5 161 15,1-3 28-15,4-1 69 0</inkml:trace>
  <inkml:trace contextRef="#ctx0" brushRef="#br0" timeOffset="87308.67">22302 460 1354 0,'0'0'404'0,"0"0"-12"0,0 0-54 15,5 7-26-15,-6-3-33 0,1 2-26 16,-4 1 3-16,1 2-48 0,-2 0-29 0,0 3-5 15,2-1-26-15,-2 5-7 0,-2 1-8 16,1-1-2-16,-1 4-39 0,-1 2 3 0,0-1-14 16,-2 0-14-16,2 0 17 0,-2-1-22 0,2 0 2 15,1-3-23-15,-1-1 15 0,2-2-46 16,-1 0-33-16,2 0-23 0,1-4-2 0,-2 2-34 16,3-3-28-16,-2 1-31 0,3-4-56 15,-1 2-31-15,0-3-92 0,3 0-69 16,-2-2-474-16,2-3 75 0,0 5 61 15,0-5 133-15,0 0 18 0</inkml:trace>
  <inkml:trace contextRef="#ctx0" brushRef="#br0" timeOffset="87633.92">22239 492 1205 0,'1'-4'428'0,"-1"1"-44"0,5 1-26 15,-2 0-30-15,-3 2-26 0,8-2-41 0,0 2-8 16,0 3-28-16,0-1-25 0,-2 1 15 15,4 1-44-15,0 1-40 0,-2 0 5 0,1-1-52 16,0 2-20-16,-1-1-20 0,0 1-55 0,0 0-40 16,2 1-64-16,-2-1-128 0,-1 1-249 15,4-2-386-15,-4 0 64 0,3-1 146 0,-2 0 26 16,2-2 71-16</inkml:trace>
  <inkml:trace contextRef="#ctx0" brushRef="#br0" timeOffset="87869.9">22678 463 1264 0,'0'0'458'0,"-15"0"-23"15,5 2-33-15,-3 2-15 0,0-2-62 16,-5 3-28-16,3 3-16 0,-6 1-43 0,-2 2-7 16,3 1-34-16,-11 5-26 0,0 0-32 15,6 2 4-15,-1-1-61 0,3-1-26 0,5-4-33 16,0 3-43-16,3-2-24 0,2-3-71 0,0 0-59 15,3-1-128-15,-3 1-95 0,7-3-499 0,2-2 62 16,1-1 135-16,3-1 51 0,0-1 101 16</inkml:trace>
  <inkml:trace contextRef="#ctx0" brushRef="#br0" timeOffset="88068.01">22594 469 1131 0,'4'-4'392'0,"-3"3"43"0,-1 1-31 0,0 0-40 0,0 0-32 0,0 0-4 0,0 12-34 0,0-4-38 16,0 2-5-16,-3 3-23 0,-1 1-23 0,0 3 0 15,0 2-34-15,-4 4-25 0,0-1 0 0,-2 1-26 16,2 1-28-16,1-1-33 0,-3-1-18 0,2 0-51 16,-2-2-36-16,2-3-36 0,0 0-36 15,3-2-66-15,0 1-123 0,-3-3-175 16,5-2-434-16,1-1 74 0,0-4 133 0,2 3 36 15,0-2 61-15,0-2 62 0</inkml:trace>
  <inkml:trace contextRef="#ctx0" brushRef="#br0" timeOffset="88366.04">22699 807 1072 0,'8'-13'422'0,"0"3"-15"0,0 0 44 0,-4 1-8 0,0-1-49 0,0 4 15 16,-2-2-40-16,0 1-31 0,-1-1 25 16,-1 3-73-16,3-2-91 0,-3 3-7 0,-3 0-23 15,3 4-10-15,-1-5-29 0,1 5-4 0,0 0-16 16,-16 5-10-16,10-1-3 0,-2 3-20 0,1 0 5 16,-1 1-18-16,-2 1-8 0,4 0-12 15,-1 1-6-15,0 0-18 0,1-1-25 0,1 2-31 16,2-2-15-16,1 1-31 0,2-2-25 15,0 0-36-15,5 0-1 0,-2 0-25 16,6-1-2-16,0-1-31 0,1-1-14 0,2-1-75 16,1 0-124-16,3-2-153 0,2-1-343 0,-3 0 104 0,5-2 47 15,1-2 120-15,-3 1 141 16</inkml:trace>
  <inkml:trace contextRef="#ctx0" brushRef="#br0" timeOffset="89411.06">23048 669 1389 0,'-8'0'369'0,"8"0"10"16,0 0-57-16,-10 3-4 0,4-1-124 0,-1 1-17 16,2 1-8-16,-3 0-18 0,2 2-8 15,-1 2-7-15,-3-1-18 0,3 1-8 0,-1 1-10 0,0 0-11 16,0 0-7-16,1-1-5 0,3 1-16 15,-2-1 1-15,0-1-11 0,4 0 5 16,0 0-15-16,-2 0 0 0,4-2-5 0,-2 0-8 16,2 0-2-16,2-2 10 0,-2-3-13 15,5 6-6-15,-2-5 4 0,-3-1 5 0,8 1-3 16,-8-1-3-16,12-3 11 0,-6 1 10 16,2-2 0-16,-3-2 2 0,3 2 11 0,-1-3-5 15,0 0 12-15,-1-1-5 0,2 3 6 0,-3-3-6 16,1 2 21-16,-2 0 0 0,-2 1 17 15,3 0 22-15,-2 2-55 0,2-2 103 16,-2 1-16-16,1 1-2 0,-3 0-36 16,-1 3-18-16,3-3 11 0,-3 3-44 0,0 0 25 0,0 0-5 15,0 0 1-15,0 0-34 0,0 0 28 0,0 0-46 16,-6 12 8-16,4-8 10 16,2 0-10-16,-2-1-10 0,2 1-11 15,0-4 8-15,0 10-8 0,0-6 1 0,-1-1 14 0,1 1-9 16,0 2-3-16,0-1-3 0,0-2 1 0,1 2-9 15,-1-1 11-15,0-4 5 0,0 7-7 0,0-4-1 16,0 1-33-16,0-4 33 0,2 7-30 0,-2-5 25 16,2 1 8-1,-2-3-13-15,3 5 8 0,-3-5-8 0,3 4-5 0,-3-4-7 0,5 4 7 16,-3-2 0-16,1 0 23 0,-3-2-11 0,5 3 14 16,0-2-23-16,-5-1 2 15,5 3 5-15,1-2 0 0,-6-1-5 0,7 3 26 16,-7-3-16-16,7 0 1 0,-7 0 12 0,10 0-15 15,-10 0 5-15,8 0 5 0,-8 0 12 16,8 0 11-16,-8 0-10 0,9-3 13 0,-5 2-18 16,2-1-16-16,1 1 13 0,-2-2-2 0,0 0-3 15,0 3 5-15,1-3 0 0,-1 1 3 16,1 1-6-16,-2-1-7 0,-4 2 16 0,10-2-19 16,-4 1 18-16,1-1-22 0,-7 2-11 15,8 0 0-15,-8 0 0 0,10 2 0 0,-4-1 0 16,-4 2 0-16,4-2 0 0,-4 2 0 0,2 0 0 15,-1 2 0-15,-3-1 0 16,3 1-6-16,-1 0-29 0,0-1-9 0,-1 0 34 0,-1 0-16 16,2 0 8-16,-2-1 23 0,3 1 11 15,-3 0-24-15,0-4 21 0,2 5-26 0,0-2 13 16,-2-3 49-16,1 3-11 0,-1-3-5 0,3 4-27 16,-3-4-6-16,0 0 0 0,3 3 0 15,-3-3 0-15,0 0 0 0,0 0 0 16,8-2 0-16,-8 2 0 0,0 0 0 0,9 0 0 0,-9 0 0 15,0 0 0-15,9-1 0 0,-9 1 0 16,0 0 0-16,8 0 0 0,-8 0 0 0,4 1 0 16,-4-1 0-16,5 2 0 0,-5-2-118 0,5 1-77 15,-5-1-51-15,3 3-7 0,-3-3-36 16,4 2-31-16,-4-2-28 0,5 3-126 16,-4-1-245-1,1-2-302-15,1 3 143 0,-3-3 69 0,0 0 61 0,3 3 91 0,-3-3 58 16</inkml:trace>
  <inkml:trace contextRef="#ctx0" brushRef="#br0" timeOffset="90650.98">22339 1255 1185 0,'0'0'363'0,"0"0"-38"15,0 0-5-15,0 0-38 0,0 0-19 16,-8 15-35-16,4-5-26 0,-1 1 13 0,-2 2-41 15,-1 3-10-15,3 0 49 0,-5 3-19 0,2 2-25 16,0-1-18-16,0 0-43 0,-2 1-24 16,0-1-33-16,2-3-43 0,0 0-31 15,-1-1-38-15,1 0-37 0,2-3-86 0,1 2-123 0,0-4-553 16,0-1 56-16,0-1 49 0,2 0 89 16,-2-4 52-16</inkml:trace>
  <inkml:trace contextRef="#ctx0" brushRef="#br0" timeOffset="90928.78">22250 1304 1180 0,'3'-3'391'0,"-3"-2"-30"0,2 3-23 15,-2 2-31-15,3-5 59 0,0 3-43 0,-3 2-19 16,12 1-43-16,-5 1-7 0,-3 2-32 0,4 0-9 15,-2 1-16-15,0 1-25 0,-1 1-11 16,1 0-38-16,-2 1-21 0,2 0-12 16,-1-1-52-16,-2 1-23 0,3 1-20 0,-2 1-43 15,0-3-32-15,2 4-25 0,-3-4-56 16,2 1-85-16,-1-6-138 0,2 6-550 0,-3-2 84 16,4 0 108-16,-2-2 59 0,3-1 104 0,-3 0 44 15</inkml:trace>
  <inkml:trace contextRef="#ctx0" brushRef="#br0" timeOffset="91121.95">22686 1285 1325 0,'-6'0'395'0,"6"0"-37"16,-14 4-2-16,4-1-47 0,1 3-27 15,-3 0-21-15,-1 2-28 0,-2 2-100 16,-4 2-5-16,-1 1-23 0,0 2 0 0,-5 2-23 15,1 5-23-15,1-7-31 0,5 0-31 0,0-2-22 16,3 0-31-16,-3 0-21 0,9-2-46 16,-3-1-154-16,-1 0-68 0,6-4-431 0,5 1 16 15,-1-1 123-15,3-3 38 0</inkml:trace>
  <inkml:trace contextRef="#ctx0" brushRef="#br0" timeOffset="91337.25">22617 1323 1310 0,'2'-2'394'0,"-2"2"-10"0,4-3-33 0,-4 3-34 15,0 0-30-15,0 0-21 0,8 8-84 0,-8-2-21 16,0 1-15-16,-1 1-10 0,-2 2-13 0,-1 2-16 16,0-1-2-16,0 4-13 0,-2 1 3 15,1-1-21-15,0 1-25 0,-5 1-11 0,5 0 34 16,-3-1-29-16,4 0-38 0,-3-1-30 15,3 0-26-15,-1-2-98 0,2-4-176 16,0 2-584-16,3-1 111 0,-2-1 27 0,2-1 144 16,0 1 39-16</inkml:trace>
  <inkml:trace contextRef="#ctx0" brushRef="#br0" timeOffset="91703.15">22717 1609 998 0,'8'-9'471'0,"-2"-1"-31"15,-2-1-23-15,1 4-23 0,-2-1-38 0,1 2-18 16,-4-1-23-16,1 3-31 0,1-3-61 16,1 2-24-16,-3 0-9 0,0 2-26 0,0 3-1 0,-3-6-24 15,3 6-1-15,0 0-31 0,-7 0 4 16,7 0 1-16,-10 5-9 0,7-2-22 15,-4 2 9-15,3 1-11 0,0 1 3 0,-2-1-23 16,3-1 3-16,-1 1-29 0,1 2 5 0,2-1-27 16,1-1-24-16,0 0-5 0,0 1-33 15,1-1-16-15,2-1-10 0,1 1-17 16,-1 0-24-16,3-3-15 0,1 1-16 0,-2-1-22 0,5-1-29 16,0 0-56-16,-2-1-174 15,2-1-497-15,1-1 96 0,-3 0 83 0,6-3 37 16,-5 2 83-16,-1 0 65 0</inkml:trace>
  <inkml:trace contextRef="#ctx0" brushRef="#br0" timeOffset="92246.32">23105 1321 1407 0,'1'-4'379'0,"-1"4"-36"0,0 0-20 15,0 0-19-15,0 0-14 0,-10 14-50 0,6-8 19 16,0 3-55-16,0 1-12 0,1 3-23 0,-4 2-13 16,1-1-12-16,2 4-29 0,-2-1 5 15,3 1-28-15,-2-2 54 0,2 1-20 0,1-4-8 0,-3 0-16 16,5 2-33-16,0-6 3 16,0 2-24-16,0-1-17 0,0-1 13 15,3-1-19-15,-3-1 1 0,4-1-3 0,-4 0 2 0,0-2-7 16,1-1 3-16,-1-3 12 0,2 3 0 15,-2-3-4-15,0 0 37 0,0 0 6 0,0 0-6 16,0 0-7-16,0 0 26 0,-10-9-19 16,5 7 8-16,5 2-2 0,-12-5-85 0,4 5 8 0,0 0 0 15,0 0 26-15,-1 0 4 0,-1 4 3 16,-4-1 6-16,5 1-24 0,-3 1 0 16,2 1 16-16,0 0-3 15,0 1-8-15,1-1-10 0,2 1 3 0,2-1 12 0,1 0 3 16,0 1-43-16,-1-2 5 0,5 1-9 0,3-2-4 15,-1 0-15-15,4 0-6 0,1-1-7 0,1-2-3 16,2-1 21-16,3 0-14 0,-3 0 22 0,5-2 2 16,1-2-19-1,-1 1 14-15,3-1 38 0,-3-2-15 0,-1 2 5 0,3-3 10 0,-3 2 13 16,-2 0 5-16,-2 2 8 16,0 0 5-16,-1 1-3 0,-1 0-8 0,-4 1 37 15,-4 1-29-15,10 2 6 0,-5 0-1 0,-2 2-10 16,-1-1 21-1,1 0-34-15,-3 2 6 0,0 1-37 0,-1-2-38 0,-1 2-51 0,0 1-22 0,0-2-25 16,1-1-37-16,-1 2-29 0,-1 0-142 16,-1 0-191-16,3-2-447 0,1 0 146 0,0-4 94 15,2 6 69-15,-1-3 98 0,-1-3 23 16</inkml:trace>
  <inkml:trace contextRef="#ctx0" brushRef="#br0" timeOffset="92384.06">23233 1570 1200 0,'0'-4'392'0,"2"0"-31"0,-2-1-47 0,0 1-32 0,0 4-13 16,2-6-108-16,-2 6-30 0,0-3-57 15,0 3-74-15,2-5-200 0,-2 5-591 0,0 0 77 16,0 0 128-16,0 0 12 0</inkml:trace>
  <inkml:trace contextRef="#ctx0" brushRef="#br0" timeOffset="93149.9">23392 1537 1126 0,'0'0'391'0,"0"0"47"0,0 0-39 0,-14 10-22 0,9-6-16 0,-2 1-26 16,-1 0-25-16,-2 0-31 0,2 1-8 16,1 1-41-16,-2-1-25 0,0 3-8 15,1-3-38-15,0 3-3 0,3-3-10 0,1 1-44 16,-2 0-33-16,3 0 3 0,0-1-5 0,3-1-24 15,0 2-15-15,0-3 1 0,3 1-19 16,-3-5 28-16,5 6-20 0,0-5-3 0,0 0 6 16,-5-1-13-16,11-1 20 0,-1 0-21 0,-2-2-7 15,0 1 34-15,-1-2-29 0,1 0 15 0,2-1 14 32,0-2 1-32,-2 0-1 0,2 2 17 0,-4-1-5 0,1 0-64 0,0 1 5 15,-1-1 18-15,-1 1 8 0,-3 1 26 0,3 0 12 0,-2-1 15 16,2 2-20-16,-4 0 34 0,1 0-19 15,0 0 1-15,-2 3-6 16,0 0-5-16,3-4-10 0,-3 4 10 0,0 0 6 0,0 0 1 16,0 0-22-16,0 0 18 0,0 0-13 0,-13 10-21 15,13-6 9-15,-3-1-6 16,-2 3-11-16,3-3 9 0,0 3-6 0,1-2-4 0,-1 2-14 16,-1-1 13-16,3 1 11 0,-2-2-14 0,2 1 16 15,0 0-10-15,0-1 0 0,0 0-10 16,2 0 7-16,-2-4 8 0,3 6-11 15,-3-3 11-15,3 0-23 0,-3-3 23 0,7 4 10 0,-4-4-25 16,-3 0 33-16,8 1-36 0,-1-1-5 16,-7 0 5-16,13-1 17 0,-5 0 9 15,-1-1-3-15,-1 1-18 0,1-1 11 0,-2 0 4 16,3 0-5-16,-3 2 3 0,3-3 26 0,-3 2-11 16,0-1 8-16,-5 2 15 0,10 0-30 0,-10 0-36 15,8 0 61-15,-8 0-20 0,8 0-24 16,-8 0 29-16,5 3-5 0,-3 0 20 0,-2-3-20 15,5 4 5-15,-3-2-3 0,-2-2-23 0,1 5 23 16,2-1-10-16,-3-4 88 0,0 3-111 16,0-3 0-16,0 0 0 0,2 4 0 0,-2-4 0 15,0 0 0-15,3 3 0 0,-3-3 0 0,0 0 0 16,7 1 0-16,-7-1 0 16,8 0 0-16,-8 0 0 0,9 0 0 0,-9 0 0 15,9 0 0-15,-9 0 0 0,10 0 0 0,-4 1 0 16,-2 0 0-16,2 1 0 0,-6-2 0 0,10 1 0 15,-5 0 0-15,-5-1 0 0,7 2 0 0,-7-2 0 16,6 1 0-16,-6-1 0 0,5 2 0 0,-2-2 0 16,-3 0 0-16,5 4-47 0,-5-4-375 15,0 0-259-15,-1 3-530 0,1-3 103 0,-7 5 138 16,7-5 79-16,-8 3 82 0,1-1 90 0,1 1 89 16,-4 0 75-16</inkml:trace>
  <inkml:trace contextRef="#ctx0" brushRef="#br0" timeOffset="93693.51">22315 2051 1244 0,'2'-4'412'16,"-2"4"53"-16,0 0-29 0,0 0-32 0,2 10-17 15,-2-5-134-15,0 4-18 0,-2 0-14 16,0 4-24-16,0 1-5 0,-2 2-26 0,-1 1-20 16,0 1 5-16,-2 0-31 0,-1 0-40 0,0 3-14 15,0-2-33-15,4-1-22 16,-4-1-37-16,2-2-10 0,1 0-48 0,0 0-24 0,0-4-30 16,1-1-36-16,-2 0-166 0,3 0-98 0,-2-3-471 15,3-4 116-15,2 3 53 16,0-3 113-16,0-3 51 0</inkml:trace>
  <inkml:trace contextRef="#ctx0" brushRef="#br0" timeOffset="93906.29">22299 2086 1241 0,'0'-5'379'16,"0"5"30"-16,0 0-9 0,0 0-29 0,0 0-38 0,0 0-11 0,0 0-48 15,0 0-21-15,10 8-2 0,-5-3-49 16,-2 1-15-16,2 1-28 0,-2 1-36 0,3-1-49 16,0 1-38-16,0 1-46 0,-1 0-36 0,3 1-31 15,-3-2-82-15,2 1-107 0,1-1-146 16,2 0-456-16,3-3 72 0,-3 0 79 0,4-1 62 16,-2 0 79-16</inkml:trace>
  <inkml:trace contextRef="#ctx0" brushRef="#br0" timeOffset="94099.28">22707 2127 977 0,'-5'-4'384'0,"5"4"-28"0,-8-2-28 0,8 2-31 0,-14 2 0 15,5 0 30-15,-6 1-15 0,2 2-27 16,-5 1-32 0,0 2-15-16,0 2-26 0,-3-1-30 0,1 3-23 0,-1-1-3 0,3 2-46 0,-2-1-20 15,4 0-31-15,-1 1-24 16,4-2-58-16,1-3 3 0,4 0-36 0,0 1-52 15,2-4-92-15,4 2-91 0,2-6-83 0,0 3-453 16,0-4-2-16,10 4 117 0,0-5 29 16,0 0 71-16</inkml:trace>
  <inkml:trace contextRef="#ctx0" brushRef="#br0" timeOffset="94584.01">22607 2215 734 0,'12'-10'392'0,"0"1"5"16,-3 1-90-16,-2 1-18 0,-1 2 5 0,2 0 70 15,-5 1-19-15,1 1-20 0,0 0-30 16,-4 3-16-16,4-2-3 0,-4 2-99 0,0 0-31 0,4 10 5 15,-4-4-10-15,-4 4-13 0,2-1-18 16,-1 4 0-16,-3 1-13 0,-1 2 5 0,-1 3-17 16,1 1-34-16,-3 1 0 0,0 1-23 0,1 0-33 15,1-1-20-15,-2-2-34 0,3-3-39 16,4 0-40-16,-2-3-33 0,5-2-37 16,0-2-35-16,0-1-69 0,3-3-98 0,1-5 70 0,2 4-500 15,2-3 52-15,3-2 151 0,1-3-8 16,0 1 94-16,4-5 602 0,-3 0 111 15,2 0 73-15,-2-1 37 0,0 1-57 0,-3 0 81 0,0 2 19 16,2 0-69 0,-6 0 10-1,-1 3 64-15,1 0-18 0,-1 1-31 0,-5 2-22 0,5 0-11 0,-5 0-28 0,0 0-6 16,2 5-19-16,1 0-24 0,-3-1 3 0,0 1-31 16,1 1-23-16,0 1 13 0,0 0-36 0,1-1 5 15,3 0-20-15,-2 0 7 0,2 0-12 0,2-2 4 16,-1 1-9-16,1-2 7 15,1-2 5-15,2 0 23 0,0-1 21 0,0-2 7 16,-4 2 24-16,2-3-72 0,-1 1 22 0,-1-3 27 16,1-1-8-16,-4 3 10 0,1-2-23 0,-1-1 5 15,-2 2 2-15,-2 1 6 0,1-3-41 16,-1 3 15-16,-3-3-15 0,-1 4-44 0,-2-3-38 0,1 3-39 16,-1-1-22-16,-1 2-42 15,0-2-53-15,2 1-31 0,-1 0-36 0,0 2-64 16,1-2-112-16,0 2-159 0,2-1-479 0,4 1 136 15,-3-5 59-15,3 5 112 0,0-5 82 0,0 5 54 16</inkml:trace>
  <inkml:trace contextRef="#ctx0" brushRef="#br0" timeOffset="95177.34">23096 2210 1241 0,'6'-2'407'0,"1"-1"51"0,-2 3-2 15,-2-1-36-15,-3 1 4 0,0 0-45 0,8 5 0 16,-6-1-61-16,1 2 17 0,-1-1-33 15,-2 3-54-15,0 1-7 0,0 2-26 0,-2 2-41 16,-1 0 10-16,-1-1-43 0,0 5-5 0,0-2-6 16,2 0-15-16,-2-1-15 0,1 0-15 15,1-1-21-15,-3 0-21 0,5-2-15 0,-3 0-25 16,1-2-21-16,2-1 0 0,0-1 0 0,0 0-10 16,0-4 10-16,0 1-8 0,0-4-15 15,0 5 29-15,0-5-4 0,0 0 9 16,0 0 7-16,0 0-8 0,0 0-2 0,0 0 20 0,-2-14-13 15,2 10 26-15,-2 1-17 0,2 3 22 0,-6-5 10 16,0 3-5-16,1 1-10 0,-2 0 8 16,-2 1-5-16,-1 2 4 0,0 0-4 15,0 1-3-15,-2 1 0 16,3-1 5-16,-3 3-2 0,2-1-21 0,4 0 3 0,0 2 2 16,0-3 5-16,3 1 13 0,1 1-25 15,2-1 7-15,0 0-7 0,3-2-1 0,4 1-22 0,0-2 15 16,3-1 7-16,1 1-12 0,5-2-5 15,1-3-19 1,4 1 1-16,0-2 18 0,4-2 7 0,-5-1-5 0,6-2 8 0,-5-1 15 16,3-1-27-16,-5-2 24 0,4 3 6 0,-7-2-3 15,2 2 21-15,-3 1 5 0,-4 1 41 0,-1 0 4 16,-5 2-98-16,2-1 24 0,-4 4 32 0,-1 0-29 16,-2 3 28-16,0 0-12 15,0 0-8-15,0 0-5 0,0 0 12 0,-12 13 11 16,9-4-18-16,-2 1-16 0,0 1 1 0,2 0 10 15,2 1-3-15,-3 0-5 0,4 2-18 0,0-4 19 16,0 1-1-16,5 2-34 0,-2-4-14 16,2-1-21-16,-2 0-28 0,2-3 7 15,0 2-20-15,2-3-17 0,-1-2-22 0,2 1-30 0,-1-3-20 16,1 1-6-16,1-2-41 0,-3 1-22 0,2-3-67 16,-1 1-185-16,1-2-460 0,0-1 102 15,-3 0 44-15,3 0 99 0,-3-5 90 0,0 2 113 16</inkml:trace>
  <inkml:trace contextRef="#ctx0" brushRef="#br0" timeOffset="96364.48">22399 276 813 0,'-10'-3'338'16,"2"2"-15"-16,-5-4-19 0,-2 3-109 15,-1-1-3-15,-4 0-8 0,5 2 1 0,-6 0-9 16,1 0-7-16,-1 2-5 0,-2 0-13 16,2 2-18-16,-7 2 5 0,3 2-12 0,-1 2 2 15,1 2-3-15,-6 3-17 0,1 4-3 0,3 2 61 16,3 1-12-16,0 4-1 0,3 1-25 15,1 4-18-15,4 2 5 0,1 5-15 0,2 1-10 16,0 3 12-16,2 12-15 0,-1-10-5 16,4 3 0-16,-4 12-21 0,3-2-4 0,-3 0 22 15,2-1-33-15,-1 0 16 0,2-10-11 0,-5 8-3 16,4-13 6-16,0 0-8 0,-3-3-7 0,2-2 2 16,-3-3 15-16,0-2 5 0,2-7-12 15,2-4-69-15,1-4 30 0,-3 0-10 16,2-4 18-16,2-1 107 0,0-1 1 0,5-2 4 15,-4-1 1-15,2-2-34 0,3-2-5 0,2-2-15 16,0 0-21-16,0 0 6 0,0 0-27 16,0 0-6-16,10-15 12 15,-3 11 5-15,1 1-16 0,5 0 1 0,0 2 5 0,0 1-31 0,5 2 18 16,0 3 0-16,5 4 0 0,-3 2-2 16,8 7-6-16,-5 2 3 0,-2 7-3 15,-3 4 16-15,-3 5 0 0,-5 5 2 0,-2 6 0 16,-8 4-15-16,-2 14 8 0,-6-3 2 15,-5 2 31-15,-5-1-29 0,0 2-12 0,0 1 5 16,-2-1-15-16,-1 0 13 0,3-1 27 0,2-3-20 16,2 0 13-16,4-3-28 0,2-11 10 0,5-4 0 15,0-1 0-15,3-9-7 0,4-4-9 16,0-2 21-16,1-2-33 0,0-2-31 0,3-1 29 16,-3-4-26-16,3-1-24 0,0-5-20 0,2-2-17 15,-2 0-4-15,4-4-19 16,-2 0-19-1,1-3-15-15,3 0-5 0,-2-2-11 0,0-1-24 0,-1-1-4 0,1 0-33 0,1-2-12 16,0 0-52-16,0-2-95 0,1-4-130 0,-5 4-458 16,4-3 89-16,-2 2 52 0,-1-2 74 15,-3 1 99-15,3-1 72 0</inkml:trace>
  <inkml:trace contextRef="#ctx0" brushRef="#br0" timeOffset="97622.49">21684 820 1021 0,'-8'-4'379'0,"4"0"-18"0,-2 2 23 0,-2-1-31 15,-2-1-13-15,-3 0-56 0,0 2-23 0,-7-3-15 16,0 1-21-16,-6-1-12 0,-3 0-24 0,-1 1-4 16,-11-3-1-16,-1 0-18 15,8 4-28-15,2 0-4 0,1-1-12 0,-10-4-14 16,10 2-11-16,3 1-5 0,0 0-28 0,2 1 16 0,3-1-29 16,3 1-23-16,2 0 0 15,2 1-25-15,1 0-29 0,0-1-56 0,6 3-41 16,-1-1-20-16,3 1 7 0,-1 2-40 0,1 1-70 15,1-1-38-15,4 2-57 0,0-1-58 16,2 4-458-16,2 1 55 0,4-1 124 16,-2 2 43-16,4 0 57 0</inkml:trace>
  <inkml:trace contextRef="#ctx0" brushRef="#br0" timeOffset="97881.67">21499 972 1226 0,'0'0'432'0,"-7"5"-30"0,3-4-21 0,-3 0-27 15,-2 1-32-15,-2 0-33 0,-3-2 1 0,0 2-47 16,-4-2-13-16,-1 0-2 0,-3 0-39 16,-4 0-7-16,-5-2-13 0,0 1-18 15,-2-1-20-15,-14-2-8 0,-1 0-100 0,3 0-3 0,-2 0 13 16,6-1-7-16,5 2-18 0,5-2 20 15,3 2-3-15,3 1-35 0,4-1-5 0,1 0-31 16,4 1-11-16,1 0-42 0,4 0-65 16,-2 1-3-16,6 0-35 0,-1-2-77 0,3-1-153 15,0 2-449-15,3 0 80 0,2 2 59 16,0-5 102-16,0 5 92 0</inkml:trace>
  <inkml:trace contextRef="#ctx0" brushRef="#br0" timeOffset="98276.52">21174 586 1000 0,'-8'-1'384'0,"-2"1"34"0,1 0-6 0,-5 0-51 0,-4 1-41 0,0 3-29 0,-5-2-37 16,-3 3-9-16,1 0-35 0,-2 3-25 0,-3-2-22 16,-6 2 4-16,3 2-21 0,-3 1-29 0,-2 2-1 15,4 1-11-15,-2 1 5 16,3 0-16-16,1 3-12 0,2-1-18 0,5 2-10 16,5-2-5-16,4-1 33 0,7 2-29 15,1-3-7-15,4 3 3 0,6-3-8 0,4 3-15 16,4 3 12-16,10 4-23 0,4 2 6 0,4-4-1 0,2 3 8 15,4-4-22-15,0 0 9 0,1-1-51 16,1-2-15-16,0-1 2 0,0-3-12 16,-3 2-21-16,1-4-5 0,-1-1-18 15,-10 0-49-15,0-4-43 0,-5 0-118 0,-8-1-194 0,3-1-387 16,-3 1 59-16,-5-2 105 0,3 1 108 16,-5-3 37-16</inkml:trace>
  <inkml:trace contextRef="#ctx0" brushRef="#br0" timeOffset="99785.58">17413 485 1231 0,'0'0'386'0,"0"-4"-25"0,0 4-20 0,-8-2-37 16,8 2-15-16,-16 5-15 0,3-1-33 0,-2 4-6 16,-10 3-20-16,-8 7 3 0,-4 3 7 15,-12 6-23-15,0 4 16 0,1 0-23 0,0 3-19 0,1-1-4 16,6 1-14-16,2 0-14 0,9-6-16 16,4-2-18-16,3-1-3 0,8-4-15 0,5-5-2 15,2 1-31-15,3-4 0 16,4 0-11-16,1-1-19 0,1-1 9 0,6-1 105 0,-1 0-40 15,4-3-16-15,5 1-18 0,1-3-15 16,1-1-24-16,1-2-19 0,1-1-27 0,1 1-25 16,3-3-18-1,1-1-43-15,0 0-31 0,2 1 5 0,0-4-41 0,-2 0-23 0,1 1-82 16,1 0-107-16,-6-1-152 0,-2 2-263 16,-3 0-51-16,1-2 20 0,-3 3 146 0,-1-1 18 0,-4 1 57 15</inkml:trace>
  <inkml:trace contextRef="#ctx0" brushRef="#br0" timeOffset="100103.82">17335 951 977 0,'3'-3'343'0,"0"0"-25"0,2-2-34 0,0 0-8 0,0-1-2 0,0 1-31 0,0 0 70 15,1-2 12-15,-2 0-39 0,-1-1-35 0,2 2 23 16,-2-2-15-16,-1 1-29 0,1-1 23 15,-3 1-48-15,0 1-90 0,0 1 8 16,0 0-10-16,0 1-13 0,0 4-26 0,-5-6 3 0,2 4 2 16,3 2 3-16,0 0-15 0,-15 4-9 15,10 0 9-15,-3 0-13 0,3 4-6 0,-3-1-12 16,1 2 3-16,-1 0 2 0,3 2-29 16,-1-1-4-16,4 1-34 0,0-1-38 15,2-1-15-15,0 2-23 0,2 0-3 0,0-3-36 16,4 1-23-16,-1 0-25 0,3-3-47 0,-1 1-84 15,3-2-115-15,-2 0-453 0,0-1 36 16,2-3 63-16,-2 3 80 0,0-4 56 0</inkml:trace>
  <inkml:trace contextRef="#ctx0" brushRef="#br0" timeOffset="100578.43">17541 830 1302 0,'0'0'459'0,"0"0"-22"15,2 12-119-15,-2-6-19 0,0 0-33 16,2 2-12-16,-1 2-24 0,-1-2-25 0,0 2-21 0,2 0-15 16,-2 3 51-16,3-3 34 15,-3 1-88-15,3 2 0 0,-3-4-20 0,2 1-10 16,-2-2-21-16,2 0 3 0,1-1 2 0,-3-1-5 16,3 0 19-16,-1-3-12 0,1 2-12 0,2-4 13 15,0 0 51-15,-5-1-35 16,16-4-14-16,-6-1 24 0,0 1-52 0,0-2 26 0,3 2-34 15,0-2-2-15,-3 2-15 0,1-2-3 0,1 3-2 16,-2 0 7-16,-1 3-5 0,0-2-10 16,-1 3 12-16,-1 0-30 0,-1 1 18 0,2 2-7 15,-3 1 6-15,0 1-40 0,0 0-36 16,0 1-5-16,-2 0-20 0,-1 0-47 0,0 1-35 16,-1-2-57-16,2 2-12 0,-1-3-65 15,-2 2-71-15,2-2-151 0,1 0-635 0,-3-2 89 16,3 0 124-16,-3-3 81 0,5 0 59 15,-5 0 75-15,0 0 127 0</inkml:trace>
  <inkml:trace contextRef="#ctx0" brushRef="#br0" timeOffset="100809.43">17913 698 1136 0,'7'-16'399'0,"-4"5"62"0,-3 1-16 0,2 4-30 0,0 2-46 15,-1 1-24-15,-1 3-76 16,0 0-28-16,0 0 12 0,9 13-28 0,-9-3-17 15,1 2 4-15,-1 3-17 0,3 4-9 0,-3 3-9 16,2 3-23-16,-2 1-16 0,0 3-18 16,0 0-15-16,0-1-23 0,0-1-23 0,0-1-21 15,2 0-33-15,-2-5-28 0,1-1-38 0,1-1-23 16,1-1-50-16,-1-4-19 0,1-1-21 0,-1-2-21 16,1-3-97-16,0-1-163 0,3-1-500 15,-2-3 131-15,1-1 20 0,0-2 67 16,-5 0 87-16,8-4 66 0</inkml:trace>
  <inkml:trace contextRef="#ctx0" brushRef="#br0" timeOffset="101032.72">17882 925 1338 0,'-8'0'466'0,"8"0"-18"0,-8-1-38 0,8 1 7 0,0 0-67 16,0 0-73-16,0 0-3 0,0 0-36 0,0 0-3 15,0 0-20-15,23-5-18 0,-13 2-22 0,4 0-9 0,0 0-23 16,4-3-12-16,1 1-16 16,-1-1-8-16,2 2-27 0,-2-2-44 0,3-1-59 0,-1 2-44 15,1-1-23-15,-4 1-63 0,4 2-47 0,-6-1-115 16,-2 1-186-16,3 1-418 0,-6 2 84 16,0-2 47-16,0 1 112 0,-2 0 44 15,-3 1 66 1</inkml:trace>
  <inkml:trace contextRef="#ctx0" brushRef="#br0" timeOffset="101705.08">18086 1040 1031 0,'13'-6'384'0,"-7"3"-18"0,-1-1-31 15,0-1-17-15,0 2-1 0,2-3-5 0,-1 2-117 16,-1-2 7-16,0 1-12 0,0-2-9 0,-2 1-7 15,0 2-5-15,1 0 11 0,-1-1-24 0,-3 2-10 16,3 0-11-16,-3 3-30 0,2-5 3 16,-2 5-11-16,0 0-30 0,0 0 14 15,0 0 6-15,0 0-30 0,0 0 4 0,-12 11-10 16,12-5-7-16,-1-1-13 0,-1 2-13 0,2-1-13 16,0 1-39-16,0-1-19 0,0 0-9 15,2 0-4-15,-1-1 4 0,3-1-4 0,-1 1 2 16,2 0 20-16,-1-3-2 0,0 0 0 0,1-1 10 15,-5-1 13-15,13-2 23 0,-3 1-20 0,-2-1 20 16,2-2 0-16,0 0-8 16,1 0 21-16,-4 2 20 0,3-2-10 0,-2 2 10 0,2 0-2 15,-2 1 13-15,0 1 12 0,-3 1-5 16,2 0 11-16,1 2 2 0,-3 1-8 0,1 0 8 16,-1 0 0-16,2 2-10 0,-4 1-8 15,2-1 2-15,-2 1 3 0,-1 2-4 0,1-2-1 16,-1 0 5-16,-1-1-5 0,1 1 3 0,-2-2 30 15,2 0 8-15,-2-1 8 0,0-2 33 16,3 2 51-16,-3-4-8 0,0 3-4 0,0-3 12 16,0 0-33-16,0 0-8 0,0 0-2 0,0 0-39 15,13-9-13-15,-11 3-73 0,1-1 4 16,2-1-7 0,-2-1 12-16,2 2-12 0,0 0-21 0,1-1-25 0,-2 0-19 15,1 1-40-15,-2 0-23 0,2 1-54 0,-2 0-13 0,-1 2-31 16,1 0-45-16,-3-1-83 0,5-5-220 0,-3 7-504 15,0 0 95-15,-1-1 82 0,-1 4 179 16,0-6 20-16,3 3 57 0,-1 0 68 0</inkml:trace>
  <inkml:trace contextRef="#ctx0" brushRef="#br0" timeOffset="102015.88">18882 577 1246 0,'0'0'556'16,"0"0"-60"-16,0 0-35 0,0 0-23 16,0 0-37-16,5 9 14 0,-5 1-21 0,2 2-46 15,1 1-28-15,-1 6-25 0,0 1-29 0,-2 1-31 16,0 2-30-16,-4 5 0 0,1 0-23 15,-2 9-54-15,-1-1 10 0,0-5-54 0,0 2-30 16,1-4-41-16,-2-4-51 0,1-2-42 0,1-1-27 16,0-3-49-16,2-2-24 0,-2-2-24 15,2-2-124-15,1-3-153 0,0-1-482 0,2-3 49 16,2 0 85-16,-2-1 69 0,4-3 112 16,0 1 1-16</inkml:trace>
  <inkml:trace contextRef="#ctx0" brushRef="#br0" timeOffset="102203.33">19056 929 1264 0,'2'-2'484'0,"-2"2"-23"0,5-3-49 15,-5 3-36-15,0 0-15 0,0 0-87 0,0 0-36 16,9 6-28-16,-9-1-6 0,2-1-27 0,0 2 15 16,-2 1-67-16,2 1-9 15,-1 0-42-15,-1 1-64 0,0-1-43 0,0 2-67 16,-1-2-51-16,-1 0-95 0,-2 2-215 0,3-3-455 0,-2 1 115 15,3-3 66-15,-2 0 65 16,2-1 71-16</inkml:trace>
  <inkml:trace contextRef="#ctx0" brushRef="#br0" timeOffset="102366.65">19113 851 1205 0,'0'0'315'0,"0"-7"-59"0,0 7-69 15,-1-3-67-15,1 3-92 0,0 0-156 0,0 0-522 16,0 0 8 0,0 0 86-16</inkml:trace>
  <inkml:trace contextRef="#ctx0" brushRef="#br0" timeOffset="102706.35">19276 968 944 0,'3'-3'410'0,"0"-1"-37"0,1-1 37 15,-1 0-21-15,0 0-26 0,1 0-22 16,-3-1-31-16,1 1-11 0,-2 1-7 16,0 1 7-16,0-3-53 0,3 3-8 0,-3 3-36 15,-3-6-12-15,3 6-14 0,0 0-20 0,-5-2-22 16,5 2-1-16,0 0-28 0,0 0-3 0,-15 7 26 15,12-4-56-15,-1 2 22 0,-2-1-17 16,4 1-90-16,-1 2-2 0,-2 0 5 0,3 0 15 16,-1 0-15-16,0 0 12 0,3 0-15 0,-2 0 8 15,2-1-15-15,0 0-6 0,0 1-17 16,0-1-8-16,2-1-13 0,-2 0-21 0,3-1-7 16,0 0-21-16,-1 0-15 0,0-1-20 15,2-1-34-15,0 1-10 0,1-2-84 16,0 0-124-16,-5-1-124 0,6-1-395 0,-6 1 105 15,15-3 54-15,-5 1 91 0,-2-1 60 0</inkml:trace>
  <inkml:trace contextRef="#ctx0" brushRef="#br0" timeOffset="103015.4">19499 897 1162 0,'0'0'353'15,"-7"0"-33"-15,7 0 66 0,-10 0-27 16,10 0-16-16,-11 3-46 0,4-1-24 0,1-1-29 15,2 1-22-15,1 0-22 16,-2 1-29-16,4 0-12 0,-1 0-5 0,-1 0-16 0,6 3 13 0,-3-2-74 16,3 2 2-16,2 0 16 15,0 1 12-15,1 1 85 0,-2-3 11 0,2 2 6 16,-2 0-9-16,2-1-92 0,-4 2 9 0,3-2 6 16,-2 0-13-16,1 0-7 0,-3 0 9 0,-1-1-27 15,0-1 9-15,-1 2-14 16,-3 1-1-16,0-1-28 0,-5 0-33 0,2 1-43 0,-1-1-55 15,-3 0-48-15,1-2-61 0,-3 2-57 0,3-2-35 16,-3 2-185-16,2-1-499 0,-3 0-10 0,-2-2 81 16,1 3 98 15,-3-1 110-31,0 0 115 0,-1-1-7 0</inkml:trace>
  <inkml:trace contextRef="#ctx0" brushRef="#br0" timeOffset="103790.04">17035 1266 1052 0,'31'-2'358'0,"2"0"-28"15,1 1-28-15,15 0-23 0,5-2-89 0,17 0-39 0,6 0 56 16,0 0-18-16,5 1-12 0,2-1-3 16,2 0-8-16,0 1-22 0,1-2 14 0,-1 0-32 15,0 3-24-15,1-2 8 0,-4 0-25 0,-1 0-3 16,-8 0 18-16,-2 1-34 0,-15-1-7 15,0-1 5-15,-7 0-10 0,2 2-6 0,-1-1 1 16,-12 0-13-16,-9 1 2 0,1 0-15 16,-8 1-23-16,-3-3-5 0,-2 3-5 15,-5 0-29-15,0-1-30 0,-3 1-20 0,-5 0-44 0,0-1-47 16,-5 2-99-16,0 0-61 0,0-1-484 16,0 1 38-16,0 0 59 0,-20 1 74 0,7-1 52 15</inkml:trace>
  <inkml:trace contextRef="#ctx0" brushRef="#br0" timeOffset="104138.09">17228 1322 1203 0,'30'-3'414'0,"-1"-1"-40"16,1 0-21-16,19 1-33 0,5-3-113 0,18 0-12 0,4 2-3 0,2 2-15 0,1-3-37 15,1 5 14-15,4-2-23 0,3 1-6 0,-2 2-5 16,0 1-12-16,-1-2 7 0,1 3-25 0,-6-3 4 16,-1 2-14-16,-5-1 1 15,-1 3-9-15,-13-4 10 0,0 0-20 0,-2 0-6 0,-3 0 13 16,-3 0-23-16,-2-1 10 0,-1-2-2 15,-12 2-13-15,-5 0-5 0,-6 0 0 0,-2-2-21 16,-2 3 8-16,-3-2-2 0,-2 0-27 31,-1 0-32-31,-5 2-11 0,3 0-27 0,-6-1-32 0,1 0-25 0,-2 0-100 0,-6 1-130 16,7 0-523-16,-7 0 98 16,0 0 20-16,0 0 125 0,0 0 37 0,0 0 37 0</inkml:trace>
</inkml:ink>
</file>

<file path=ppt/ink/ink3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07:54.838"/>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brush xml:id="br2">
      <inkml:brushProperty name="width" value="0.05292" units="cm"/>
      <inkml:brushProperty name="height" value="0.05292" units="cm"/>
      <inkml:brushProperty name="color" value="#FF0000"/>
    </inkml:brush>
  </inkml:definitions>
  <inkml:trace contextRef="#ctx0" brushRef="#br0">3987 2419 1082 0,'-2'-4'417'0,"2"4"-27"16,0 0-53-16,0 0-22 0,16-1-20 16,-6 1-27-16,3 1-45 0,2 0-8 0,3 2-15 15,3-3-24-15,4 1-17 0,1 0-23 0,5 3-16 16,0-2-2-16,12 3 5 0,-7-3-24 15,10 2-6-15,0 2-17 16,0-3-4-16,0 3-8 0,1-2 8 0,1 2-3 0,1-3-10 0,-1 2-5 16,1 0 9-16,1-2 7 0,0 1-24 15,2 1 13-15,2-3-26 0,2 3 0 0,-2-3 13 16,5 1 3-16,-3-1-8 0,-2 0-5 16,2 1 7-16,-4-1-2 0,-1 1-5 0,-5-2 25 15,-2 1-25-15,-6 2 0 16,-7-3-5-16,0 1 2 0,-8-2 0 0,0 1-10 0,-2 2 5 15,-1-3 1-15,-4 2 6 0,-2-2 6 0,2 1-20 16,-5-1 4-16,1 2-1 0,-4-2 1 0,0 0-2 16,-1 1 26-16,-1-1-21 15,-6 0 5-15,10 1 11 0,-5-1-8 0,-5 0-24 16,0 0-45-16,7-2-26 0,-7 2-23 0,0 0-30 16,0 0-50-16,0 0-55 0,-7-8-118 0,2 5-236 0,-1-2-445 15,2 2 112-15,-2-2 100 0,1-2 128 16,-3-2 34-16,0 0 46 0</inkml:trace>
  <inkml:trace contextRef="#ctx0" brushRef="#br0" timeOffset="1588.59">4087 1848 1164 0,'0'0'318'16,"0"0"-29"-16,-9 0-33 0,9 0-5 15,0 0-29-15,0 0 4 0,0 0-47 0,0 0 20 16,30 3-14-16,-14-3-21 0,2 2-11 16,5-2 83-16,5 0-34 0,5 0-18 0,18 0-84 15,4 1-13-15,4 0 20 16,2-1-9-16,13 2-32 0,1 0-2 0,-1-2-2 16,3 3-14-16,0-3-2 0,0 2 6 0,0 0-11 15,-3-2 2-15,-2 1-10 0,-10-1 3 0,-4 2-3 16,-2 0-7-1,-1 1 15-15,-4-1-20 0,0-1 4 0,-5 0-12 0,3-1 7 16,-8 0 6-16,5 1 2 0,-5-1-15 0,-8 2-11 0,3-2 22 16,-3 1-14-16,1-1 0 0,-3 0 8 0,-5 0-3 15,4 1-2-15,-4 1 2 16,0-2-15-16,-1 0 3 0,-2 0 7 0,-2 0-5 0,-1 0-5 16,-2 2 5-16,0-2-15 0,0 0 26 15,-3 0-6-15,1 1-8 0,-4-1 19 0,-1 1-6 16,-1-2-17-16,0 2-3 0,-2-1-1 15,2 0 17-15,-4 1 1 0,-6-1 4 0,13-1-14 16,-6 0 19-16,-7 1-24 0,7 1 1 0,-7-1-9 16,11 0 9-16,-11 0 12 0,7 0-2 15,-7 0-8-15,9 1-5 0,-9-1 18 16,10 0-19-16,-10 0-1 0,7 0 12 0,-7 0-15 0,8 1 2 16,-8-1 21-16,7 0-21 15,-7 0 8-15,0 0 0 0,8 0 3 0,-8 0-9 0,6 0 6 16,-6 0-10-16,0 0 8 0,10 0 32 0,-10 0-27 15,0 0-8-15,7 0 10 16,-7 0-10-16,0 0-5 0,6-1 17 0,-6 1 4 0,0 0-14 16,0 0 8-16,0 0 0 0,8 0 8 15,-8 0-18-15,0 0 10 0,0 0-8 16,0 0 19-16,0 0-6 0,5 2 13 0,-5-2-25 16,0 5-4-1,0-5 4-15,0 5-6 0,2-2 13 0,-2-3 3 0,0 4-11 0,0 0-9 16,0-4 42-16,0 7-25 0,0-4-12 15,0 2 2-15,0-2-3 0,0 3 5 0,3-2-7 0,-3 2 5 16,0 1 0-16,0 0 25 0,0 2-25 16,0 0 8-16,0 0 2 0,2 0 10 0,-2 1-20 15,0 0 15-15,2 2-25 0,-2 0 30 0,0 1-17 16,0 0-6-16,1 1 6 0,-1 1-9 0,0-1 6 16,-1 1 3-16,1-2 4 15,0 2-2-15,0-2 13 0,0 2-18 16,0-2-3-16,0 1 26 0,0-2-20 0,-2 1 4 0,0-1-2 15,2-1 5-15,0 2-20 0,-3-3 18 16,3 0-1-16,-2 0-2 0,1 0 0 16,1 0 3-16,-2-1-21 15,2 0 23-15,-2 0 0 0,-1 0-2 0,2-1-1 0,-1 1-4 0,2-2-4 0,-2 0 14 16,0-1-16-16,2 2 21 0,-1-4-13 16,-2 2 0-16,1 0 5 0,2-2 0 0,0 2-2 15,-2-2 12-15,1 0-20 0,1 0 3 16,0-4-6-16,-2 6 21 0,2-3-13 15,0-3 10-15,-3 6-7 0,3-6 15 0,0 3-29 16,0-3 16-16,-4 3 1 0,4-3 22 0,-3 4-26 16,3-4 6-16,0 0 0 15,-6 1-3-15,6-1-8 0,-8 0-2 0,8 0 18 0,-7 2 0 16,0-2-8-16,7 0 2 0,-11-2-9 0,3 2 2 16,1 2-3-16,-1-2 8 0,8 0 8 15,-15 0-8-15,4 0-10 16,1 1 8-16,0 1 2 0,-3-2-3 0,3 1 11 15,-3 0-8-15,0 0-5 0,-3 2 8 0,2-3 13 0,1 1-34 0,-3 0 20 16,1 0-19-16,-1-1 4 0,-1 1 13 16,1 1-13-16,-1-2 8 0,0 1 13 0,0 0-20 15,-1 1 7-15,2-2-3 0,-2 0 0 16,3 1-15-16,-3-1 31 0,3 0-18 16,0 2-13-16,2-1 23 0,-3-1-17 15,1 2 14-15,2-2-10 0,2 0 8 0,-1 3-17 0,0-3 11 16,1 0-6-16,1 1 1 0,0-1 1 15,-1 0 0-15,1 0 10 0,0 0-5 16,0 1-3-16,-1-1-2 0,1 2 2 0,0-2 6 16,-1 2-4-16,1-2-4 0,0 0 8 0,-1 0-6 15,4 1 0-15,-3-1-4 0,2 0 12 16,0 0 2-16,0 0 8 0,1 0 6 0,-1 0-1 16,0 0 3-16,0 0-13 0,8 0-10 0,-12-1 15 15,4 1 21-15,3 0-16 0,5 0-30 16,-13-2 28-16,8 2-34 0,5 0 14 0,-10-1 9 15,10 1-7-15,-8-1 2 0,8 1 3 16,-8-1 26-16,8 1-39 0,-7 0 8 16,7 0-13-16,-5-1-30 0,5 1 4 0,0 0-40 0,-8 0-6 15,8 0-35-15,0 0-26 16,-5-3-57-16,5 3-71 0,-6-2-118 0,4 1-491 0,2 1 92 16,-5-3-2-16,5 3 124 0,-3-6 73 0,-1 4 66 15</inkml:trace>
  <inkml:trace contextRef="#ctx0" brushRef="#br0" timeOffset="2547.25">4160 1872 903 0,'-5'0'333'0,"5"0"-11"0,-10 0-40 0,2-1-11 16,8 1-35-16,-18-1-8 0,10 0-24 0,-5 2-17 16,0-1-8-16,1 0-15 0,-1 0 8 15,-2 0-101-15,2 0-25 0,-3 0 3 0,4 1 15 16,-4-1-18-16,5 0 21 0,-3 1-29 16,3 1 16-16,-2 0-21 0,3-1 5 0,-1 0 57 15,1 2-5-15,0-1-3 0,-1 0 2 0,2 1-19 16,1 0-6-16,0 1-11 0,0 1-7 0,-1 0 0 15,1 2 3-15,0 1-23 16,1 0 2-16,1 0 18 0,1 1-18 16,-2 0 0-16,1 2 21 0,2-1-41 0,1 0 4 15,-3 1 4-15,2-2-6 0,0 2-15 0,0 0 20 16,1-1 11-16,0 1-19 0,-1 0-12 0,1 0 23 16,0 0-18-16,0-1 13 0,1 2-3 15,-1 0-10-15,1-1 8 0,0 0-6 0,1 0-2 16,-1 0 13-16,-1 0-2 0,3 0-11 0,-2 2 15 15,1-2-23-15,1-1 18 0,-2 1-7 16,2 0 5-16,-2-1-8 0,2 0 2 16,0 2-2-16,0-4-5 0,0 2 3 0,0-1 2 15,0 1 7-15,2-4-17 0,-2 2 15 0,0 0 3 16,0-1-3-16,0-2-10 0,0 0 5 16,0 0-3-16,0 0-2 0,0-1-3 0,0 0 14 15,0 0 24-15,2 0-30 0,-2-4 3 16,0 5 5-16,0-2-6 0,0-3-4 0,0 5 14 15,0-5-17-15,0 5 15 0,0-5 1 0,1 3-9 16,-1-3 37-16,0 0-37 0,0 4 6 0,0-4 17 16,2 4-17-16,-2-4-8 0,0 0 28 15,3 2-7-15,-3-2-24 0,0 0 19 0,2 2-14 16,-2-2 3-16,5 2 0 0,1 0-2 16,1 0 12-16,1-1-10 0,0 2-7 0,7-1 17 15,-2 2-10-15,2-1 26 0,3 1-16 16,0 1-15-16,0-2 13 0,1 1-15 0,0-1-14 15,0 1-4-15,-2 1-57 0,1-3-25 16,-2 1-44-16,-1 0-74 0,1 1-154 0,-1-1-571 16,0 0 111-16,-2 0 51 0,0 0 84 0,-3 0 64 15</inkml:trace>
  <inkml:trace contextRef="#ctx0" brushRef="#br0" timeOffset="20011.04">3508 9960 1267 0,'10'-3'350'0,"1"3"-25"0,-3-1-35 0,0 0-19 15,1 2-15-15,-3 0-31 0,1-1-15 0,1 4-26 16,-2-2-5-16,0 4-7 16,-2 0-16-16,-1 0-10 0,-2 0-3 0,-1 1-20 0,-1 2-20 15,-2-1 19-15,-2 4-27 0,0-1 5 0,-3-1-13 16,-2 2-15-16,0 0-11 0,1-1-5 15,-1-2 3-15,2 0 3 0,0-2 7 16,2 0 3-16,0-2-3 0,3 1-10 0,-2-2 17 0,1 1-22 16,1-1 20-16,-1-2 11 0,2 4-16 0,0-5-23 15,2-1 23-15,2 6-23 16,-1-2 10-16,4-2-15 0,-2 2 0 0,4-1-5 16,-2 0-20-16,3-1-22 0,0-1-19 15,2 3-44-15,0-3-23 0,0-1-21 0,0 1-41 0,3-1-48 16,-2 0-74-16,4-1-182 0,-2 0-507 15,2-3 84-15,-2 4 72 0,2-6 126 0,-2 4 27 16,4-3 75-16</inkml:trace>
  <inkml:trace contextRef="#ctx0" brushRef="#br0" timeOffset="20363.47">3877 10006 1164 0,'0'0'443'0,"-12"4"-97"0,7-1-34 0,-1 1-36 15,1 2 11-15,1 0-46 0,1 2-29 16,0-1 0-16,0 1-40 16,1 2-29-16,4-3 6 0,-1 5-29 0,4-3-7 0,-1 0-13 0,3 1-13 15,3-3-6-15,0 0 1 0,2-3-15 16,1 0 5-16,0 0 4 0,-2-2 1 16,-1-2 38-16,2-1 18 0,-4-3 19 0,0 3 11 0,-3-4 11 15,0-1-38-15,-2 2 89 0,-1-2-17 16,-4-3-16-16,2 2-16 0,-3 1 9 0,-4-2-24 15,1-3-31-15,-2 4-12 0,-2 1 2 0,0-1-27 16,-1 1-53-16,1 0-34 16,-2 1-50-16,2 3-43 15,-1 0-38-15,1 2-42 0,-2 2-40 0,1 2-44 0,-2 0-66 0,2 5-175 16,-1 1-532-16,-1 5 41 0,0 1 103 0,0 3 109 16,1-1 50-16,1 1 68 0,-1 2 92 15</inkml:trace>
  <inkml:trace contextRef="#ctx0" brushRef="#br0" timeOffset="20840.97">3536 10555 916 0,'14'-2'394'0,"-4"-1"-20"0,-3 3 56 16,3 0-41-16,-4 1-21 15,-1 1-30-15,-5-2-13 0,8 2-12 0,-6 2-93 16,1-1-10-16,-3 1-31 0,-3 3-10 0,-1-1-18 16,-3 2-15-16,-3 5-8 0,-2-3 2 15,-1 0-22-15,0 2 2 0,0 0-8 0,1 0-10 16,-1-4-5-16,-1 3-5 0,5-5 3 0,1 3-9 16,0-2-7-16,3-3 19 0,0 2-14 15,-2-1-18-15,4-1 29 0,-2 1-24 0,4-2-10 16,1 2 3-16,0-5-3 0,3 6-7 0,2-4 9 15,3 1-7-15,2-2-25 0,1 0-29 0,2 0-28 16,4-3-40-16,-2 1-32 16,4-3-30-16,1 0-26 0,0 1-25 0,1-2-65 0,-1 0-86 15,4-2-203-15,-6 0-458 0,5 0 136 16,-5-1 90-16,-1-1 50 0,1 0 57 16,-2-1 74-16</inkml:trace>
  <inkml:trace contextRef="#ctx0" brushRef="#br0" timeOffset="21008.69">3973 10474 1502 0,'0'0'438'16,"0"0"-18"-16,0 0 12 15,-8 17-25-15,6-10-28 0,-1 1-39 0,0 3-20 0,-1 0-23 16,0 2-46-16,1 0-41 0,-1 2 8 16,-1 2-44-16,2-2-21 0,-2 2-32 0,2-3-75 15,1-1-67-15,-1 3-35 0,0-2-85 16,1-1-54-16,0 0-94 0,-4 2-205 0,4-2-432 15,2-2 94-15,-3-1 41 0,1-1 84 0,2-1 93 16,-3-1 25-16</inkml:trace>
  <inkml:trace contextRef="#ctx0" brushRef="#br0" timeOffset="21554.74">3408 11143 1264 0,'8'0'369'16,"0"1"-14"-16,0 2-27 0,-1-1-36 0,1 2-11 16,-1 0-20-16,-1 2 3 0,-1 4-21 15,-3-2 59-15,1 1-18 0,-3 1-20 0,-3 2-8 16,-1 0-38-16,-4 1 7 0,0 3-36 0,0-2-17 15,-2-1-11-15,0 0 3 0,2-1-11 16,1-2-14-16,-1-1-52 0,3-1 2 0,-1 0 3 16,2-1-2-16,-2-1-26 0,4-3 10 15,-4 3-10-15,4-2-10 0,-1 0 30 0,1 0-25 16,-1-1-2-16,3-3-1 0,0 5-5 16,3-1 11-16,2-3-29 0,0 0-10 0,3 2-5 15,1-3-23-15,2 2-18 0,2-2-18 16,0-2-23-16,-1 2-46 0,4-1-23 0,-3-2-6 15,0 3-40-15,2-2-23 16,-4-1-21-16,-1 3-76 0,2-2-193 0,-4-1-537 0,2 1 69 0,-2 1 152 16,0-3 68-16,-1 2 28 0,-1 0 93 15</inkml:trace>
  <inkml:trace contextRef="#ctx0" brushRef="#br0" timeOffset="21843.52">3719 11181 1346 0,'7'-2'432'0,"-7"2"-12"0,10 2-28 0,-4-2-8 0,-2 4-13 0,-1-2-18 0,2 5-17 16,-2-1-24-16,-3 4 8 15,0-2-57-15,0 1-14 0,0 1-32 0,-3 2-25 0,1 0-15 16,-1-1 5-16,1-2-39 0,0 1-2 15,1-2-31-15,-1 0 18 0,2-2-44 0,0 2 3 0,0-3-12 16,2 0-4-16,-1-1-25 0,1-2 3 0,3-2-36 16,3 3-29-16,-1-2-37 15,1-5-19-15,2 4-25 0,0 0-29 0,1 0-27 0,-1-2-19 16,0 1-40 0,-2-2-47-16,2 3-143 0,-2 0-122 0,-3 1-467 0,3 2 133 15,-3-1 42-15,-2 2 148 0,-3 2 20 0,0 2 44 16</inkml:trace>
  <inkml:trace contextRef="#ctx0" brushRef="#br0" timeOffset="22457.45">3322 11975 1249 0,'0'0'430'0,"0"0"-28"0,14 5-36 0,-8-1 58 0,2 1-29 0,-1 0-4 0,1 4-4 15,-3-1-24-15,2 0-7 0,-3 4-77 0,-4-1 49 16,0 2-49-16,0 0-57 0,-6 2 6 15,1 0-18-15,0 0-26 0,-3 2 3 16,1-3-51-16,1 0 2 0,-1-1-10 0,2-3-74 0,-1 0-3 16,-1-1 0-16,4-2 13 0,-2 0-36 15,0-2 67-15,0 1 5 0,2-1 15 16,0-2-18-16,1 2-2 0,2-2-3 0,-5-1-7 16,5-2 7-16,-1 6-38 0,1-6-18 15,-1 3-36-15,1-3 0 0,0 0 0 0,7 3 0 16,-7-3 0-16,8 0 0 0,-8 0 0 0,13-2 0 15,-3-1 0-15,0 1 0 0,0 0 0 16,1-1-70-16,2-2-50 0,2 1-54 0,-3 0-36 16,1-1-23-16,1 1-30 0,0-2-34 0,0 2-62 15,-1 1-186-15,1-2-533 16,0 1 67-16,1-3 144 0,0 2 60 0,1-1 111 16,1 1 66-16,2-3 83 0</inkml:trace>
  <inkml:trace contextRef="#ctx0" brushRef="#br0" timeOffset="22749.96">3916 12019 1021 0,'0'-2'420'0,"0"-2"53"0,0 4-25 16,-4-5-15-16,0 2-101 15,4 3-35-15,-13-2-25 0,3 3-21 0,0-1-16 16,0 1-12-16,-2 1 12 0,1 1-38 0,-2-1-18 16,2 1-33-16,4 0-20 0,-3 1-6 0,2 0-10 15,1 1-13-15,2-1-7 0,1 1 0 16,0 0-21-16,1 0 13 0,3 2-11 0,0-2-9 0,3 4 12 15,1-2-15-15,0-1 0 0,0 2 18 16,2-1 17-16,-3 0-2 0,1 0-20 16,-1 0 28-16,0 1 0 0,-1-1-8 0,0 1-5 15,-2 0 5-15,0-1 18 0,-2 2-15 0,-1-2-26 16,-2 3-20-16,-2-2-11 0,-1 3-51 16,0-2-30-16,-2 3-73 0,-3-1-63 0,0 1-77 15,0 0-71-15,-2-4-239 0,-3 8-550 0,0-3 141 16,0 1 86-1,0-1 145-15,0-1 29 0,3-2 65 0,0 0 97 0</inkml:trace>
  <inkml:trace contextRef="#ctx0" brushRef="#br0" timeOffset="23411.51">3273 12819 1069 0,'0'0'410'0,"0"0"-29"0,2-4-22 16,-2 4-21-16,0 0-26 0,0 0-28 0,16 7-25 0,-11-2 4 15,0 0 6-15,2 1-8 0,-4 4-8 16,0-2 3-16,-3 1-25 0,0 0-14 0,-3 3 14 16,-5 2 58-16,0 1-30 0,-2-1-24 15,-2 3-17-15,-1-1-29 0,3-1-7 16,-3-3-16-16,0 3 16 0,1-3-26 0,1-2-5 0,3-1-3 15,0-1-27-15,0 1-1 0,1-4-23 16,2 1-10-16,0-1-10 0,-2 0 33 16,4 0-99-16,-2-1-11 15,4 0 0-15,-1-1 0 0,-1 0 0 0,3-3 0 0,3 7 0 0,-1-4 0 16,4 0 0-16,-3-3 0 0,4 4 0 16,-2-3 0-16,3 0-16 0,0 0-96 0,-1 1-14 15,0-2-38-15,2 0-7 0,1-2-31 0,0 1-44 16,0 0-20-16,0-2-57 0,-1 1-130 15,3-2-425-15,0 0-141 0,2-1 93 0,-2-1 140 16,4-2 87-16,-1-2 36 0,1 0 87 0,1-1 34 16</inkml:trace>
  <inkml:trace contextRef="#ctx0" brushRef="#br0" timeOffset="23735.3">3670 12763 1412 0,'0'0'518'0,"0"0"-12"0,-16 8-71 0,9-1-7 16,-3 3-34-16,0 2-12 0,-1 3-42 16,1 2-38-16,-2 3-31 0,1 1-7 0,1 0-49 15,2 0-23-15,0 0 0 0,4-2-36 0,1-2-5 16,0-2-33-16,6-1 0 16,1-1-39-16,2 1 3 0,4-2-8 0,-2-4-10 0,5-2-13 15,-3 0 0-15,3-3 70 0,-3-1 2 0,0-2-13 16,0 0-5-16,-1-2-8 15,0 0 5-15,-1-1-7 0,-3-1-3 0,-2 2-2 16,0-1-11-16,-3 3 0 0,-3-6-15 0,3 6-12 16,-8-6-27-16,3 5-38 0,-3 1-61 15,1 0-64-15,-1 1 0 0,-2 1-126 0,0 0-81 16,-4 1-293-16,7 1-480 0,-6 1 81 0,6 0 149 16,-4-1 84-16,1 0 92 15,2-1 55-15,0 1 58 0,3-4 51 0</inkml:trace>
  <inkml:trace contextRef="#ctx0" brushRef="#br0" timeOffset="25127.59">5377 9985 1021 0,'18'-3'438'0,"-2"2"-24"0,-1 1-43 0,-2 3-23 16,0-2-25-16,-3 1-18 0,-2 2-24 15,-1-1-25-15,1 3-13 0,-2 0-7 0,-4 1-31 16,-2 2-26-16,-2 0 15 0,-4 3-32 0,-2 1-40 16,-4 4 24-16,-1 0-46 0,-3 0 3 15,1-1-4-15,-3-2-12 0,2-1-23 0,-1 2 13 16,7-5-13-16,-4 1-105 0,4-4 46 0,3 1-2 15,0-3 5-15,1 0-6 0,-2 0 8 16,5-2 3-16,1 3 5 0,0-6-5 0,2 5 18 16,0-5-19-16,0 0 14 0,10 2-16 0,-3-2-33 15,1 0 8-15,3 0-24 0,1-1-37 0,1 1-24 16,2-1-31-16,1-1-53 16,-1-1-46-16,1 3-113 0,-1-4-159 0,0 2-448 15,1-1 147-15,-1-2 14 0,1 0 88 0,-1-1 84 16</inkml:trace>
  <inkml:trace contextRef="#ctx0" brushRef="#br0" timeOffset="25415.87">5852 10013 1008 0,'0'0'433'0,"0"0"-60"0,0 0-14 0,0 0-27 0,0 0-19 0,-23 6-27 16,16-1-35-16,-4 1-5 0,-2 0-13 0,2 1-26 15,-4 2-25-15,0 0 7 16,2-1-12-16,-2 2-46 0,2-1-6 0,1 2-7 16,1-4-8-16,3-1 2 0,0 1-22 0,1 3-13 0,2-4 5 15,2 0-18-15,-2 0-16 0,3-3 19 16,2 3-24-16,2 1-2 0,1-3 13 16,2 1-10-16,2-2-11 0,1 2 5 0,3-3-35 15,1 2-24-15,6-3-2 0,-3 0-41 0,3-1-35 16,1 0-4-16,3 0-35 0,-3-1-34 15,1 1-58-15,-2-2-149 0,-8-1-94 16,8-1-459-16,-3 0 115 0,-2-1 52 0,-3 1 110 0,1 0 87 16</inkml:trace>
  <inkml:trace contextRef="#ctx0" brushRef="#br0" timeOffset="25619.69">5865 10036 1210 0,'-8'1'512'0,"3"6"-120"0,-3 1-16 15,1 2-20-15,2 3-13 0,-1 0-10 16,1 5-36-16,0 1-34 0,0 2 65 0,0 0-8 16,0 3-46-16,0-3-23 0,2 5-21 0,-2-2-66 15,4 1-44-15,-1 1-71 16,0-4-67-16,-1-1-49 0,3 1-51 0,0-2-68 0,-2 0-93 16,1-1-203-16,2 0-480 0,-1-2 79 0,-1-3 110 15,1 0 77-15,-2-3 58 0,-1 2 70 16</inkml:trace>
  <inkml:trace contextRef="#ctx0" brushRef="#br0" timeOffset="26338.52">5480 10866 1069 0,'15'-5'349'0,"1"1"-22"16,-5 2-9-16,1 2-34 15,-2 0 56-15,-2 0-25 0,0 2-26 0,-1 1-30 0,-4-1-13 16,2 2-34-16,-3 1-7 0,-2 0-6 0,-2 4-22 15,-6 0-21-15,1 3-15 0,-6 4 0 16,-2-1-6 0,-1 1-22-16,-2-2 10 0,0 0-3 0,3 0 11 0,-4-2-80 0,2-1-2 15,4 0 12-15,0-3 6 0,-2-1 12 16,5-1 0-16,2 0 13 0,0-1-12 0,1 0 35 16,1-2-36-16,1 2-4 0,0-4 4 0,2 3-15 15,3-4-3-15,0 5 6 0,0-5 5 0,6 3-29 16,1-3-12-16,4 4 10 0,-1-4 5 15,0 0-23-15,3 0-5 0,0 0-29 0,2 0-19 16,0 0-19-16,-4 0-7 0,2 0-31 16,-3 0-5-16,3-3-24 0,-3 2-14 15,0 1 2-15,-2 0-44 0,-1 0-37 0,-1-2-35 16,2 1-65 0,-1 1-127-16,-2-2-531 0,0 0 61 0,-5 2 107 0,8-1 80 0,-3 0 87 15,-5 1 12-15</inkml:trace>
  <inkml:trace contextRef="#ctx0" brushRef="#br0" timeOffset="27156.7">5860 10826 1261 0,'0'0'482'0,"-13"9"-42"0,8-4-84 16,-5 3-31-16,2 1-31 0,-2 3-17 15,1 1-34-15,0 3 74 0,1 1-40 0,3 0-16 16,-3 2-16-16,3-1-35 0,0 1-20 0,2-2-21 15,1 1-13-15,2-4-31 0,2 0-7 16,1 3-18-16,4-3-11 0,1-3-12 0,0-3-15 16,5 3-3-16,-3-5-3 0,3-1 0 0,-1 0-20 15,-1-2 0-15,2-3 7 0,-3-1 1 16,0-1-6-16,1-1 11 0,-4-1-3 0,0 0-15 16,-1-1 15-16,-1-1-8 0,-3 1-17 0,-2 0 7 15,0 0-33-15,-4-1-11 0,-2 1-32 16,1 0-19-16,-3 0-30 0,0 2-57 15,-2 2-30-15,0 0-90 0,0 1-217 0,-3 2-533 16,1 1 64-16,1 2 128 0,-4 0 87 0,4 2 103 16,-4 0 30-16,0 0 118 0</inkml:trace>
  <inkml:trace contextRef="#ctx0" brushRef="#br0" timeOffset="28683.32">5434 11706 1108 0,'12'0'412'0,"-1"2"-26"16,-3 1-37-16,-1 2-22 0,-2 0-14 0,1 2-34 16,-4 0-21-16,0 2-35 0,-2-1-21 15,-2 2-5-15,0 2-28 0,-3-1-3 0,2 0-30 16,-2-1 2-16,-2 1-33 0,4 0 16 0,-2-3-17 15,2 0-104 1,-2-1 16-16,3-2 7 0,2 1 2 0,0 1 14 0,1-3-11 16,2 2 5-16,0-1 1 0,2-1 4 0,0 2 3 15,0 0-8-15,0-1 31 0,0 0-13 16,1-1 24-16,-2 0-6 0,0 0 13 0,-2-2-31 16,0 3 90-16,1-2 12 0,0 1-22 0,-3 0 9 15,0-4 1-15,-3 7-10 0,0-2-11 16,-1-1-28-16,-2 1 6 0,-2 0-22 0,1 1-22 15,-3-3-46-15,-1 2-26 0,-1 1-38 0,1-1-34 16,1-2 3-16,-1 2-54 16,4-3-23-16,-3 1-33 0,2 0-46 0,3-1-79 0,-3 1-165 15,4-2-537-15,4-1 72 0,-6 2 138 0,6-2 95 16,0 0 92-16,0 0 41 0</inkml:trace>
  <inkml:trace contextRef="#ctx0" brushRef="#br0" timeOffset="29179.6">5618 11761 1113 0,'-5'5'402'0,"3"3"-41"0,-4 2-26 0,4 0-20 16,-3 2-34-16,3 1-25 0,1 0-33 15,-1 1-26-15,2 0-15 0,0 0-11 0,0-1-17 0,2-1 2 16,1 0-112-16,2 0-14 0,0-2 11 15,3 0-7-15,2-2-14 0,-2-3 3 16,2 0 8-16,0-3 2 0,1 0 80 16,-1-4 7-16,3 0-7 0,0 0-3 0,-1-3 2 0,1-2 34 15,-5-2-10-15,2 1-29 16,-5-1 21-16,1-2-2 0,-1 0 2 0,-3-2-5 0,-2 2-3 16,0-2-15-16,-5 2-74 0,0-1-11 0,-2 3 19 15,1-2-42-15,-4 3 21 16,2 1 5-16,-2 1-41 0,0 2-18 0,0 2-20 15,-1 1-36-15,-2 2-29 0,0 1-1 0,1 4-42 16,-4 0-21-16,1 4-42 0,-5 4-116 16,-11 0-103-16,13 4-478 0,2-2 64 0,1 0 115 15,2 1 87-15,0 0 80 0,-2-1 38 0</inkml:trace>
  <inkml:trace contextRef="#ctx0" brushRef="#br0" timeOffset="30896.6">5385 12561 1003 0,'6'0'305'16,"-6"0"-21"-16,12 0-21 0,-7 1-27 16,0 1-21-16,3 1-16 0,-3 3 68 0,-2-1-34 15,0 1-29-15,1 0-9 0,-4 1-18 16,0 0-29-16,0 1 3 0,-4 1-13 0,1 1-10 16,-2 0-25-16,-1-1-9 15,-1 1-2-15,-1-2 11 0,0 1-26 0,0-2 22 0,1 1-4 16,-3-3 8-16,5 1-9 0,0-3-2 0,-3 3 24 15,2-2-17-15,2 0-9 0,-1 0 7 16,2-3-79-16,-2 4-13 0,2-3 13 0,1 0 5 0,2-2-7 16,-6 3 2-16,6-3 20 15,0 3 8-15,0-3-41 0,0 0 16 0,6 4-3 0,-1-2-11 16,-5-2-4-16,10 2-1 0,-4-2-7 16,3 0-10-16,-1-1-16 15,0 1-15-15,0-1-23 0,5-1-13 0,-3 1-8 0,0-1-15 16,1 1-56-16,1-2-44 0,-2 0-97 0,-5-1-158 15,6 4-395-15,1-5 100 16,-1 3-8-16,-1-1 64 0,0 0 74 0</inkml:trace>
  <inkml:trace contextRef="#ctx0" brushRef="#br0" timeOffset="31660.36">5687 12511 1126 0,'0'0'504'0,"-2"-4"-117"0,2 4-16 0,-5-5-33 15,5 5-29-15,-2-3-30 0,2 3-10 0,0 0-39 0,-3-2-22 16,3 2-21-16,0 0-13 16,0 0-21-16,0 0-20 0,0 0-5 0,0 0-7 15,5 14-32-15,-2-6 1 0,1 2-6 0,0 1 55 16,-2 0-9-16,1 2-12 0,2 0-8 15,-3 0-5-15,-1 1-23 0,0 0-11 0,-2-1 9 16,1 1-24-16,-1-1 18 0,-4-2-5 16,3 2-23-16,-1-2 8 0,-3 0 0 0,2-2-3 0,-1-1-10 15,2-2 3 1,-2 0 15-16,2-2-16 0,-1 0-10 0,3-2 8 0,1-2-10 16,0 0 7-16,0 0-17 0,0 0-1 0,0 0-4 15,-2-13-3-15,4 7-13 0,3-1 12 16,1-1-7-16,1-2-12 0,0-2 12 0,2-1 8 15,0 1-3-15,0-1 13 0,-1 0 3 16,-1-1 2-16,-2 2-3 0,0 0 11 0,0 0-3 0,-3 0 67 16,1 1-43-1,-3 2-11-15,0-1-5 0,0 0 17 0,-2 3-22 0,-1-1-10 0,1 0-6 16,-4 2-32-16,2 0-9 0,-2 3-28 16,1-1-32-16,0 2-53 0,0 0-24 0,5 2-47 15,-10 1-25-15,10-1-52 0,-10 5-133 16,6-1-624-16,0 3 36 0,1 0 163 0,0 0 52 0,1 3 79 15,0-3 100-15,1 3 35 16</inkml:trace>
  <inkml:trace contextRef="#ctx0" brushRef="#br0" timeOffset="32664.66">5349 13260 757 0,'5'-2'305'15,"-5"2"-11"-15,8-3-15 0,-5 0-18 0,-3 3-15 16,0 0-8-16,5-1-13 0,-5 1-2 0,0 0-103 15,0 0-5-15,0 0-2 0,0 0-13 16,-18 10-5-16,11-6-21 0,-2 0 3 0,2 1-11 16,-4 1 1-16,1-1-11 0,0 1-2 15,3-3-11-15,-1 3 3 0,2-2-7 16,-1-1 9-16,2 1-9 0,0-3-6 0,-1 2 0 16,4-1-2-16,-3 1 7 0,5-3-9 15,0 3-1-15,0-3-5 0,7 4 2 0,-4-1 1 16,2-1-3-16,3 1-13 0,-1-1 1 0,1 3-1 15,2 0 3-15,-1-2 2 16,0 2 0-16,-1 0-12 0,3 1 2 0,-4 1-2 0,0-2 22 16,1 1-4-16,-2 0 4 0,-3 2-2 0,1-1 13 15,-4-1-3-15,3 3-15 0,-3-1 23 16,-3-1-5-16,-1 2 5 0,-2 0-10 16,-2 0 12-16,-2 0-22 15,0 1-3-15,-5-1 5 0,2 0 10 0,-3 0-36 0,1-1 16 0,0-1-20 16,2-1-11-16,0 1-13 0,0-2-23 15,3-1-30-15,0-1-34 0,2 1-77 0,3-1-15 16,0-3-125-16,5 0-487 16,0 0 26-16,0 0 110 0,0 0 100 0,10-13 64 0</inkml:trace>
  <inkml:trace contextRef="#ctx0" brushRef="#br0" timeOffset="32990.96">5639 13204 970 0,'-3'6'378'0,"-1"2"-29"0,-2 3-17 0,1 4-30 0,0 0-7 0,-3 1-39 0,3 2-31 16,0 0-20-16,3 1-21 0,1-3-2 0,2 1-31 16,1 1-10-16,3-1 4 0,0 0-40 0,3-3 3 15,0-1-13-15,0-1 61 0,2-4-13 16,0 0-2-16,0-2-26 0,-2-4 0 0,-1 0-17 15,1-2-1-15,-8 0 8 0,11-4-5 0,-4 0 10 16,-5-1-95-16,-1 0 18 0,1 0 13 16,-2 1-10-16,-3-1-5 0,1-1 0 0,-5 3 2 15,-1-2-2-15,0 3-36 0,-2 0-24 16,-5 3-19-16,2-1-47 0,-5 2-48 0,-2 0-65 16,3 0-209-16,0 4-553 0,-1 3 54 0,0-2 137 15,-3 4 63-15,1-3 55 0,4 0 62 16</inkml:trace>
  <inkml:trace contextRef="#ctx0" brushRef="#br1" timeOffset="41522.58">4998 13241 1205 0,'0'0'486'0,"-3"-3"-32"0,3 3-50 0,0 0-56 15,0 0 16-15,0 0-57 0,0 0-18 16,0 13 3-16,-2-4-36 0,2 1-28 0,0 3 10 15,2 2-13-15,-4 4-15 0,2 4-21 0,-2 3-15 16,-1 4-18-16,0 7 0 0,-2 3-10 16,2-3-28-16,-1 1 0 0,-2-1-23 15,2-7-98-15,1-4 6 0,-3-2 2 0,4 0-16 0,-3-5-4 16,2 0-28-16,1-4-3 16,-1-1 7-16,1-3-4 0,1 0-29 0,-1-2-15 15,0-1-36-15,-1-3-18 0,3-1-33 0,0-4-25 16,0 0-34-16,0 0-72 0,0 0-92 0,-3-13-66 15,3 6-443-15,0-3 105 16,3 0 51-16,-3-5 133 0,3-2 46 0</inkml:trace>
  <inkml:trace contextRef="#ctx0" brushRef="#br1" timeOffset="43219.01">4924 13141 1146 0,'0'0'356'0,"0"0"-3"16,0 0-43-16,0 0-18 0,0 0-8 15,12-5-28-15,-12 5-92 0,9-2-8 0,-2 1-20 0,3 0 17 16,-2-1-43-16,2 1 13 0,3 0-8 15,0 0 57-15,5-2-34 0,0 2 33 0,-3-2-40 16,8 1-11-16,0-1 1 0,-2 2-19 16,4-2-5-16,3 1-7 0,1 0-6 0,-1 0-27 15,1-2 14-15,-1 2 1 0,2 0-26 0,-2-1 8 16,1 1-3-16,-3 0-2 0,2-1-14 16,-5 2 1-16,2-1 0 0,0 0-3 0,-1 0-7 0,-1 0 5 15,0 0-6-15,-2 0-7 16,1 1 10-16,-1 1-2 0,2-2-11 15,-5 0 1-15,0 1-4 0,0 0 29 0,0 0-18 0,-3-1-17 16,1 1 27-16,2-1-15 0,-3 0-16 16,3-1 6-16,-5 1-3 0,4 0 3 0,-1-1-8 15,-1 1 28-15,-1-1-31 0,-2 0 9 16,-2 2-12-16,1-2 32 0,-1 2-26 0,-2 0 0 16,-1-1 23-16,1 1-23 0,-3-1-8 0,3 2 14 15,-3 0-9-15,-5 0 3 0,8-2 8 31,-8 2 15-31,8-1-8 0,-8 1-2 0,0 0-34 0,7 1 34 0,-7-1-8 0,5 2 0 16,-5-2 18 0,2 4-20-16,-2-4 5 0,3 3-19 0,0 0 17 0,-3 1-4 0,2 1 8 15,-2 0-2-15,1 2 0 16,-1-1 10-16,0 1-13 0,2 1 0 0,-4 2 3 0,2 1 12 16,0 0 3-16,-1 2-10 0,1 1 7 0,0-1 11 15,-2 2-8-15,2 0-8 0,0 0 6 31,-3 0-3-31,3 0 5 0,0 0 8 0,0 1-24 0,0-1 4 0,0 1 9 0,0 0-12 0,0 0 4 16,0-2-17-16,0 2 13 0,0-1 5 16,0 1 0-16,0-2-16 0,0 2 0 0,0-1 14 15,-2-1-11-15,1 2 7 16,0-1-1-16,0 1-1 0,1-2-23 0,-2 0 20 0,2 0 19 16,-3 1-31-16,3-2 2 0,-3 0 5 0,3-3 3 15,-2 0 11-15,2-1-9 0,-2 0-2 0,-2-1 3 16,4-1 4-1,-2-1 9-15,2-2-9 0,0 1-12 0,-2 0 8 0,2-2-13 0,-3 1 27 16,3-4-11-16,0 5-1 0,0-5-8 16,-3 6 26-16,3-6-30 0,-2 3 12 0,2-3 13 15,-5 4-13-15,5-4-5 0,-5 2 0 16,3 0-8-16,-1 0-5 16,3-2 21-16,-8 2-8 0,2 0-3 0,2-1 8 0,-2-1-15 0,-1 2 3 15,7-2 9-15,-13 2 3 0,5-2-5 16,-2 1 16-16,3 0-16 0,-1-1-72 0,-3 1 10 15,1-1 11-15,2 2-8 0,-2-2 26 0,0 1-26 16,0-1 11-16,2 2 12 0,-3-2-3 16,2 1 4-16,0-1 14 0,-1 2-2 0,0-3-8 15,0 2 11-15,0-1-8 0,-1 0 10 16,1 0 2-16,0-1 4 0,0 1-4 0,2 0 11 16,-2-1-8-16,0 0 3 0,2-1 8 0,0 2-14 15,-2-1 6-15,2 1-5 0,-2-1 17 16,2 0 1-16,-2 0-14 0,2 0 9 0,-2 0-3 0,3 1-3 15,-1 0 8-15,-3 0 5 16,4 0 5-16,-1-2-2 0,0 2-16 16,1-2-4-16,-1 2 17 0,0-1-10 0,8 1 7 0,-15-2 6 15,9 2-18-15,-1 0-3 0,0 0 23 16,-1 0 8 0,8 0-13-16,-13 0 5 0,5 0 1 0,0 0-19 0,0 0 5 0,1 0 3 0,0 2 5 15,1-1 3-15,6-1-3 0,-15 0-10 0,8 0 10 16,1 0 11-16,-1 2-27 0,7-2 27 15,-14 0-1-15,7 0-23 0,2 0 8 32,-3 0 16-32,8 0-3 0,-12 0-13 0,6 0 10 0,-1 0 5 0,7 0-2 0,-14 0 0 15,7 2-6-15,0-4-9 0,1 4 12 0,-1-2 8 16,-1 0 10-16,8 0-12 0,-13 1-9 0,5 0 19 16,1-1-13-16,7 0 2 15,-11 1 3-15,3-1-5 0,8 0-3 0,-10 1 3 0,5-1 10 16,5 0-3-16,-10 0-7 0,10 0 23 15,-7 0-26-15,7 0 6 0,-8 0 9 0,8 0-22 0,-5 1 15 16,5-1 2-16,-8 0-2 0,8 0 10 16,-8 1-15-16,8-1 0 0,-5 0 0 15,5 0-8-15,0 0-3 0,-10 0-2 0,10 0 5 0,0 0 3 16,-8 2 10 0,8-2-3-16,-7 0 3 0,7 0-5 0,0 0-3 0,-8 0-5 0,8 0 0 15,0 0 8-15,-8 1-13 0,8-1 21 16,-5 1-14-16,5-1-22 0,0 0 15 0,-8 1 13 15,8-1 2-15,-8 1 3 0,8-1 5 16,-5 1-10-16,5-1-3 0,0 0 8 0,-8 2-23 16,8-2 23-16,-4 1-13 0,4-1 8 0,0 0-13 15,-6 3 15-15,6-3-10 0,0 0 0 16,-5 0 11-16,5 0-16 0,0 0 15 16,0 0-5-16,0 0-12 0,-7 1-6 0,7-1 13 0,0 0-2 15,0 0-3-15,0 0 18 0,-6 1-13 16,6-1 13-16,0 0-5 0,0 0-6 15,0 0 9-15,0 0-4 16,0 0 1-16,0 0-13 0,0 0 8 0,-5 1-11 0,5-1-2 0,0 0-13 16,0 0-33-16,0 0-15 0,0 0-32 15,0 0-32-15,-8-3-29 0,8 3-5 0,-5-3-84 16,2 0-128-16,1-1-175 0,0 1-465 0,-1-1 120 16,0-2 39-16,1 0 161 0,-3-3 94 15,2 1 57-15</inkml:trace>
  <inkml:trace contextRef="#ctx0" brushRef="#br0" timeOffset="49907.06">7334 9906 1540 0,'2'0'448'0,"-2"0"-128"0,0 0-20 0,0 0-31 0,0 0-21 16,8 10-23-16,-6-7-15 0,-2 6-23 0,1-2-10 15,1 2-14-15,1 1-27 0,-1-1 0 16,-2 4-24-16,3 0-12 0,-3-2-10 16,0 2-31-16,0 0-24 0,-2-1-17 0,1 4-41 0,-1-3-36 15,2-1-30-15,-3 1-31 0,0-2-119 16,1-2-134-16,-3 4-500 0,5-6 97 0,0 2 44 15,-3-2 64-15,3-1 74 0</inkml:trace>
  <inkml:trace contextRef="#ctx0" brushRef="#br0" timeOffset="50264.74">7546 9844 959 0,'0'0'448'0,"0"0"-46"16,0 0 0-16,-2 19-125 0,2-10-16 0,-2 4-28 16,4 1-34-16,-2 1-20 0,2 2 3 15,-1 3-28-15,4-1-24 0,-3 0-4 0,6-1-6 16,-3 0-18-16,3 0-2 0,0-5-8 16,2 0-12-16,0-1-9 0,1-1-7 0,-1-4 16 15,2 0-1-15,-2-3 23 16,-1-2-12-16,3-2 5 0,-2-1 15 0,0-1-3 0,1-4 26 15,-1 0 1-15,0-3 9 0,-2 1-2 0,0-3 71 16,-3-2-5-16,-2 0-30 16,-1-1-95-16,-2-2-3 15,-2 3-4-15,-4-5-19 0,1 2 5 0,-2 1-7 0,-1 2-13 0,-2 0 0 0,1 4-31 16,-1-1-12 0,-2 4-47-16,1 1-38 0,-1 2-15 0,-1 3-78 0,-2 1-40 0,-1 1-51 15,1 4-118-15,-13 2-151 16,9 2-471-16,1 2 128 0,-2 1 51 0,0 0 128 0,2-1 38 0,0 1 103 15</inkml:trace>
  <inkml:trace contextRef="#ctx0" brushRef="#br2" timeOffset="55555.63">6795 9743 1272 0,'0'-5'389'0,"0"5"-108"16,1-6-30-16,0 4-8 0,-1 2-20 16,0-5-36-16,0 5 13 0,0 0-26 15,0 0 0-15,0 0 15 0,-2 18 24 0,2-7-16 16,-2 3 10-16,2 4-41 0,-3 4-20 0,3 5 0 16,-3 12-18-16,1-1-23 0,0 3 0 15,-1-1-5-15,0-1-21 0,1-5-10 0,-3 4-5 16,5-6-18-16,-3-5-7 0,0-3-24 15,2 0 16-15,1-4-34 0,0 2-12 0,0-6-18 16,1 2-26-16,-2-1-31 0,1-4-5 0,1-2-45 16,-1-2-19-1,0 1-51-15,1-3-115 0,1-5-56 0,-2 3-510 0,3-4 108 0,-3-1 74 16,0 0 84-16,0 0 46 0</inkml:trace>
  <inkml:trace contextRef="#ctx0" brushRef="#br2" timeOffset="56999.92">6826 9588 655 0,'0'0'243'0,"6"-1"69"0,-6 1-35 16,0 0-26-16,15 4-21 0,-5-3-18 16,0 0 16-16,3 0-23 0,2-1-31 0,1 1-10 15,1 1-113-15,7-1 8 0,-1 0 7 0,7 1 6 16,1 1-26-16,0-2 3 0,5 0-11 16,-3 2 6-16,14-2-8 0,-1 1 7 15,0 2-12-15,-10-3 10 0,-1 1-11 0,-1-2-4 16,-1 0 7-16,1 0-7 0,2 0-6 15,-1 0 70-15,11-2-13 0,-5 1-6 0,6-3-7 16,-6 4 0-16,-8-1 8 16,3-1-13-16,7-1-15 0,-6 1-4 0,-7-1 12 15,-1 1-19-15,-2 0-5 0,-3-1 3 0,-3 2-8 16,1-1-13-16,-4-1 5 0,-3 2 19 0,1-1-11 0,-3 0 10 16,0 1-15-16,-3 0 18 0,0-1-13 15,-2 1 2-15,0-1 1 0,-1 2 0 16,-2-1 15-16,-5 1-11 15,13 4 6-15,-10-3 0 0,2 1 0 0,-2 3 0 0,-1 0-3 16,0 1 3-16,-1 2-8 0,1-2 0 0,-2 7-2 16,3-3 9-16,-3 3 4 0,0 1-6 15,2 5 3-15,1 0-10 0,-1 0-8 0,1 0 20 16,-1 4-10-16,-1-3 21 0,4 3-24 0,-3-2 6 16,-2-1 0-16,3 3-18 0,-3-4 17 0,2 1 11 15,1 2-15-15,-3-2-8 0,0-2 33 16,3 1-41-1,-3-5-10-15,0 4 18 0,0-4-10 0,0 1 2 0,-3-1-5 0,3-2 3 16,0 1-8-16,-3 0 5 0,1 0-3 0,-3-2 19 16,2 1-24-16,-2-3 14 0,0 3 12 0,0-1-23 15,-1-2 18-15,-1 2 17 0,0-4-24 16,-1 3 9-16,2-2-12 0,1-2-6 0,-3-1-12 16,4 2 13-16,-4-2-1 0,0-2 1 15,0 3-8-15,3-1 7 0,-3-1 8 0,-2 0-12 16,2 0 2-1,-2-2 2-15,0 3 4 0,2-3-22 0,-2 2 11 0,-3-2-5 16,3 3-8-16,0-5 15 0,-3 3 3 0,0 0-5 0,3-3-10 16,-5 4 7-16,4-2-12 0,-1-1-3 0,-1 1 18 15,0-1-13-15,2 2 2 16,-4-3-7-16,2 0 16 0,1 0 4 0,-4 0-10 16,3 3 16-16,-2-2-21 0,-1 0 13 0,1 0 5 15,2-1-5-15,-2 0-8 0,0 0 15 16,4 0-9-16,-4 0-4 0,2 0 14 0,0 0-6 15,1 0-7-15,-2 0 8 0,0 0-16 0,1 0 13 16,-1 0 2-16,-1 0-2 0,2 0-5 16,-4 0 10-16,1 0-13 0,1 1 28 0,-3-1-12 15,2 0-3-15,-2-1 15 0,3 2-17 16,-3-1 2-16,0-1 0 0,3 1 2 16,-3 0-2-16,2 0 5 0,-4 0-10 0,2 0 0 15,2 0 5-15,-2-1 13 0,3 1-5 0,-3 0-1 16,3-2 14-16,0 3-19 0,-1-1 14 0,-2 0-91 0,3 0 24 15,2 0 0-15,-2 1 8 16,2-1 19-16,0 1-4 0,0-1-10 0,1 0 35 16,1 0-25-16,-1 0 5 0,2 0 0 0,1 0 5 15,-1 1 0-15,2 2 26 0,0-3-13 16,1 0 0-16,-1 0 2 0,8 0-2 0,-12 0 3 16,6 0-1-1,-1 0 8-15,7 0-5 0,-11 1 3 0,11-1 4 0,-10 0-7 0,10 0 16 16,-10 0-4-16,10 0-9 0,-8-1 23 0,8 1-11 15,-10 0 13-15,7-3-13 16,3 3 1-16,-10 0-19 0,10 0 16 0,0 0 2 16,-10 0 1-16,10 0-1 0,0 0-7 0,-8 0 12 15,8 0-12-15,0 0 7 0,-7-1 14 0,7 1-6 16,-6 0 7-16,6 0-22 0,0 0 7 0,-10 0 11 16,10 0 17-16,0 0-22 15,-8 0-3-15,8 0 15 0,-7 0 11 0,7 0-21 0,0 0 5 16,-8 4-10-16,8-4-11 0,0 0 11 0,-8 0-13 15,8 0-2-15,-5 0 10 0,5 0-11 16,0 0-7-16,-7 1 5 0,7-1 0 16,0 0-33-16,0 0 20 0,0 0-12 0,-8 1 2 0,8-1-13 15,0 0 10-15,0 0-20 16,0 0 0-16,-6 1 13 0,6-1-3 0,0 0-5 16,-4 4-15-16,4-4-3 0,-3 2-16 0,3-2-14 15,-5 4-16-15,5-4-21 0,-3 2-17 0,3-2-26 16,-5 5-117-16,2-3-127 15,1 1-449-15,-3-1 71 0,5-2 41 0,-8 4 138 0,5-2-10 16</inkml:trace>
  <inkml:trace contextRef="#ctx0" brushRef="#br2" timeOffset="62750.93">7895 2384 739 0,'26'-2'223'0,"-11"3"-23"0,3-1-24 16,3 1-22-16,2-1-13 0,5 2-6 0,3 0-4 16,-1-2-37-16,4 1-6 0,0-1-22 15,1 2-45-15,-2-1-73 0,0 1-109 0,-1-2 20 16,-2 1-232-16,4-2-278 15,-9 1 119-15</inkml:trace>
  <inkml:trace contextRef="#ctx0" brushRef="#br2" timeOffset="63232.41">8046 2406 496 0,'6'2'169'0,"1"0"-15"0,4-2-39 16,-1 1 10-16,3-1-10 0,0 2-17 16,2-2-4-16,0 0-1 15,1 1-9-15,-1 0-23 0,-2-1-9 0,0 0 35 0,0 1-23 16,-1-1 97-16,1 0-2 0,-2-1-8 0,-1 1-23 15,0 0-3-15,-2 0-15 0,-1 0 13 0,1 0-23 16,-8 0 10-16,10 0 8 0,-10 0-21 16,10 0-18-16,-10 0 1 0,9 0-1 15,-9 0 3-15,7 0-16 0,-7 0 3 0,0 0-10 0,10-1-13 16,-10 1 16-16,0 0-16 0,5 1-3 16,-5-1-7-16,0 0 8 0,6 1 4 15,-6-1-17-15,0 0-18 0,0 0 10 0,0 0-82 16,0 0 13-16,0 0-3 0,7 0 14 0,-7 0 1 15,0 0 9-15,0 0 2 0,0 0-5 0,0 0 4 16,0 0 12-16,0 0-1 0,0 0-8 16,0 0-7-16,0 0 21 0,0 0-6 15,0 0-23-15,0 0 0 0,0 0-23 0,0 0-25 16,5 0-24-16,-5 0-4 0,0 0-96 0,0 0-43 16,0 0 3-16,0 0-435 0,0 0-16 15,0 0 72-15</inkml:trace>
  <inkml:trace contextRef="#ctx0" brushRef="#br2" timeOffset="64022.61">10734 2423 560 0,'12'0'187'0,"4"-1"-5"16,2 1-31-16,-3 0-5 0,5-1-36 0,1 0 79 15,2 1-33-15,1-1-15 16,1 1 13-16,1-3-37 0,-1 1-9 0,1 1-21 0,2-2-28 15,-3 3-29-15,1-2-22 0,-3 1-51 16,1 0-75-16,-4 1-64 0,-7 0-107 0,2 0-389 16,-2 0 120-16</inkml:trace>
  <inkml:trace contextRef="#ctx0" brushRef="#br2" timeOffset="64665.94">10559 2507 455 0,'8'0'123'16,"2"0"15"-16,0 0-7 0,3 0-6 0,5 1 11 15,0-1-47-15,0 1-17 0,0-1 28 16,0 0-34-16,3 0 9 0,-4 0-27 15,7 0 14-15,-2 0-26 0,-3 0 22 0,3 0 1 16,-1 0 67-16,-1 0-1 0,-2 0-12 16,-2 0-11-16,-1 0-5 0,-2 1-15 0,0-1 5 15,0 0-10-15,-3 0 15 0,0 2-15 0,0-2 8 16,-2 0-3-16,-3 0-11 0,3 0 16 16,-3 0-15-16,-5 0-18 0,11 0-6 0,-11 0 11 15,7 0-15-15,-7 0-1 0,0 0 3 0,8-2-7 16,-8 2 4-16,0 0-12 0,0 0-5 15,8 0 12-15,-8 0-7 16,0 0-8-16,0 0-3 0,0 0-7 0,0 0 15 0,0 0-10 0,0 0-15 16,0 0-3-16,0 0 20 0,0 0-2 15,0 0-10-15,0 0-3 0,0 0-3 16,0 0-2-16,0 0 0 0,0 0 3 0,0 0 7 16,0 0 8-16,0 0-23 0,0 0 10 15,0 0-8-15,0 0 3 0,-21-1-2 0,21 1 12 16,0 0-5-16,0 0-2 0,0 0 2 15,0 0 3-15,0 0 7 0,0 0-23 0,0 0 13 16,0 0-5-16,-8-1 6 0,8 1-12 0,0 0-4 16,0 0 5-16,0 0 3 0,0 0 14 0,-5-1-9 15,5 1-8-15,0 0 15 0,0 0-5 16,0 0-10 0,0 0 8-16,0 0-1 0,-5-2 1 0,5 2-6 0,0 0 8 0,0 0-48 15,0 0-21-15,0 0-13 0,0 0-23 16,0 0-38-16,0 0 5 0,-5-2-13 0,5 2-13 15,0 0-20-15,0 0-28 0,0 0 2 0,0 0-43 16,-8 0-441-16,8 0 29 0,0 0 140 16</inkml:trace>
  <inkml:trace contextRef="#ctx0" brushRef="#br0" timeOffset="87727.09">16695 9768 982 0,'0'-6'346'0,"0"6"-36"0,0 0-31 16,0 0-3-16,-9 0-43 0,9 0-10 16,-14 11-8-16,6-3-31 0,-2 5-23 0,0 1 75 15,-3 4-21-15,-1 1-15 0,-1 10-3 0,0-6-31 16,5-3-28-16,-1 1-2 15,3 2-16-15,1-3 6 0,0 2-27 0,4-3 14 0,-2-4-21 16,4 4-7-16,1-4-19 0,1-1 8 16,-1 0-17-16,2-2 4 0,4 0-2 0,-2-3-23 15,4 3 15-15,0-6-2 0,0 4-11 0,-1-7 6 16,3 2-6-16,-2-4-7 0,2 2-1 0,0-2 14 16,-2-5-18-16,2 3 17 15,-4-2-12-15,1-2-11 0,-1 0 11 16,-2 0 0-16,0-1 2 0,0-1-13 0,-4 1 4 0,0 1 4 15,-2-2 5-15,-1 0 13 0,-2 0-2 16,2 1-27-16,-4 0 12 0,2 1-6 0,-1-2 2 16,-2 4-22-16,1-2-3 0,-3 1-23 0,3 1-23 15,-2-1-13 1,-1 1-21-16,2 0-48 0,0 3-12 0,1 0-32 0,-3 0-56 16,3 0-115-16,-1 0-99 0,8 0-511 0,-8 0 91 15,3 1 58-15,5-1 113 0,0 0 38 0,-6 2 64 16</inkml:trace>
  <inkml:trace contextRef="#ctx0" brushRef="#br0" timeOffset="88140.57">16856 9822 1080 0,'10'2'391'0,"0"0"-37"0,-2 1-32 15,0 2-10-15,-1 2-40 0,1-1-96 16,-5 2 14-16,2 0-32 16,-5 2 19-16,0-1-31 0,-5 2-16 0,2 2-7 0,-5 0 8 15,1 3-24-15,-8-1-7 0,4 3-3 0,-2-2-22 16,-2 0 4-16,5-3 11 0,-1-2-8 15,1 1-13-15,2-4 10 0,1 2-12 16,1-3-9-16,2 0 19 0,-2-2-26 0,2 0 1 0,0-1 14 16,0 2-25-16,4-2 15 0,-2-2-4 15,2-2-4-15,4 7-2 0,-1-3-20 16,2-2 15-16,3 1-8 0,-1-1-5 0,1-2 1 0,2 4-9 16,0-4-23-16,3 0 6 0,0 2-16 0,0-4-18 15,0 2-4-15,0 0-34 0,0 0-34 16,-1 0-25-16,-2-3-31 0,1 3-38 15,-1 0-146 1,0 3-448-16,-2-3-79 0,-2 2 120 0,-2-2 26 0,2 1 56 0,-2 2 102 16</inkml:trace>
  <inkml:trace contextRef="#ctx0" brushRef="#br0" timeOffset="89049.65">16448 10644 1026 0,'-2'-3'340'0,"0"-1"-38"0,2 4-12 0,2-7-24 15,0 5-43-15,4-1-19 0,2 2-14 16,2-3-32-16,2 3 4 0,1-2-24 0,3 2-20 15,-1-1-6-15,1 1-25 0,-2 0 11 0,0 1-14 16,-2 0 16-16,1 1-5 0,-3 0-16 16,0 1 8-16,-2 2-3 0,2 1 3 15,-4 1 11-15,1 1 14 0,-4 3-14 0,0-1-6 0,-1 2-5 16,0 2-3-16,-2-1 1 16,0 1-8-16,0 1-3 0,-2-2-15 15,2 3-3-15,-2-1 3 0,1 0 66 0,-4-1-27 0,5 1 12 16,-2-3-44-16,0 3-12 0,2 1-18 15,-1-2-46-15,-1-1-31 0,2-2-21 0,0 1-27 16,0-1-27-16,0-1-14 0,-3 1-52 16,6-2-125-16,-3-2-108 0,0 1-532 0,-3-1 105 15,3 0 61-15,0-2 85 0,-2-1 64 16</inkml:trace>
  <inkml:trace contextRef="#ctx0" brushRef="#br0" timeOffset="89289.58">16431 10874 1072 0,'0'0'384'0,"-6"-2"-38"0,6 2-19 16,0 0-43-16,0 0-18 0,0 0-30 0,0 0-16 16,13-4-23-16,-5 2-18 0,0 2-22 0,4 0-12 15,1 0-27-15,3 0 2 16,2-3-22-16,-3 2-39 0,3 1-44 0,-2 0-18 0,1 0-27 15,1 0-42-15,0-2-69 0,-2 2-87 16,1-6-148-16,-1 5-412 0,-1 0 25 0,1-1 138 16,-1 0 6-16,-5 1 107 0</inkml:trace>
  <inkml:trace contextRef="#ctx0" brushRef="#br0" timeOffset="89638.63">16930 10718 1054 0,'-13'1'310'0,"3"-1"15"15,2 0-67-15,-2 2-17 0,5 0-8 0,-2 1-49 0,2 0-2 16,1-1-21 0,0 3-7-16,1 0-16 0,0 0-15 0,3 0-16 0,0 0-4 15,0 4-16-15,3-2-10 0,0 0 2 16,1 1-18-16,2-1 67 0,2 3-5 0,-1-2 0 0,3-1-5 15,1 2 0-15,-4-2 4 0,-1-1-1 16,-1 0-14-16,2-1 16 0,-4 0 8 0,3 0 7 16,-6 1-77-16,-1-2 11 0,-1 0-21 0,-4 1 11 15,-4 1-1-15,0 1-12 0,-3 0-8 16,-5 2-16-16,0-2-4 0,-2 1-44 16,-1 2-21-1,1-1-48-15,2-2-41 0,-3 3-46 0,6-3-93 0,-1 0-199 0,1 2-460 0,2-3 114 16,3-1 39-16,-1 0 69 0,4 0 90 0,0-1 43 15</inkml:trace>
  <inkml:trace contextRef="#ctx0" brushRef="#br0" timeOffset="90914.27">16658 11398 1384 0,'-12'8'418'0,"1"3"-104"0,1-2-32 16,-2 3-13-16,2 3-34 0,1 3 8 16,-3 1-48-16,2 2-18 0,-1-2-11 0,1 2-30 15,3 0-16-15,1-2 5 0,4-1-12 0,-1-1-13 16,3-1-6-16,2-2-19 0,-1 2-16 15,4-4-3-15,2 0-10 0,-1-2-3 16,4-1 19-16,0-3-16 0,0-2 3 0,-2-1-8 16,3-2 2-16,-1-1-2 0,-3-2 8 0,4-1-6 15,-6-2 19-15,3 1-9 0,-4-3-19 16,2 0 7-16,-2-1-11 0,-4 0-7 16,4 0 85-16,-4 0-11 0,2 0-5 0,-4 0-25 0,-2-1-8 15,2 1-31-15,-3 1-18 0,0 2-7 16,0-1-32-16,-3 0-55 0,0 3-16 0,0-1-51 15,-2 1-92-15,0-4-149 0,2 7-598 0,1 0 163 16,-3 2 16 0,2-1 104-16,0 0 65 0,8-1 96 0</inkml:trace>
  <inkml:trace contextRef="#ctx0" brushRef="#br0" timeOffset="91320.05">16761 11434 1205 0,'13'3'387'0,"-10"1"-29"0,2 3 57 0,0 0-52 0,-3 0-25 0,1 5-8 0,0-1-18 0,-1 1-45 16,0 2-27-16,-2-1-30 0,0 0-8 0,-2 1-12 16,0 0-29-16,-4 2-7 15,3-4-11-15,-4 0-23 0,4-1-7 0,-1-1-8 16,0 0-18-16,0-3-10 0,2 0 10 0,-2-2-13 0,2 1 16 15,0-2 9-15,2-2-22 0,0-2-8 16,0 0-18-16,0 0 1 0,0 0 12 16,12-12-41-16,-6 4 10 0,4-4 8 15,-3-1-102-15,3 0 22 0,-2-1 11 0,0-1 5 0,0-3-5 16,-3 4 23-16,0-4-8 0,0 1 41 16,-2 2-20-16,0 2 12 0,-1-1 16 0,-2 0 20 15,0 2-30-15,0 3 25 16,-2-2-2-16,1 2-13 0,-4-1 7 15,0 5-30-15,-3-3-3 0,0 2-38 0,1 3-33 0,-4-1-32 16,1 3-42-16,0 1-67 0,0 0-54 0,3 3-34 16,-4-5-214-16,3 9-504 0,-2 0 99 0,2 3 77 0,0-2 95 15,1 2 58 1,4 2 75-16</inkml:trace>
  <inkml:trace contextRef="#ctx0" brushRef="#br0" timeOffset="92152.54">16548 12057 1008 0,'-2'-2'343'0,"2"2"-44"0,0 0-22 16,12-3-6-16,-4 1-35 0,3 0-29 0,-1-1-17 16,2 0-27-16,4 1-14 0,-3-2-26 15,2 2-13-15,-2-1-3 0,0 0 6 0,2 0-34 16,-5 1 3-16,-1 0 0 0,1 0-3 15,-3 2 8-15,0 0 16 0,-1 2 12 16,-1 0-79-16,-2 1-8 0,2 2 10 0,-3 1 14 16,1 2 12-16,-3 2-13 0,0 0 13 0,-3 1 0 0,3 1 2 15,-4 3-7-15,1 1-10 0,0 1 12 16,-2-1-17-16,0 0-8 0,0 1 15 16,-1-2-23-16,2 3-18 0,-2-5-20 0,2 2-8 0,0-2-38 15,0-2-29-15,1-1-25 0,-2 1-8 16,2-3-71-16,1 0-134 0,-4-2-104 0,4-1-461 15,2-1 122-15,-2-1 47 0,2-3 74 16,0 0 77-16</inkml:trace>
  <inkml:trace contextRef="#ctx0" brushRef="#br0" timeOffset="92302.59">16576 12209 990 0,'0'0'387'0,"3"-4"-47"0,2 1-28 0,0 1-20 0,3 1-38 16,2 0-29-16,0 0-31 0,1-1-9 16,4-1-70-16,-2 2-51 0,3-2-123 0,-1 1-179 0,1 0-571 15,4-2 105-15,-5 1 67 0,1-1 86 16</inkml:trace>
  <inkml:trace contextRef="#ctx0" brushRef="#br0" timeOffset="92697.08">16915 12045 972 0,'0'-4'402'0,"0"4"-102"0,0 0 2 16,0 0-13-16,0 0 51 15,0 0-45-15,5 16-19 0,-5-8-12 0,3 1-21 16,1 1-2-16,-1 0-26 0,3 2-16 0,-4 2-20 0,1-2-12 16,0 2-34-16,-2-1 20 15,-1 0-30-15,0 1-28 0,-2-1 15 0,0-1-13 16,-3 0-20-16,2-2-5 0,-2 0-3 0,0-1-23 15,-1-2 31-15,2-1-21 0,1-1-10 16,-2-1 23-16,2-3-38 0,-2 1-16 0,5-2 8 16,0 0-20-16,0 0 10 15,-8-10-29-15,8 4 19 0,3-1-18 0,2-3-1 0,0 0 6 0,3-3 0 16,-1 1-3-16,3-2 0 0,-1-1 0 16,0 1 18-16,0-1-5 0,-1-1 11 15,-1 1 7-15,2 1 10 0,-5 2 23 0,1 0-10 16,-3-1 18-16,1 3-3 0,0 0 6 15,-3-1-11-15,0 3 8 0,-1-3-11 0,-1 4-7 16,-3-1-13-16,2 3-28 0,-2-1-25 0,-2 2-21 16,-1 1-39-16,0 2-38 0,0 2-33 15,1 0-41-15,-4 2-200 0,4 3-634 16,-3 2 120-16,0 0 45 0,1-1 129 0,-1 5 38 0,0 2 62 16</inkml:trace>
  <inkml:trace contextRef="#ctx0" brushRef="#br0" timeOffset="94983.35">16651 12628 816 0,'-8'10'287'16,"0"2"-29"-16,1 0-22 0,-1 0-16 0,1 4-36 15,-1 0 11-15,0 2-31 16,-2 2-13-16,5 1-18 0,-1-2-3 0,2-3-17 0,1 2-13 16,3-4-11-16,-1 0 1 0,2-1-3 15,2-1-26 1,1-1-10-16,-1 0 3 0,5-5 5 0,-1 1-13 0,-2-3 13 0,6-1 5 16,-4-2-8-16,1-2 21 0,2-1 20 15,-2-2 6 1,0 0 12-16,-5-2-5 0,4-1 56 0,-4 1-2 0,-1-2-8 15,0 1-2-15,-1-1-26 0,-1-1-3 0,-1 0-2 0,-1 1-18 0,0 1-25 16,0 0 35-16,-4 1-31 0,3 0-43 16,-4 2-5-16,2-2-10 0,0 2-26 0,0 1-26 15,-1 1-15-15,-2 1 0 0,4-1-36 16,-2 1-17-16,6 1-14 0,-10 1-15 16,10-1-66-16,0 0-34 0,-5 4-122 0,5-4-70 15,0 0-484-15,0 0 108 0,13 5 57 0,-5-5 120 16,-8 0 45-16</inkml:trace>
  <inkml:trace contextRef="#ctx0" brushRef="#br0" timeOffset="95400.93">16954 12640 1026 0,'0'-4'392'0,"0"-1"-16"16,0 5-59-16,-6-2-99 0,6 2-6 0,-7-1-27 15,7 1-11-15,-18 2-13 16,8 2-23-16,0 0-15 0,-1 0-10 0,-2 3-1 0,2-1-9 15,-1-1-9-15,4 1-17 0,-2 0-5 16,2 1-13-16,1-3 10 0,1 1-21 16,4-1 1-16,-3 2 7 0,5-2-2 0,-3 0-13 0,3-1 3 15,0-3 7-15,0 7-13 16,0-7 21-16,3 6-15 0,0-4-21 0,-3-2 2 16,4 3 8-16,-1 0-2 0,-3-3-8 0,8 2 3 0,-1 0-3 15,-4 0-3-15,3-1 3 0,-2 2-7 16,2 0 7-16,-2-2-8 0,2 4 6 15,-2 0-3-15,0-1 12 0,0 3 11 0,-3-1-2 16,4 0-4-16,-5 1 9 0,0-1-3 16,0 2-5-16,-3-1-3 0,-2 3 8 0,3-3 5 15,-4 2-13-15,-2 2 8 0,1-3-13 0,-3 1 1 16,-1-1 6-16,4 1-14 0,-6-1 2 0,6-1 0 16,-4-1 5-16,3 1-46 0,0-3 3 15,0 1-26-15,-2-2-23 0,5 0-33 0,-2-1-34 16,2 0-28-16,0 0-33 0,5-2-56 0,-6 2-82 15,1-1-95-15,5-1-448 16,0 0 110-16,0 0 44 0,0 0 133 0,0 0 43 0</inkml:trace>
  <inkml:trace contextRef="#ctx0" brushRef="#br0" timeOffset="97031.15">18020 9812 1246 0,'0'-5'381'0,"3"-2"3"15,-1 1-133-15,3 0 0 0,0-1-18 0,1 1-15 16,1 3-14-16,1-1-19 0,2-2 4 16,0 6 65-16,3-1-45 0,0 2-9 0,0-1 5 15,0 4-113-15,0-1-5 0,-3 3 8 16,0 0-24-16,-1 1 1 0,-5 3-3 0,-2-2-7 16,1 2-16-16,-3-1 5 0,-3 0-10 0,-1 1-8 15,0 2 0-15,-3-2-10 0,2-1 0 16,0 2 3-16,0-4 5 0,2 0-6 15,1-1-9-15,-2 0-1 0,4 1 6 0,-2-1-1 16,2 0-2-16,2 1 5 0,-2-1-5 0,1 0 15 16,-1 1-15-16,3-1-5 0,-3 1 7 0,2-1 6 15,-2 2-6-15,0-1 3 0,0-3-2 0,-2 4 2 16,-1-1 5-16,2-1-2 0,-6 0-16 0,2 0 3 16,0 1 5-1,-5-1-26-15,-1-2-2 0,1 2-16 0,0-1-22 0,-1-1-29 16,-1 0-33-16,2 1-3 0,-3-2-30 15,5 0-6-15,-2-3-22 0,2 4-62 0,0-3-56 16,4 0-88-16,4-1-30 0,-6-3-419 16,6 0 47-16,0 3 101 0,5-11 94 0,0 3 37 15</inkml:trace>
  <inkml:trace contextRef="#ctx0" brushRef="#br0" timeOffset="97368.01">18284 9829 924 0,'0'0'261'0,"0"0"0"15,0 0-13-15,3 6 90 0,-3-2-49 0,0 2-33 0,-1 4-2 16,-1-2-50-16,0 4 9 0,-1 0-26 16,3 1-16-16,0-1-33 0,0 1-7 15,0-2-8-15,3 2-21 0,1-2 3 0,2-2 0 16,-1 1 10-16,5-2-10 0,0-1 8 0,1-1-8 16,2-6 18-16,0 4-24 0,-1-4 14 15,1-4 5-15,-3 4 15 0,4-6-18 0,-4 1 10 16,-3-2-99-16,0 1 10 0,-1-1 13 0,-2-1-8 15,-3 0-6-15,-1-1 1 0,-1 0-10 16,-3-1 5-16,-1 4 30 0,0-2-35 16,-3 1-6-1,-2 0-2-15,0 1-21 0,-1 1-12 0,-1 1-26 0,-2 1-38 0,2 0-21 0,-1 2-26 16,3 1-35-16,-1 0-23 0,2 3-34 16,0-2-61-16,1 2-79 0,-4 1-95 15,9-3-428-15,3 4 52 0,0-5 123 0,0 0 37 16,11 2 86-16</inkml:trace>
  <inkml:trace contextRef="#ctx0" brushRef="#br0" timeOffset="97587.1">18796 9780 959 0,'3'-1'331'0,"0"0"-4"0,-3 1-14 0,0 0 55 16,5 4 3-16,-5 2-51 15,-2 0-20-15,-1 4-42 0,0 2-17 0,-4 3-26 16,2 1-15-16,-4 3-21 0,-1 0-36 15,-2 0-12-15,1 2-32 0,-1 2-60 0,-1-4-8 16,3 1-52-16,-8 8-53 0,5-6-87 0,0-5-175 16,1 1-552-16,1-2 69 0,1-1 59 0,-3-2 99 15,6-2 73 1</inkml:trace>
  <inkml:trace contextRef="#ctx0" brushRef="#br0" timeOffset="97725.24">18554 9935 688 0,'0'0'261'0,"0"0"-112"0,7-4-144 16,-7 4-87-16,0 0-517 0</inkml:trace>
  <inkml:trace contextRef="#ctx0" brushRef="#br0" timeOffset="97858.46">18868 10056 1190 0,'0'0'458'0,"3"-5"-46"0,-3 5-23 15,0 0-41-15,0 0-51 0,-3-6-46 16,3 6-77-16,0 0-54 0,0 0-56 0,0 0-105 16,0 0-245-16,0 0-528 0,0 0 46 0,-2 15 69 15,2-13 133-15</inkml:trace>
  <inkml:trace contextRef="#ctx0" brushRef="#br0" timeOffset="100057.85">18266 10598 1108 0,'0'-5'315'15,"0"5"-36"-15,0 0-23 0,-8-6-77 16,6 6-15-16,2 0-11 0,-11 0-7 0,11 0-8 15,-15 5 13-15,5-1-18 0,0 1 13 0,-5 4-15 16,2 0 30-16,-5 4-38 0,2 0 2 0,-2 3-12 31,1-2-10-31,1 4-6 0,1-4-15 0,-1 2 7 0,6-3-12 0,0 1 0 0,2-2-21 16,3 0 8-16,2-1-13 0,1-2-5 16,2-1 29-16,0 0-37 0,5-1 6 15,0-3-11-15,2 0 0 0,2-4 0 0,1 0-7 16,2 0 2-16,1-6 0 0,3-1-2 15,2 1 56-15,4-6 7 16,-1 0-7-16,-3-1-13 0,3 0-5 0,-1 1 0 0,-7 3 23 0,2 0-23 16,-4 1 3-16,-1 2 17 0,-2 1-22 15,-3 5 4-15,0-2 16 0,-5 2 3 0,5 7-19 0,-5-1-4 16,-2 2 20-16,-1 2-29 0,-2 2 19 0,0 1-5 16,-1 3-111-1,-2 0 29-15,1-2-13 0,0 4-6 0,-1-3 9 0,3 0-16 16,-3-1-8-16,2 1-7 0,2-3-21 0,-2 1-15 15,2-3-13-15,1 1-23 0,0 0-20 0,1-4-6 16,0 1-28-16,1-3-28 0,1 0-12 16,1-2-101-16,0 1-112 0,2-1-453 0,-3-3 94 15,6 4 80-15,-6-4 79 0,7-1 52 0</inkml:trace>
  <inkml:trace contextRef="#ctx0" brushRef="#br0" timeOffset="100725.29">18423 10701 1052 0,'0'-4'427'0,"2"1"-25"0,-2 3-16 16,0 0-35-16,0 0-18 0,16 11 56 0,-12-5-31 15,-1 1-20-15,3 2-44 0,-2 1 9 0,-1 1-19 16,2 1-3-16,-1 0-48 0,-2 0-26 0,-3 1-9 15,-4 0-27-15,0 2-22 0,-5 0-78 16,0-2-9-16,2 0 4 0,-2 0-9 16,0-5-17-16,2 3 1 0,-2-3 8 0,4-4-28 0,3 2 7 15,-1-3-16-15,1-2-6 0,3-1-4 0,0 0-7 16,0 0-3-16,0 0-2 0,8-14-8 16,0 6 13-16,2-4 13 0,2-1-13 15,1-3 17-15,3 0-19 0,-4 0-9 0,2-3 14 0,-2 0 15 16,1 2-16-16,-5 3-15 15,0-1 21-15,-1 0 2 0,-2 2 0 0,-2 4 3 16,-1-1 7-16,1 1-12 0,-1 0-1 0,-2 2 8 16,-2 0-5-16,-1 1-10 0,0 1-20 0,-1-1-39 15,-2 4-5-15,1 0-36 0,-2-2-31 16,1 4-25-16,-1 0-39 0,7 0-53 0,-16 4-136 16,11-2-464-16,-2 0-109 0,4 2 135 0,0-2 69 15,3-2 101-15,0 0 32 16</inkml:trace>
  <inkml:trace contextRef="#ctx0" brushRef="#br0" timeOffset="100910.74">18784 10555 1172 0,'8'4'391'0,"-8"-1"52"16,2 3-46-16,-4 0-8 0,2 2-23 0,-3 4-48 15,0 0-24-15,-1 6-25 0,-2-1-36 0,-4 2-16 16,0 2-15-16,-1-1-58 15,-5 8-39-15,-3-1-54 0,1-1-46 0,-2-2-77 16,1 1-84-16,-1 1-154 0,-3-4-140 0,8-5-464 0,4-3 136 16,3-1 28-16,3-6 74 0,0 0 70 15</inkml:trace>
  <inkml:trace contextRef="#ctx0" brushRef="#br0" timeOffset="101025.4">18594 10818 593 0,'0'-6'246'0,"0"0"-39"0,0 2-158 0,0-4-141 16,0 8-484-16</inkml:trace>
  <inkml:trace contextRef="#ctx0" brushRef="#br0" timeOffset="101158.18">18751 10825 1274 0,'5'-2'502'0,"-5"2"-62"0,8-4-48 0,-4 4-49 15,2-1-44-15,-2-1-66 0,-4 2-95 0,8-1-51 16,-8 1-79-16,8 2-197 16,-6 0-659-16,-1 4 109 0,-1-3 53 0,0-3 43 0,-1 9 80 15</inkml:trace>
  <inkml:trace contextRef="#ctx0" brushRef="#br0" timeOffset="103067.07">18274 11453 998 0,'0'-4'356'0,"0"4"-31"0,-6-4-39 0,6 4-25 15,-10 0-99-15,10 0 4 0,-15 5-15 16,5 2-10 0,-3 0 2-16,-2 2-17 0,2 1-9 0,-3 0 11 0,-2 3-20 15,3 3-16-15,0-2-2 0,0 1-11 0,5-4-7 0,-1 2-8 16,3-2-8-16,3 0 0 0,-2-3-2 0,6-1-16 15,0 0 29-15,1 0-16 16,0-2-12-16,2-2-4 0,2 0 4 0,2-3-3 16,-6 0-8-16,13-2-5 0,-5-2 10 0,1 2 0 0,-1-3 1 15,2-1 81-15,3 0-13 0,-3-1-20 16,-2 0 8-16,3 0-8 0,-4 2-6 16,0 0 9-16,-1-1-1 0,-1 6-20 0,0-3 11 15,-5 3-98-15,0 0 5 0,0 0 23 16,5 7-13-16,-7-2 0 0,2-1 8 0,-1 3 5 15,0 3 34-15,-5-1-14 0,4 3-32 0,-1-1-3 16,-2 1-21-16,0 0-33 0,2 1-26 0,-2 0-7 16,1 1 7-16,-2-3-91 0,3 2-88 15,0 0-105-15,-1-2-514 0,3-1 105 16,-1-3 28-16,2-1 110 0,0 0 58 0</inkml:trace>
  <inkml:trace contextRef="#ctx0" brushRef="#br0" timeOffset="103335.67">18366 11465 1034 0,'6'-3'396'0,"1"3"-14"0,-7 0-44 0,8 0-26 16,-8 0-10-16,10 6-113 0,-4 0-20 0,-2 1-5 31,2 5-8-31,-2 0-15 0,2 1-3 0,-2 3-15 0,-1-1-8 0,0 4-10 0,1-1-7 15,-3 1 1-15,-1 0-24 16,-1 0-19-16,1 0-23 0,-2-1-25 0,0 1-36 0,-1-6-23 16,1 4-39-16,2-4-41 0,-3 0-76 15,1 0-118-15,-1-3-279 0,3-1-208 0,-3-2 111 16,1 1 66-16,0-4 77 0</inkml:trace>
  <inkml:trace contextRef="#ctx0" brushRef="#br0" timeOffset="103460.62">18328 11690 1146 0,'0'-4'374'0,"0"4"-44"0,0 0-18 0,10-1-50 16,-2 0-32-16,0 1-43 0,2 1-72 0,0-2-113 16,3-3-209-16,-1 4-527 0,4 0 94 15,2 0 30-15,2-5 37 0</inkml:trace>
  <inkml:trace contextRef="#ctx0" brushRef="#br0" timeOffset="103659.83">18833 11534 924 0,'0'0'460'0,"0"0"16"0,0 0-51 16,0 0-41-16,-8 12-25 0,3-4-45 16,-2-1-4-16,1 3-36 0,-4 3-28 0,2 0-6 15,1 1-37-15,-3-1-34 0,1 4-39 0,-3 1-43 16,2 0-54-16,-2-1-45 0,0 1-81 15,0 1-147-15,-1-1-433 0,0-2-190 0,2-2 54 16,-1 0 151-16,4-3 8 0,-2-2 61 16</inkml:trace>
  <inkml:trace contextRef="#ctx0" brushRef="#br0" timeOffset="103792.23">18605 11643 1118 0,'2'-3'315'16,"1"-1"-72"-16,-1 1-120 0,1 1-208 0,-3 2-524 0,5 0 51 16,-5 0 31-16</inkml:trace>
  <inkml:trace contextRef="#ctx0" brushRef="#br0" timeOffset="103965.14">18954 11731 1256 0,'7'0'581'0,"-7"0"-43"0,11-1-31 15,-5 1-36-15,0-1-54 0,-6 1-36 0,12-2-66 16,-9 0-64-16,-3 2-92 0,10 0-77 0,-10 0-100 16,8 3-80-16,-8-3-224 0,6 2-602 15,-4-1 89-15,-2 5 91 0,0-2 37 0,-2 2 62 16,-1-1 77-16</inkml:trace>
  <inkml:trace contextRef="#ctx0" brushRef="#br0" timeOffset="105008.74">18330 12184 993 0,'0'0'343'0,"0"0"-36"16,0 0-15-16,-5-3-34 0,5 3-20 15,-10 9-20-15,5 0-31 0,-6 3-8 0,1 1-13 16,0 5-2-16,-3 1-26 0,3 0-7 0,-1 3-19 16,3-2-12-16,-2 2-18 0,0-1 0 0,5 0-3 15,-2-3-12-15,5 0-16 0,1-4 0 16,1 0-2-16,1-1-3 0,1 0-8 0,3-2-7 15,0 0-3-15,0-2-2 0,3-2 5 0,1 0 4 16,-3-4-17-16,2 2 13 0,-3-4 23 16,0 0-13-16,4-1-5 0,-9 0 15 0,9-4-23 15,-6 0 10-15,-1 0-4 0,-2-1-9 0,2-2 9 16,-1 0-17-16,-1 3-4 16,-1-2 10-16,-3 0-7 0,1-1 4 0,0 1-33 15,-1 1-10-15,-2-1-15 0,1 2-26 0,-2 1-41 16,-1-1-49-16,0 3-68 0,3-1-167 15,-1 0-469-15,6 2 34 0,-12 0 125 0,9 0 11 16,3 0 81-16</inkml:trace>
  <inkml:trace contextRef="#ctx0" brushRef="#br0" timeOffset="105230.69">18538 12235 1049 0,'0'0'468'0,"10"7"-7"0,-7-2-59 0,-3 2-39 0,3 2-9 16,-3 2-32-16,2 1-43 0,-2 1 0 0,0 1-41 15,-2 2-10-15,-1 0-46 0,0 3-13 16,0-2-34-16,-1 1-58 0,0 0-43 0,0 0-50 16,-2 0-40-16,2-2-36 0,1 1-149 15,-2-3-230-15,3 0-455 0,2-5 124 16,0-1 37-16,2-1 125 0,3-2 10 0</inkml:trace>
  <inkml:trace contextRef="#ctx0" brushRef="#br0" timeOffset="105413.84">18861 12331 1052 0,'0'0'455'15,"0"0"-40"-15,-3 11-26 0,1-4-28 16,-1 1-39-16,-2 1-45 0,0 2-26 0,-1 0-36 15,-1 3-49-15,-3 0-58 0,0 0-88 0,-1 0-115 16,-1 3-783-16,-1 0 77 0,1 0 79 16,-4-1 59-1,3 0 64-15</inkml:trace>
  <inkml:trace contextRef="#ctx0" brushRef="#br0" timeOffset="105556.88">18745 12345 1141 0,'0'0'289'0,"1"-4"-53"0,-1 4-42 0,0 0-104 16,0 0-164-16,7 9-584 0,-6-2 31 15,3 0 61-15</inkml:trace>
  <inkml:trace contextRef="#ctx0" brushRef="#br0" timeOffset="105668.75">18912 12481 1075 0,'0'0'391'0,"8"0"-32"15,-8 0-29-15,0 0-49 0,9-2-38 16,-9 2-84-16,0 0-161 0,0 0-165 16,6 2-588-1,-6 2 69-15,0-4 62 0,0 7 48 0</inkml:trace>
  <inkml:trace contextRef="#ctx0" brushRef="#br0" timeOffset="106996.97">18443 12741 1031 0,'0'0'320'0,"0"0"-10"0,-15 6-36 16,10 1-16-16,-1 1-20 0,-1 3-23 0,-4 3 0 16,4 2-15-16,-3 3-16 0,0 0-15 15,2 1-13-15,0-1-20 0,3-1-6 0,-1 0-27 16,2-2 84-16,1 3-29 0,3-5-19 16,-1 0-1-16,2-1-46 0,2 0 5 0,2-3-10 15,0 1 3-15,2-2-11 0,-1-3-12 0,2 0 12 16,-1-3-10-16,0 1 0 0,1-3 0 0,0 0 8 15,-8-1 3-15,11-2-4 16,-7 0 17-16,2-1 24 0,-2-1-19 0,-1 0-4 0,0 0 4 16,-3 0-27-16,2-1 3 0,-2 1-17 15,-2-1 4-15,-1 1-22 0,1 0-19 0,1 0-5 16,-6-1-30-16,4 1 13 0,-4 0-34 16,2 2-33-16,-3-1-8 0,0 1-36 0,1 1-17 15,1-1-42-15,0 2-74 0,6 0-168 16,-12 0-564-16,12 0 87 0,-7 0 95 0,7 0 79 15,-5-3 57-15,5 3 105 0,0 0 20 0</inkml:trace>
  <inkml:trace contextRef="#ctx0" brushRef="#br0" timeOffset="107348.88">18648 12781 1200 0,'0'0'338'0,"10"0"-3"0,-6 3-33 0,-2 1-36 0,0 0-12 0,0 2-11 15,-2-1-33-15,0 3-13 0,-2 0-28 16,-1 2-8-16,-2 1-12 0,1 0-21 0,-2-1-3 16,4 1-40-16,-1-3 7 0,1 2-23 15,-1-3-23-15,2 1 8 0,1 0-11 0,1-2-7 16,-1 0 13-16,3 1-11 0,1 0 3 16,-1 0 2-16,2-2-2 0,-2 1 3 0,3-1-3 15,-2 1 18-15,-2-3 18 0,2 3-13 16,-2-2 23-16,0 1 74 0,-2 1-2 0,0 0 30 15,0-2-41-15,-2 3-32 0,-2-1 17 0,-3 3-28 16,-2-1-21-16,1 0 1 16,-5 0-21-16,0 1-26 0,0-1-48 0,0 0-41 0,-2 0-3 15,4-3-61-15,-1 1-36 0,2 1-64 16,1-7-231-16,0 4-544 0,1-2 89 0,5 1 30 16,-1-1 98-16,4-2 74 0,0 0 80 0</inkml:trace>
  <inkml:trace contextRef="#ctx0" brushRef="#br0" timeOffset="107570.88">18961 12822 1382 0,'2'-3'537'0,"-2"3"-155"0,0 0-1 0,0 0-25 0,-1 11-23 0,-3-3-24 15,4 2-14-15,-4 1-27 16,1 2-32-16,-3 1-34 0,-1 3-20 0,-1 3-21 15,-2-1-43-15,2 1-49 0,-7 1-54 0,0 5-71 16,-3 1-44-16,0-1-64 0,2-4-214 0,3-3-534 16,-2-3 11-16,2 0 195 0,2-3 2 15,-1-2 72-15,7-3 48 0</inkml:trace>
  <inkml:trace contextRef="#ctx0" brushRef="#br0" timeOffset="107677.43">18797 12945 1228 0,'0'-5'366'0,"0"-1"-135"0,0 4-109 0,0 2-104 0,0 0-130 15,0 0-546-15,0 0 51 16,0 0 85-16</inkml:trace>
  <inkml:trace contextRef="#ctx0" brushRef="#br0" timeOffset="107828.36">19046 13082 1246 0,'0'0'530'0,"0"0"-46"0,7 2-13 0,-7-2-82 0,0 0-31 0,0 0-58 16,0 0-93-16,0 0-64 0,0 0-94 0,0 0-134 15,1 3-403-15,-1-3-365 0,-3 8 101 16,-2-5 61-16,-3 4 63 0,0-1 58 0</inkml:trace>
  <inkml:trace contextRef="#ctx0" brushRef="#br1" timeOffset="113343.93">17772 9606 962 0,'0'0'371'0,"-3"13"-20"16,2-4-34-16,-1 2-33 0,0 5-102 0,-1 3 2 15,0 4-17-15,-1 4-14 0,1 0 55 16,-3 10-22-16,-1 0-4 0,-1-1-28 0,1-3-19 15,1-2-14-15,-1-7-1 0,0 1-25 0,1 1-13 32,1-4-8-32,-3 0-18 0,3-4-2 0,0-1-10 0,0-3-24 0,2-1 8 15,1-1-48-15,-1-1 22 0,0-3-12 16,1-1-41-16,2-1-8 0,-2 0-67 0,2-2-42 16,0-4-68-16,0 3-109 0,0-3-493 0,0 0 76 15,0 0 45-15,0 0 92 0,7-15 73 0</inkml:trace>
  <inkml:trace contextRef="#ctx0" brushRef="#br1" timeOffset="114657.07">17756 9462 729 0,'8'-3'305'0,"0"0"-34"0,2 3-18 16,3 0-7-16,5 0-16 0,-1-2-25 15,7-1-13-15,1 3-5 16,8 0 15-16,0 0-46 0,1-1-2 0,15-1-105 0,-1-1 2 15,1 1-3-15,2 1-1 0,0-3-4 0,-2 4 1 16,0-2-11 0,0-2-2-16,-3 1 22 0,-2-1-30 0,-5 3-10 0,4-4 18 0,-5 3-13 15,5-5 10-15,-7 3-5 16,6-2 59-16,-6 4-10 0,-5-2 9 0,2 2-27 0,10-3 8 16,-5 2-11-16,-9 0-5 0,4 1-8 15,-3-1-10-15,-1 3 1 0,-1-1 14 0,1-1-30 0,-4 2 13 16,1-3 17-16,-3 2-7 15,0 2-18-15,-2-2 10 0,-1 1-15 0,-2 0-3 16,-3 0 3-16,1 0-8 0,-3 1 3 0,-1-1-6 16,-1 3 11-16,-1-1-16 0,-2-1 16 15,0 4 0-15,-1-2-3 0,0 0 8 0,-1 4 5 16,-2-1-7-16,-1-1-4 0,0 3 11 16,0-2 6-16,-1 3-19 0,-2 1 5 0,0-1 13 15,3 0-7-15,-6 3-6 0,3-2-2 0,0 3 20 16,0 1-10-16,-2 0-2 15,1 1-1-15,-4 1 3 0,5 3 11 0,-3-1-1 0,-1 1-18 16,1 0 13-16,0 0 8 0,-1 0-5 0,1 3 0 16,0 0-6-16,-1 3 16 0,0-1-15 15,0 1-16-15,-2-3 26 0,4 1-16 0,-3-2 1 16,0 1 25-16,0 1-21 0,2-4-12 16,-2 1 20-1,2-1-4-15,-2 0 1 0,1-1-1 0,-2 1 1 0,4-1-17 0,-4-4 2 0,3 4 8 16,-2-2 8-16,2-2-5 0,-1-1-6 15,1 0 1-15,-2-1 2 0,0 0 0 0,2-2-3 16,-1 0 11-16,0 1-11 0,0-3 1 16,1 1-11-16,-2 0-2 0,4-3 20 15,-3 1-2-15,-1-1-16 0,2 1 5 0,1-3 3 0,-2 2-5 16,2-4 2-16,-2 5-10 0,3-4 13 0,-4 0-2 16,2 1-6-16,-2-2 5 0,3 1-17 15,-3 0 12-15,0-2 0 0,0 3-7 16,-1-3 4-16,1 3-4 0,0-4 7 0,-3 2 3 15,0-1-16-15,-2 0 16 0,3 2-18 0,-3-2 13 16,0-1 5-16,1 2 7 0,-1-1-5 16,-2 1-4-16,1-2-19 0,1 0 8 15,-3 0 0-15,0 2 0 0,-2-4 13 0,2 2-23 0,0 0 4 16,-3 0 22-16,2-2-19 0,-4 2-2 16,2-1 13-16,-1 1-8 0,1 0-5 0,-2 0 17 15,0-2-12 1,2 2-12-16,-2 0 12 0,0 0-8 0,1 0 8 0,-4-1 18 0,4 0-10 15,-2 1-3-15,1 0-16 0,0-2 19 0,1 1-13 16,-4 1 2-16,5 0 6 0,-2 0-3 0,0 0 3 16,-2 0 9-16,2 0-22 15,0 0 23-15,-2 0-16 0,2 0-4 0,0 0-1 16,-1 0 3-16,-1 1 0 0,2-2-11 0,1 1 14 16,-1 0 7-16,0 0-13 0,-1 0 8 15,4 0-12-15,-3 0 14 16,3-1-12-16,-3 1 18 0,3-2-19 0,2 2 14 0,0 0-1 0,3-3 14 15,-5 2-21-15,4 1 20 0,1 0-25 16,0-1 0-16,-1 1 27 0,1-2 6 0,0 0-20 16,0 2 7-16,0-1-20 0,-1 0 15 15,3 0-10-15,-2 0 13 0,0-2-6 0,2 3 14 16,-2-1-14-16,0 0 1 0,2-3 15 16,-2 4-23-16,-1 0-3 0,1-1 16 0,-2 0-16 15,3 0 0-15,-3 0 11 0,-1 1-6 0,0-2-10 16,2 2 8-16,-3 0 10 0,1-2-5 0,0 2 8 15,2 0 0-15,-4 0-13 16,2 2 10-16,0-2-8 16,-2 0 3-16,5 0 8 0,-3 0-8 0,1 0-10 0,1 0 20 0,1 0-20 0,2 2 15 31,0-2 5-31,1 1-2 0,-1 0 12 0,1-1-25 0,-1 0 10 0,8 0-5 0,-13-1-20 16,5 1 7-16,8 0 10 0,-12 0-33 15,4 0-17-15,8 0-22 0,-8 1-37 0,1-1-21 16,7 0-57-16,-8 2-63 0,8-2-80 15,-13 0-133-15,13 4-494 0,0-4 113 0,-3 3 102 16,3-3 39-16,5 6 61 0,-4-3 117 16</inkml:trace>
  <inkml:trace contextRef="#ctx0" brushRef="#br1" timeOffset="115342.64">17674 10516 1098 0,'0'9'320'0,"0"-2"-13"16,0 5-26-16,0 3-12 0,0 0-10 16,-2 8-26-16,-1 5-24 0,2 9-17 15,-3 8-12-15,1-2 63 0,3 5-13 0,-5-1-25 0,0 1-31 16,0 12 10-16,-3-1-33 16,-2-1-13-16,-1-3-2 0,1-1-13 0,-2-1-28 15,4-10 5-15,-3 0-34 0,3-2 13 16,1-3-9-16,-1 0-12 0,3-7-14 0,0-4-11 0,0-2 8 15,3-2-8-15,-1-3-2 0,-2 0-13 16,4-2 13-16,-3 1-11 0,1-3 3 0,0-3-15 0,-1 0-11 16,3-3-30-16,-1 0 13 0,-1-3-42 15,1 0-27-15,0-2-16 0,2-1-64 16,0-4-80-16,2 3-91 0,-2-3-341 0,0 0-199 16,0 0 76-16,5-13 49 0,-5 4 94 15,3-5 85-15</inkml:trace>
  <inkml:trace contextRef="#ctx0" brushRef="#br1" timeOffset="117600.23">17743 10394 857 0,'8'0'271'0,"-8"0"-4"0,0 0-14 0,13 5-5 16,-8-5-7-16,5 1-8 15,-2 0-28-15,7 3-13 16,-2-4-3-16,5 2-10 0,3 1-94 0,4-1-4 0,-1-2-11 0,6 1 14 16,-5-1-17-16,4 0 63 0,4 0-2 15,3 0-13-15,12 3-10 0,-9-3-15 0,-3 0-13 16,10-3 2-16,-5 3 3 0,-5 0-16 0,-1 0-19 16,-1 0 1-16,0-1-2 0,-1 1-5 0,-1 0 16 15,-3 0-17-15,0 0-4 0,-3 0-2 16,-1 0-11-16,0 0-8 0,0 0 5 15,-3 0 14-15,1 0-19 0,0 0 3 16,-5-1-8-16,5 2 34 0,-3-1-34 0,0-1-10 16,-1 1 18-16,-1 1-21 0,2-1 11 0,-1 0 13 15,-1-1-9-15,2 2-17 0,-5-2 15 0,3 0-15 16,0 1 5-16,-3 0 28 0,1-1-28 16,-4-1-2-16,-1 2 20 0,-1 0-21 0,0 0-4 15,0 0 1-15,-2 0 12 0,0 0 1 0,-8 0-4 16,11 0-3-16,-4 0-8 0,-7 0 11 15,10 0-6-15,-10 0 6 0,8 0 4 16,-8 0 1-16,7 0 0 0,-7 0 15 0,6 2 13 0,-2 0-6 16,-4-2-9-16,1 2 4 0,-1-2 11 15,2 6-8-15,-2-2-10 0,3-1 16 16,-6 2-14-16,3-1 3 0,0 0 13 0,0 1-23 0,-2 1 12 16,2-2 1-16,-1 2-6 0,1-1 3 0,0 2 11 15,0-1-32-15,0 1 11 16,-2 1 5-16,2 0-5 0,0 0 20 15,0 1-18-15,-2 1 8 0,2 0-10 0,0 2-2 0,0 0 4 16,-3 3 28-16,3-1-27 0,0 1-1 16,-2 1-2-16,2-1-21 0,-3 2 26 0,3 1 5 15,-5 0-7-15,5-1 17 0,-3 2-10 0,1-1 13 16,0 3-57 0,1-4 57-16,-2 2-18 0,-1-1-5 0,4 1 5 0,-2 0-8 0,-2 1-5 15,2 0 26-15,0 1-29 0,2-2 6 0,0 0 20 16,-1 3-15-16,1-1-5 0,1 1 20 15,-2-1-23-15,1 0 13 0,0 0 0 16,1-1-11-16,-1-1-4 0,0 1 20 0,2-1-31 16,-2-2 11-16,0-3 10 0,0 2-18 0,0-2 10 15,0-1 10-15,0 0-10 0,0-2 13 16,0-2 3-16,0 1-19 0,2-1 31 16,-2-3-30-16,0 3 10 0,0-1 0 0,0-1-16 0,0-2 0 15,-2 1 21-15,2 0-18 16,0 1 0-16,0-3 0 0,-2 1-5 0,2 0 15 0,0 2 14 15,-1-2-35 1,-1 1 11-16,2-2 13 0,-3 0-15 0,3 1 12 0,-2 1 10 16,2-2-22-16,-1 0-6 0,1 1 28 0,0-1-20 0,-2 1-15 15,2-1 23-15,0 0-18 0,0 1 7 16,-2-2 13-16,2 2 0 0,0 0-12 0,0-1 15 16,-3 0-16-16,3 2 3 0,0 0-2 15,0-2 7-15,-1 2-5 0,1 1 13 0,0 0-8 16,-2 1 5-16,2-1 3 0,0 2 2 15,-2-2-12-15,2 1 7 0,-3 2-5 0,3-1-15 16,0-1 23-16,0-1-19 0,0 3 9 0,0-3 15 16,0-1-10-16,0 3-26 0,0-1 28 15,0-1-15-15,0 0-13 16,-1 0 23-16,-1 2-5 0,0-2 8 0,2 0 2 0,0 0-8 0,-2 0-12 16,2 0 10-16,0 2 8 0,-3-1-13 0,3-2 18 15,0 1-13-15,0 1-13 0,0-3 18 16,0 1-3-16,0 1-4 0,-3 2 7 15,3-2 0-15,0 0-18 0,0 1 24 0,0-1-4 16,0 1-14-16,-2 1 24 0,2-2-14 0,-2 3-6 16,2-3 14-16,0 1-6 0,0-1-10 15,0 2 23-15,0-1-26 0,0-1 8 0,0 0 3 16,2 3 2-16,-2-3-5 0,0 0-3 16,0 0-7-16,0 2 7 0,0-1 29 0,0-1-21 15,0-1-13-15,0 0 8 0,0 1-7 16,0-3 4-16,0 2 16 0,0-2-23 0,0 2-1 0,0-2 17 15,0 0-9-15,0-4-2 0,0 7 15 16,0-7-7-16,0 7-24 16,0-5 31-16,0-2-12 0,0 4-3 0,0-4 25 0,0 4-20 15,0-4-5-15,0 4 13 0,0-4-1 0,0 0-1 16,2 6-1-16,-2-6-13 0,0 0-12 16,0 0 22-16,0 0-15 0,0 0 11 0,-2 2 2 15,2-2 5-15,0 0-21 0,-8 2 22 0,8-2-17 16,-5 1-4-16,5-1 23 0,-10 0-6 15,5 1-20-15,-3-1 18 0,1 0-15 0,-2 0-3 16,-1 0 23-16,-2 0-30 0,1 0-9 16,-2-1 32-16,0 1-16 0,-4-1-15 15,4-1 25-15,-3 2-20 0,1 0-13 0,1 0 25 16,-2-2-14-16,2 2 17 0,2 0-8 0,-1 0 11 16,0 0-13-16,-2 0 10 0,-1 2-5 0,3-2 0 15,-5 0 21-15,3 3-16 0,-1-2 13 16,-1-1 0-16,-1 1-18 0,0 1 18 15,2-1-7-15,-4 2 4 0,5-2-15 0,-3-1 23 0,-1 2 0 16,2 0-23-16,-1-2 21 16,0 1-8-16,2 1 5 0,1-2 2 0,-1 2 24 0,-1-1-44 15,2-1 26-15,-1 1-6 0,1 0-12 0,2 0 10 16,-1-1-18 0,-3 1 3-16,7-1 38 0,-5 0-8 0,2 1-30 0,2-2 17 0,-4 1-9 15,2 1 4-15,0-2 8 16,0 1-10-16,0-1-5 0,-2 1 25 0,5-1-12 0,-3 0-18 15,1 0 20-15,1 1-10 0,-2 0 22 0,3 0-22 16,-3-3-10-16,3 3 7 16,0-2 11-16,-1 2-3 0,1-2-18 0,0 1 18 0,0-1 3 15,1 2-3-15,-3-1 17 0,2-2-22 16,0 3 18-16,0-1-13 0,-1-2 0 0,1 3 10 16,-3-1-10-16,5 0 5 0,-4-1-17 0,1 0 4 15,1 2 16-15,0-2-19 0,-1 1 22 16,-1-1-6-16,4 2-3 0,-5-1 1 15,3 0-8-15,0-2 7 0,1 3-2 0,0-3-2 16,-2 3 7-16,4-2-5 0,-4 0-5 16,1 1 10-16,0 0-3 0,3 0 4 0,-4-3-9 15,4 4-2-15,-1 0-8 16,0-1 28-16,0 0-15 0,1 0-10 0,-1 0 28 0,0 0-8 0,3 0-25 16,-2 0 20-16,7 1-5 0,-11-1 5 15,6 1 11-15,5 0-16 0,-11-2-5 0,4 2 15 16,7 0-13-16,-7-2 3 0,7 2 13 15,-9 0-8-15,9 0 0 0,-9 0 23 0,9 0-35 16,-8-1 17-16,8 1 8 0,-8 0-5 0,8 0-6 16,-7-1 16-16,7 1-28 0,-8 0 16 0,8 0-9 15,0 0-15 1,-10 1 18-16,10-1 29 0,-6 0-29 0,6 0-5 16,0 0 10-16,-7 1-13 0,7-1 14 0,0 0 14 15,-8 0-25-15,8 0 5 0,0 0 16 0,-8 0-16 0,8 0 0 16,0 0 34-16,-10 0-29 0,10 0-3 31,-5-1 22-31,5 1-9 0,0 0-12 0,-10-1 22 0,10 1 1 0,-5-4-23 0,2 3 35 0,3 1-30 16,-6-6 3-16,2 3 22 0,1-2-25 15,0 0 2 1,-1-3 3-16,1 0-33 0,-2-2-39 0,-1-1-31 0,2 1-37 16,-2 0-52-16,3 0-77 0,-1-1-272 0,1 3-490 0,-2-2 68 15,3 0 134-15,-1 2 74 0,0-3 69 16,1 3 61-16,-1-1 67 0</inkml:trace>
  <inkml:trace contextRef="#ctx0" brushRef="#br0" timeOffset="133427.84">21209 9492 990 0,'0'-4'412'16,"0"4"-23"-16,3-6-61 0,-3 6-29 16,0 0-12-16,0 0-18 0,0 0-3 0,0 0-28 0,3 12-8 15,-3-6-12-15,0 4-18 16,0-1-95-16,-2 3-6 0,-2 1-1 0,2 3-19 16,-1-1 3-16,-2 2-10 0,0-2-1 0,0 3-7 15,0-4 0-15,1 3-10 0,-2-3-8 16,0 0-25-16,2-1-1 0,-2-3-38 0,4 5-5 15,-3-5-31-15,1 0-10 0,0-1-33 16,1-3-23-16,1 3-8 0,-1-2-103 0,1 0-73 16,2-2-42-16,0-2-294 0,0 2-135 0,0-5 35 15,4 5 105-15,-4-5 62 0</inkml:trace>
  <inkml:trace contextRef="#ctx0" brushRef="#br0" timeOffset="133837.63">21333 9563 1044 0,'0'0'376'0,"0"0"-20"0,0 0-34 16,0 0-17-16,0 0-23 0,0 0-42 15,-3 18-20-15,0-12-15 0,1 5 8 0,2-3-55 16,-2 5-12-16,0-2-2 0,1-2-22 0,1 2-6 15,0 1-9-15,0-2-22 0,2-1 2 16,1-1-18-16,-1 3-87 0,4-4 20 0,0 2-14 16,-2-2 12-16,4-4 5 0,-1 2-26 0,-1-3 47 15,4 1-16-15,-3-3-7 0,1-1-1 16,0-1 6-16,1 0-11 0,-3-1 11 0,-1-1 10 16,0-1 2-16,-2 0 8 0,-1-2-12 15,1 3 2-15,-3-5 2 0,0 2-12 0,-3 1 15 16,3-1-10-16,-2 0 5 0,-1 0-18 0,-2-2 2 15,1 5 11-15,-2-2 10 0,1 1-41 0,0 0 21 16,0 3-49-16,-3-2-13 0,2 4-15 16,6 0-29-16,-12 0-33 15,12 0-27-15,-10 0-70 0,5 0-36 0,5 0-36 0,-8 5-76 16,8-5-402-16,-3 1 53 0,3-1 95 16,0 0 47-16</inkml:trace>
  <inkml:trace contextRef="#ctx0" brushRef="#br0" timeOffset="134189.57">21488 9597 852 0,'1'-3'351'0,"-1"3"-21"0,0 0-18 0,0 0-30 15,0 0-26-15,3 11-8 16,-6-6-33-16,3 1-13 0,0 0-28 0,-1 2-13 0,-1 0-7 16,4 1-26-16,-2-1-18 0,1-1-13 15,-1 4 1-15,5-3-88 0,-2-2 15 0,6 4-30 16,-2-3 8-16,0-1 5 0,0-2-3 15,3 1 0-15,0-5 18 0,-1 4 15 0,1-4-5 16,2 0 24-16,-1-4-1 0,-3 3 3 0,2-4 8 16,0-1-11-16,-4 2 5 0,1-2-2 15,-4 0 3-15,-1-3-14 0,0 2 9 16,-2-2-14-16,-2 0-2 0,2 1 13 0,0-2-8 0,-5 2-3 16,2 2-15-16,-1-2-7 0,-2 3 2 15,2-1-18-15,-3 4 0 0,0-1-20 16,0 1-21-16,-3 1-23 0,2 1-15 0,0 2-21 15,-2-1-35-15,2 3-60 0,0-3-63 0,3 5-72 16,0-1-39-16,0-2-475 0,3 2 55 16,1-2 127-16,1-3 73 0,1 4 118 0</inkml:trace>
  <inkml:trace contextRef="#ctx0" brushRef="#br0" timeOffset="134509.13">21774 9550 1146 0,'0'0'377'15,"0"0"-37"-15,0 0-20 0,-13 13-36 0,8-8-20 16,2 1-19-16,0 2-19 0,0 1-16 16,-4-1-29-16,6-1-30 0,-3 1 0 0,4 1-25 15,-2-1-6-15,4 0-25 0,-2 1-8 0,4-3 23 16,-3 1-31-16,6-2-12 15,-1-2 2-15,2 2 5 0,-1-3-12 0,5-2 7 0,-4 0 2 16,1 0 19-16,3-2-21 0,-4-2 3 0,2 1 5 16,-4-2-16-16,1 1 21 15,-4-1 10-15,-1-4-33 0,-2 3-11 0,-2-1-12 0,-1-2-66 16,2-1-9-16,-5 3 1 0,0-3 10 0,-2 2-31 16,2 2-15-16,-3-1-1 15,1 2-32-15,-2 5-21 0,0-1-36 0,0 2-69 16,-1 3-141-16,-1 1-84 0,-1 0-412 15,0 5 99-15,-2-2 73 0,-1 5 81 16,3-2 38-16</inkml:trace>
  <inkml:trace contextRef="#ctx0" brushRef="#br0" timeOffset="135051.54">21248 10085 1528 0,'0'0'432'0,"0"-4"-107"0,0 4-15 0,0 0-34 16,0 0 6-16,-5 13-36 0,2-4-41 0,0 0-6 16,-1 4-17-16,1-1-18 0,-4 1-6 15,1 3-42-15,1 0-19 0,-1 1-8 16,-3-2-32-16,1 2-26 0,1 0-29 0,-1-3-28 15,2 3-17-15,1-3-34 0,0-1-7 0,1-1-31 16,-2-2-85-16,5-1-102 16,-1-2-80-16,4-2-434 0,-2 0 30 0,1-3 110 0,2 1 65 15,-3-3 109-15</inkml:trace>
  <inkml:trace contextRef="#ctx0" brushRef="#br0" timeOffset="135367.75">21361 10163 939 0,'-8'9'302'0,"6"-6"-10"0,-1 3-39 15,2 0-28-15,1 4-25 0,-2-1 51 0,2-1 2 16,0 3-53-16,2-4-21 0,-1 4-12 16,4-3-9-16,0 1-17 0,1-1-10 0,2-4-1 15,-2 0-4-15,2-1-16 0,0-1-62 16,0-1 1-16,-1 1 28 0,-7-2 33 0,14-3-26 15,-10-2-4-15,2 2 32 0,-2-2 39 0,-1-1-13 16,-3-1 11-16,0 1-31 0,0-1-16 16,0 0 11-16,-3-3-16 0,1 4-20 0,-3-1 23 15,2 1-29-15,-1 0-7 0,-2 0-28 16,-2 0-15-16,1 4-50 0,1-2 4 0,-2 1-34 16,1 0-18-16,0 2-30 0,1 1-42 0,6 0-66 15,-10 3-153 1,6-2-121-16,4-1-464 0,0 0 142 0,0 0 71 0,0 0 93 0,0 0 43 15,0 0 56-15</inkml:trace>
  <inkml:trace contextRef="#ctx0" brushRef="#br0" timeOffset="135899.91">21484 10156 1162 0,'0'0'350'0,"0"0"-9"0,0 0-14 16,0 0-35-16,4 7-41 0,-4-2 25 16,0 0-55-16,-2-2-29 0,2 5-11 0,0-1-9 15,0-1-16-15,2 1-115 0,-2 1-3 0,1-1 19 16,4-1-19-16,-2 0-5 0,6 1-7 15,-6-3 12 1,5-2 3-16,-2 3-10 0,1-4 15 0,0-1 10 0,-1 1 3 0,-6-1 28 0,12-1 23 16,-9-1-23-16,2-2 11 0,-2-2-9 15,-1 0-4-15,1 2 68 0,-3-2-20 0,-3 0 0 16,3 0-12-16,0 0-16 0,-2-1-8 16,0 1-15-16,-1-1 2 0,0-1-40 15,1 4-8-15,0 0-41 0,1-1-18 0,-1 2-39 0,-1-1-27 16,3 4-16-16,-1-6-21 0,1 6-45 15,0 0-75-15,0 0-77 0,0 0-71 16,7 0-118-16,-7 0 64 16,10 0 59-16,-3 0 56 0,-2-2 54 0,3 0 105 0,0 2 34 0,-1-2 73 15,1 4 29-15,-1-2 17 16,-2 2 52-16,1 0 20 0,-1-2 18 0,0 4 8 0,0-2 23 16,-2 5-8-16,1-2-8 0,0 1-9 0,-2 0-1 15,1 1-10-15,2-1 18 0,-2 1-8 16,1-1-5-16,1 0-20 0,-2 1 15 0,3-1-3 15,0-2 13-15,0-1 37 16,-1 1 11 0,3-2 17-16,0-2-6 0,-1 2 20 0,-7-2-7 0,11-2 3 0,-4-1-1 15,0-1 6-15,-4-2-8 0,3 3-8 0,-1-2-2 0,-2-2-6 0,-3-1-20 16,2 0-7-16,-2 1-11 0,0 1 0 16,0-1-36-16,-2 2-17 0,-1-1-6 15,-2 3-46-15,-1-1-48 0,3 2-24 0,-4 1-33 16,-3 2-33-16,-1 1-92 0,4-2-192 15,-6 7-492-15,0 3 52 0,1-1 166 0,-4 2 41 16,1 2 64-16,-1-2 66 0</inkml:trace>
  <inkml:trace contextRef="#ctx0" brushRef="#br0" timeOffset="136326.56">21302 10605 1415 0,'0'0'445'0,"0"0"-43"15,0 0-28-15,0 0-36 0,-5 14-8 16,4-8-48-16,-1 6-34 0,0-1-10 0,-2 2-33 15,0 2-8-15,0 2-108 0,-3 0-32 0,0-1-29 16,2 2-38-16,-2-1-42 0,0 1-24 16,0-3-47-16,2 2-82 0,0-5-102 15,2 0-41-15,1-3-469 0,2 0 42 0,0-2 109 16,0-1 80-16,5-3 28 0</inkml:trace>
  <inkml:trace contextRef="#ctx0" brushRef="#br0" timeOffset="136607.09">21413 10723 627 0,'-4'6'284'0,"2"1"-23"16,1 0-41-16,-3 1-28 0,4 1 5 0,-3-2-25 0,6 0-24 16,-1 1-20-16,1-3 8 15,3 1-21-15,-2-1 15 0,2-2 98 0,1 0-23 0,2-1 0 16,-3-2 23-16,-6 0-100 0,13-4 7 15,-7 1 9 1,2 0-14-16,-4-2 19 0,2 0-21 0,-2-2-8 0,-2 1 59 0,-1-2-13 16,2-1-17-16,-3 3-21 0,0-1 2 0,-3 1-27 15,2 0 2-15,-3-1-16 0,1 2-27 16,-4-1-19-16,4 5-30 0,-4-2-64 0,1 1-13 16,-1 2-54-16,7 0-61 0,-14 4-179 15,7-3-589-15,2 0 76 0,1 4 129 16,-2-5 35-16,6 0 106 0,-6 4 71 0</inkml:trace>
  <inkml:trace contextRef="#ctx0" brushRef="#br0" timeOffset="136913.91">21543 10694 1072 0,'0'5'358'0,"0"-5"3"0,0 8-61 15,0-3-31-15,-3 2-26 0,3 1-28 16,0 1-26-16,0-2-25 0,0 0-26 0,0-1 18 15,0 1-25-15,3-1-24 0,1 0-14 0,-3-1-12 16,5 0-6-16,-2-3 17 0,1-1 3 16,0 2 32-16,1-3-22 0,-6 0 0 15,12-3 26-15,-6 2-6 0,-2-1-9 0,2-3 4 16,-1 2-8-16,0-2-76 0,-2-2-2 0,-1 1-9 16,0-3 16-16,0 3-13 0,-1-1 6 15,-1 1-17-15,-1 1-4 0,-1-2-2 16,0 1-19-16,0 3 0 0,-4-2-35 0,3 0-16 0,-1 4-13 15,-4-1-5-15,2 0-61 0,0 2-41 16,6 0-146-16,-14 3-138 0,10-2-382 0,-2 1 36 16,1 2 103-16,0-2 58 15,4 2 82-15</inkml:trace>
  <inkml:trace contextRef="#ctx0" brushRef="#br0" timeOffset="137221.69">21688 10707 1046 0,'-2'6'300'0,"0"3"-34"0,0-2-33 15,2 1-21-15,-1 1-22 0,0 0-19 16,1-1-7-16,1 2 56 0,0-3-5 31,1 0-33-31,2 2-28 0,0-3 7 0,1-1 5 0,4 0 37 0,-2 0-37 0,-1-4-7 0,2 0 10 16,2-1 2-16,0-1-5 0,-1-2-86 15,-1 0-6-15,2-3 36 0,-2 1-23 0,-1-2-5 16,-2 0-5-16,0 0 7 0,-2 0-25 0,-1-3 0 16,-2 1-8-16,-2-1-28 0,-1 2-18 15,1-1-28-15,-3 3-25 0,-3-3-37 0,0 6-35 16,0-1-34-16,-2 3-89 0,0-2-202 0,-3 7-474 16,-3 2 46-16,3 1 151 15,-5-1 46-15,2 1 77 0,-5 4 77 0</inkml:trace>
  <inkml:trace contextRef="#ctx0" brushRef="#br0" timeOffset="139959.34">21206 11205 834 0,'0'0'315'16,"0"0"-8"-16,0 0-31 0,-2 10-27 0,4-3-21 0,-1 0-21 15,5 2-20-15,-4 6-16 0,4-2-10 16,0 2-12-16,-3 2-8 0,2 0-16 0,-1 2 52 16,-3 0-16-16,-1-2-15 0,3 3-16 0,-3-4-14 15,-3 0 7-15,3-2-1 0,-7 2 1 16,4-3-20-16,-2 0-6 0,1-4-2 0,-2 2-1 15,-2-3-7-15,3-1-10 0,0-2-5 32,0-1-3-32,1-2-3 0,0-1-17 0,4-1-18 0,0 0-8 0,0 0 2 0,-4-10-9 15,6 4-11-15,4-3 18 0,-2-1 3 0,1-1-21 16,4-3 10-16,-1-1-2 0,-1 1 5 16,-1-3-13-16,0 2 15 15,1-2 6-15,-4-1-13 0,1-1 10 0,0 1-13 0,-4 4 18 0,3 0 0 16,-3 0-12-16,0 3 17 0,0 0-2 15,-3-1-24-15,0 4-7 0,2 1 16 0,-1 1-14 16,-3 0-9-16,2 2-19 0,-1 2-20 16,-2-1-31-16,2 2-41 15,4 1-40-15,-8 0-62 0,8 0-98 0,0 0-84 0,0 0-522 0,0 0 144 16,-8 3 35-16,8-3 51 0,0 0 52 0</inkml:trace>
  <inkml:trace contextRef="#ctx0" brushRef="#br0" timeOffset="140226.28">21340 11251 1144 0,'0'9'279'0,"-1"0"-5"0,-1 3-31 0,0-1-18 0,2 0-5 0,-2 2-48 0,2-1-3 16,2-3-39-16,0 4-2 0,1-3-5 0,0-1 69 16,2 2-21-16,1-4-17 0,1-1 0 0,-2-2 2 15,2 0-31-15,2-1-7 0,-3-3 7 16,0 0-17-16,-6 0 17 0,13-3 1 15,-7 0-83-15,-2-2 16 0,2 0-15 0,-4-1 4 16,0 1 19-16,1-2-3 0,-3 0-8 16,0 0-18-16,0 1 1 0,0 0-6 0,-3-1 11 15,1 1-14-15,-1 1-17 16,-2 1-15-16,3 0-27 0,-4-2-4 0,3 6-41 0,-4-3-49 16,2 1-15-16,0 0-95 0,5 2-151 0,-5 0-471 15,5 0 8-15,0 0 115 0,0 0 51 16,0 0 64-16</inkml:trace>
  <inkml:trace contextRef="#ctx0" brushRef="#br0" timeOffset="140555.2">21558 11211 903 0,'0'0'412'0,"0"0"-15"0,5 8-28 0,-5-3-21 0,-2 1-51 0,2 1-26 0,-3 3-20 15,1-1-46-15,2 1-1 0,0-1-19 0,2 1-29 16,-2 0-3-16,5 0-38 0,-4 1-20 0,3-1 8 15,2-2-34-15,2 0 5 16,-2-3-10-16,2-1-3 0,0 1-17 0,1-5 17 0,0 3 3 16,-1-3 51-16,-8 0 1 0,10-4-34 0,-2 0 20 15,-2 1-20-15,-2-2 5 16,-1-1-5-16,-1-2 15 0,-1 0-12 0,-1-1-85 16,-1 0 2-16,-1 0 13 0,-1 1-7 0,1 1 0 0,0-1-11 15,-4 3 24-15,3-1-34 16,-3 2-10-16,-3 2 8 0,4 1-47 0,-3-1 1 15,3 2-34-15,-5 2-5 0,2-1-46 16,2 2-28-16,-1 2-102 0,0-2-172 0,1 1-443 16,2 2 46-16,1 0 111 0,0-2 40 15,1-1 82-15,2 2 62 0</inkml:trace>
  <inkml:trace contextRef="#ctx0" brushRef="#br0" timeOffset="140898.71">21856 11237 972 0,'-6'6'351'16,"-1"2"-24"-16,-1-2-27 0,0 5-21 0,0 0-49 16,2 0-10-16,-1 1-38 0,0-2 59 0,2 2-26 15,5-4-36-15,-2 3-23 0,2-3-5 0,2 1 8 16,1-3-39-16,4 0 11 0,-2-3 12 15,3 0-46-15,2-2 19 0,-2-1 17 0,2-1 2 0,0-2 14 16,1-2-19-16,-1 1-17 0,-2-3 25 0,0-2-115 16,-1 2 0-16,0-4 18 15,-4 3 28-15,1-1-28 0,-3 1-23 0,-1 0-8 16,0-3-17-16,-5 4-14 0,2 1-58 0,-4 3-16 16,0 0-63-16,-3 3-114 0,-4 3-217 15,2 1-478-15,-4 5 160 0,-1-1 68 0,-4 2 81 16,3 2 72-16,-2 2 38 15</inkml:trace>
  <inkml:trace contextRef="#ctx0" brushRef="#br0" timeOffset="142037.57">21247 11825 1062 0,'0'0'358'0,"0"0"-15"0,0 0-5 0,7 9-18 15,-6-3 61-15,0 3-40 0,-1 1-24 0,2 2-40 16,-2 3-16-16,-2-1-21 16,2 4-7-16,-3 1-105 0,-2 4-18 0,0-1-12 15,1 1-34-15,-5 1 0 0,2-3-39 0,-1 2-15 16,2-5-28-16,3 0-22 0,-4-2-30 15,2-1-19-15,3-2-39 0,-1-1-79 0,0-3-90 16,3-3-113-16,2 0-422 0,-1-1 98 16,4-4 55-16,-2-1 62 0,-3 0 93 0</inkml:trace>
  <inkml:trace contextRef="#ctx0" brushRef="#br0" timeOffset="142349.99">21414 11963 1016 0,'0'0'322'0,"0"0"-17"0,0 0-8 0,-15 11-36 0,10-5-18 16,0 0 51-16,0 2-7 0,2 3-46 0,-2 2-29 16,3-2-15-16,1-2-38 0,0 2 2 15,3-1-25-15,0-1-21 0,4-1 10 0,0 0-22 16,0-2-11-16,2-2 3 0,2 0-13 16,-1-2 0-16,0-1-75 0,1-2 11 0,1-1 31 15,-4-2 4-15,1 1-1 16,-1-2 24-16,-4-1-12 0,2 0-5 0,-2-3 3 0,-3 1-11 15,0 0-10-15,0-1 8 0,-2 0-21 0,-2 0 8 16,0 0-1-16,-2 1-12 0,2 2-15 16,-4-2 5-16,0 1-41 0,0 3-18 0,-2-1-26 0,3 2-25 15,-1 1-57-15,0 1-33 0,0 2-174 16,1-1-117-16,7 0-434 0,-10 2 119 16,10-2 56-16,0 0 58 0,0 0 57 0</inkml:trace>
  <inkml:trace contextRef="#ctx0" brushRef="#br0" timeOffset="142645.94">21582 11915 849 0,'0'0'356'0,"-6"9"41"0,4-3-39 16,0 2-15-16,-2 1-51 16,0 0-33-16,1 2 4 0,0-1-38 0,1 2-107 15,0 0-3-15,2-2-12 0,0-2-14 0,1 2-9 16,2-1-3-16,0-2-6 0,0 0-17 15,4-2 2-15,-2-1 16 0,1-1 10 0,0-1 10 16,0 0 3-16,2-2 5 0,-8 0-19 0,12-4 29 16,-7 1-5-16,1-3-20 0,-1 1-3 15,-2-1-5-15,-1-2 5 0,0-1-24 0,0 0-6 16,-1-1 6-16,-1 0-4 0,-3 1-10 16,1 0-8-16,0-1-24 0,-1 3-12 0,0 0-25 15,1-1-29-15,-2 3-2 0,0 0-39 0,1 2-23 16,-2 0-33-16,3 1-41 0,2 2-128 15,-5-1-94-15,5 1-452 0,0 0 35 0,0 0 114 0,0 0 44 16,0 0 53 0</inkml:trace>
  <inkml:trace contextRef="#ctx0" brushRef="#br0" timeOffset="142987.46">21747 11892 1087 0,'-8'8'387'0,"4"-3"-121"0,2 0-7 16,-1 0-21-16,-2 2-18 0,3 0-33 15,-2 2-24-15,2-1 6 0,0 1-30 0,1-1-6 0,-1 2-5 16,2-1 41-16,0 0-8 0,1-1-13 16,1 1-17-16,0 0-11 15,0-2-25-15,2-1 12 0,3 0-32 0,-2-2 4 0,3-2-2 16,-1 1 33-16,4-1-8 0,-1-2 6 16,0-2-3-16,-2-1 15 0,5-1-18 0,-6 1-2 15,3-4 10-15,-4 0 3 0,2-1-13 0,-1-1-6 16,-4-1-14-16,1 0 30 15,-3 0-49-15,1-1-30 0,-4 2 38 0,1-1-30 16,1 1 2-16,-7 0-26 0,2 1-5 0,-3 1 31 0,0 1-46 16,3 1-18-16,-3 3-5 0,-1-1-29 15,1 2-9-15,1 1-16 0,-2 0-38 0,0 3-44 16,1-1-77-16,0 2-173 0,3 0-559 16,-1 0 95-16,-1 1 56 0,4 0 62 15,-1 0 102-15,3 0 69 0</inkml:trace>
  <inkml:trace contextRef="#ctx0" brushRef="#br0" timeOffset="143669">21988 11991 1064 0,'-2'6'279'0,"0"0"-7"0,2-1-27 16,0 2-27-16,0-3-18 0,4 4-14 0,-3-1-11 15,4-3-12-15,0 2 73 0,2-2-6 0,-1-2-5 16,1 1-22-16,1-1 9 16,2-2-76-16,0 0 15 0,-1-5 0 0,1 4 18 0,-2-6 100 15,-1 3-6-15,4-3 19 0,-4-2-24 0,1 0-35 16,-1-1-16-16,-4-2-7 16,-1 1-18-16,2-2-31 0,-4 2 0 0,-1-1 0 0,-2 1-46 15,-1 0-31-15,-2 0-20 0,-1 3-39 0,-1-1-61 16,-2 3-18-16,-2-1-44 0,-2 4-35 15,-1-1-46-15,-1 2-57 0,-2 1-184 16,3 1-625-16,-5 1 67 0,2 0 133 0,2-1 41 16,-1-1 95-16,3-2 59 0,2 2 68 0</inkml:trace>
  <inkml:trace contextRef="#ctx0" brushRef="#br0" timeOffset="144692.1">22892 9389 970 0,'2'-5'381'15,"2"1"-48"-15,-3-1-16 0,4 0-30 16,-2 3-21-16,5 1-20 0,-1 0-21 16,-7 1-15-16,15 6-18 0,-5 1-18 0,0 1-26 15,-2 0 3-15,1 4-25 0,-2 3 4 0,-2 0-27 16,1-1-6-16,0 4 0 0,-5-5-10 15,-2 2-7-15,-3 0-9 0,1-1-4 0,-4 3 10 16,-1-4-23-16,-2 0 4 0,1 0 9 0,-1-3-21 16,-2-1 0-16,4-1-2 15,-2-1 50-15,2-1 21 0,-2 0-10 0,5-3-7 0,-3 2-9 16,3-2-4-16,0 0-11 0,2-1-7 0,1 1-11 16,2-3-13-16,0 0-4 15,0 0 12-15,0 0 10 0,0 0-30 0,10 2 5 16,-10-2-13-16,13 0 13 0,-3 0-41 0,0-1-13 15,1 1-15-15,-1-1-16 0,3-2-36 16,2 1-45-16,-2-1-37 0,3 2-30 0,-1-5-100 16,3 4-153-16,-3-3-106 0,2-1-327 0,0-1 64 15,1-4 64-15,-1 3 85 16,1-4 30-16</inkml:trace>
  <inkml:trace contextRef="#ctx0" brushRef="#br0" timeOffset="145191.79">23250 9428 967 0,'0'-9'302'0,"-2"6"69"0,1-2-18 16,-3 3-12-16,1-1 2 0,3 3-49 15,0 0-20-15,-17 7 0 0,9-2-36 16,2 1-2-16,1 1-42 0,-1 3-17 0,0-1-6 0,0 2-15 16,1 1-30-16,5 0-16 15,-3-3-8-15,6 4 6 0,-3-2-31 0,5 1-1 0,1-3 17 16,1 0-40-16,1-1-2 0,2-1 8 16,-2-3-5-16,2-2 13 0,-2 2-6 0,2-3 31 15,-2-2-79-15,-1-3 15 0,1 2 0 0,-3-4 21 16,0 0-11-16,0-1 21 0,-2 0 3 15,-1-3 20-15,0 3-18 0,-1-1 7 0,-2-1 67 16,1 1-20-16,-4 0-10 0,4-1-26 0,0 5 12 16,-2-4-22-16,2 3-16 0,-1 1-38 15,1-1-46-15,-1 0-38 0,1 5-1 0,1-3-2 16,-1 3-36-16,3-4 3 0,-3 4-24 0,0 0 3 16,11 0 8-16,-11 0 5 0,10 5 15 15,-3-3 1-15,1-2 12 0,-3 5 15 16,3-1 6-16,-1 0 2 0,0 1 2 0,2 1 9 15,-1 0 7-15,-1 1 3 0,3-1 14 0,-2 1 4 16,-1 2 25-16,1-3-30 16,0 1 27-16,1-4 19 0,0 3-9 0,-1-1 11 0,1 1 23 15,0-5 6-15,-1 3-4 0,2-2 44 0,-2-2 11 16,-1 0-1-16,1-3 1 0,-1 0 25 16,-2-2-31-16,1 1 39 0,-4-2-19 15,-2-1-9-15,0-3-3 0,-2 4-18 0,-1-2-80 16,-2-1-22-16,0 1 20 0,-2 0-5 0,0 0-28 15,-3 2-8-15,0 1-41 0,3 1-40 16,-3 1-11-16,-1 1-36 0,1 6-41 0,0-2-18 16,-3 3-97-16,3-5-212 0,-7 13-461 0,0 0 117 15,-1 3 45-15,2-2 186 16,-4 4 7-16,-3 6 65 0</inkml:trace>
  <inkml:trace contextRef="#ctx0" brushRef="#br0" timeOffset="146518.72">23015 10000 1282 0,'2'-2'435'15,"-2"2"-74"-15,8-4-21 0,-1 2-27 0,0-1-34 0,-1 1-8 0,-1 2-48 16,3 0-13-16,0-1-3 0,0-1-36 15,-2-1-14-15,-2 3 1 0,-4 0-27 16,8 0 17-16,-8 0-17 0,0 0-6 0,0 0-12 0,0 0-90 16,-16 6 23-16,8-4 0 0,-3 3-23 15,-3-2-18-15,3 0 13 0,-2 3-5 16,0-1 18-16,1 0-13 0,-1 1 5 0,6-3-13 16,-1 2-10-16,3 0 10 0,1-2-2 15,0 3-16-15,1 0 16 0,3-2 10 0,3 3-16 16,2-2 11-16,1 0 0 0,2-1-13 0,1 3 15 15,2-1-15-15,-1 0-5 0,1 0 5 16,-1 0 31-16,0 0-13 0,-3-2-11 16,0-1 4-16,-1 2 1 0,-1 0 24 0,-2-2-2 0,-1 2-4 15,-1 0 19-15,-4-1-16 0,0 0-2 16,-2 2-11-16,0 1 9 0,-3-3-22 0,-1 2 9 16,-3-3-32-16,0 3-15 0,1-1-30 15,-1 1-31-15,0-4-23 0,-2 4-49 0,4-3-51 16,2-1-59-16,0 3-143 0,0-4-95 0,3-1-364 15,5 0 70-15,0 0 105 0,0 0 35 16,0 0 101-16</inkml:trace>
  <inkml:trace contextRef="#ctx0" brushRef="#br0" timeOffset="146813.34">23217 10028 877 0,'0'0'343'0,"0"0"-40"0,0 0-14 16,2 7-26-16,-2-4-22 0,0 3-21 15,0 1-28-15,0 1-15 0,0 1-26 0,0-2-18 0,0 3-3 16,0-1-4-16,4-2-21 0,0 4-11 16,0-3 1-16,0 1-23 0,4-3 2 0,-1 1 0 15,4-2 13-15,1-2 70 0,-4 1-24 16,5-3 30-16,-2-2-14 0,-1-3 17 0,0 4-102 16,0-4 10-16,0-1-10 0,-2-2 3 0,-3 0 18 15,2-1-1-15,-6 1-12 0,1-2-1 16,1 0-4-16,-6 1-13 0,0 1-16 15,-1-1 11-15,-4-1-11 0,-2 3-20 0,0 2-44 16,-4 1-22-16,1-1-32 0,-1 3-25 16,-2 1-38-16,1 3-100 0,-1-3-213 0,-2 7-481 15,0-1 80-15,1 2 110 0,1-1 73 0,-2 3 93 16,0-1 36-16</inkml:trace>
  <inkml:trace contextRef="#ctx0" brushRef="#br0" timeOffset="147581.87">23045 10698 1220 0,'0'0'308'0,"-12"14"-40"16,10-7-24-16,-4 3-14 0,3 1-25 16,-2 0-3-16,-3 5-38 0,3-1 2 0,-1 2 26 0,-4 3-38 15,3-1-47-15,-3 2-48 0,3-4-51 16,0 0-62-16,-2-1-110 0,4-6-120 0,2 5-512 16,0-2 92-16,-1-4 46 0,2 2 62 0</inkml:trace>
  <inkml:trace contextRef="#ctx0" brushRef="#br0" timeOffset="148198.37">23133 10793 1223 0,'0'0'335'0,"0"0"-15"0,2 11-18 0,-2-6-43 0,-2 1-6 0,2 0-107 0,2 3-13 16,0-1-23-16,1 1-28 0,2-1 5 0,0 3-2 15,2-4-8-15,1-1 2 0,0 0-5 16,0-4 5-16,1 4-7 0,-1-3 15 16,0-2 5-16,1-2 6 0,-1-1 60 0,-4 1 9 15,4-1-9-15,-3-3-12 0,0 0 3 0,-2 0-16 16,-1-2 0-16,1 0 5 0,-3 4-33 16,0-4-2-16,0 2-14 0,-3-2-12 0,0 2-5 15,1-2-1-15,-3 1-9 0,0 1-39 0,0 0-26 16,-1 3-12-16,1-2-34 15,1 4-20-15,4 0-28 0,-9-4-31 0,9 4-69 0,-7 0-87 16,7 0-77-16,0 0-164 0,0 0-338 0,0 0 75 16,0 0 53-16,16-4 116 0,-7 2 337 15,0-1 213-15,-2-2 51 0,6 2 85 16,-5-2 38-16,3 0 46 0,-2 3 33 0,0-2 87 16,-3 1 1-16,2 0-9 0,-3 2-4 15,0 0-6-15,-5 1-17 0,9 2-95 0,-7 1-21 16,0 0-5-16,2 2 5 0,-3 1-20 15,-1 1 0-15,1 2-3 0,-1 1-12 0,0-4-26 16,0 7 7-16,2-3-9 0,0-1-1 0,1 0-10 16,0 0 79-16,2 1-15 0,4-5 3 15,-3 2-29-15,-1-4 1 0,3 3 2 16,-3-5 13 0,5-1 7-16,-3 0-17 0,-7 0-59 0,14-2 12 0,-7-3 1 0,-2 2-1 15,1-2 13-15,-3-2-2 0,1-2-5 0,-1 3 5 0,0-2-11 16,-3-1 11-16,2 0-21 0,-2 1 0 15,0 1-4-15,0-2 9 0,-2 4-12 16,-1 0-19-16,3 1-12 0,-5-2-13 0,3 3-43 16,-4-1-21-16,6 4 10 0,-4-3-40 0,4 3-47 15,-6 0-71-15,6 0-101 0,0 0-109 16,0 0-430-16,0 0 102 0,0 0 41 16,0 0 64-16,8 10 54 0</inkml:trace>
  <inkml:trace contextRef="#ctx0" brushRef="#br0" timeOffset="148460.73">23566 10843 906 0,'0'7'256'0,"2"-2"-18"15,1 2-18-15,-2-1 0 0,1 0-28 0,0-1 5 16,0-2 5-16,1 2-7 0,4 0-52 16,-3-4 11-16,0 0-14 0,-4-1 19 0,8 0 5 15,-8 0 84-15,8-2-2 0,-3-3-18 0,-3 3-16 16,1-4 11-16,-1 1-46 0,-2-1-11 15,1-2-15-15,-2 0-20 0,0 0-9 0,-3-1-4 16,4 0-13-16,-2 2-26 0,-1 0-30 0,1 1-49 16,-1 2-8-16,0 1-48 15,-1 2-41-15,4 1-44 0,-12 0-164 0,-2 3-176 0,9 2-463 16,-5 0 104-16,-1 3 47 0,-2 1 58 0,0 1 110 16,-2 6 47-16</inkml:trace>
  <inkml:trace contextRef="#ctx0" brushRef="#br0" timeOffset="148829.01">23072 11206 1310 0,'0'0'392'0,"0"0"66"0,0 0-66 16,-8 17 12-16,5-10-74 16,-1 4-30-16,-3 2-34 0,0 0-31 0,1 1-22 15,0 3-47-15,-6 1-56 0,7-2-33 0,-2 2-90 16,-1-2-122-16,0-2-224 0,-2 3-539 16,5-2 120-16,2-2 12 0,1-2 90 0,-1-4 49 15</inkml:trace>
  <inkml:trace contextRef="#ctx0" brushRef="#br0" timeOffset="149038.87">23231 11234 1249 0,'0'0'348'0,"0"0"-41"0,0 0-2 0,0 0-19 0,-6 12-43 0,5-5-17 15,-1 0-24-15,-3 1-13 0,0 3-22 0,0 1-9 16,0 0-30-16,-3 1-25 15,2 2-47-15,-1-3-51 0,2 1-30 0,0-1-78 0,0 0-99 16,2-5-139-16,1 0-455 0,-1 3 67 0,3-2 86 16,0-3 52-16,3-1 72 0</inkml:trace>
  <inkml:trace contextRef="#ctx0" brushRef="#br0" timeOffset="149339.87">23355 11299 1215 0,'-5'3'310'0,"3"0"-10"16,-3 4-42-16,2-1-25 0,0 0-18 15,1 1-31-15,0-1 1 0,1 1-32 0,1-1-15 16,1 0-15-16,1 1-10 0,2-2 10 0,0-1-16 16,0-2 1-16,2-2 4 0,-1 1 83 15,-5-1 10-15,13-1-13 0,-8-1 0 0,0-1-72 16,0-3-12-16,1 3 4 0,0-3-4 0,-2-1-11 15,-1 1-20-15,-1-3 12 0,0 3-4 16,1-1-3-16,-3 0-18 0,0 2-21 0,0-2 8 16,0 4-33-16,-3-2-31 0,1 1-27 15,0 1-35-15,2 3-35 0,-6-4-20 16,1 4-55-16,5 0-68 0,0 0-149 0,0 0-123 16,0 0-327-16,0 0 41 0,0 0 102 0,0 0 53 15,0 0 50-15</inkml:trace>
  <inkml:trace contextRef="#ctx0" brushRef="#br0" timeOffset="149597.25">23437 11294 982 0,'0'0'351'0,"0"0"-13"16,6 3-97-16,-2-1-24 16,-1-1-22-16,0 3-21 0,1-1-16 0,0 2-9 0,1-1-19 15,1 1-19-15,0 0 4 0,0 0-13 0,4 1-23 16,-2-1 14-16,4-1-1 16,-1 0-5-16,4 1 2 0,-2-1 11 0,0-2 10 15,2 0 21-15,-4-2 12 0,1 0 85 0,-2 0 7 0,-1-2-2 16,-1 0 3-16,0-1-8 15,-4-2-16 1,1 0-71-16,0 0-16 0,-1-2-9 0,-3-1-17 0,-1 0 1 0,0 0-15 0,-1-2-11 16,-3 2-13-16,-1 0-38 0,0-1-30 15,-1 3-57-15,-1 4-41 0,-1-3-46 0,-2 5-46 16,-3 0-131-16,0 4-253 0,1-1-428 0,-4 3 139 16,3 0 59-16,-2 1 74 0,-1 3 63 15,0-1 80-15</inkml:trace>
  <inkml:trace contextRef="#ctx0" brushRef="#br0" timeOffset="150757.26">23081 11907 1131 0,'-7'-4'420'16,"-1"4"-116"-16,8 0-14 0,-16 2-17 0,6 2-32 16,-3-1-13-16,3 3-16 0,-1-1 47 0,-1 1-19 15,2 0-30-15,0 1-15 0,1 0-11 16,2-1-33-16,-1 0-10 0,5 0-13 0,-1 1-15 16,1-3 12-16,3 0-10 0,0 0-12 0,3-1-4 15,2 1-29-15,0-4-12 0,3 0 9 16,2 0 2-16,-1 0 0 0,2-3-10 15,0 2-8-15,1-3 11 0,-1 1 9 0,-3 1 9 16,-1 0-16-16,1-1-11 0,1 3 24 16,-2-1 3-16,-7 1-14 0,10 1-4 0,-8 2-4 15,3 1 14-15,-5 0-13 0,0 3-72 0,0-1 11 16,0 2-4-16,-3 2-27 0,-1 0 13 16,-2 0-29-16,4 2-25 0,-3-1-5 0,1 1-32 15,-3-1-32-15,4 0-39 0,-1 0-30 0,1-3-41 16,2-1-193-16,1 1-468 0,0-4 82 15,1 3 8-15,4-6 125 0,0 2 77 0,2-3 57 16</inkml:trace>
  <inkml:trace contextRef="#ctx0" brushRef="#br0" timeOffset="151313.73">23271 11961 1064 0,'0'0'402'0,"0"0"-33"0,-7-2-36 0,7 2-21 0,0 0-43 16,-14 8-19-16,9-3-91 0,0-2-26 0,2 4-5 15,-1 0-25-15,1 0-6 0,0 0-13 16,1 1-22-16,2-1 9 0,2-2-24 16,-2 1 4-16,5 0-3 0,-2-1-7 0,2-3 5 15,2 1 6-15,-1 0-17 0,-1-2 32 16,3-1 10-16,-8 0 12 0,12-4 73 0,-6 1 4 0,-2 1 23 16,0-1-38-16,0 0-40 0,-1-2 4 15,0 0 8-15,-3-1-39 0,2 1 8 16,-2 0-7-16,-2 1-1 0,2-2-28 0,-3 1-4 15,2 1-27-15,-1 0-30 0,0-1-33 16,0 2-8-16,2 3-36 0,-2-3-23 16,2 3-21-16,-4-4-50 0,4 4-52 0,0 0-110 15,0 0-95-15,8-3-437 0,-8 3 38 0,5-4 146 16,3 4 336-16,-8 0 199 0,10-1 92 0,-3 0 66 16,-1 1 39-16,-6 0 49 0,10-1 33 0,-10 1 15 15,8 1 93-15,-8-1-13 16,9 2-11-16,-5 1-5 0,1 0-25 0,-3 1-10 15,4 0-11-15,-4 1-23 0,3 2-2 0,0-3-100 16,1 2-6-16,1 0 1 0,-2-1 10 16,0 1-3-16,3-3-20 0,0 4 23 15,4-3 23-15,-1-3-2 0,2 3 17 0,0-4 3 0,1 0 8 16,2-1 15-16,-3-2 20 16,3 1 3-16,-4-1 90 0,0-2 14 0,-1 0-4 0,-3-2-33 15,-3 2 12-15,0-3-30 0,0 1 22 0,-4 0-37 16,-1 0-22-16,0 2-4 15,-6-2-16-15,1 3-30 0,-4-3-95 0,-2 3-59 0,-3 0-64 16,-1 3-41-16,-2 0-56 0,1 0-144 16,-2 3-647-16,3-1 48 0,-6 3 121 15,1 1 61-15,0-2 82 0,-4 2 136 16,0 1-8-16</inkml:trace>
  <inkml:trace contextRef="#ctx0" brushRef="#br1" timeOffset="155703.19">20761 11201 1210 0,'0'0'453'0,"0"0"-41"16,0 0-33-16,0 0-20 0,0 0-126 15,-5 16-11-15,4-4-2 0,0 6-28 0,-2 3-12 16,3 8-14-16,-3 11-13 0,2 5 65 16,1 4-23-16,0 13-1 0,0 1-28 15,1 2-9-15,-1 0-22 0,3-3 24 0,0-1-46 0,-2-10-8 16,0-1-6-16,-1 0-12 0,0-4-7 0,0 0-9 15,0-1-7-15,-2-2-10 0,1-4-3 16,-1-7-12-16,-1-6-16 0,2 0 2 16,-3-6-40-16,1-1-26 0,1-3-15 0,1-3-21 15,-1-2-31 1,0-3-4-16,2 1-88 0,0-4-89 0,-3-3-133 0,6 0-523 0,-3-2 34 16,0 0 153-16,4-18 18 0,-1 7 44 15,2-5 113-15</inkml:trace>
  <inkml:trace contextRef="#ctx0" brushRef="#br1" timeOffset="157802.47">20697 11119 673 0,'0'0'217'0,"0"0"3"0,0 0-10 0,0 0-15 15,16-2-11-15,-9 2-5 0,-2-1-10 0,-5 1 3 16,18 1 53-16,-6-1-2 0,1 0-36 16,1 0-6-16,1-1 4 0,1 1-29 0,1-1 8 0,1 1-26 15,2-3 8 1,4 3 2-16,-3 0-25 0,1-1 5 0,4-1 23 0,-1-1-36 16,4 3-30-16,1-2 9 0,1 1-7 0,-5-1-2 15,5 0-1-15,-6 1-15 0,6-3-56 16,-6 4-26-16,0-1 6 0,0-1 17 15,-1 2-13-15,1-3-4 0,1 3 20 0,-4-1-19 0,1 1-1 16,0 0 2-16,-3 0 7 0,0 0-2 16,-1 0 0-16,-1 0 3 0,2 0 12 15,-1 0-12 1,1 0-6-16,-2 0 21 0,2 0-15 0,-4 0-6 0,4 0 16 0,0 0-11 0,-1 0-7 16,1 0 18-16,-2-1-5 0,3-1-1 15,-1 2 11-15,-2-2-23 0,1 2 8 0,-2-2-3 16,0 2 0-16,-1 0 7 0,1-2-7 0,-3 1-2 15,1-1 7-15,1 2 8 0,-1-1-18 16,0 1 7-16,-2-1-12 0,0 0 15 0,0-1-7 16,-2 2-1-16,-1-1 11 0,2 1-16 0,-1 0 8 15,-1-1 0 1,0 1 10-16,0-1-10 0,2 1-2 0,-3-1 7 16,1 0-10-16,-2 1 2 0,2-2 1 0,-2 2 2 0,2 0 5 0,-2 0-3 15,-3 0 19-15,3 0-8 16,-8 0-13-16,12 0 10 0,-6 0-15 0,-6 0 17 0,10 0-9 15,-10 0-8-15,7 0-5 0,-7 0 10 16,8 2 15-16,-3-1-18 16,-5-1 3-16,8 1 6 0,-8-1 4 0,5 2-10 0,-1 2 5 15,-4-4 10-15,4 4-4 0,-2-1 4 0,1 1 0 16,0-1 1-16,-1 3-19 0,2-1 18 31,-3 0-4-31,2 1-6 0,1 1 13 0,-3-1-6 0,1 1 19 0,1 1-3 0,-1-1-20 0,-1 2 2 16,-1 0 3-16,2 0 2 0,0 1 16 15,1-1-5-15,-2 1-8 0,-1 0 5 0,2 2 10 16,-2-2-15-16,2 1-5 0,-2 0 7 0,3 2 8 16,-3-2 0-16,1 1 6 0,0 1 2 15,0-1-16-15,1 2-5 0,-2-2 6 16,2 1-3-16,1 0 2 0,-3 0 72 0,3 1 8 16,-1-2-15-16,0 1-24 0,-1 3-2 0,1-2-5 15,1-1-16-15,0-1 11 0,-3 0 2 16,2 0-5-16,1 2-2 15,-1-2-1-15,0 1-7 0,-1-2-3 0,1 0-7 0,2 1-6 0,-3-2 1 16,0 3 15-16,1-4-18 0,-2 0 15 16,2 3 5-16,1 0-25 0,-3-2 0 0,3 0 5 15,-3 2-5-15,0-2-6 0,2 1 16 16,0-1-5 0,-1 1-13-16,-1 0 29 0,3-1-22 0,-1 0-27 0,-2-1 25 0,2 1-2 15,1-1 0-15,-3 1 4 0,0-2-14 0,3 1 20 16,1 1 0-16,-4-3-36 31,1 4 38-31,1-3-2 0,1 1-15 0,-2-1 15 0,0 2-16 0,0-1 21 0,-1 1 0 0,2-1-2 0,-2 1 12 16,0-2-5-16,0 3-12 0,0-1 4 0,0 1 0 15,0 0-14-15,0 0 12 0,0-3-13 16,0 3 2-16,0 0 1 0,-2 1 7 16,2 0-2-16,0 0-8 0,-2 0 0 15,2 0 3-15,-1 0-18 0,1-2 23 0,0 1-26 0,-3 0 13 16,3-1-3-16,0 0 8 15,0 0 13-15,0-1-5 0,0 2-5 0,0-2-16 0,0-1 26 0,0 0-18 16,0 1-28-16,0-1 36 16,0-2 12-16,0 1-7 0,0 0-3 0,0-2-7 15,0 0 9-15,0 1-4 0,0 1-18 0,0-3 18 16,3 2-11-16,-3-1-2 0,0-1-34 16,-3 0 47-16,3-4-21 15,0 8 21-15,0-6-11 0,0 2-4 0,0-4 22 0,-2 5-12 0,2-5 10 16,0 5 7-16,0-5-15 0,-5 5-5 0,2-2 13 15,2-1-18-15,-5-1-11 16,6-1 29-16,-8 3-26 0,4-3 8 0,-3 1 16 0,7-1-9 16,-15 0-2-16,7 0 0 0,1 0-5 0,-4 0 2 15,-2 0 16-15,1 0-18 16,-1 0-3-16,-1-1 8 0,-2 1-12 0,-1 1-11 16,-3-1 12-16,0 0 6 0,-3 3-25 0,0-3 37 15,-1 0-12-15,0 0-8 0,-1 0 8 16,1 0 18-16,0 1-26 0,1-1 16 0,3 0-11 15,-3 2-12-15,-1-4 27 0,7 2-20 0,-1 0-10 16,-1 0 21 0,-1 0 4-1,0-1-4-15,3 1 12 0,-5 0-2 0,1 0-3 0,1 0-23 0,0 0 13 0,1 0-18 0,-1 1 18 16,2-1-8-16,-5 0 3 0,5 0 15 0,0 2-15 16,3-1 7-16,-3-1 6 0,0 1-6 0,3-1-7 15,-3-1 15-15,2 2-8 16,1-1 6-16,-1-1 15 0,1 1-18 0,1-1 7 0,-2-1-4 15,0 2-18-15,1-1 7 0,-1 1 8 16,1-3 8-16,1 2-3 0,0 1 2 0,-2-3-7 16,1 2 11-16,2 0-16 0,0 0 10 0,0 0 5 15,1 1-10-15,-2 0-5 0,2 0 2 16,1 1 3-16,-1 0-2 0,2 0 14 16,-1 0 1-16,-2 0-20 0,3 1 14 0,0 0 1 15,-3 0 10-15,3-1-18 0,0 1 2 16,2 0-4-16,-2-1 20 0,2 0-26 0,0 3 29 0,-1-4-11 15,0 2 5-15,-1-1-10 0,5 1 18 16,-3 0-12-16,1 0-22 0,-1-2 40 0,3 3-9 16,0-2-25-16,0 0 13 0,5-1 25 15,-11 3-18-15,8-2 1 0,3-1 9 0,-7 2-17 16,7-2 7-16,-7 1-20 0,7-1-5 16,-3 2 15-16,3-2-8 0,0 0-12 0,-7 2 23 15,7-2 2-15,0 0-31 0,0 0 9 0,-8 1-14 16,8-1-33-16,0 0-2 0,0 0-34 0,0 0-38 15,0 0-28-15,0 0-62 0,0 0-151 16,0 0-184-16,-1-7-489 0,1 7 49 0,8-10 146 16,-5 3 79-16,7-5 94 0,-2-2 70 15,2 0 59-15</inkml:trace>
  <inkml:trace contextRef="#ctx0" brushRef="#br1" timeOffset="158632.74">22766 10019 1282 0,'-2'12'440'15,"-1"-6"-64"-15,3 7-50 0,-3-1-9 0,1 6-36 16,-1 0-22-16,3 2-21 0,-3-1-2 16,1 0-39-16,1 1-26 0,-3 2-25 0,1-1-10 15,2-2-11-15,-3 0-122 0,2 0 10 0,1-1 2 16,-1-2 8-16,-1-2-18 16,3-1-8-16,-2-1-14 0,0-1-22 0,2-2-7 15,-1 0-18-15,-2-2-20 0,1-1-39 0,2 0-51 16,-2-2-77-16,2 0-82 0,-1 1 3 15,1-3-471-15,0-2 66 0,0 7 85 0,0-3 84 16</inkml:trace>
  <inkml:trace contextRef="#ctx0" brushRef="#br1" timeOffset="160481.94">22727 10397 875 0,'0'0'361'0,"5"-3"-36"16,-5 3-26-16,1-3-30 0,-1 3-21 15,7-1-35-15,0-1 2 0,-4 1-10 16,5 0-26-16,0 0-23 0,0-2-5 0,2 2-26 16,2 1-7-16,1-3 0 0,3 0 0 15,2 1-6-15,4-2-25 0,1 2 16 0,2-3-1 16,2 3-33-16,5-2-2 0,0 2 2 0,-1-3-10 15,14 0 7-15,-10 2-9 0,-2-1-6 0,10-3-5 16,-1 2-15-16,-7 3 2 16,-4-2 3-16,1 2-8 0,-2-2-10 0,1 2 10 15,-4 1-15-15,4-3 7 0,0 2 6 0,-5-2-3 16,0 4-23-16,2-4 41 0,-1 1-31 16,-3 2-18-16,-1-2 14 0,0 1-6 0,0 2 0 0,0-2 2 15,-3-1 6-15,-4 2-3 0,1 1-5 16,-2-2 2-16,-1 0 1 0,-2 1-11 15,-3-1 19-15,1 0-4 0,0-1-9 0,-2 2-6 16,0-4 13-16,-1 4-2 0,0-4-1 0,0 1 16 16,-3 0-10-16,0-1-24 15,0-1 40-15,-2 0-24 0,3-1-6 0,-2 1 14 0,2-3-3 16,-2 0 0-16,1-1-5 0,0-3 8 0,1 1 5 16,4-4-3-16,-3 1 21 0,-1-2-39 15,1-1 5-15,4-1 11 31,-3-3-8-31,0 0 5 0,0-2-5 0,0 3 0 0,-2-2 0 0,1 1 16 0,0 0-14 0,-2 3-4 0,2-4 17 16,-2 3 3-16,1 1-5 0,-3-1-8 16,5-4 15-16,-6 2-20 0,1 0-2 0,2-4 15 15,-2 1-3-15,-2-4-5 0,0 3 8 0,0-1 5 16,0-1-31-16,0 2 28 16,-1 0-5-16,0-1-89 0,1 0 13 0,-1 7 7 0,-2-2-3 15,3 0 24-15,-2 3-3 0,1-1 2 0,-1 2 9 16,0-1 7-16,-1 4 2 0,3 0 8 15,0 1-7-15,-2 0 2 0,2-1 5 16,-1 2-7-16,1 0 7 0,0 0-2 0,0 2 35 0,1 1-25 16,-1-1 2-16,0 0-7 15,0 2 8-15,0-1-9 0,0-1 1 0,0 3 26 16,0-1-16-16,0 0-6 0,0 2 6 0,0 0-15 16,0 1 12-16,0 1 1 0,-1-2 4 0,1 1 4 15,0 3-1-15,0-1-8 0,-1-2 1 16,0 1 9-16,-1 2-2 0,-1-2 1 15,2 0 4-15,-3 0 8 0,1 3-6 0,-4-3-12 0,-1 1 13 16,0 0-5-16,-2 1 2 0,2 0-2 16,-5-2 5-16,0 3-8 0,-2-3 2 0,2 3-12 15,-2-2 10 1,-2 1 8-16,-2-1-8 0,1-2-2 0,3 4-6 0,-3-2 6 0,0-1 2 16,0 2-5-16,0-2 0 0,2 1 3 15,-3 3-3-15,-2-5-3 0,2 4-7 0,-3-2 23 16,2 2-13-16,-1 1 12 0,-3-3-6 0,3 4-12 15,-3-2 12-15,0-1-12 0,1 2 6 16,-6 1 11-16,-1-3-22 0,-1 0 1 0,0 2 36 16,-1 1-39-16,1-2 16 0,0-2-1 0,-1 4-4 15,0-2 4-15,1-1 1 16,2 2-6-16,-1 0 16 16,5 0-5-16,-1-2-11 0,0 1 13 0,3 2-15 0,0-1 8 0,1 0 15 15,3-1-21-15,-1 2-7 0,2 0 7 16,2 2 8-16,1-2-5 0,3-2 16 0,-2 5-32 0,4-2 6 15,1-1-3-15,0 2 36 0,1 1-23 0,0-1-7 16,1-2-6-16,2 1 15 16,1 1-7-16,-2 1-2 0,0-3 4 0,1 5-7 15,2-4 12-15,-1 2 9 0,-2 1-11 0,4-3 25 16,-1 3-38-16,-2-3 13 0,3 4 8 16,-4-1-8-16,4 0-10 0,-3 2 23 0,2 1-1 15,0-1-9-15,-1 1 5 0,1 0-1 16,-2 1-9-16,3-1 12 0,-2 1 0 0,2 0-5 15,0 0 11-15,0 1 2 0,1 0 5 16,-2 0-8-16,3-3-5 0,0 4 16 0,0-1-16 0,-2-1 8 16,2 2 3-1,0-2-4-15,2-1-14 0,-2 3 2 0,0-3 5 0,0 1 1 16,0 1-4-16,0-2-4 0,3 1 10 16,-3-2-8-16,1 0 0 0,-1 1 5 0,0 0-5 0,0-1-10 15,1 4 21-15,0-5 68 0,-1 3-7 31,0-1 5-31,0-2-23 0,0 1-13 0,0 1 5 0,0-1-15 0,0 1 7 0,0-1 1 0,0-1-3 16,0 2-16-16,0 0 16 0,0-2-10 16,0 2-3-16,0 0 18 0,-1-1-25 15,1 4-14-15,0-2 27 0,1 0-11 0,-1 1-3 16,0 0 3-16,0 0-20 0,0 1 4 0,0-1 24 16,0 1-8-16,0-4-28 0,0 5 15 0,0-3-7 15,0 1-8-15,0 0 12 0,0-1-4 16,0 1-6-16,0-1 24 0,0 0-13 0,0 2-6 15,2-2 13-15,-2 1 1 16,0-1 4-16,0 0-27 0,0 1 14 0,0 0-2 0,0-2 13 16,0 2-20-16,0-1 9 0,0 0 1 0,0 1 20 15,0 0 3-15,0-3-31 0,0 5 0 16,0-3 0-16,0-2-5 0,-2 4 7 31,2-2 9-31,0 0-6 0,0 1-18 0,0-1 21 0,2-1-6 0,-2-1-15 0,0 4 21 16,0-3 7-16,0 0-9 0,2 1 4 0,-2-1-10 15,0 0 0-15,3 1-3 0,-3 0 8 0,0-1-12 16,1-1 12-16,-1 1 0 16,0-1-23-16,0 1 18 0,0 2-5 0,0-1 5 0,2 0 5 15,-2 1 8-15,0-2-34 0,0 1 11 16,-2-2 8-16,2 1 12 0,0-1 0 0,2 4-7 0,-4-6-14 16,2 4 11-16,0-4 0 0,0 2 0 15,0-1-2-15,0 2 7 0,0-1-10 16,0 0 18-16,0 0-24 0,0-1 6 0,0 0-5 0,0 1 0 15,2-2 12-15,-2 2 9 0,-2 0-14 16,2-1 3-16,0 0 8 0,0 2-1 16,0-2-12-16,0 1 18 0,0-2-21 0,0 1 1 15,0 1 12 1,0 0 2-16,0-2-7 0,0-1 6 0,0 3-6 0,0 1 0 0,0-3 0 16,0 2 0-16,0-4 5 0,0 4 10 0,0-1-23 15,0-5 6-15,0 8 4 0,0-4 1 0,-1-1-11 16,1-3 11-1,-3 6 5-15,3-2 7 0,0-4-13 0,0 5 11 0,0-5-3 0,0 3-17 16,0-3 12-16,0 6 5 0,0-6-30 16,0 0 30-16,0 4-10 0,0-4-8 15,0 0 3-15,0 0-8 0,0 0-33 0,0 0-18 16,0 0-18-16,0 0-41 0,0 0-43 0,0 0-49 16,0 0-166-16,0 0-136 0,0 0-471 15,0 0 89-15,0 0 124 0,0 0 94 0,6-11 59 16,-4 7 43-16</inkml:trace>
  <inkml:trace contextRef="#ctx0" brushRef="#br1" timeOffset="167967.55">2339 4160 1110 0,'0'0'366'0,"4"-3"-25"0,-4 3-24 16,0 0-33-16,4-1-10 0,-4 1-18 15,0 0-28-15,0-5-90 0,0 5-5 16,0 0-5-16,0 0 0 0,0 0-7 0,0 0 2 16,0 0-13-16,0 0-8 0,0 0-2 15,0 0-16-15,-4-5 6 0,4 5-11 0,-7 0-15 16,7 0-13-16,-9 0 19 0,9 0-6 0,-8 0-13 15,0-2 15-15,8 2-27 0,-15 0 9 16,5 0-9-16,0 0-3 0,1 0-1 0,-1 0-1 16,-2 0 7-16,1 0-8 0,1 0-18 0,-2 0-5 15,1 0 3-15,-2 0 5 0,1 0 3 16,1 0-11-16,-2 2 8 0,3-2 13 16,-3 3-31-16,3-2 5 0,0-1 2 0,2 2 4 15,0 2-6-15,-2-3 0 0,2 1 23 16,-2-1-20-16,5 2-11 0,-3-1 29 0,3-2-14 15,0 4 52-15,-2-4-5 0,1 2 0 16,3-1 5-16,-4 2-23 0,7-3-10 0,-7 1 18 16,4 1-34-16,3-2 18 0,-5 4-7 0,5-4-1 15,-3 5 9-15,0-4-24 0,0 2 10 0,2 1 3 16,0 1-10-16,1-2-5 16,0 2 5-16,0 2 5 0,0-1-8 15,1 0 8-15,0 4-11 0,0-1 11 0,1 4-10 0,1 1-3 16,-1 0-5-16,1 0 8 0,-1 4-8 15,2 1-3-15,0 3 8 0,-1 0 24 0,2-3-27 16,-3 5 11-16,1-3-5 0,0 4-16 0,-3-2 0 16,2-3 11-16,-2 0-8 0,1 1 0 15,-1-1 7-15,1-1 8 0,0-5 3 0,1 0-21 16,-2 2 16-16,3-4 2 0,-3-3-17 16,1 1-9-16,0-2 19 0,-1-1-8 0,1 2 23 15,1-2-21-15,-2-4 3 0,0 3 28 16,3-1-30-16,-1-1 2 0,1-2 2 0,-1 2-4 0,-2-4 2 15,8 2 18-15,-5-1-36 0,-3-1 36 16,13-1-18-16,-13 1-11 0,13-2 27 0,-6-2-21 16,3 3 12-16,1-2 6 0,-1 0-10 15,1-2 4-15,1 2-9 0,0-2 4 0,-1 1 6 16,2-2-8-16,-3 3 3 0,3-1 7 16,-3-2 10-16,0 3-35 0,1-2 5 0,-1 0 17 15,0 3-12-15,0-2-5 0,-2 2-3 0,0-4 31 16,2 3-10-16,-3 0-13 15,1-1 10-15,0 2-10 0,-3 1-3 0,1-3 11 0,1 2-6 16,-2 1 3-16,0-1 13 0,-5 2-13 16,8-3 18-16,-5 3-29 0,1-3-1 0,-4 3 35 15,6-2 5-15,-6 2-31 0,3-1-2 16,-3 1 5-16,0 0 3 16,7-4 2-16,-7 4-8 0,0 0 16 0,3-2-8 0,-3 2 8 15,5-1-5-15,-5 1 5 0,2-4-8 16,-2 4 0-16,1-6-13 0,-1 6 0 0,2-3 14 0,-2 3-1 15,2-7 7-15,-2 4 6 16,0-2-15-16,3 2 23 0,-3-3-16 0,0 0-3 0,0 1 16 16,0-3-12-16,0 2-4 0,0-4-4 15,2 2 7-15,-2-3-87 0,1 2 29 0,-1-2-9 16,0-2 19-16,2-3-3 0,-2 3-2 0,0-2 30 16,0 2-23-16,0-3 23 0,0 1-5 0,0 2-7 15,0 0 7-15,-2-1 10 0,2 4 8 16,0-1-5-16,-1 0 5 15,1 2-3-15,0-1 6 0,0 1-8 0,0 0 2 0,-2 1-7 16,2 0 15-16,0 1-5 0,0 1 3 16,0 0 12-16,0 0-2 0,0 0-5 0,-3 2 7 15,3-2-2-15,0 3-6 16,-2-3 9-16,2 2 14 0,-2-1-12 0,2 5 3 0,-1-6 12 0,1 2-12 16,0 0-6-16,0 4 5 15,-2-4-4-15,-1 1 7 0,3 3-18 0,0-5 13 0,0 5-8 16,-2-3 0-16,2 3 18 0,-1-6-7 15,1 6 5-15,-2-5-9 0,2 5-19 16,-2-5 22-16,2 5 1 0,-3-3-6 0,3 3 6 0,-2-5 4 16,2 5-9-16,-3-4 9 0,3 4-12 15,-3-3 0-15,3 3 5 0,-3-5-5 16,3 5-8-16,-4-4 15 0,3 1-22 16,1 3 17-16,-5-5-12 0,5 5 12 0,-4-4-5 0,3 1 3 15,1 3-13-15,-7-4 10 0,5 2-15 16,2 2 10-16,-8-5 8 0,5 3-21 0,-2 1-7 15,5 1 0-15,-8-4 12 0,5 3-46 16,3 1 8-16,-10-1-30 0,10 1-37 0,-8 0 14 16,8 0-42-16,-7 2-18 0,4 0-30 15,0 2-13-15,-1 1-26 0,1-2-56 0,2 2-82 16,1 0-107-16,0 1-449 0,4 0 132 0,-2 1 12 16,1-2 112-16,4 2 108 0,1-5 39 15</inkml:trace>
  <inkml:trace contextRef="#ctx0" brushRef="#br1" timeOffset="168993.03">7462 4202 1167 0,'0'0'330'0,"0"-6"-13"0,0 6-27 0,0 0-19 16,2-2-18-16,-2 2-2 0,0 0-3 0,0 0-45 15,3 12-6-15,-3-6 0 16,3 1 38-16,-3 6-20 0,2-1-18 0,-1 2-17 0,1 3-24 15,0 2-10-15,-2 2-16 0,3 1-4 0,-3-1-21 16,0 5-54-16,0-2 31 16,0-1-67-16,0-3-15 0,0 0 15 0,0 0-17 15,0-3 10-15,0-4-37 0,0 0-6 0,0-2 24 16,0-1-32-16,0-2-14 0,3-1-4 16,-3-1-52-16,0-1-40 0,0-2-57 0,0-3-23 15,4 3-74-15,-4-3-52 0,0 0-475 0,3-10 61 16,0 8 87-16,-1-5 56 15,-1-3 134-15</inkml:trace>
  <inkml:trace contextRef="#ctx0" brushRef="#br1" timeOffset="169650.78">7439 4141 1238 0,'0'-3'341'0,"3"-2"-11"0,-1 0-23 16,0 2-18-16,4-3-30 0,-1 1-16 15,5-1 5-15,0 1-130 0,6-4 0 0,-1 2-11 16,3-1-7-16,0 1 0 0,5-2 59 16,0 2-18-16,13-6-8 0,-7 3-16 0,6-2 9 15,3 1-16-15,-2 2-18 0,-3 2 3 16,-4 1-24-16,0-1-4 0,11-2-3 0,-9 2-5 16,-3 1-11-16,-2 3-4 15,-1-3 7-15,-4 3-7 0,-1 1-8 0,-4 1-1 0,2-3 14 16,-5 4-18-16,-1 0-11 0,1 0 19 0,-3 0-27 15,1 4 19-15,-3-1 18 0,2 3-21 0,-2 0 31 16,-1 1-26 0,1 4-20-16,-3 0 35 0,0 3-19 15,2 2 4-15,-1-2-10 0,-4 4-10 0,4-2 15 0,-4 2-8 0,1 2-12 16,-1-1 2-16,1 4 6 16,0 0 14-16,1-1-4 0,-1 2-98 0,0-2 13 0,-1-2 11 15,1 0 7-15,0 4-3 0,-1-4 26 16,0 0-12-16,-1-1-1 0,1 2 10 0,1-6-2 15,-1 2 11-15,-1-3-9 0,0 1 8 0,2 0-7 16,-3-2 15-16,3 0-13 0,-3-2 13 0,2-2-8 16,-2 2 3-16,0-3 10 15,1 1 0-15,-1-3-5 0,0 1 23 0,-1-1-13 0,1 0-8 16,-2 0-2-16,-1-3 15 0,0 2 3 16,1 1 18-16,-5-1-8 0,2-2-8 31,-3 1 13-31,0 2-2 0,-4-4 10 0,-1 2 7 0,-1 0-7 0,-6 0 10 0,-3 1-2 0,-3 1-9 15,-5-3 24-15,-10 6-10 0,-2-2 2 0,-1-1-10 16,6 1-2-16,-3 0-16 0,5-2-3 16,6 1 18-16,-1-3-9 0,3 2-4 0,-1 0-4 15,4-3-14-15,1 2 11 0,1-2 3 16,3 2-14-16,2-2-12 0,3 2-15 0,-1-4-19 16,1 1-17-16,4 0-44 0,1 2-20 0,0-2-3 15,2 1-46-15,1-1-36 0,-1 3-7 16,3-2-116-16,0 1-179 0,2-1-432 15,-2 3 158-15,2-3 6 16,1 2 109-16,-1-1 8 0,1 1 90 0</inkml:trace>
  <inkml:trace contextRef="#ctx0" brushRef="#br1" timeOffset="171005.74">3375 4608 104 0</inkml:trace>
  <inkml:trace contextRef="#ctx0" brushRef="#br1" timeOffset="171804.87">2750 4652 1092 0,'0'0'372'0,"0"0"-42"16,0 0 0-16,7-2-66 0,-1 1-26 0,1-1-23 0,1 2-28 15,2-2-21-15,0 2-46 0,3 0-28 16,0 0-58-16,-1-1-52 0,2 2-85 16,1-1-66-16,1 0-69 0,-4 2-125 0,6 0-384 15,-2-2 89-15,1-2 79 0,1 2 39 16</inkml:trace>
  <inkml:trace contextRef="#ctx0" brushRef="#br1" timeOffset="172002.74">3275 4632 709 0,'6'-1'319'0,"-6"1"-32"0,6 0-23 0,-6 0-31 16,9-4-31-16,-2 3-25 0,1 0-39 0,0 1-67 31,0-3-9-31,2 2-62 0,3 0-54 0,-3 0-56 0,0 0-123 0,5-2-466 16,1 3 77-16,-1 0 95 0</inkml:trace>
  <inkml:trace contextRef="#ctx0" brushRef="#br1" timeOffset="172159.02">3708 4596 947 0,'0'0'332'0,"8"-2"-35"16,-8 2-33-16,6-5-105 0,-1 5-19 0,0-1-32 15,-5 1-31-15,12-3-39 0,-7 2-40 0,3 0-62 16,0 1-59-16,0 0-85 0,2 0-455 16,0 0 13-16,0 1 72 0</inkml:trace>
  <inkml:trace contextRef="#ctx0" brushRef="#br1" timeOffset="172301.53">4129 4596 197 0,'7'0'-144'0</inkml:trace>
  <inkml:trace contextRef="#ctx0" brushRef="#br1" timeOffset="172447">4329 4596 552 0,'0'0'167'0,"7"0"-32"15,-7 0-55-15,6-2-19 0,-6 2-86 0,0 0-52 16,7-2 5-16,-7 2-76 0,0 0-392 0</inkml:trace>
  <inkml:trace contextRef="#ctx0" brushRef="#br1" timeOffset="172568.81">4654 4564 238 0</inkml:trace>
  <inkml:trace contextRef="#ctx0" brushRef="#br1" timeOffset="172712.31">4953 4546 409 0,'0'0'26'0,"7"-2"-95"0</inkml:trace>
  <inkml:trace contextRef="#ctx0" brushRef="#br1" timeOffset="172860.95">5152 4575 655 0,'0'0'194'0,"0"0"-102"0,0 0-179 0,0 0-501 15</inkml:trace>
  <inkml:trace contextRef="#ctx0" brushRef="#br1" timeOffset="173072.84">5362 4609 931 0,'0'0'282'0,"5"-1"-75"0,-5 1-76 15,8 0-57-15,-8 0-79 0,10 0-90 0,-10 0-535 16,11 0 70-16</inkml:trace>
  <inkml:trace contextRef="#ctx0" brushRef="#br1" timeOffset="173265.08">5739 4625 1131 0,'0'0'356'16,"6"-4"-34"-16,-6 4-27 0,4-1-32 0,-4 1-38 15,5-1-38-15,-5 1-48 0,3-4-55 16,-3 4-40-16,0 0-47 0,8 0-76 15,-8 0-72-15,10 0-59 0,-5 0-28 0,-5 0-469 16,15 0 39-16,-2 0 67 0</inkml:trace>
  <inkml:trace contextRef="#ctx0" brushRef="#br1" timeOffset="173425.23">5949 4609 156 0,'18'0'163'0,"-2"-1"37"0,-3 1 7 0,-1 0 34 16,-2 0 0-16,0 0 4 0,-2 0 9 16,0 0-21-16,-8 0 2 0,13 0-15 0,-8-1-15 15,0 1-13-15,-5 0-28 0,10-1-16 0,-10 1-2 16,8 0-18-16,-8 0-33 15,8 0-46-15,-8 0-47 0,0 0-58 0,5 1-98 0,-5-1-107 16,0 0-72-16,7 1-406 0,-4 2 83 0,2-2 52 16,0 2 49-16</inkml:trace>
  <inkml:trace contextRef="#ctx0" brushRef="#br1" timeOffset="173522.84">6359 4628 703 0,'6'0'310'0,"-6"0"-21"16,10 0-104-16,-10 0-27 0,5 0 6 0,-5 0-15 15,7 2-42-15,-7-2-48 0,0 0-62 16,8-2-96-16,-8 2-70 0,8 0-440 0,-8 0 2 16,8 2 92-16</inkml:trace>
  <inkml:trace contextRef="#ctx0" brushRef="#br1" timeOffset="174689.14">2901 4127 929 0,'-8'0'391'0,"8"0"-32"0,0 0-32 0,0 0-22 16,0 0-39-16,0 0-28 0,0 0-20 0,0 0-34 15,0 0-20-15,13 5-13 0,-5-5-39 0,2-1-14 16,2 1-62-16,2 0-36 0,1 0-62 16,1 0-84-16,1 0-71 0,1 0-55 0,0 0-490 15,2 0 4-15,-1 0 131 0,3 0 74 16</inkml:trace>
  <inkml:trace contextRef="#ctx0" brushRef="#br1" timeOffset="174860.25">3529 4101 785 0,'0'0'264'0,"10"-1"43"0,-4 1-23 0,1 0-7 16,1-3-60-16,2 2-27 0,-3-1-42 16,4 2-66-16,-1-4-69 0,3 4-85 15,0-2-125-15,0 1-532 0,0 1 71 0,4 0 66 16</inkml:trace>
  <inkml:trace contextRef="#ctx0" brushRef="#br1" timeOffset="175014.48">4008 4082 803 0,'0'0'200'0,"10"-3"-21"0,-4 0-46 0,2 2-66 16,2-3-52-16,0 2-61 0,3-1-49 15,-3 1-117-15,3 1-359 0</inkml:trace>
  <inkml:trace contextRef="#ctx0" brushRef="#br1" timeOffset="175145.13">4442 4039 816 0,'0'0'292'0,"7"-1"-34"0,-7 1-43 0,8-1-56 0,-2-2-64 0,1 2-64 16,-2 0-165-16,0 0-526 0,3 1 35 16</inkml:trace>
  <inkml:trace contextRef="#ctx0" brushRef="#br1" timeOffset="175299.03">4852 4032 1100 0,'8'-3'338'0,"-5"2"-74"0,-3 1-44 0,7-2-64 16,-7 2-95-16,7 0-137 0,-7 0-592 0,6 3 79 15,-3 0 36-15</inkml:trace>
  <inkml:trace contextRef="#ctx0" brushRef="#br1" timeOffset="175441.41">5288 4071 975 0,'7'0'389'0,"-7"0"-41"0,8-2-54 16,-8 2-25-16,8 0-36 15,-8 0-38-15,10-3-62 0,-10 3-115 0,8 3-139 0,-8-3-447 16,7 0-172-16,-1 2 128 0,-2-2 49 0</inkml:trace>
  <inkml:trace contextRef="#ctx0" brushRef="#br1" timeOffset="175608.78">5760 4085 1008 0,'0'0'320'0,"10"-1"-28"0,-7 0-44 0,-3 1-18 16,7-1-15-16,-7 1-30 0,7 0-47 16,-7 0-31-16,6-1-55 0,-6 1-73 15,0 0-30-15,10 1-120 0,-10-1-75 0,8 2-10 0,-3-1-77 16,5-1-64-16,0 0-40 0,3 0-134 0</inkml:trace>
  <inkml:trace contextRef="#ctx0" brushRef="#br1" timeOffset="175748.05">6093 4087 460 0,'23'-3'215'0,"-5"3"16"0,-3 0 94 0,-2 0-28 15,-2 0-16-15,-1 0 19 0,-2-1-52 16,-1 1-89-16,0-1-13 0,-7 1-21 0,13 0 6 16,-7 0-24-16,-6 0-30 0,10 0-3 15,-2 0-36-15,-8 0-40 0,7 0-83 0,-7 0-112 16,10 0-64-16,-4 0-471 0,-6 0 28 0,10 2 85 15,-2-1 40-15</inkml:trace>
  <inkml:trace contextRef="#ctx0" brushRef="#br1" timeOffset="175870.21">6621 4085 657 0,'0'0'213'0,"7"-1"-19"0,-7 1-63 0,6-1-85 0,-6 1-115 16,8-1-535-16,-8 1 69 0</inkml:trace>
  <inkml:trace contextRef="#ctx0" brushRef="#br1" timeOffset="176832.7">3324 4109 1177 0,'0'0'402'0,"0"0"-44"0,0 0-33 0,-8 4-25 0,8-4-119 16,0 0-1-16,0 0-50 15,3 5-7 1,-3-5-23-16,0 0-46 0,7 5-36 0,-4-3-88 0,2-1-101 0,0 1-98 0,-2 1-38 16,7-2-394-16,0 1 22 0,3 2 80 15,3-3 82-15</inkml:trace>
  <inkml:trace contextRef="#ctx0" brushRef="#br1" timeOffset="177239.53">4170 4075 1082 0,'0'0'374'0,"0"0"-28"0,7-4-29 15,-7 4-23-15,8-2-35 0,-2 2-42 0,-1-3-25 16,3 3-33-16,-1-1-67 0,1 0-79 16,-1 1-118-16,1 0-89 0,2 1-85 0,0 0-461 15,-1-1 54-15,3 0 79 0,-2 0 59 0</inkml:trace>
  <inkml:trace contextRef="#ctx0" brushRef="#br1" timeOffset="177608.87">4716 4069 1151 0,'0'0'320'0,"6"-3"-33"0,-2 3-54 16,-4 0-59-16,10-3-118 0,-4 4-102 0,1-6-105 16,1 5-540-16,2 1 87 15,0-1 79-15</inkml:trace>
  <inkml:trace contextRef="#ctx0" brushRef="#br1" timeOffset="178001.89">5145 4062 716 0,'0'0'297'0,"0"0"-51"0,0 0-13 0,0 0-26 0,0 0-33 16,25 0-61-16,-18 0-70 0,3 1-81 0,-1-1-95 15,3 1-44-15,1 1-450 0,-2-2 23 16</inkml:trace>
  <inkml:trace contextRef="#ctx0" brushRef="#br1" timeOffset="178234.83">5657 4090 819 0,'0'0'171'16,"0"0"-115"-16,15-8-127 0,-10 8-528 0</inkml:trace>
  <inkml:trace contextRef="#ctx0" brushRef="#br1" timeOffset="178500.79">6275 4090 1082 0,'8'0'287'16,"-4"-2"-62"-16,-4 2-99 0,11-1-108 0,-3 1-90 15,-1 0-20-15,2-2-535 0,3 2 43 16</inkml:trace>
  <inkml:trace contextRef="#ctx0" brushRef="#br1" timeOffset="178675.98">6762 4097 1075 0,'8'-1'386'0,"-8"1"-43"0,7-1-51 16,-1 0-49-16,-2 0-54 0,-4 1-78 0,9-3-122 15,-2 3-153-15,-7 0-562 0,8 0 68 16,-8 0 89-16</inkml:trace>
  <inkml:trace contextRef="#ctx0" brushRef="#br1" timeOffset="178809.31">7018 4104 737 0,'8'-1'261'0,"-8"1"-31"0,0 0-69 0,8 0-107 15,-8 0-159-15,5-3-522 0,-5 3 43 16</inkml:trace>
  <inkml:trace contextRef="#ctx0" brushRef="#br1" timeOffset="179736.55">6506 4645 857 0,'5'-1'200'0,"0"0"-139"0,1-2-130 0,0 2-486 15</inkml:trace>
  <inkml:trace contextRef="#ctx0" brushRef="#br1" timeOffset="179882.07">6808 4615 842 0,'0'0'248'0,"6"-3"-123"0,-2 0-186 0,-4 3-548 16,6-1 102-16</inkml:trace>
  <inkml:trace contextRef="#ctx0" brushRef="#br1" timeOffset="180004.92">7083 4596 780 0,'4'-2'315'0,"-4"2"-120"0,6-2-39 0,-6 2-77 15,5-1-117-15,0-2-88 0,-5 3-483 16,5 0 15-16</inkml:trace>
  <inkml:trace contextRef="#ctx0" brushRef="#br1" timeOffset="180142.66">7285 4615 1008 0,'8'0'387'0,"-8"0"-50"0,10 0 12 0,-5 0-152 16,-5 0-18-16,8 0-18 0,-8 0-43 0,5-2-54 15,-5 2-100-15,7-1-164 0,-7 1-227 0,0 0-267 0,0 0 31 16,0 0 62-16</inkml:trace>
  <inkml:trace contextRef="#ctx0" brushRef="#br1" timeOffset="180797.89">3142 4633 1156 0,'0'0'264'0,"0"0"-18"0,0 0-16 16,0 0-20-16,0 0-41 0,0 0-31 15,0 0-43-15,18 6-11 0,-13-4-30 16,5 1-51-16,0-2-72 0,6 1-93 16,-1 0-40-16,8-1-471 0,0 1 25 0,6 2 65 0</inkml:trace>
  <inkml:trace contextRef="#ctx0" brushRef="#br1" timeOffset="181000.96">4170 4608 1231 0,'0'0'307'16,"7"-1"-26"-16,-7 1-22 0,3-1-34 15,2-3-12-15,-5 4-52 0,8 0-43 0,-8 0-24 16,10 0-40-16,-10 0-85 0,13 2-127 0,-3-2-142 15,0 2-406-15,1-1 25 0,2-1 67 16</inkml:trace>
  <inkml:trace contextRef="#ctx0" brushRef="#br1" timeOffset="181158.52">4598 4625 1090 0,'0'0'392'0,"6"0"-126"16,-6 0-21-16,7-3-4 0,-7 3-31 0,5-1-26 0,-5 1-33 15,5-1-28 1,-5 1-56-16,5-1-44 0,-5 1-69 0,0 0-113 0,8-4-107 16,-8 4-428-16,0 0 13 0,8 5 77 0,-4-4 69 15</inkml:trace>
  <inkml:trace contextRef="#ctx0" brushRef="#br1" timeOffset="181316.31">4965 4608 1044 0,'15'-1'256'0,"-2"1"-3"16,-3-1-33-16,-2-1-5 0,-3 0-10 0,1 2-38 15,-6 0 4-15,10 0-35 0,-10 0-29 0,0 0-27 16,10 0-45-16,-10 0-86 0,4 2-79 16,-4-2-44-16,0 0-80 0,7 3-442 15,-7-3 5-15,4 2 107 0</inkml:trace>
  <inkml:trace contextRef="#ctx0" brushRef="#br1" timeOffset="181437.19">5272 4620 765 0,'11'-1'307'0,"-3"2"-13"0,-1-1-25 0,-1-1-10 0,-6 1-42 15,7 0-2-15,-7 0-23 0,10 0-43 16,-10 0-32-16,5 0-58 0,-5 0-120 0,0 0-105 0,10 1-582 16,-10-1 182-16,8 1-48 15,-3 0 82-1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1T16:18:55.392"/>
    </inkml:context>
    <inkml:brush xml:id="br0">
      <inkml:brushProperty name="width" value="0.05292" units="cm"/>
      <inkml:brushProperty name="height" value="0.05292" units="cm"/>
      <inkml:brushProperty name="color" value="#0070C0"/>
    </inkml:brush>
  </inkml:definitions>
  <inkml:trace contextRef="#ctx0" brushRef="#br0">4957 2485 903 0,'0'0'317'0,"-11"10"-12"0,9-2-28 16,-3 4-24-16,-2 5-10 0,-1 3-25 0,-5 11-16 16,3 2-31-16,-4 2-14 0,2 2-22 0,0-2-9 15,1 1-9-15,-4 2-17 0,4-1-13 0,-2 0-2 16,1-2-14-16,-2-2-14 15,2-1 7-15,4-7-28 0,1-2-52 0,-4-2-27 0,6-5 4 16,-2 0-50-16,2 0-39 0,2-4-72 16,-2-3-56-16,3 1-26 15,-1-4-306-15,2 0-134 0,1-4 64 0,0-2 82 0</inkml:trace>
  <inkml:trace contextRef="#ctx0" brushRef="#br0" timeOffset="308.39">4791 2597 947 0,'2'-3'317'0,"-2"3"-15"15,0-5 90-15,0 5-24 0,10-1-30 16,-10 1-82-16,15 2 10 0,-7 2-2 0,5-1-103 15,1 1-25-15,0 4-3 0,4-1-28 0,-2 3-18 16,1 2 67-16,-1 0 2 0,-1 0-39 0,1 2 4 16,-1-1-16-16,0-1-39 0,-4 1 3 15,-1-2-25-15,3 1-42 0,-6-2-50 0,2 1-47 16,0-3-18-16,0 2-68 0,-2-3-68 0,1 1-137 16,1-2-139-16,-1-2-322 0,0 0 89 15,-3-1 98-15,5-1 51 0</inkml:trace>
  <inkml:trace contextRef="#ctx0" brushRef="#br0" timeOffset="530.23">5408 2603 941 0,'-12'0'349'0,"4"1"-6"0,-3 2 35 0,-1 3-42 0,-1 0-88 16,-5 3-64-16,-2 1 11 0,-1 2-24 15,1 1-27-15,-8 5 4 0,4 2-10 16,1-2 1-16,5-4-24 0,0 0-13 0,0 2-20 0,3-1-15 16,-1 1-44-16,4-5-44 15,-1 1-30 1,2-1-28-16,4-1-21 0,0-3-31 0,4 0-107 0,-3-2 69 0,5 1-25 0,1-4-72 16,0-2 4-16,4 1-155 0,-4-1-225 0,10-3 12 15,-2-3 44-15</inkml:trace>
  <inkml:trace contextRef="#ctx0" brushRef="#br0" timeOffset="777.37">5263 2633 655 0,'7'-20'228'0,"0"4"86"0,-1 3-9 16,-1-1-29-16,0 4-7 0,0 0 10 0,0 4-115 15,-4-2-18-15,1 3 5 16,3 0 20-16,-3 5-12 0,-2 0-13 0,0 0 77 16,5 8-13-16,-2 0 15 0,-3 3-36 0,1 5-33 15,1-1-92-15,-2 4 0 0,-2 4-10 0,1 3 15 0,-2 0-20 16,1 0-11-16,-1 3 1 0,1-1-14 15,-5 9 24-15,1-1 7 0,-1-1-7 16,1-7-21-16,1-4-56 0,0 0-8 0,0-4-41 16,2-2-20-16,1 0-21 15,-1-3-38-15,3-2-51 0,0-2-59 0,0 0-77 0,0-1-90 16,3-3-345-16,2-3 46 0,0 1 71 0,0-1 27 16</inkml:trace>
  <inkml:trace contextRef="#ctx0" brushRef="#br0" timeOffset="1490.35">5677 2863 780 0,'-2'-3'302'0,"2"3"-18"0,-5-3-46 0,5 3-15 0,-8-1-23 0,8 1 5 0,-8 1-24 0,8-1-9 0,-12 5-1 15,6-4-25-15,-1 2-2 0,0 1-14 16,-1 1-7-16,0 2 5 0,0 1-8 0,-2-1-23 16,0 2-17-16,2-1 4 0,0 3 3 15,0-3-15-15,0 3-90 0,1-2 8 0,2 0 2 16,0-2 3-16,0 0 18 0,3 1-28 0,-2-1 12 15,4-2 0-15,-2 0-12 0,2 0 10 0,2-1 31 16,1-1-14-16,-3-3-22 0,5 2 15 16,1-2-20-16,-6 0 20 0,12-5 5 15,-7 1-23-15,3 0 24 0,0-4 9 0,2 2-7 16,-2-3 10-16,0 0 0 16,2 1 79-16,-5-2-27 0,3 2 47 0,0-3-32 0,-4 5-21 15,2-1 11-15,-2 1-88 0,-1 1 8 0,2 2 18 0,-3 0 2 16,-2 3 6-16,0 0-21 15,0 0 5-15,11 10 16 0,-11-5-8 0,3-1-8 16,-1 5 10-16,-2 0-20 0,1-1-18 16,1 2-22-16,0-1-19 0,1-1-21 0,-3 0-22 0,3 0-16 15,1-2-17-15,-1 0-6 16,2-3 8-16,1-1-8 0,-1 0 5 0,-5-2 3 0,15-4 38 16,-4-1 13-16,-1-1 18 0,2-1 16 0,-1-3 17 15,1-3 34-15,1 2 12 0,-2-3 57 16,-1-4-3-16,0 0 18 0,0-4 38 15,-5 0-25-15,3 0 10 0,-3-4-7 0,0 3 22 16,-2 3-20-16,2 4-3 0,-3 0 39 16,-1 2 51-16,1 2-18 0,-2 3-33 0,3 1-39 0,-3 3 31 15,0 4-48-15,0 1-13 0,0 0 32 0,2 12-11 16,-2-2-24-16,-2 2-10 0,2 3 5 16,-3 1-16-16,3 2-27 0,0 2 25 15,0-1-13-15,3 3-43 16,-3-2-11-16,2 0-4 0,1 0-65 0,-1-1-12 0,1-2-36 0,4 1-29 15,-4-5-45-15,0 0-29 0,1-1-79 0,0 0-31 16,-2-5-81-16,1 2-405 16,2-2 82-16,-3-1 46 0,-1-2 79 0,0 1 41 0</inkml:trace>
  <inkml:trace contextRef="#ctx0" brushRef="#br0" timeOffset="2245.92">5777 2960 952 0,'0'0'343'0,"0"0"-26"0,8-6-10 0,-2 3-56 15,4 0-18-15,0 0-18 0,5-2-13 16,3 0-20-16,5-1-3 0,3-1-38 0,-1 1-26 0,3-2-10 16,9-3-23-16,-6 4 0 0,-6 1 20 15,1 0-38-15,-4-1-5 16,-1 1 0-16,-3 3 2 0,-5-2-7 0,2 2 8 0,-6 1 2 15,0 0 2-15,-1-1 3 0,-5 3-10 0,-3 0 0 16,0 0 13-16,0 0-11 0,0 0 77 16,0 0-17-16,0 0 25 0,-13 13-52 15,10-10 24-15,-4 3-31 16,1-2 49-16,-1 2 2 0,2 2-36 0,-1-1-12 0,2-1 0 0,-2 2-29 16,4 2 6-16,-1-3 20 0,0 1-31 0,1 0-13 15,4 1 9-15,-2-2-27 16,4-1-17-16,0 0 7 0,2 0-15 0,1 0-25 0,0-1 27 15,1-2-20-15,0 2 26 0,0-3-23 32,2-1 17-32,1 2-4 0,-1-3 22 0,0 0-33 0,0-3-7 0,-2 2 15 0,2-1-6 0,0-1-9 15,0 0 38-15,1-3-36 0,-1 2 26 16,1-2-13-16,1-1-8 0,-4-1 15 0,2 1 6 16,-3-2 0-16,1 1 7 0,-2 0-79 15,-1-1 26 1,2 1 17-16,-4-1-4 0,3-2 14 0,-2 1-14 0,-1 1 20 0,2-3 2 0,-3 0 87 15,-2 1-20-15,3 0-56 16,-3 1 10-16,3 0 46 0,-3 2-43 0,2-1 14 0,-2 1 22 0,0 2-62 16,2-2 104-16,-1 3-29 0,-1 0-27 15,3-1-12 1,-3 3-1-16,0 3-19 0,0-6 17 0,0 6-13 0,0 0 18 0,0 0-40 0,0 0 53 16,0 0 0-16,0 14-10 15,0-8 41-15,0 1-8 0,-3 2-36 0,2-2-10 16,-1 1 10-16,0 2 18 0,-1-2-38 0,3 1 15 15,-3 0 1-15,1 3 6 0,-1-4-27 0,1 0-5 16,-1 2-3-16,1-2 18 0,0 2-6 16,1-4-17-16,1 0 21 0,-3 0-32 0,3 0 24 15,0-1 2-15,0-2-7 0,0 2 15 16,3-2-3 0,0 2-7-16,-1-3 7 0,3 1 11 0,3 0-11 0,-1 0-18 0,1 0 16 0,1 1 8 0,1-1 4 15,2 0-35 1,1 0 13-16,-3 0 7 0,0-1-10 0,1 1-8 0,-1 0-17 0,-3-1-19 15,2 0-46-15,-2 0-61 0,-2-1-12 16,0 2-42-16,0-2-41 0,-2 2-43 0,-3 0-41 16,0-3-29-16,-5 7-191 0,5-3-433 15,0-2 77-15,0-2 72 16,-2 7 109-16,2-7 60 0,2 4 91 0</inkml:trace>
  <inkml:trace contextRef="#ctx0" brushRef="#br0" timeOffset="3411.01">7196 2558 990 0,'0'0'402'0,"0"0"38"16,-8 11-10-16,7-4-46 0,-1 7-95 16,-3 4-22-16,2 6-24 0,-2 2-33 0,-3 10-18 31,1 2-8-31,2 1-33 0,-3 2-3 0,0 0-25 0,0 1-10 0,1-2-21 0,4 0-33 15,-2-5-8-15,-2-5-38 0,6-6-23 0,-1-3-31 16,2-1-36-16,0-5-20 0,0-1-31 16,0-1 0-16,2 2-21 0,-2-6 16 15,3 0-25 1,2-2 6-16,-4 0 12 0,3-4-16 0,-1 0 10 0,0 0-3 0,-3-3 34 0,5 0-13 16,-5 0 28-16,0 0 5 0,10-7 32 0,-10 1 24 15,3 0 88-15,-3-2-8 0,0-2 10 16,0 0 33-16,0-3 26 0,0-5 11 0,-3 0-14 15,6-5 11-15,-3 0 7 16,2-4-2-16,0-1 10 0,-2 1 0 0,6-8 6 0,-1 5-24 16,1 8-8-16,1 0 11 0,0 5-18 15,1 2-13-15,2-1 23 0,1 4-8 0,-1 4-2 0,0 1 10 16,3 3-10-16,-3 2 10 0,0 1 11 16,3 2-22-16,-2 1 14 0,-1 2-39 15,0 1 0-15,-2 2 16 0,-1-2 5 0,-4 2-16 16,0 0 31-16,-1 1-23 0,-4 2-13 0,-1-1-12 15,-2 1 2-15,0-2 5 16,-5 3-33-16,2-3 7 0,-2 1 1 0,-1-2-16 0,1 0-33 16,2-2-10-16,-2-1-14 0,2 0-6 15,0-2-42-15,1 1-13 0,2-3-40 0,5 0-1 0,-10-2 6 16,10 2-37-16,-3-7 1 0,5 4 18 16,1-3 2-16,2 0 16 0,3-1 2 0,0 2 13 15,5 0 23-15,-1-1-8 0,-2 1 28 16,3 1 3-16,-2 2 11 0,2 0 30 0,-1 2 12 0,-1 0-1 15,1 0 50-15,1 4-25 16,0-2 17-16,-3 1 22 0,1 1 6 0,-1 2 22 16,-2-1-8-16,-1 0-3 0,1 1-23 0,-3 1 20 15,-2-2 19-15,1 2-24 0,0-1 13 0,-2-2 24 16,0 1-16 0,1 0 12-16,-3 0 29 0,0-2-13 0,3 1 0 0,-1-2-5 0,-2-2 18 15,2 4-46-15,-2-4 25 0,0 0-40 0,0 0-9 16,0 0 19-16,0 0-28 0,8-10 7 15,-5 4-26-15,-1-1-7 0,3-2-36 0,1-1 8 16,-1 0-46-16,0-1-13 0,2 3-26 16,1 0-12-16,0-1-34 15,0 3-28-15,-1 1-3 0,1 3-22 0,2 0-52 0,-2 2 11 16,-3 0-67-16,3 3-100 0,-1 0 79 0,1 1-345 16,-3 1-161-16,3 0 81 0,-3 0 60 0,1 0 86 15</inkml:trace>
  <inkml:trace contextRef="#ctx0" brushRef="#br0" timeOffset="4091.37">7657 2946 542 0,'0'0'254'0,"0"0"66"0,10-2 5 0,-10 2-28 0,8-5-75 0,-6 1-2 16,1 0-20-16,0 0-13 0,-1-2 15 0,0-1 77 0,-2 0-46 15,3 0 3-15,-3 1-6 0,0-1-48 0,0 2 28 16,0-1-11-16,0 1-17 0,0 0-11 16,-2 2-32-16,2 3-1 0,-1-3-8 0,1 3-12 15,0 0-15-15,0 0 1 0,-12 10-9 16,10-5-18-16,1 2-28 0,-4-1-14 0,3 3-17 15,-1 0 3-15,3-1-44 0,-3 0-16 16,3 1-4-16,3-2-21 0,0 0-21 16,2 0-17-1,0-1-18-15,0-2-18 0,5-1-8 0,1-3-49 0,-1 4-51 0,3-4 1 0,2 0-55 16,0-4-56-16,1 1-89 0,-1-1-277 0,1 0 41 16,1 0 57-16,1-1 276 0,-2-2 253 15,2-3 8-15,-5 0 130 0,2 0 60 0,3-4 48 16,-3-1 51-16,-4 1 23 0,1-4 0 0,-1-1-53 15,-1-2 15-15,-2-1 94 0,-3 3-27 16,0 0-8-16,-1 2 15 0,-3 0-16 0,2 1 57 16,-3 3-61-16,0 1-16 15,0 2-76 1,-4 1-24-16,2 1 6 0,-3 4-24 0,0 3-7 0,0 0 51 0,5 1 23 0,-21 7-13 0,11 1-94 16,0 2 5-16,-3 2-29 0,0 3-10 15,1 4 8-15,-2-2 18 0,4 2-46 0,0 1 18 16,0-3-16-16,2 0-28 0,3-2-25 0,3-1 2 15,-1-1-13-15,3-2 8 32,0-1 31-32,5 0-26 0,0-1 8 0,0-3 5 0,3 0 3 0,0-3 15 0,2 0-8 0,0-3 0 15,3-1-5-15,0-1-5 0,-1-3 10 0,2 0 16 16,1-3-6-16,0 0 39 0,-4-3-10 16,1 1 20-16,-1-1-13 0,-1 1 23 0,-2 1 1 15,0 1-1 1,-1 1 11-16,-2 0-19 0,0 3-2 0,0 0 13 0,-2 2-5 0,-3 2-8 0,0 0 28 15,0 0-12 1,8 9-11-16,-8-3 5 0,0 1 8 0,2 2-5 0,-4 0 0 0,2 2-13 16,-1 0 13-16,1-1-16 0,0 0 3 15,0 2 11-15,0-4-21 0,0 2-11 0,-2-1-7 16,4 0-8-16,-2-2-28 0,0-1-28 16,0 1 8-16,0-1-36 0,1-2-3 0,-1 1-23 15,2 0-15-15,-2-1-13 0,0-1-31 0,0-3-12 0,3 5-21 16,-3-5-36 15,0 2-43-31,0-2-67 0,0 0-23 0,7-1-558 0,-4 2 87 0,-3-1 115 0,0 0 21 0,0 0 110 0</inkml:trace>
  <inkml:trace contextRef="#ctx0" brushRef="#br0" timeOffset="4524.46">8083 2865 1402 0,'0'-9'428'0,"0"-5"12"0,0 0-25 0,-3-2-8 0,3-5-57 16,0-6-40-16,0 0-3 0,0-3-38 15,0-12-34-15,3 2-20 0,-1-1-15 0,1-2-31 16,2 2-15-16,-3-1-21 0,1 3-8 0,2 1-15 15,-3 5 0-15,-1 10-10 0,1 1-18 16,1 4-26-16,-3 4 1 0,0 1-65 16,2 2-7-16,-2 5-8 15,0 2 0-15,0 1-13 0,0 3-44 0,0 0-37 0,0 0-42 0,-8 16-82 16,8-6-161-16,-4 2-593 0,0 5 76 16,2 3 120-16,-3-1 88 0,3 3 55 0,1-1 32 15</inkml:trace>
  <inkml:trace contextRef="#ctx0" brushRef="#br0" timeOffset="4780.55">8239 2619 1359 0,'3'8'379'0,"-3"0"17"0,0 1-73 0,2 1 58 0,-2 5-51 0,-2-2-15 0,2 1-26 0,0 0-22 15,-3 1-42-15,0 0-77 0,1 3-25 16,-1-4-56-16,-2 3-77 0,0-1-54 0,2-2-82 16,-1-2-159-16,3-1-194 0,-4-2-356 15,3 0 95-15,1-3 51 0,1 0 41 0</inkml:trace>
  <inkml:trace contextRef="#ctx0" brushRef="#br0" timeOffset="4906.2">8201 2592 780 0,'-4'-2'238'0,"4"2"-66"15,-7-3-72-15,7 3-111 0,0 0-544 0,0 0-31 16</inkml:trace>
  <inkml:trace contextRef="#ctx0" brushRef="#br0" timeOffset="5309.65">8321 2629 1118 0,'0'10'335'0,"0"1"-22"0,2-1-24 0,-2 1-43 0,1 2-6 0,1 0-32 0,0 1-9 0,1-2-22 0,0 0-44 0,2 0-41 15,0-2-10-15,3 0-18 0,-1 0-23 0,-1-2 0 16,4-2-21-16,2 0-9 0,-4-2-11 0,2-2 18 15,1 0-16-15,-1-2 26 16,3-2-28-16,0-1 0 0,-3-2 26 0,5-2 5 0,-2-3-6 16,-2 1 34-16,1-4 0 0,-2-1-3 0,-1-1 11 15,-2 1 30-15,0-5 18 0,-1 1-25 16,-2 0 38-16,-1-2 10 0,0 2 5 16,-1 4-22-16,-1 0 2 0,1 4-13 0,1-1-3 0,-3 3-17 15,0 3-6-15,0 3 3 0,0 2-7 16,0 0-14-1,0 0-4-15,-6 14 73 0,6-2-14 0,-2 0-17 0,-3 5 22 0,4 3-39 16,-1 0-8-16,0 1-33 0,2 4 3 0,-3 3-31 16,0-3-67-16,1 0-22 0,2-5-24 15,-2 0-59-15,-1-1-12 0,2 0 25 0,-1-6-30 16,0 1-1-16,0-2 11 0,1-1-62 0,1-3-79 16,0 0-166-16,-3-2-413 0,3-3 90 0,-2 2 31 15,2-1 54-15,0-4 78 0</inkml:trace>
  <inkml:trace contextRef="#ctx0" brushRef="#br0" timeOffset="5666.92">8483 2805 1133 0,'7'-4'430'0,"0"-1"-15"0,1 0 28 15,3 0-41-15,1 0-44 0,2 0-2 16,0 1-33-16,3-1-24 0,0 1-66 0,4-2-13 16,-4 0-28-16,1 2-51 0,0-1-29 15,-2 0-53-15,1 0-5 0,-3 0-44 0,1 3-35 16,-5-2-16 0,0 3-10-16,0 0-6 0,-2-2 9 0,1 0 2 0,-2 3-8 0,0 0 10 0,-7 0 14 15,10-2 9 1,-10 2 29-16,9 2-13 0,-4 1 10 0,-3 0 36 0,-1 0 23 0,1 2 5 15,0 1-10-15,-2 0 5 0,0 2 18 16,3 1-3-16,-3-1-5 0,0 0-33 0,0 2 15 16,0 2-4-16,0-3-24 0,-3 0 26 15,3 1-29-15,0-1-17 0,0-1-16 0,0 0-33 16,-2 1-54-16,2-2-17 0,0-1-83 0,-3 0-104 16,-2 1-193-16,5-4-434 0,0 2 58 0,0-5 172 15,0 4 2-15,0-4 52 16</inkml:trace>
  <inkml:trace contextRef="#ctx0" brushRef="#br0" timeOffset="5827.61">8832 2651 1297 0,'-4'-3'410'0,"4"3"-47"0,-2-4-45 16,2 4-39-16,-3-3-46 15,3 3-54-15,0 0-54 0,0 0-63 0,0 0-70 16,0 0-94-1,0 0-119-15,-2 10-175 0,2-10-370 0,5 6 109 0,-3-4 42 0</inkml:trace>
  <inkml:trace contextRef="#ctx0" brushRef="#br0" timeOffset="6290.55">8931 2766 657 0,'0'6'295'0,"0"3"-6"0,0 0-2 0,1 1-8 0,1-1 38 0,-2 1-12 0,2-1 2 0,-2 1-41 15,2-1-15-15,-1 0 0 16,4 0-31-16,-3-1-28 0,1-1-18 0,0 0-28 0,1 0-64 15,-1-4 15-15,2 1 16 16,0-2 2-16,1 1-51 0,2-3 110 0,-8 0-36 16,14-3-41-16,-8-1 36 0,2 0 8 15,-1-3-46-15,-1 2-8 0,-2-3 38 0,-1-1-32 0,0 0-9 16,-3-3-94-16,0 3 23 0,0-2-8 0,-2 1-21 0,-2 0 21 16,2 1-7-16,-1 2 2 15,1-1 23-15,-1 2-26 0,1 0-9 0,-1 0 32 16,1 2-25-16,-1-1-3 0,1 4-12 0,2 1 30 15,0 0-25-15,0 0 25 0,0 0-2 16,0 0 12-16,-5 8-10 0,5-8 3 16,2 8-28-16,-2-2 20 0,2 0 18 0,-1 1-10 0,1-1 5 15,1 1 12-15,-1 0-22 0,1 0 20 16,2 0 18-16,-2-1-18 0,1 0 1 0,-1 1-4 16,0-1 16-16,-1 0-8 0,4 1 8 0,-4-2 5 15,1 1 95-15,-1-2-10 0,1 3 12 16,1-4-2-16,-1 2-26 0,0 1-13 0,-1-2 3 15,1-1-33-15,-1 2 10 0,1 0 2 16,-2-2 9-16,1 0-24 16,3-1-31-16,-5 2-28 0,0-4-23 0,7 3-27 0,-4-2-63 0,-3-1-43 15,5 2-38-15,-5-2-39 0,10 0-35 16,-10 0-39-16,11 0-44 0,-4 0-94 0,2-2 15 16,3 1-427-16,1 0-77 0,5 0 105 0,0 0 61 15,3-2 37-15,1 1 104 0</inkml:trace>
  <inkml:trace contextRef="#ctx0" brushRef="#br0" timeOffset="6639.45">10365 2815 1233 0,'0'0'361'0,"10"2"-49"0,-3-4-33 0,-7 2-17 16,13 4-32-16,-3-4-46 0,0 0-66 0,1 2-11 16,-1-1-43-16,3-1-115 0,-3 1-110 15,-2 2-159-15,5-1-463 0,-6 1 120 16,1-1 13-16</inkml:trace>
  <inkml:trace contextRef="#ctx0" brushRef="#br0" timeOffset="6842.46">10318 2903 842 0,'-3'3'371'0,"3"-3"46"0,0 0-13 0,0 0-48 0,3 7-41 0,-3-7-15 16,10 0-134-16,-4 0-10 0,4 0-25 16,0 0-52-16,1-2-48 0,4 0-24 0,-2 0-27 15,2-1-49-15,0 0-105 0,-2 1-172 16,0-2-468-1,0-1 131-15,-1 2 40 0,-3-1 60 0</inkml:trace>
  <inkml:trace contextRef="#ctx0" brushRef="#br0" timeOffset="7059.46">10542 2753 1046 0,'12'3'436'0,"-9"-2"-24"0,4 5 71 16,1-3 9-16,2 3-44 15,-2 3-41-15,5-1-10 0,-3 3-47 0,0-1-107 16,1 1 11-16,-3-1-67 0,-1 0 15 0,-4 2-25 16,-1 0-26-16,-2-1-16 0,-2 3-32 0,-4 0-47 15,-4 1-66-15,-3 3-65 0,-3-2-55 0,-6 6-62 16,-6-2-108-16,2 1-181 0,2-2-486 0,-3 0 76 16,3-4 85-16,4-3 91 0,-1-3 93 0,1-1 128 15</inkml:trace>
  <inkml:trace contextRef="#ctx0" brushRef="#br0" timeOffset="7777.98">12325 2357 1080 0,'0'6'384'0,"0"3"-26"0,-2 2-23 0,4 0-28 0,-4 5-45 0,4-1-14 0,-4 4-48 0,0 1-19 16,-1 1-25-16,3 1-53 15,-3 2-49-15,1-2-65 0,2 3-140 0,-3-9-153 0,3 6-490 16,-2-2 39-16,1-1 130 0,1-4 65 0</inkml:trace>
  <inkml:trace contextRef="#ctx0" brushRef="#br0" timeOffset="8109.35">12275 2406 1348 0,'4'-15'343'0,"2"5"-7"16,1 0-52-16,1 2-13 0,-1 0-17 0,4 3-39 15,2-1-5-15,2 1-16 0,-2 1 16 0,5 1-39 16,-2 2-7-16,1 3-33 16,1 0-19-16,0 3 16 0,-2 1 3 0,-4 0-13 0,-1 1-39 15,-3 3 16-15,-1-1-13 0,-4 4-6 16,-1-3-1-16,-4 2-6 0,-1 0-18 0,0 1 13 16,-4 2-26-16,-1-4 1 0,1 1-37 15,1 0-14-15,-1-4-19 0,-3 1-23 0,2-1-33 16,0 0-33-16,-2-1 5 0,5-1-39 0,-3-1-46 15,2 0-97-15,2-2-133 0,1 1-140 16,-2-2-237-16,3 1 34 0,2-3 121 0,0 0 53 16</inkml:trace>
  <inkml:trace contextRef="#ctx0" brushRef="#br0" timeOffset="8382.2">12618 2478 952 0,'5'5'268'0,"0"1"-22"0,-2 1-15 16,0 1-39-16,1 0-6 0,-1 1-27 16,-3 2-13-16,3-1 5 0,-3 0 61 0,-3 1-37 15,3 1-22-15,-3-3-15 0,3 1-30 0,-2-1 10 16,0-1-6-16,2-3 3 0,0 1-22 16,-1 0-1-16,-1-2 31 0,2-4-62 0,0 3-33 15,0-3 8-15,0 0-10 0,0 0 9 16,0 0-1-16,3-13-9 0,-1 7-2 0,3-3 26 15,2-1-39-15,1 0-5 0,-2 0-2 16,4-2 7-16,0 0-30 0,1 1 4 0,1 1-32 16,0 1-14-16,-1 3-12 0,-1 1-46 0,4 0-31 15,-2 2-98-15,-2 1-81 0,1 1-484 16,-1 1 92-16,0 2 34 0,0 0 61 0</inkml:trace>
  <inkml:trace contextRef="#ctx0" brushRef="#br0" timeOffset="8732.62">12954 2554 1003 0,'-2'-3'353'0,"2"3"-28"0,0 0-33 16,-11 0-10-16,11 0-16 0,-8 5-13 16,1-1-30-16,2 1 0 0,1 0-21 31,0 2-79-31,-2 0-13 0,2 1-23 0,1 1-10 0,0-2 4 0,1 2-9 0,0 0-5 0,2-2 7 16,0 1-5-16,0-1-20 0,2 2 15 15,0-4-36-15,1 2 18 0,2-1-8 0,0 0-17 0,0-3 2 16,3 2-10-16,-3-3-36 0,3 1-13 15,0-3-41-15,0 0-23 0,2 0-28 16,0-3-59-16,0 1-58 0,1-1-145 0,1-1-388 16,1 0 23-16,0-1 90 0,0 1 76 0</inkml:trace>
  <inkml:trace contextRef="#ctx0" brushRef="#br0" timeOffset="9602.9">13290 2416 1154 0,'3'9'433'0,"-3"-4"-60"0,0 2-20 0,0 2-35 0,-3 1-11 15,3 0-36-15,-3 3-53 0,3 2-1 0,-2 0-1 16,-1 2-117-16,0-2 14 0,1 0-41 0,0 4-1 16,1-6-14-16,1 0-1 0,-2 2-7 15,2-4-14-15,0 0-9 0,0-3-21 0,2 3-5 16,-1-4 3-16,1 0-6 0,-2-2 18 0,2 0-20 16,1-2 26-16,-3 1 4 0,0-4-17 15,5 1 10-15,-5-1 3 0,0 0-11 0,0 0-3 16,6-7 16-16,-6 3-7 0,0-1-11 0,0 1-3 15,-1-3-7-15,-1 2 18 0,-1-2 8 16,1 2-11-16,-1 0-18 0,-2 0 3 0,2 1-8 16,-2 1 3-16,2 1 13 0,-4 1-14 0,7 1 11 15,-13-3 3-15,8 6 7 0,-3-2 18 16,-2 2-30-16,2 1-6 0,0 1 8 16,-2 1-2-16,3 0-29 0,-1 2 26 0,0-1-11 15,0 0-14-15,4 0-16 0,1-2-26 0,-2 2 13 16,3-2 44-16,2-1-31 0,0-1 15 15,0-3 10-15,4 5-4 0,-1-3 17 16,4-2-38-16,-7 0 13 0,16-4 25 0,-6 2-18 0,-2 1 34 16,2-2-18-16,3-1 33 0,-2 2-8 15,-1-1 24-15,-2 1-9 0,2 1 9 16,-5 1 30-16,3-2-3 0,-1 4-25 0,1-1 16 16,-1 1-27-16,-1 1 1 0,-2-1 8 15,4 2-9-15,-5 0-2 0,4 2 3 16,-4-3-18-16,2 3-28 0,-2-2-14 0,-1 0-42 0,1 1-29 15,0 0-64-15,-1-2-41 0,0-1-189 0,1 1-458 16,-2 0 48-16,-1-3 126 0,2 3 12 16,-2-3 80-16</inkml:trace>
  <inkml:trace contextRef="#ctx0" brushRef="#br0" timeOffset="9756.7">13421 2560 913 0,'0'-4'341'0,"-3"1"-60"0,3 3-58 16,0-7-41-16,0 7-82 0,0-4-100 0,0 4-116 16,0 0-68-16,3-3-481 15,-3 3 37-15</inkml:trace>
  <inkml:trace contextRef="#ctx0" brushRef="#br0" timeOffset="10126.52">13548 2542 1139 0,'-2'5'401'0,"0"1"-1"0,-1-2-60 0,3 2-112 0,-3 1-13 0,1 2-8 0,0-1-15 0,2 0 3 0,0 0-39 15,0 2-23-15,2-4 57 16,-2 3-16-16,2 2-18 0,1-4-23 0,0 0-21 0,1-1-9 16,2 0-37-16,-1-1 1 0,3-2-13 0,-1 0 5 15,-2-1 2-15,3-2-25 0,0 0 7 16,0-2 9-16,2-2-19 0,0 1-5 0,1-3 21 15,-1 0 12-15,0-1 13 0,0-2 36 0,0-1-43 16,1-2 35-16,-3 1 24 0,2-1-16 16,-3-2-18-16,1 1-2 0,0-2 2 15,-1 2-5-15,-2 3 10 0,0 0-15 0,-2 1 0 0,2 1-11 16,-2 1-4 0,-1 1-26-16,1 3 15 0,0 1 3 0,-3 2-18 0,0 0 8 15,0 0 10-15,7 9-31 0,-4-2 2 16,-3 1 17-16,4 2 1 0,-1 1-17 0,0 2-18 0,0 3-44 15,-1 1-18-15,3 1-43 0,-2 1-31 16,-1 0-40-16,1-1-40 0,0-4-35 16,-1 2-46-16,-2-1-92 0,0-1-49 0,-2-2-92 0,2-1-417 15,0-2 104-15,-3-1 57 0,3-1 95 16,0-1 74-16,0 0 36 0</inkml:trace>
  <inkml:trace contextRef="#ctx0" brushRef="#br0" timeOffset="10436.54">13738 2691 1046 0,'5'-5'351'16,"-2"0"-8"-16,3-3-26 0,1 2-14 0,0-1-19 0,4 1-36 0,-1-1-5 0,0 1-15 0,3 0-57 15,0 2-12-15,-2-1-13 0,3 0 18 0,-3 1-8 16,2 1-13-16,-1 2 3 0,-3 1 49 0,1 0-34 15,0 0-20 1,0 3-6-16,0 0 9 0,1 0 81 0,-3 2-46 0,2 0-5 0,-3 3-20 16,1-1-18-16,0 1-24 0,-4 1-4 15,0-1-16-15,0 1-28 0,-1-1-39 16,-3 3-50-16,3-5-37 0,-3 2-48 0,0-1-61 16,0 0-47-16,0-1-102 0,-8 2-212 0,8-2-461 15,0-1 81-15,0-2 114 0,0-3 63 16,0 5 116-16,0-5 4 0</inkml:trace>
  <inkml:trace contextRef="#ctx0" brushRef="#br0" timeOffset="11232.68">14169 2582 1092 0,'-3'7'407'0,"3"2"-107"16,-2 0-29-16,2 0-45 0,-2 2-22 0,2 2-4 15,0-2-18-15,0 0-31 0,0-1-13 16,2 0-33-16,1 2 2 0,2-4-14 0,-3 0-27 16,3-2-15-16,1 0 8 0,-2-1-15 0,2-2-6 15,2 0 8-15,-1-2-23 0,1-1 21 0,-1-1-1 16,2 0-7-16,1-2 8 16,0-4 7-16,-2 1 36 0,-1 0 28 0,1-1-25 0,2-2-11 15,-4 1-23-15,1-2 21 0,-4 3-10 0,-1-2-9 16,-2 1 6-16,0 0-12 15,0 0-17-15,0 0-11 16,-2 1-1-16,-1 2 5 0,0-2 8 0,-1 1-1 0,0 1-22 0,0 3 8 16,1 0 17-16,-2-2-15 15,5 4-25-15,-8-2 19 0,8 2-9 0,-7-1 13 0,7 1-1 16,0 0-20-16,-8 2-5 0,8-2 15 0,-6 1-12 16,6-1-1-16,0 0 1 0,0 5 4 0,0-5 19 15,0 0 4-15,0 0-25 0,6 6-10 16,-6-6 12-1,5 0 19-15,0 2-8 0,-5-2-6 0,8 1 1 0,-8-1 7 0,10 2-9 0,-7-1-1 16,-3-1 20-16,8 2-4 0,-4 0 17 16,-4-2-15-16,8 3 16 0,-3 0-11 0,0 0-26 15,-2-1 14-15,-1 3 12 16,3-1-28-16,-2 0 10 0,0 1 3 0,-1 0 10 0,-1 0-5 16,1-1-13-16,-2 1 18 15,0-1 5-15,0 0-15 0,2 1 18 0,-2-2-31 0,0-3-5 16,0 6 17-16,3-3-12 15,-3-3 8-15,2 4 15 0,-2-4-2 0,3 1 14 0,-3-1 4 16,0 0-37-16,12-1 37 0,-4-1-6 16,-2 0 8-16,1 0-21 0,1 1 6 0,2-2 18 0,0 1-16 15,0 2 5-15,-2-1 8 0,3 1-26 16,-1 1 13 0,0-1-5-16,0 2-2 0,-2-2-21 0,2 1 3 0,-2 1-29 0,-3-1-23 0,3 1 13 15,-3-2-53-15,0 2-16 0,-2 0-10 16,-3-2-57-16,7 1-56 0,-7-1-112 15,0 0-95-15,0 0-479 0,0 0 54 0,0 0 79 16,0 0 90-16,0 0 59 0,-28-1 64 0</inkml:trace>
  <inkml:trace contextRef="#ctx0" brushRef="#br0" timeOffset="11830.67">12979 2553 1251 0,'0'0'376'0,"0"0"-10"0,0 0-107 0,0 0-13 16,0 0-24-16,0 0-17 0,13 7-15 15,-13-7-19-15,-2 6-2 0,2-1-26 16,-3 0-56-16,1 1-43 0,-1 0-57 0,-4 1-28 16,1 1-107-16,-1-5-108 0,-1 8-576 0,-5 1 79 0,3-1 93 15,0 0 79-15</inkml:trace>
  <inkml:trace contextRef="#ctx0" brushRef="#br0" timeOffset="13215.09">15118 2714 941 0,'5'-1'397'15,"3"-2"-31"-15,2 1-5 0,5 0-43 16,1 0-4-16,7 0 35 0,2 1-6 16,6-3-47-16,2 4-17 0,1 0-46 0,14-2-20 0,-11 3-19 15,-2-3-40-15,-1-1-16 0,-1 3-53 16,-2 0-32-16,-1-2-37 0,-4 1-80 0,-5 1-46 15,-1-2-41-15,-5 2-141 0,-2-2-130 16,-5 0-464-16,2 1 44 0,-2-2 163 0,-3 0 34 16,-2 0 54-16</inkml:trace>
  <inkml:trace contextRef="#ctx0" brushRef="#br0" timeOffset="13509.08">15582 2550 1149 0,'10'1'391'0,"1"1"-48"16,1 1-5-16,4 1 3 0,1 1-26 15,1 0 69-15,3 4-8 0,-3-1-41 0,2 3-20 16,1 2-13-16,-3-2-23 0,-3-1-49 16,3 3-2-16,-5-1-10 0,-3-2-44 0,1 1 5 15,-4-1-36-15,-2 2 1 16,-4-2-19-16,-2 0-17 0,-4 0-39 0,-2 4-33 15,-4-4-54-15,1 0-44 0,-3 1-66 0,-5 2-51 0,3-5-54 16,-1 3-187-16,1-5-629 0,-3 2 127 0,0-3 60 16,6 0 112-16,1-2 77 0,1-1 53 0,2 0 52 15</inkml:trace>
  <inkml:trace contextRef="#ctx0" brushRef="#br0" timeOffset="13940.43">17846 2260 1371 0,'0'0'418'0,"0"0"-11"0,0 0-31 15,-5 15-20-15,2-6-41 0,2 1-26 16,-6 0-28-16,5 3-28 0,-3 2-51 16,-1 3-11-16,-1-3-2 0,2 4-31 0,-5 1-69 0,2 1-10 15,3-6-84-15,-3 3-60 0,2-1-63 16,-1-1-193-16,2 1-562 0,0-3 73 15,0-2 91-15,2-1 60 0,1-3 91 0</inkml:trace>
  <inkml:trace contextRef="#ctx0" brushRef="#br0" timeOffset="14517.91">17830 2309 1044 0,'16'-8'445'16,"-1"2"-38"-16,-2 1-28 0,0 3-26 16,-1 1-7-16,-1 1-34 0,-1 0-35 0,-2 2 7 15,1 1-33-15,-3 1-21 0,-1 1 0 16,-2 1-27-16,-3 1-32 0,-3 1 8 0,-2 2-20 16,-1 3-31-16,-6 1-23 0,0-2 7 15,-2 5-22-15,1-3 2 0,-1 0 23 0,0 2-35 16,2-4-9-16,3 0-19 0,-3-2-86 0,2 2 27 15,2-2 7-15,0-3-8 0,3 1-2 0,0-2 12 16,3 0 14-16,-1 0-34 0,3-1 23 16,3 0 3-1,-1-2-21-15,4 2-5 0,3-3-13 0,0-1-18 0,1 1 3 0,2-2-33 0,1-2-23 16,3 1-16-16,2-1-2 0,-1-3-8 16,4 2-11-16,-3-5-12 0,2 2-25 15,1-2 25-15,2-3 20 0,-2 1-2 0,2-1-3 0,-3-2 11 16,0 0 28-16,-2 0 15 0,-2 1 43 15,-1 1 4-15,1 0 29 0,-3 1 42 16,-1 0 23-16,-2 4 44 0,-2-2 7 0,-3 2 12 16,1 1 6-16,-1 1 6 0,-2 1-42 0,-1 1 23 15,-2 2-8-15,0 0 11 0,0 0 26 16,0 0-24-16,-5 13 82 0,2-6 13 16,1 1-18-16,1 2-20 15,0-1-19-15,0 1-7 0,1 2-15 0,-3 1-10 0,6 0-9 0,-1 1-35 16,1-1 28-16,0 1-30 15,2 0 30-15,0-4-41 0,0 2-15 0,3-2-44 0,0-1-26 0,-3 1-68 16,3-3-13-16,2-1-47 0,0-1-45 0,0-3 7 16,1 0-64-1,1-2-22-15,1 0-101 0,4-2-133 0,-3 0-483 0,1-4 79 0,3-1 74 16,0-2 77-16,0-2 102 0,0-3 18 16</inkml:trace>
  <inkml:trace contextRef="#ctx0" brushRef="#br0" timeOffset="14724.37">18607 2282 1082 0,'0'-9'341'0,"3"5"71"0,-3-1-38 0,0 1 4 0,0 4-14 0,0 0-37 0,0 0-7 16,0 0-25-16,-6 13-1 0,4-6-30 15,-3 1 10-15,2 3-59 0,1 1 33 0,-3 2-51 16,2 2-23-16,-2 1-7 0,0-2-103 16,3 3 10-16,-4 1-23 0,1-2-5 0,5 1-15 0,-3-4-24 15,1 2-30-15,0-2-36 0,-1-1-22 16,3-1-40-16,0 0-25 0,0-4-43 15,0 2-6-15,0-4-50 0,0 0-50 0,3-2-89 16,-1-1-35-16,0-2-462 0,-2-1 85 16,8 2 61-16,-8-2 75 0,10-1 56 0</inkml:trace>
  <inkml:trace contextRef="#ctx0" brushRef="#br0" timeOffset="15145.33">18643 2303 1302 0,'5'-4'412'0,"1"2"-33"0,-2 1-25 16,-4 1-29-16,10-1-23 0,-10 1-26 0,8 2-30 15,-5 2-6-15,-3-1-1 0,0 1-7 16,0 0-52-16,-3 3-6 0,-1 0-3 16,2-1-35-16,-4 2 0 0,0 0-19 0,4 1-2 0,-3-1-17 15,5 0 9-15,-3 3-33 0,3-1-12 16,0-1-1-16,3 3-2 0,0 0-28 0,1-2-5 16,2 1 14-1,0 2-9-15,0-3 8 0,0 1 19 0,-1 1 14 0,0-2-69 16,-1 1-6-16,-3 0 1 0,1-3 12 0,-2 2 8 15,-2 0 7-15,-3 1 1 0,-1 2-29 0,-6-2 19 16,2 1-39-16,-3 0-39 0,-1-5-56 0,-3 4-48 16,2-2-39-16,-1-2-104 0,-3-1-219 15,5-1-480-15,4-3 199 0,1 0 18 0,0-2 87 16,1-3 69 0,3 1 52-16</inkml:trace>
  <inkml:trace contextRef="#ctx0" brushRef="#br0" timeOffset="15605.18">20968 2213 1205 0,'0'0'384'0,"-20"4"0"0,7-1-13 0,0 1-41 0,-2 1-25 0,0 2-3 0,-3 1-46 16,2 1-3-16,-4 3-4 0,4 2-42 15,-1 1-15-15,1-1 5 0,3 3-41 0,0-1-7 16,3 2-6-16,0 1-28 0,2-5-20 16,3 2-16-16,2-2-12 0,3-2-26 0,0 1-21 0,3-1-22 15,2-2-19-15,0 0-43 0,8 0 8 16,-2-3-34-16,6-1-9 0,-1 0-40 15,4-4-19-15,3 0-22 0,1-2-65 0,1 0-101 16,8-2 21-16,-7-3-179 16,20-4-267-16,-3 1 9 0,-4-5 119 0,0 2 95 0,-6-2 16 0</inkml:trace>
  <inkml:trace contextRef="#ctx0" brushRef="#br0" timeOffset="15881.38">21274 2344 629 0,'-8'-4'366'0,"-2"0"-30"15,1 3-24-15,-3-1 13 0,0 2-15 16,-2-1-103-16,2 1-13 0,3 0-12 0,-3 1-23 15,2 1-8-15,2 0-23 0,1 1 5 0,3 1-5 16,-3 0-15-16,5 3 20 0,2 0-23 16,0 1-8 15,5 0 3-31,-1 3 5 0,3 1 8 0,0 2 13 0,0-1-21 0,1 1 25 0,-2 0-37 0,0-1 91 0,0-1 0 0,-3-2-17 16,-1 2-26-16,1-1-21 0,-3-3-48 0,-3 3-18 15,0 0 15-15,-4-1-15 0,0 0-3 16,-4 2-12-16,-2-1-14 0,0-1 4 15,-2 0-19-15,0-1-20 0,-1-5-44 32,5 2-45-32,-3-3-22 0,1 0-70 0,3-2-40 0,2 1-81 0,0-2-92 0,6-6-72 0,-1 3-445 0,3 3 89 15,7-10 92 1,-1 1 29-16,6-2 86 0</inkml:trace>
  <inkml:trace contextRef="#ctx0" brushRef="#br0" timeOffset="16108.84">21404 2321 1220 0,'10'-5'428'0,"-3"1"-26"0,-3 3 43 0,1-1-33 16,0 2-84-16,-5 0-34 0,8 3-25 0,-4 1 2 0,-4 2-17 16,1 0-19-16,2 3-9 0,-3 1-32 15,0 2-22-15,0 1-29 0,-3 1-2 0,0 3-24 16,-2 0-32-16,2 0-16 0,-1-1-51 0,1 1-15 16,0-2-14-16,3-2-19 0,3 1-63 15,-3-3-6-15,5 0-24 0,0-3-21 16,0 0 4-16,5-2-9 0,-1-1-12 0,3-2-44 15,1-1 21-15,4-2-49 0,-1 0-36 16,1-2-43 0,0-2 69-16,3-2-44 0,3-1-18 0,-3-2-94 0,1-1-284 0,0-3 50 15,0 2 63-15</inkml:trace>
  <inkml:trace contextRef="#ctx0" brushRef="#br0" timeOffset="16326.3">21781 2407 389 0,'-1'-10'209'0,"-3"2"12"0,-1 3 4 0,-5 0-72 0,-1 4 29 15,0-1-15-15,-5 2 112 0,-1 2-16 0,-5 1-61 16,-1-1-28-16,2 1 16 0,0 3-8 0,-2 2 22 0,5-2-17 15,1 4-2-15,3-1-29 16,0 0 84-16,4-1 9 0,2 1-29 0,2 3-31 16,3-6 21-16,3 3-97 0,1 1-3 0,4-3 15 15,0 2-53-15,5-1-3 16,2 0-8-16,0 0-9 0,5-2-37 0,-1-1 0 0,2 1-38 16,-1-1-15-1,-1-2-11-15,2-2-17 0,-3 1-39 0,1-1-5 0,-4 0-26 0,-1-1-25 16,-3 0-34-16,0-1-74 0,-8 1-76 0,7 0 12 15,-7 0-445-15,0 0 2 0,0 0 111 16,0 0 63-16,0 0 44 0</inkml:trace>
  <inkml:trace contextRef="#ctx0" brushRef="#br0" timeOffset="16936.77">19474 2372 926 0,'0'0'376'16,"0"0"-22"-16,0 0-32 0,0 0 62 16,0 12-23-16,0-2-36 0,0-1-31 0,0 1-25 15,-2 2-38 1,2-2-32-16,0 6 3 0,2-3-25 0,-2 1-34 0,0 2-12 0,0-3-3 16,2-1-13-16,1 0-20 0,-3 1-8 0,3-4 18 15,-1 1-77-15,3-3-2 0,-5 0-16 0,3-1 36 16,1-2 5-16,-3-1-7 15,1 1 81-15,4-3 8 0,-6-1-10 0,8-1-3 16,0-3-25-16,-2 1-26 0,2 0-2 0,-3-2-21 16,3-2 28-16,2 0-41 0,0-2-20 15,-2 3-46-15,4-3-21 0,-4 1-28 0,1 1-15 16,1 0-44-16,0-2-10 0,0 2-38 0,0 0-19 16,1 2-58-16,4-1-131 0,0-1-10 15,1 1-455 1,2 0 38-16,-1 3 79 0,1-4 82 0,-2 2 66 0,2-1 34 0</inkml:trace>
  <inkml:trace contextRef="#ctx0" brushRef="#br0" timeOffset="17181.55">19912 2395 693 0,'-10'-4'269'0,"10"4"105"15,-10 0-36-15,10 0-29 0,-13 3 9 16,8-2-55-16,-1 1-20 0,1 1-84 16,-2 0-13-16,2 1 3 0,0 2-27 15,2 0-17-15,0 1-10 0,1 1 0 0,2 2 20 16,0-3-28-16,2 5-10 0,3 0 12 0,-2-1 11 15,3 1 79-15,-2-1 3 0,2 2 5 0,-2-2 0 16,2-2 25-16,-2 1-114 0,0 1-19 16,-2-3-2-16,-2 0 35 0,0 0-12 15,-2-1-28-15,-4 0-6 0,1 1-14 0,-4-1-9 0,-2-1-7 16,-2 0-44-16,0-2-35 0,0 2-52 16,-2-3-10-16,2 0-87 0,-3-2-84 15,6 1-152-15,0-1-516 16,0 1 53-16,5-2 133 0,5 0 75 0,-10-3 43 0,10 3 51 0</inkml:trace>
  <inkml:trace contextRef="#ctx0" brushRef="#br0" timeOffset="18890.09">17943 3132 1034 0,'5'-3'325'0,"1"-1"-44"0,-2 1-22 15,2 1-6-15,2-1-43 0,-4 1-15 0,2-1-16 16,-2 0-23-16,-1 2-15 0,2 0-16 15,-5 1 1-15,3-5-11 0,-3 5-13 0,0 0 6 16,0 0-11-16,0 0-20 0,0 0-13 0,-18 10 0 16,10-7-5-16,-2 1-3 0,-3 1-7 0,3 0 2 15,-3 0-3-15,-2 2 1 0,2-1-16 32,2 0 3-32,-1 0-5 0,2-1-11 0,2 0 1 0,0-1-1 0,1 0 8 0,3 1-15 15,0 0-18-15,-1-2 18 16,5 2-3-16,0-1-2 0,0 0 10 0,2 0-11 0,5 0-7 0,-1 0-7 31,-1 1 4-31,5 1 16 0,0-1-8 0,1 1-10 0,-3-2 25 0,2 0-7 16,-2-1 10-16,0 1-7 0,-1 1 9 15,0-2 19-15,-1 2 7 0,-1-3 23 0,-2 1 6 0,1 2 19 16,-3-4-12-16,1 4 18 0,-2-5-28 0,-2 7 2 16,1-5-25-16,-3 2-3 0,-2-1 8 15,-1 2-18-15,-1-1-5 0,-2 2-23 16,-3-2-52-16,3 1-9 0,-3-1-37 0,0 1-53 0,0-1-38 15,2-1-27-15,-1 0-122 0,2 1-102 16,2-2-374-16,0 1-3 0,1-2 46 16,2-1 59-1,5 0 67-15</inkml:trace>
  <inkml:trace contextRef="#ctx0" brushRef="#br0" timeOffset="19231.36">18015 3133 1080 0,'0'0'404'0,"0"0"-107"0,0 0-36 0,0 0-15 0,-5 14 2 0,2-7-28 0,1 2 46 0,0 0-17 15,-2 2-42-15,2 1 8 0,0 1-56 0,1-1-36 16,1 1-18-16,0 0-18 16,1 0-21-16,3-2-12 0,1 1 5 0,1 0 20 15,4-2-28-15,-2 1-17 0,7-3 19 0,-2-1-17 16,2-3-23-16,-2-1 13 0,2 0-11 15,1-3 16-15,-1 0 12 0,0-2-4 0,-2 1 37 16,1-3-19-16,0 0 7 0,-3 0 7 0,2-2-71 16,-6 0 13-16,3-3 8 0,-4 2 2 15,-1-1-3-15,0-3 31 0,-2 2-40 0,-3 0 9 16,0 1 16-16,0 1 5 16,0 0-3-16,-3-2-10 0,1 5 8 0,-4-2-23 0,-1 1 18 15,-1 4 0-15,0 1-31 16,-2 0 28-16,-3 0-23 0,0 2-23 0,-2 2-23 0,-3 2-41 15,0 2-28-15,3 0-5 0,-6 3-41 0,4-1-44 16,3-2-100 0,1 1-117-16,3-4-8 0,0 4-417 0,5-5 59 0,0 2 92 0,5-3 66 15,0 1 93-15</inkml:trace>
  <inkml:trace contextRef="#ctx0" brushRef="#br0" timeOffset="19450.2">18486 3094 1267 0,'3'1'399'0,"-3"-1"-43"16,5 6-121-16,-7 0 13 0,2 0-40 15,-3 2-32-15,0 0-22 0,-1 2 20 0,-2 2 36 16,2 0-41-16,-4 2-33 0,-2-1-65 0,2 1-58 16,-1 1-126-16,0-3-163 0,1 3-556 15,-2-3 115 1,-1 1 8-16,4-1 103 0,-1-1 78 0</inkml:trace>
  <inkml:trace contextRef="#ctx0" brushRef="#br0" timeOffset="19592.14">18289 3154 826 0,'0'0'279'0,"0"0"-46"15,0 0-64-15,0 0-141 0,0 0-171 0,0 0-446 16,0 0 11-16</inkml:trace>
  <inkml:trace contextRef="#ctx0" brushRef="#br0" timeOffset="19743.25">18576 3293 826 0,'0'0'328'0,"0"0"-29"0,0 0-68 0,0 0-78 0,6-4-191 0,-6 4-221 0,0 0-373 0,0 0 18 15</inkml:trace>
  <inkml:trace contextRef="#ctx0" brushRef="#br0" timeOffset="20456.12">21514 2996 1026 0,'0'0'374'15,"0"-5"40"-15,0 5-27 0,-2-3-36 0,-3-1-52 16,5 4-20-16,-15 2-46 0,5 0-21 16,-6 1-7-16,3 0-28 0,-5 3-11 0,-2-2 3 15,2 4-36-15,-5-1-25 0,5-1 7 0,2 1-20 16,1 1-24-16,4-3 14 0,-1 1-24 16,2 1 6-16,2-1-21 0,4 0-18 0,0 0 18 15,4-1 15-15,0 1-43 0,4 1-2 0,0-1-3 16,1 1 7-16,3-1 6 0,4 3-3 15,0-2 10-15,0 3-33 0,2-2 18 16,-3 1 0 0,4 0 25-1,-4-2-20-15,-1 1 5 0,-2-1-58 0,2 0-1 0,-5-1 34 0,1 0 22 0,-2 1-15 0,-4-4 19 0,0 2 1 16,-2 1-4-16,-3-1-3 0,-1 1-8 0,-4 0 8 16,0 0-5-16,-2-1 18 0,1-1-54 0,-4 2-10 15,-1-1-16-15,1 0-37 0,2-2-29 16,0 0-34-16,2 0-50 15,1-1-55-15,0 0-137 0,3-1-31 0,2 0-497 0,5-1 128 0,0 0 31 16,0 0 89-16,0 0 85 0</inkml:trace>
  <inkml:trace contextRef="#ctx0" brushRef="#br0" timeOffset="20855.24">21630 3032 1167 0,'-13'15'340'0,"9"-9"-22"0,-3 4-50 0,0-1-25 16,-3 4-10-16,3 0 39 0,-2 4-24 0,0 0-12 16,3-2-29-16,-1 1-36 0,3 1-2 15,0-3-18-15,1-2-41 0,3 2-7 0,3-1 4 16,1 0-27-16,0-2-9 0,3-1 11 0,1-2-15 16,2 1-16-16,2-3 18 15,-1 0 8-15,3-2-39 0,0-2 11 0,-1-1-6 16,0-1 11-16,0-1 28 0,2-1-3 0,-4-3 16 0,4-1 8 15,-5-1-1-15,0 0 16 16,-2-3-19-16,0 0-9 0,-4-1 15 0,-1-2-38 16,-3 1 4-16,3-3-4 0,-6 1-6 15,1 3-2-15,1-2-26 16,-6 3 11-16,-3 0-11 0,3 2-17 0,-3-1-4 0,-4 4-4 0,1 0 0 16,0 1-62-16,-2 4-18 15,-3 0-22-15,1 0-45 0,0 2-4 0,0 0-44 0,1 3-61 0,1-1-113 16,2 0-61-16,1 2-469 0,6-4 28 15,2 2 72-15,1-1 64 32,3 1 67-32,0-4 87 0</inkml:trace>
  <inkml:trace contextRef="#ctx0" brushRef="#br0" timeOffset="21057.79">22035 2991 1151 0,'12'-3'366'0,"-4"-1"-23"0,-2 3-12 0,-2 2-24 0,-4-1-23 0,8 5-20 15,-7 1-3-15,3 2-23 0,-2 2-11 16,-1 2 58-16,-1 3-47 0,-1 1-28 16,-3 3 7-16,1 1-25 0,-4 4-15 0,-1 0-13 15,0-1-31-15,-3 7-26 16,-3 0-56-16,2-6-10 0,1-3-54 0,1-1-38 0,-1 1-51 16,3-6-54-16,-2 3-90 0,0-5 3 0,4 0-90 0,-1-6-135 15,0 3-380-15,1-2 27 16,2-3 109-1,-2 1 83-15,-2-4 68 0</inkml:trace>
  <inkml:trace contextRef="#ctx0" brushRef="#br0" timeOffset="21234.06">21782 3128 747 0,'2'-3'51'0,"-2"3"-634"0</inkml:trace>
  <inkml:trace contextRef="#ctx0" brushRef="#br0" timeOffset="21349.34">22240 3267 1123 0,'7'2'438'0,"-6"-1"10"0,-1-1-54 16,7 0-30-16,-7 0-68 0,0 0-34 0,0 0-58 15,6 1-45-15,-6-1-72 0,0 0-51 16,0 0-172-16,-11 12-102 0,8-6-184 0,-7 2-359 0,-2 1 70 16,1 4 42-16,-11 8 63 0</inkml:trace>
  <inkml:trace contextRef="#ctx0" brushRef="#br0" timeOffset="22951.56">15366 4521 1218 0,'0'0'340'0,"0"0"-15"0,0 0-66 0,0 0-11 16,0 0-2-16,0 0-11 0,-2 13-35 0,0-2 7 16,-2 3-25-16,2 5-23 0,-6 7-3 0,1 8 0 15,-3 0 77-15,-1 3-26 0,-4 1-48 16,-1-1 23-16,4 0-46 0,-3-1-47 16,-1 1-2-16,3-3-51 0,-2 0-41 0,7-9-64 15,0-3-39-15,1-4-53 0,1-1-64 0,2-2-54 16,-2-3-87-16,4-1-461 0,-1-1-2 0,3-7 186 15,-2 3 3-15,2-1 46 16</inkml:trace>
  <inkml:trace contextRef="#ctx0" brushRef="#br0" timeOffset="23581.43">15320 4638 1320 0,'18'-16'328'0,"-2"6"-31"0,-1 0-16 0,1 4 62 0,-4 4-23 15,1-1-10-15,-3 3-21 16,3 3-40-16,-3-1 14 0,-2 4-40 0,-1 3 2 0,-3 0-15 16,-4 2-33-16,-4 2-21 0,0 5-18 15,-4 2 3-15,-2-1 0 0,-6 8-29 0,-2 2-12 16,-2-5-92-16,2-4 10 0,5-2-18 15,-3-4 25-15,1 3-25 0,2-4 13 0,3-2 0 16,-2-2-11 0,4 0-14-16,0-1-9 0,1 0 26 0,1-1-2 0,1-1-3 0,0 1 10 15,3-1 5-15,-1 0 9 0,3-1 1 0,0 2 3 16,0-1-2-16,5-1-1 0,0 1-1 0,0-3-12 16,3 1-7-16,0-1-12 0,2 0 4 15,2-2-45-15,-1-1-50 0,2 0-4 0,4-1-36 16,-1-4-6-16,2 3-66 0,0-4-40 0,0 1-32 15,0-1-74-15,0 0-2 16,3-3-13-16,1-3-62 0,-1 0-353 0,-1 0 59 16,6-8 128-16,-5 10 6 0,-4-4 482 0,-1-2 181 15,-1 1 42-15,-2 2 52 0,0 2 46 16,-5 3 48-16,0-3 29 0,-1 2-3 16,-4 0 21-16,2 4-11 15,-5 0-58-15,2 2 4 0,-2-1-20 0,0 4 62 0,0 0 15 0,-10-2-26 16,10 2 6-16,-11 6-98 0,4-1-18 0,0 1 6 15,1 1-27-15,-1 2 109 0,1 0-14 16,-1 3-40-16,2-1-3 16,-1 1-29-16,4 0-14 0,-1 3-19 0,1-3 6 0,2 1-18 15,0 0-3-15,2 1-54 0,-1-2-2 0,3-1-20 16,-1 1-57-16,2-3-56 0,0 2-11 0,3-3-22 16,0-2-50-16,-1-1-24 0,1 0-91 15,-1-2-117-15,4-2-107 0,-3-1-392 0,4 0 20 16,-1-1 33-16,-1-1 129 15,3-3 33-15,-1 1 107 0</inkml:trace>
  <inkml:trace contextRef="#ctx0" brushRef="#br0" timeOffset="23800.01">15903 4785 1021 0,'0'0'381'0,"0"-4"-7"0,0 4 46 0,2-4-24 0,-2 4-12 0,0 0-30 15,0 0-24-15,0 0-36 0,-2 17 24 16,2-10-116-16,2 2-28 0,-2 0-3 15,0 3-4-15,0 1-21 0,0-1-11 0,-2 2-4 16,2 0-34-16,0-1-18 0,-1 2-20 0,-1-1-30 16,-1 0-42-16,3-1-15 15,-2 1-24-15,2 0-32 0,-3-5-16 0,3 1-51 16,0-2-33-16,0 1-52 0,-3-2-63 0,3-3-121 0,0 1-148 16,3-2-292-16,-3-3 120 0,5 2 28 31,-5-2 57-31</inkml:trace>
  <inkml:trace contextRef="#ctx0" brushRef="#br0" timeOffset="24171.94">15941 4853 1039 0,'3'-3'373'0,"1"-3"-114"15,-1 2 0-15,2 1-37 0,1 2 1 16,-2-1-29-16,-4 2-25 0,11 0-18 0,-11 0-5 15,8 3-23-15,-4 0 5 0,1 1-10 0,-4-2 59 16,1 3 4-16,-2 1-58 0,0 1-13 16,0-2 16-16,0 2-29 0,0-2-13 0,0 2 1 15,0-1-19-15,0-1 1 0,0 0-13 0,3 0 2 16,-1 1 5-16,-1 0-22 16,1 0-11-16,0 0 13 0,1 1-13 0,0-2 13 0,-1 3-3 15,0-2 16-15,-1 1-10 0,-1-2 30 16,0 1 0-16,-1 1 39 0,-1-1-36 15,0 0-19-15,-1 1 32 0,0-1-29 0,1 0-7 16,-3-1 8-16,0 1-32 16,2-1 4-16,-4-2 7 0,4 1-64 0,-2-1-24 0,0 0-24 15,2-3-65-15,3 0-66 0,-7 2-167 0,7-2-309 16,0 0-218-16,0 0 69 0,-8-4 49 16,8 4 133-16,0 0 28 0</inkml:trace>
  <inkml:trace contextRef="#ctx0" brushRef="#br0" timeOffset="24388.2">16653 4939 1162 0,'0'0'425'0,"9"1"15"0,-9-1-72 16,10 1-30-16,-3-1-13 0,3 2-46 0,-2-2-28 16,2 0-15-16,0-2-75 0,1 2-71 0,-1 2-21 15,0-2-87-15,0 0-115 0,-2-2-182 16,0 4-525-16,0-1 59 0,-3 0 106 0,0-1 37 16,-2 4 55-16</inkml:trace>
  <inkml:trace contextRef="#ctx0" brushRef="#br0" timeOffset="24615.27">16666 5017 813 0,'0'0'369'0,"-2"2"-28"0,2-2 73 0,0 0-61 0,0 0-51 0,5 6 13 16,-5-6-38-16,10 1-14 0,-3 0-53 31,1-1-18-31,0 0-41 0,0 0-30 0,2-1-42 0,-2 0-71 0,0 1-98 0,2-3-15 15,0 1-118-15,0-3-86 0,-2 3-521 16,0-1 106-16,-1 0 33 0,1-1 77 0,0 1 73 0</inkml:trace>
  <inkml:trace contextRef="#ctx0" brushRef="#br0" timeOffset="24860.91">16787 4778 988 0,'0'0'442'0,"0"0"-40"0,16 10-13 0,-9-5-38 15,3 2-116-15,0 1-4 0,4 1-14 16,0 1 39-16,0 0-12 0,-2 3-9 0,1 0-38 16,0-1 26-16,-3 1-39 0,0-1-17 0,-2 1-32 15,-2-1 3-15,-2 1-22 0,-1 0-22 16,-3 0-12-16,-3 2-43 0,0 0-24 0,-4 0-46 15,2 2-30-15,-3-1-8 0,3-1-46 0,-5-1-106 16,3 2-132-16,-4-3-184 0,3-4-354 16,1 1 67-16,-1-3 143 0,1-1 43 15,1-1 45-15</inkml:trace>
  <inkml:trace contextRef="#ctx0" brushRef="#br0" timeOffset="30322.82">18317 5031 1313 0,'0'0'417'15,"0"-5"-13"-15,0 5-25 0,0 0-49 16,0 0-35-16,0 0-14 0,0 0-25 0,0 0-23 16,-4 16-5-1,4-6-18-15,-3 1-31 0,3 3-38 0,-3 2 2 0,1 3-7 0,-1-1-39 16,-2 2-23-16,0 0-5 16,-1 4-74-16,-1-2-18 0,0 1-51 0,1-6-33 0,1 2-44 0,2-3-72 15,-1-1-95-15,3-4-71 0,-1-1-484 31,2 0 54-31,2-3 87 0,-1-4 90 0,-1 1 40 0</inkml:trace>
  <inkml:trace contextRef="#ctx0" brushRef="#br0" timeOffset="30670.76">18423 5126 1167 0,'0'0'335'0,"0"0"-43"0,0 0-11 0,0 0-27 0,0 0-88 16,-6 19-28-16,4-11-15 0,0 2-2 15,1 2-14-15,1 0-17 0,-2-2-6 0,2 4-2 16,2 0-21-16,-1-1-40 0,3-1-21 16,-1 0 5-16,2-3 18 0,3 2-25 0,0-3 7 15,2-2-5-15,0 0 7 0,0-2-2 0,1-3 34 16,-1-1-6-16,3-1 6 0,-1-2 12 16,1-1 31-16,0-2-6 0,-3-3 37 15,-2 1-3-15,3 1-10 0,-4-6 5 16,-2 2 74-16,0 1 5 0,-2 0-7 0,0-3-31 0,-3 3-16 15,0 0-4-15,0 1-11 0,-1-4-30 0,-4 5 4 16,0-2-33-16,0 2 8 0,-3 1-5 16,-2 2-20-16,2 0-27 0,-2 3-4 0,0 2-5 15,0-1-26-15,0 1-5 0,-1 1-26 16,-2 1-13-16,3 3-35 0,-3-3-44 16,3 4-33-16,0-2-105 0,2 2-77 0,-2 1-72 15,7-1-445-15,-2-1 87 0,5-3 62 0,-3 3 99 16,6 1 21-16</inkml:trace>
  <inkml:trace contextRef="#ctx0" brushRef="#br0" timeOffset="31853.57">18810 5159 995 0,'0'0'320'0,"-6"11"-18"16,4-4-23-16,-1 0-18 0,1 1-33 0,1 0-21 16,-3 1-15-16,1 1-10 0,3-1-15 15,-2 1-11 1,1 1 89-16,-1-1-68 0,0 2-18 0,-1-1-1 0,2 1-32 0,-1-3-14 15,0 1 14-15,2-3-52 0,-2 1-7 0,1 2-8 16,-2-4-1-16,3 2-22 0,-2-2 13 16,2-1-11-16,-2 0-7 0,2-2-21 31,0-3-2-31,0 5 0 0,0-5 22 0,0 4-9 0,0-4 7 0,0 0-8 0,0 0-4 0,0 0 4 16,0 0 3-16,2-12 21 0,-2 6 7 15,2 1-10-15,-2-3-3 0,3-2 47 0,-2 2-11 16,-1-1-30-16,0 0 40 0,2-2-10 31,-2 2-23-31,0-2 47 0,2 1-24 0,-2 1 3 0,2-2-13 0,-1 3-41 0,-1-1 10 0,3 0-5 16,1 2 8-16,-3 1 5 0,1 0-10 15,5 1-8-15,-6 3 20 0,6-2-38 0,-4 4 21 16,-3 0-57-16,13 0 6 0,-8 3-21 0,0-1-3 16,0 2 21-16,1-2 2 0,-2 2 8 15,-1 0-15-15,0 0 20 0,0 1 8 16,-3-2-18-16,0 2 3 0,-3 2 20 0,0-1 0 15,0 0-5-15,-1-1 5 0,-2 2-6 0,1-1 14 0,0 0-13 16,0 0 8-16,0-1 4 0,0-1 1 16,0 0-3-16,2 1-25 0,0-4 25 15,1 4-16-15,-1-2 6 0,1 1 5 0,-1-2-7 16,3 3-4-16,-2 0 29 0,2-5-18 0,2 7-20 16,-2-5-3-16,3 3 23 0,1 0-8 15,-1-2-2 1,2 1 5-16,1-2-29 0,-1 3-24 0,0-4-9 0,2 2-12 0,-1-1-6 15,4 0-45-15,-2-1-44 0,2-1 10 0,-3-1-23 16,4 1-43-16,-1 0-62 0,0-3-44 16,1 2 9-16,-1-1 9 0,0 0 11 0,1-3 23 15,-1 0-8-15,1 2 95 0,-1-3 0 0,0 1 59 16,-3-1 87-16,1 1 58 16,-1 0 70-16,-2 1 43 0,1-2 47 0,-4 0 38 0,4 4 20 15,-4-3-31-15,0 2-2 0,0-1 11 0,-2 4-17 16,1-4-19-16,-1 4 17 0,0 0-2 15,0 0-23-15,0 0-11 0,0 0-15 0,0 0-7 16,0 0-1 0,0 0-30-16,-10 11-11 0,10-11-17 0,-3 5 4 0,3-5-7 0,3 3 18 15,-3-3-5-15,0 6-23 16,0-2-6-16,0-4 9 0,5 5-24 0,-1-3-7 0,-3-1-6 16,4 3 13-16,-2-3 16 0,4 0 41 0,-7-1-44 15,9 2 36-15,-2 1-13 0,-4-3 31 16,-3 0-6-16,10 2 29 0,-5 1-26 0,0-2-58 0,0 0-11 15,2 0-2-15,-4 1 9 0,3 1 11 16,-2-3 1-16,2 2 14 0,-6-2 80 16,10 3-44-16,-5-3 18 15,-5 0 13-15,8 1-46 0,-1-1 13 0,-7 0-3 0,13-1-38 16,-7-1 2-16,2 1 11 0,-2-1-37 0,2 2-4 0,-2-3-11 16,1 1-12-16,-1 1-49 0,-2 0 18 15,-4 1-54-15,11-3-41 0,-8 2-15 0,-3 1-47 16,6-2-66-16,-6 2-66 0,4-4-208 0,-4 4-509 15,0 0 85-15,0 0 71 16,0 0 138-16,0 0 44 16,5 0 53-16,-5 0 54 0</inkml:trace>
  <inkml:trace contextRef="#ctx0" brushRef="#br0" timeOffset="34452.65">18054 6726 949 0,'0'0'287'0,"2"-2"-16"0,-2 2-28 0,0 0-17 15,0 0 55-15,0 0-7 0,8 12-23 0,-8-9-31 16,0 3-18-16,2 0-12 0,-4 2-6 0,2 2-18 16,0-4-10-16,-3 5-2 0,0-4-41 15,-1 2-3-15,1 2-16 0,-3-1 14 16,2-2-1-16,0 0-27 0,0-1 12 0,-1 0-25 0,2 1-24 15,-2-4 13-15,5 1-17 16,-3 1-19-16,3-2 13 0,0-2 8 0,0-2-10 16,0 8 2-16,3-3-7 0,-3-5-11 0,0 0-4 15,7 6 4-15,-6-2 26 0,1-3-28 16,1 1-11-16,-3-2 6 0,5 5-3 16,-5-5-2-16,3 5 38 0,-1-4-16 15,-2 4 1-15,0-5-6 0,2 4 3 0,-2 0 13 0,0-4 3 16,-2 8 25-16,0-4-18 0,-1 1-8 15,2-3-18-15,-3 2-4 0,-1-2 4 0,2 4 8 0,-2-5-4 16,-2 5-32-16,1-2 18 0,1-2 8 16,-2 2-10-16,1-1-13 15,-1 0-18-15,-1-1-16 0,4-1 11 0,-2 3-41 0,0-3-13 16,-1-1 3-16,2 2-34 0,2 1-23 16,3-3 1-16,-8 1-70 0,3 0-43 0,5-1-21 15,-5 2-28-15,5-2 8 0,0 0-16 16,0 0-71-16,0 0-374 0,0 0 25 0,0 0 73 0,13-9 40 15</inkml:trace>
  <inkml:trace contextRef="#ctx0" brushRef="#br0" timeOffset="34791.37">18179 6830 972 0,'0'0'384'0,"0"-4"-33"0,0 4 15 0,0 0-56 0,0 0-34 16,0 0-20-16,0 0-33 0,-7 13 17 0,6-7-43 15,-2 4 11-15,1-3-55 0,-3 5-4 0,2 1-16 16,1-1 20-16,2 2-53 0,-2-1-23 16,4 0-3-16,0 2-17 0,1-2-16 0,2-3 17 15,1 2-32-15,6-1-13 0,-1 0 10 0,1-4 5 16,4-1-2-16,-2-3 4 0,0 0-19 16,1-3 6-16,1-3 22 0,-1 2 25 0,0-4-8 31,-4 1 36-31,3-2-28 0,-5 0-18 0,1-4 18 15,-5 3 21-15,4-1-24 0,-7-2 14 0,-2 1-9 0,0-1 1 0,-6-1-6 16,-2 2-102-16,1-2 33 0,-1 3-17 0,-5-3 22 16,3 5-38-16,0-1-10 0,-3 0-21 0,0 2-32 15,1 3-30 1,-2-1-4-16,4 1-59 0,0 2-87 0,0 1-167 0,2 3-452 0,1-2 63 16,1 1 106-16,3-1 43 15,-2-1 81-15</inkml:trace>
  <inkml:trace contextRef="#ctx0" brushRef="#br0" timeOffset="35500.24">20966 6651 949 0,'0'0'279'0,"2"-7"-43"0,1 5-1 0,0-1-35 15,4 1-29-15,1 1-15 0,-1-2 1 16,2 2-12-16,1 0-19 15,0 0-8-15,0 1-16 0,2-2 11 0,-1 2-37 0,-1-1-9 0,2 1-3 16,-3 0-3-16,1 4-15 16,0-3 21-16,-2 0-18 0,0 3 25 0,0 1 23 15,-3 2-7-15,2-1-3 0,-1 2-3 0,-2 3-7 16,-1-1 2 15,0 5-7-31,-1-2 0 0,-2 4-26 0,0-1 5 0,-2 2 8 0,2 1-16 0,-3 0-12 0,1 0 10 0,2-1-10 0,-1 1-11 16,-1-2-33-16,0-2-45 0,-1 1 1 15,3-2-30-15,-1-1-56 16,-3 4-77-16,1-4-126 0,0 0-74 0,1-1-365 0,0-3 19 0,2 1 96 16,-3-3 89-16</inkml:trace>
  <inkml:trace contextRef="#ctx0" brushRef="#br0" timeOffset="36007.68">20937 6898 762 0,'6'-3'290'0,"2"-3"-29"0,2 3-44 16,0-2 8-16,5 1-38 0,-2 1-23 0,8-2-33 0,-3-1-3 16,2 1-26-1,2 0-25-15,-3 1 20 0,2-1-30 0,-1-1 2 0,1 1-10 16,-4-2-3-16,-1 4-5 0,-1-2 8 15,-1 1 15-15,-2 1 26 0,-4-2 28 0,2 4-33 0,-5-2 2 16,1 2 8-16,-2 1 8 0,-4 0-31 16,8 3 17-16,-4 0-22 0,-3 3 15 0,0-1-7 15,1 2-19-15,0-1-15 0,0 2 3 0,-1 2 23 16,2-2-21-16,2 3-10 0,0-3-5 16,0 4-15-16,3-5-11 15,0 3 8-15,-1-2-74 0,3-2 15 0,1 0 8 0,1 1-8 0,-1-3 11 16,4-2-16-16,2 0 20 0,-2-2 9 15,-1 0 17-15,2-1-3 0,-3-1 1 0,1 1 7 16,0-3 5-16,-4-2 3 0,1 1 13 16,-2-2 15-16,-1 1-18 0,-3-1 0 15,0-1 6-15,0-3-16 0,-2 3-11 0,0-3 32 16,-1 4-24-16,-2-5 13 0,-2 4-15 0,-1-2 87 16,2 2-31-1,-3-1-8-15,-4 1 3 0,3 1-36 0,-3 0 3 0,-1 2-3 0,-2-1-25 16,1 3-3-1,0-1-28-15,1 3-11 0,-3 1-27 0,-1 0-39 0,4 1-33 0,-3-1-70 16,2 4-76-16,2-2-36 0,1 0-41 0,-1 1-66 16,3-1-367-1,4 2 34-15,1-4 102 0,-2 3 77 0</inkml:trace>
  <inkml:trace contextRef="#ctx0" brushRef="#br0" timeOffset="36245.68">22007 6600 1049 0,'0'0'328'0,"0"0"-26"16,2 9-16-16,-4-1-27 0,-3 0-24 16,0 4-17-16,0 3 0 0,-3 3-27 0,-2 6-27 15,0-4 0-15,-6 9-31 0,1 1-7 0,-1-2-11 0,-2 2-23 16,3 0-43-16,3-7-39 15,1-2 3-15,-2-2-24 0,5 0-17 0,-2 0-13 16,3-4-59-16,1 1-40 0,1-6-60 0,0 0-74 16,2-2 11-16,-5 2-142 0,6-3-291 15,0 0 51-15,-1-3 15 0</inkml:trace>
  <inkml:trace contextRef="#ctx0" brushRef="#br0" timeOffset="36416.04">21682 6787 1082 0,'0'0'336'0,"2"-5"-52"16,-2 5-26-16,4-5-45 0,-3 3-39 0,6 2-82 16,-7 0-143-16,13-1-123 0,-5 2-530 15,2 0 56-15,2 0 128 0</inkml:trace>
  <inkml:trace contextRef="#ctx0" brushRef="#br0" timeOffset="36600.21">22113 6858 1264 0,'0'0'297'0,"0"0"-39"0,0 0-14 0,6 0-29 0,-6 0-34 0,0 0-19 0,6 3-37 15,-6-3-33-15,0 0-43 0,0 0-47 16,0 0-40-16,0 0-77 0,7 0-64 0,-7 0-121 15,0 0-399-15,0 0 57 0,0 0 94 0</inkml:trace>
  <inkml:trace contextRef="#ctx0" brushRef="#br0" timeOffset="41513.58">18028 8204 732 0,'0'0'225'15,"-3"3"-13"-15,3-3-17 0,0 0-11 0,0 0-5 16,0 0-5-16,8 6-51 0,0-6-18 15,2 1 21-15,0 1-11 16,5-1-23-16,3 0 90 0,-2-1-31 0,2 1-28 0,0-1-13 16,0 0 7-16,-3 0-30 0,1 0 18 0,-4 0-15 15,1 2-8-15,-3 0-3 0,1 1 31 16,-4-3 5-16,-1 5 6 0,1-1-27 0,-2 0 17 16,-1 5-9-16,-3-1 13 0,0 5 8 0,-1 0-21 15,0 3-38-15,0-1 34 16,-2 3-42-16,0 1-2 0,-2 7 2 0,1-4 3 0,-2-1-5 15,2-2-6-15,-2 0-27 0,2 4-24 16,-4-5 21-16,4 0-38 0,-2-2-14 16,3-2-14-16,1 2-39 0,-1-3-21 0,-3 0-45 0,5 0-32 15,0-2-99-15,-3-3-84 16,3 2-326-16,-2-4-115 0,4 1 103 0,-2-3 43 0,0-1 117 16</inkml:trace>
  <inkml:trace contextRef="#ctx0" brushRef="#br0" timeOffset="42156.53">17907 8526 1208 0,'-10'0'350'0,"5"-2"-25"0,-1 2-23 0,6 0-46 0,-4-1-18 0,4 1-20 0,0 0-23 0,0 0-11 16,0 0-5-16,23 1-5 0,-13 1-41 0,2-2 21 15,2 1-24-15,3 1-12 0,-1-1-28 0,2-1 97 16,0 1-57-16,-1 0-30 0,1-1-13 16,-2 0-64-16,5 0-3 0,-4 0-66 0,4 0-7 15,-3-1-57-15,2-1-6 0,1-1-32 16,-3-2-13-16,2 0-26 16,0-1-26-16,-4 0-9 0,1-3 35 0,-3 1 3 15,1 0 68-15,-1-1 37 0,0 1 38 0,-3-3 46 0,-1 4 59 0,0-1 36 16,-2 1 28-16,-2 1 28 15,1 1-2-15,-2-1 12 0,-2 0 13 0,2 1-41 16,-2 5 3-16,-3 0 5 0,0 0-3 0,0 0-20 0,0 0 0 16,0 0-8-16,-1 16 6 15,-1-8-9-15,-1 0-17 0,3 3-10 0,0 5 4 16,0-2-7-16,0 0-38 0,0 0 14 0,3 1-27 16,-1-1 7-16,-1 0-17 0,1 1 15 15,4-2-18-15,-2-1-13 0,4-1 13 0,0 0-11 16,4-1 1-16,1-3 0 0,0-1 12 0,2-4-12 15,3 2 7-15,0-3-12 0,-2-2 20 16,2 0-8-16,2-3 13 0,-2-1-5 0,1-1-20 16,-5-2 2-16,2 0 31 0,-3-2 2 15,-3-2-2-15,-2 3 10 0,0-2-10 0,-4 0 3 16,-1 1 27-16,-3 0-28 0,0-2-7 16,0 3 18-16,-3-2-42 0,-1 0 24 0,-2 3-10 15,-4-1-1-15,0 2-7 0,1 3 5 0,-3-1-23 16,0 1 12-16,-4 4 11 15,5 0-30-15,-3 0-22 0,-2 0 16 0,1 1-25 0,-3 4-6 16,2 1-17-16,1-1-42 0,-1 2 3 0,4-1-28 31,1 0-33-31,1 1 7 0,0-1-79 0,2 0-54 0,3-1-43 0,5-3-67 0,0 4-453 16,0-2 31 0,5-3 79-16,0 1 95 0,6-2 84 0,-1 0 52 0</inkml:trace>
  <inkml:trace contextRef="#ctx0" brushRef="#br0" timeOffset="42353.02">18917 8305 898 0,'8'-4'404'0,"-3"2"-30"0,-2 2-16 0,-3 0-17 0,8 3-39 0,-8 2-15 16,0 1 7-16,0 5-10 0,-3 1-33 16,-2 2-5-16,2 5-31 0,-2 0-8 0,-3 3-112 0,1 0 17 15,-1 2-4-15,0 0-39 0,-2-4-33 16,0 4-11-16,0-3-4 0,2 3-44 15,-2-5-16-15,2 3-40 0,0-1-13 0,3-5-31 0,0 0-105 16,-2-3-122-16,1-1-86 0,1-1-395 16,2-4 35-16,0 1 158 0,1-3 21 15,0-1 29-15</inkml:trace>
  <inkml:trace contextRef="#ctx0" brushRef="#br0" timeOffset="42513.35">18697 8363 954 0,'0'0'300'0,"2"-6"-42"0,-2 6-56 0,0 0-97 0,0 0-151 16,0 0-112-16,16 10-523 0,-8-4 56 0</inkml:trace>
  <inkml:trace contextRef="#ctx0" brushRef="#br0" timeOffset="42654.83">18876 8546 1387 0,'0'0'432'0,"0"0"-30"0,3 4-38 0,-3-4-42 15,0 0-58-15,0 0-46 0,0 0-62 0,0 0-51 16,0 0-82-16,0 0-123 16,7-9-174-16,-7 9-561 0,6-3 101 0,-1 3 25 0,3-3 82 15</inkml:trace>
  <inkml:trace contextRef="#ctx0" brushRef="#br0" timeOffset="43469.92">21302 8264 1195 0,'7'-1'427'0,"-1"1"-43"0,-6 0-33 0,10 4-8 0,-5-2-36 0,-2 2 5 0,-1 0-45 0,2 1-32 16,-3 1-15-16,-1 0-18 0,0 1-25 15,-1-1-3-15,-3 1-28 0,-1 3-10 16,2-3-1-16,1 2-19 0,-1-1-17 0,-2 1-12 15,3 0 11-15,1-1-22 0,0 0 1 0,1 2-10 16,0-1-24-16,0 0 14 0,1 0-1 16,0-1-23-16,1 1 1 0,-2-1 14 0,3 0-15 15,-6 3 6-15,6-4 50 0,-6 3-32 0,1-2-6 16,-4 3 33 0,3-3-17-16,-6 3-18 0,1-3-19 0,-1 3 11 0,-7 0 10 0,3-3-10 15,-1 0-35-15,0 0-37 0,3-1-46 0,-2-4-28 16,3 3-51-16,3 0-28 0,-1-2-65 15,2-1-176-15,1-3-255 0,5 0-283 0,0 0 118 16,0 0 83 0,0 0 65-16,13-13 114 0,-5 6 38 0</inkml:trace>
  <inkml:trace contextRef="#ctx0" brushRef="#br0" timeOffset="43774.9">21402 8379 1126 0,'0'0'373'0,"4"9"-35"0,-4-5-97 0,0 2-34 15,0 1-2-15,1 0-33 0,1 0-3 16,2-1-8-16,0 4-28 0,1-1-15 0,0-1-13 16,3 2-11-16,0-2-2 0,3-2-25 0,1 0-6 15,0 0-2-15,-1 0-5 16,2-2 0-16,0-2 17 0,-1-2 6 0,1 0 5 0,1-1-18 16,-2 0 13-16,-2-3 5 0,2-1 25 15,-3-1-7-15,0-1-3 0,-3 1-4 16,-1-2-4-16,-1 0-4 0,-2-2 66 0,-2 4-23 15,0-3 28-15,-1 0-31 0,-4 2-2 0,1-1-10 16,-5 1-34 0,-1 0-33-16,0 1 23 0,-1 0-53 0,-4 3-29 0,2 0 5 0,-2-1-43 15,0 4-36-15,2 0-36 0,0 0-51 16,2 0-74-16,-1 0-118 0,0 4-162 0,3-3-339 0,3 1 25 16,2-2 109-16,4 0 42 0,0 0 87 15</inkml:trace>
  <inkml:trace contextRef="#ctx0" brushRef="#br0" timeOffset="43989.11">21930 8138 1151 0,'5'5'361'0,"-5"1"-43"0,-2-1 7 0,-1 5 46 0,-2 2-51 15,-1 2-31-15,-1 3-35 0,-3 2-4 0,-3 4 6 16,-2 3-59-16,-1 4-2 0,1-3-29 0,2-2-48 15,0-6-21-15,3 3-22 0,0-2-70 0,-1-2-28 16,3-3-69 0,1 1-98-16,-1-3-145 0,1 1-177 0,-1-3-300 0,5-3 50 0,-2 0 86 15,0-3 46-15,3 1 82 0</inkml:trace>
  <inkml:trace contextRef="#ctx0" brushRef="#br0" timeOffset="44297.57">22115 8367 1279 0,'7'1'461'0,"-2"-1"-31"0,-5 0-56 0,6 0-34 0,-6 0-71 0,6-4-57 15,-6 4-48-15,0 0-59 0,4-1-84 16,-4 1-134-16,0 0-143 0,5 0-576 0,-5 0 108 16,0 0 76-16,0 0 21 0</inkml:trace>
  <inkml:trace contextRef="#ctx0" brushRef="#br0" timeOffset="45648.67">17733 6432 660 0,'-30'13'233'0,"6"0"-18"0,3-1-13 0,4 4-41 16,1 0 3-16,-4 8-15 0,7 0-6 0,0-3-28 16,2 9-15-16,-1 2 13 15,7 5-1-15,0 4 1 0,2-1-6 0,-2 5 6 0,5 3-34 16,-3 13 1 15,-2-1-14-31,2 6 3 0,-4 4 3 0,0 5-26 0,-3 0 33 0,1 1-27 0,-3 4-22 0,-1 4 1 0,-2 17 2 16,2-23 11-16,-3 2-6 0,-4 17-10 0,7-20 1 15,-5 0-4-15,0-2-7 0,3 0 13 16,-1-5 10 0,-2-3-28-16,3-3-16 0,-1-3 13 0,1-4 0 0,0-4 3 0,5-12-8 0,-1-4-7 15,3-1 2-15,3-10 7 16,0-2 1 0,1-5 0-16,0 0 7 0,4-3 6 0,0-1 7 0,0-2-5 0,4-1 0 0,0 1 5 15,4-2 3-15,0-3 7 0,5 0-2 0,4-3-18 16,2 1 13-16,1-6-11 15,3 3-22-15,0-3-1 0,8 1-46 0,3-2-9 0,-2-2-32 16,-1 3-41-16,0 0-38 0,-3 0-122 0,-2 0-98 16,-1 0-354-16,-2 0 44 15,1 3 52 17,-4-1 68-32</inkml:trace>
  <inkml:trace contextRef="#ctx0" brushRef="#br0" timeOffset="63120.17">18041 10154 1126 0,'0'-7'381'0,"2"2"-30"0,-2-1-29 15,5 1 50-15,0-1-50 0,0 0-12 0,3 5-26 16,2-1-18-16,1 2-28 0,1 0 0 0,2 2-28 16,-2-1-97-16,4 4 4 0,-3 0-12 15,4 1-20-15,-4 2-3 0,-2-1-11 0,-1 0-7 16,-2 3 0-16,-4-1 16 0,-1 2-32 0,-6 2 11 15,-1 3-15-15,-4-1-16 0,-5 3 21 16,-3-1-6-16,-2-1-2 0,1 0-10 0,-11 5-16 31,2-3 6-31,3-3 9 0,4-3-7 0,1-1-7 0,3-1 20 0,0-2-6 16,4-1 11-16,1-2-13 0,0 0-7 16,2 1-31-16,3-4 33 0,0 0 0 0,2 2-18 0,3-4-5 15,0 3 8-15,0-3-6 0,0 0-2 0,13 4 0 16,-5-4-13-1,0-2 0-15,5 2-22 0,-1-2-24 0,4 1-26 0,-1-2-32 0,1 0 1 16,4 1-27-16,0-4-36 16,1 1-39-16,0 1-120 0,2-5-63 0,-3 5-114 0,4-5-340 15,1-3 110-15,-4 2 29 0,12-6 142 16,-5-2 24-16</inkml:trace>
  <inkml:trace contextRef="#ctx0" brushRef="#br0" timeOffset="63435.68">18513 10123 1267 0,'-6'3'363'0,"1"2"-28"0,-2 1-115 0,1 1-2 16,1 2-21-16,0-2-23 0,5 2-20 0,-3 1-6 15,1-2-30-15,4 3-34 0,1-3-7 16,0 3-20-16,2-3 1 0,3-1 1 16,1 1 5-16,0-1-13 0,3-4 16 0,0 1-29 15,-1-3 21-15,-1-1 23 0,3-2-8 0,0-1 21 16,-5 2 0-16,2-4 10 0,0-1-8 15,-5-2 5-15,1 0 3 0,-4-2 8 0,2 4 2 0,-4-3 13 16,-4-1-38-16,-1-1-24 0,0 3 6 16,-3-3 51-16,-4 4-3 0,-1-1 11 47,-3 0-37-47,1 3 1 0,-1-1-39 0,1 2-30 0,-1 3-31 0,1-1-39 0,2 2-12 0,3 0-39 0,0 0-56 0,0 3-71 0,5-2-126 15,5-1-100-15,-3 3-420 0,3-3 3 16,0 0 122-16,15 1 65 0,-15-1 77 0,23-6 63 0</inkml:trace>
  <inkml:trace contextRef="#ctx0" brushRef="#br0" timeOffset="63589.6">18856 9923 957 0,'6'-1'422'0,"-4"-1"-12"0,-2 2-80 0,0 0-33 16,8 10-18-16,-8-5-18 0,0 4-15 0,0-3-13 15,-1 6-13 1,-2-1-44-16,1 3-25 0,0 2-18 0,-4 0-53 0,1 6-52 0,-3-1-38 15,0-1-77-15,-2 4-110 0,0-3-172 16,0 0-478-16,-1 0 84 0,-1-2 69 0,2 0 47 16,0-1 63-16</inkml:trace>
  <inkml:trace contextRef="#ctx0" brushRef="#br0" timeOffset="63771.18">18696 10079 1228 0,'0'-7'366'0,"-2"3"-30"16,2-2-52-16,2 4-54 0,-2 2-33 16,1-4-97-16,-1 4-105 0,7 0-223 0,-7 0-455 15,8 4-6-15,-3-2 72 0</inkml:trace>
  <inkml:trace contextRef="#ctx0" brushRef="#br0" timeOffset="65074.55">21282 10147 1387 0,'-4'-8'432'0,"2"1"-19"0,0 4-129 16,1 0-13-16,1 3-33 0,0 0-23 0,0 0 18 15,0 0 2-15,0 0-50 0,11 18 2 0,-3-6-31 16,2 5-21-16,0 1-7 0,0 0-23 16,-2 3 13-16,1-2-39 0,-3 4-20 0,0-1-30 15,-4-1 6-15,-1-1-22 0,-2-1 0 16,-1-1 20-16,-2 1-35 0,-3-3 12 0,2 0-2 0,-3-2-6 16,-2-1-2-16,0-3 0 0,2-1 5 15,1-3 8-15,-1-1-18 0,0-1-5 16,3-2 7-16,0-1 3 0,5-1-2 0,-10-5 4 15,9 1-2-15,0-1 0 0,1-1 10 0,1-1-20 16,2-3 18 0,2 1-6-16,3-5 9 0,1-1 4 0,-1 2-18 0,3-5 6 15,2-1-11-15,-2 2 8 0,1-2 13 0,0-1 0 16,-3 1 0-16,1-2 2 0,-2-1-7 0,0 6-1 16,-4-3 42-16,-1 3-31 15,0 2 23-15,1 1 18 0,-3 2-29 0,-1 0 1 0,-3 1-5 16,1 2 15-16,-1 1-26 0,-2 0 18 15,2 2-25-15,-2-1-26 0,0 4-5 0,-2-3-13 16,1 5-30-16,2-1-19 0,4 1-38 0,-9 1-5 16,9-1-35-16,-5 5-27 0,5-5 1 15,0 4 2-15,0-4-18 0,8 4 0 0,-1-1-7 16,1-1-16-16,1-2 26 0,1 0 43 16,2 0 18-16,-2 0 54 15,1 0 28-15,-3 0 42 0,-1 1 1 0,3 2 60 0,-3-1 30 0,0-1 3 16,-3 3 23-16,2-1-3 0,-2 2-20 15,1 1-1-15,-4 1 42 0,3 3-41 0,-1-1 0 0,-2 2 2 16,1 1-23 0,2 0 16-16,-3-1-10 0,2 1-11 0,4-2-15 15,0 3 12-15,0-4-9 0,3 0-11 0,0 2-5 0,2-3-13 16,-1-2 28-16,6 1-27 0,-2-1-11 16,-1-6 18-16,1 3 5 0,1-3 23 0,2-3-13 15,-5 3 10-15,1-6 27 0,0 3-17 31,-4-4 11-31,-3-1 16 0,1 0-9 0,-2 0 6 0,-2-3 28 0,-4 3-46 0,3-2 13 0,-3 1-6 16,-5-1 11-16,3 2-13 0,-4-2 3 16,-4 3-27-16,0 2-1 0,1-2-3 0,-3 1-8 15,0 5-3-15,1-2-22 0,-5 1 81 0,2 2-45 16,0 2-37-16,-1 1-14 0,1 1-55 16,0-1-23-16,-1 4-66 0,4-1-141 15,4 3-143-15,-1-2-494 0,6-1 87 0,2-4 117 16,0 5 62-16,7-5 95 0,3 2 25 0</inkml:trace>
  <inkml:trace contextRef="#ctx0" brushRef="#br0" timeOffset="65259.73">22348 9901 1190 0,'0'0'340'0,"0"11"-25"0,-1-3-26 0,-3 3-20 0,1 1-13 0,-4 5-33 15,-1 2-11-15,0 2-28 0,0-2-27 0,-7 13-22 16,2-2-32-16,-4 0-57 0,0-4-72 0,0 3-86 16,0-1-93-16,-4-3-161 0,5-6-428 15,5-1 52-15,-1-1 102 0,-1-4 77 16</inkml:trace>
  <inkml:trace contextRef="#ctx0" brushRef="#br0" timeOffset="65380.61">22039 10110 560 0,'1'-11'225'0,"-1"4"-48"0,0 1-39 0,0 1-82 15,0 4-2-15,0 1-44 0,0 0-81 0,8 0-44 16,-8 0-433-16</inkml:trace>
  <inkml:trace contextRef="#ctx0" brushRef="#br0" timeOffset="65533.73">22268 10178 847 0,'0'0'325'16,"8"0"36"-16,-8 0-44 0,5-3-25 0,-5 3-5 0,8-1-60 0,-8 1-35 16,7-2-53-16,-7 2-55 15,6-3-58-15,-6 3-162 0,0 0-107 0,0 0-507 16,7 0 87-16,-7 0 51 0,0 0 80 0</inkml:trace>
  <inkml:trace contextRef="#ctx0" brushRef="#br0" timeOffset="70827.34">18433 11656 821 0,'0'-4'248'0,"0"4"-40"0,2-9-19 0,1 6-35 16,0-1 17-16,2-1-27 0,3 0-16 15,-1 1 5-15,2 0-10 0,0 0-47 16,-2 1 24-16,2-1-20 0,1 2 63 0,-2-1-7 16,-1 1-21-16,1 1 18 0,1 1 5 0,-3 0-25 15,-6 0 15-15,10 1-21 0,-7 4 6 0,2 0 2 16,-2 1-33-16,1 2 18 0,-1 1-8 15,-2 2-15 1,-1 4-11 0,2-1-4-16,-2 2-1 0,-2 3 1 0,2 2-19 0,-4-1 8 0,2 0-17 0,-3-2 17 0,2 8-8 0,-1-3-33 15,-2-3-17-15,1-1-6 0,0 0-5 16,0-1-25-16,2 0-44 16,-2-5-26-16,0 5-64 0,0-4-117 0,3-2-29 0,-4 2-204 0,3-3-284 15,-2-4 99-15,3 3 95 0,-1-3 36 31</inkml:trace>
  <inkml:trace contextRef="#ctx0" brushRef="#br0" timeOffset="71301.98">18333 11961 742 0,'0'0'269'0,"4"-5"-21"0,0 0-18 0,3 0-33 0,3 1 3 0,2-3-44 15,2 1-2-15,5-2-6 16,1-2-7-16,3-1-16 0,10-3-43 0,-8 1 23 0,6-2-43 16,-5 1 30-16,2-2-5 0,-4 1-39 15,-7 2 9-15,4 0-16 0,-4 2 23 0,-6 1 2 0,2 1 103 16,-3 1 3-16,-2 0-14 16,-3 2-42-16,0 1 6 0,-5 0 4 0,3 2-6 15,-3 3-17-15,0 0 19 0,0 0-17 0,0 0-15 16,0 0-34-16,-11 16 19 0,6-7-11 15,2 3 0-15,-2 0 0 0,2 1-8 0,1 0-31 16,0 1 14-16,2-1-11 0,0 0-31 16,2-1 19-16,0 0 2 0,1-2-26 0,3 0 18 15,2-1-28-15,-1-2 26 0,3-2-31 16,1 0 18-16,-1-3 20 16,1-1-40-16,1-2-1 0,1-1 23 0,2-2 19 0,-4 0-21 15,3-3 20-15,-3-1 0 0,2-3-17 0,-6-1 20 0,3 0-13 16,-2-2 3-16,-5 1 2 0,2-3 18 15,-2 0-20-15,-1 2-13 0,-2 0-39 16,-2 1-12-16,-1 0 5 16,1 0-6-16,-4 2 11 0,2 0 0 0,-4 3 3 0,0-1-9 0,0 2 14 15,-2 3-8-15,1-1 0 0,-3 0 18 16,5 3-36-16,-4 1-39 0,4-3-12 0,-1 4-41 16,2 0-26-16,6 0-74 15,-6 3-66-15,6-3-14 0,0 0 16 0,0 0-7 0,0 0-21 16,0 0-218-16,0 0-36 0,32-5 57 15</inkml:trace>
  <inkml:trace contextRef="#ctx0" brushRef="#br0" timeOffset="71496.19">19048 11549 742 0,'8'-1'251'0,"-2"-1"64"0,-2 3 7 0,-4-1-2 16,6 7-23-16,-4-1-28 0,0 2 2 16,0 1-41-16,-2 1-22 0,1 2-24 0,-1 3-2 15,0 2-8-15,-1-2-23 0,-1 4-39 0,-2 1 6 16,-2 1-54-16,1 2-33 0,-2-2-21 15,-1 0-94-15,0 1-57 0,0-2-100 16,1-3-102-16,-3 1-476 0,2-4 77 0,0 1 89 0,3-4 59 16,-3 0 57-16</inkml:trace>
  <inkml:trace contextRef="#ctx0" brushRef="#br0" timeOffset="71634.88">18929 11708 1008 0,'0'-4'282'0,"1"1"-55"0,-1 3-32 0,0-4-70 16,0 4-153-16,5-3-87 0,-5 3-551 0,0 0 83 15</inkml:trace>
  <inkml:trace contextRef="#ctx0" brushRef="#br0" timeOffset="71730.57">19115 11761 767 0,'0'0'323'0,"5"-1"-52"0,-5 1-48 0,7-3-69 0,-7 3-129 16,6 0-168-16,-6 0-543 0,12 2 153 15</inkml:trace>
  <inkml:trace contextRef="#ctx0" brushRef="#br0" timeOffset="72621.67">21425 11581 1013 0,'14'-2'353'16,"-5"1"-2"-16,1 3-133 0,-2 2 12 0,-1-1-20 0,-4 2-26 15,1 2 0-15,-2-1-20 0,-3 3 0 16,-4 3-18-16,2-1-5 0,-6 4-13 16,1 1-3-16,-3 2 13 0,-4 0-38 0,2 0 3 15,-2 1 2-15,-5 5-18 0,4-5 10 0,5-4-8 16,-1-3-14-16,4 1 12 0,-2-1-31 16,2-2 5-16,4-1 9 31,-2-2-22-31,5 0-9 0,-3 1 9 0,4-4-17 0,0 2 33 0,2-2-26 0,3 0-4 0,1-1-6 15,2-2-38-15,4-1-29 0,0 0-9 0,5-1-4 16,3-3-22-16,2-2-18 0,-1-1-5 0,5-5-3 0,5-1-8 31,-6 0-2-31,-1 0 34 0,-3 2-17 0,-1-2 17 0,-2 1 22 0,-3 5 8 16,-3-1 25-16,-1 2 1 0,-1 1 2 0,-3-1 15 16,-1 5 1-16,-3 0 17 0,-3 1 11 15,0 0 15-15,8 5-23 0,-6-1 2 16,0 1-5-16,-2 1 1 0,4 1-1 0,-2 0-10 0,0-1-2 15,3 0-36-15,-2 1 25 16,2-1-8-16,2-1 14 0,-1-1-13 0,1 0-16 0,1-2 23 16,0 0 6-16,2-2-11 0,-2 0 28 0,2-1-5 15,-2-2 29-15,-1 1 12 16,-1-3 0-16,1 2 23 0,-2-2-4 0,-2-1 4 0,2 0 3 16,-5 1-6-16,2-1 6 0,-2-1 7 31,-2 3-32-31,2-3 17 0,-5 2-10 0,2-1-3 0,-3 2-15 0,-1-2 2 0,-2 1-32 15,0 2-16 1,-1 0-24-16,-2 0-19 0,4 0-70 0,0 2-13 0,0 1-66 0,1 0-133 16,7 0-67-16,-10 1-470 0,4-1 114 0,6 0 19 15,0 0 94-15,0 0 33 0</inkml:trace>
  <inkml:trace contextRef="#ctx0" brushRef="#br0" timeOffset="72814.77">22007 11571 1190 0,'6'6'420'0,"-6"-2"-29"0,0 1-56 0,0 1-40 0,-1 1 4 0,1-1-53 0,-3 4-36 0,1 1 23 15,1 0-59-15,-3 1 8 0,-1 1-47 16,0 3-60-16,-1 0-60 0,-2 0-110 0,1-1-168 16,-8 4-224-16,6-2-329 0,-3-2 40 15,2-1 152-15,0-4 68 0,2 1 62 16</inkml:trace>
  <inkml:trace contextRef="#ctx0" brushRef="#br0" timeOffset="72907.34">21835 11766 1090 0,'0'-11'353'0,"-2"3"-18"0,2-1-40 0,0 2-29 16,0 1-130-16,2 0-24 0,0 2-71 16,1-1-112-16,0 0-139 0,1 3-236 0,-1 0-209 0,3 0 7 15,2 1 93-15</inkml:trace>
  <inkml:trace contextRef="#ctx0" brushRef="#br0" timeOffset="73065.98">22117 11742 1052 0,'0'0'291'16,"6"0"-32"-16,-6 0-24 0,0 0-22 0,0 0-24 0,0 0-56 16,0 0-15-16,9-2-82 0,-9 2-98 15,0 0-142-15,0 0-464 0,0 0 2 16,0 0 65-16</inkml:trace>
  <inkml:trace contextRef="#ctx0" brushRef="#br0" timeOffset="75470.5">22286 1566 540 0,'29'2'258'0,"1"2"-4"0,1 1-19 0,10 3-17 0,3-1-1 0,1 4-27 0,-3 1-34 15,-1 1 18-15,0 3-3 0,-3 0-25 16,0 3 3-16,-4 3-26 0,0 2-26 0,-6 3 26 16,-3 4 7-1,-4 2-15-15,-3 4-7 0,-6 4 5 0,-6 2-29 0,-4 4-5 0,-8 11 31 16,-6 6-30-16,-3 2-9 0,-5 3-12 16,-7 21 0-16,-8-1-18 0,-1 1-2 0,-3 1 7 0,-4-6 0 15,2 0-8-15,2 0 0 0,-1-3 14 16,13-18-40-16,-1 0 6 0,6 1 0 15,1-1 16-15,3-1 12 0,7-5-41 0,-1-1-3 16,7-11 19-16,2-1-14 0,5-2 14 31,2-2 12-31,3 1-38 0,3-5 28 0,4 0-20 0,3-4-3 0,4-4 5 0,2 1 13 16,0-4-36-16,5-4 13 0,0-1-6 0,1-5 4 0,-4-1-16 16,1-6-18-16,-1 1 8 0,1-4-11 15,2 0 0 1,-3-5 9-16,1 0-37 0,0-1 16 0,2-1 15 0,1-4 0 0,-4 0-5 0,-4-2 15 15,-4 1 13 1,-1-2 8-16,-3-2-13 0,-3 2 10 0,0 0 0 0,-4 3 26 16,-4-1-23-16,0 2-3 0,-4 2 10 0,2 2 8 15,0 0-7-15,-18 2 17 16,5 7-20 0,-5 3 23-16,-5 8 13 0,-1 6 0 0,-9 11 7 0,3 1-2 0,-1 4-3 0,3-1-5 0,2 5-12 15,-2 2 9-15,2 1 19 16,4 2-24-16,1 3 8 0,1 0 8 0,4 3-8 15,-2 0-12-15,8-1-1 0,0 3 13 0,2 0-2 16,2 4-19-16,-1 0-4 0,6 4 0 16,-1 3-1-16,4-1 1 0,-4 1 7 0,5 3 0 0,0 2-7 15,2-5 4-15,3 4-9 0,0 0-6 0,2-3 24 16,2 3 7-16,4 0-16 0,-3-2 24 16,2 1-31-1,-2 1 0-15,2-2 0 0,1 1 26 0,-2 4-3 0,4-1 7 16,1 20-7-16,-4-19-5 0,-2 3 13 0,0 1-5 0,2 19 2 31,0-18 13-31,1 17-29 0,-5-18 1 0,1 2 8 0,1 21-14 0,0-21 22 0,-6-2-14 16,5-1 0-16,-1-1 3 0,2 0-25 15,-2 2 1 1,1-2 35-16,1 1-14 0,2-2 13 0,-2 2-2 0,0-1 25 0,5 23-31 16,0-5-2-16,-5-14 5 0,-3-4 16 0,3 2 7 0,0 2-5 15,-3 1 25-15,0 1-12 16,0 0-28-16,-1 2 17 0,-2-3-7 0,0 0-5 15,-1 0-3-15,0 1-8 0,-2 3-4 0,0-2 35 16,0-3-46-16,0 2-10 0,-1-4 41 16,4 0-16-16,-6 0-33 0,6 1 31 0,-1-4-18 15,-1 2 11-15,3-5 1 0,-1 0-9 16,-2-3 5-16,3 0-6 0,0-4 8 0,3 5-10 16,-1-4 26-16,-3 0-21 15,6-4 21-15,-2-2-11 0,-4 2-17 0,0-2 17 0,3-5 3 0,-4 3 2 16,-1-2 3-16,-2-10-12 0,2-1 12 15,-3 1 18-15,1-2-44 0,-3 1 26 16,2-1 8-16,-2 0-6 0,-2-2-9 0,2-2-19 0,-3-2-2 16,0-1 36-16,1-8-18 0,0-6-8 31,-1 2-13-31,-2-3 26 0,1-3-28 0,-2 2 7 0,0-6 1 0,1-1-4 0,-2-2-9 16,-1-2 0-16,-2 1-13 0,2-2-47 0,0-4 4 15,-2 0-24-15,0-2-13 0,-3-2-30 16,6-1-49-16,-4-2-87 0,2-1-194 0,-2-2-474 15,5-2 138-15,-1-1 49 0,-1-3 8 0,7-3 89 16,-3-2 77-16</inkml:trace>
  <inkml:trace contextRef="#ctx0" brushRef="#br0" timeOffset="92549.69">2839 4591 826 0,'3'-4'392'0,"-3"4"-39"0,-3-6-33 16,3 6 10-16,-2-4-40 0,2 4-137 0,-3-3 26 15,-2-1-7-15,5 4-24 0,-8-1-22 16,8 1 17-16,-10 0-5 0,10 0-17 16,-15 3-9-16,7 0-32 0,1-1 7 0,-1 2-13 0,0-1-18 15,0 2 8-15,-2 0 15 16,2 0-25-16,3-2-18 0,-2 2 10 0,4 0 13 15,-2-2-15-15,0 3-9 0,2-2-4 0,0-1-26 0,3 1-5 16,0 1 13-16,0-2 5 16,3 2 20-16,-2 0-30 0,3-3 7 0,2 4-20 15,1-2 0-15,1 0 20 0,2 1 6 0,3-1-24 16,-3 3 16-16,3-3 3 0,-2 0-11 16,1 1 5-16,-2 0-2 0,1-2-8 15,-2 0-3-15,0 0-15 0,-1 1 8 0,-1-2-6 0,-2 2 32 16,0-1-32-16,0 0 29 0,-3-1-31 15,-1 2 41 1,-1-4-28-16,-1 7 16 0,-3-6-24 0,-1 4 23 0,-1-2-13 0,-3 1 3 0,-2 2-10 16,-2-5 20-16,3 3-7 15,-5 0-24-15,2-1 1 0,-1-1 28 0,0 2-31 0,3-4-29 16,-2 1-32-16,1 0-8 0,4-1-11 0,-3 0-22 16,1 1-13-1,3-1-31-15,-1-1-38 0,8 1-103 0,-13-1-95 0,8 1-350 16,5 0 33-16,0 0 106 0,-5-1 58 0</inkml:trace>
  <inkml:trace contextRef="#ctx0" brushRef="#br0" timeOffset="93067.46">3022 4510 806 0,'0'0'335'0,"0"0"-30"15,0 0-29-15,2 14-12 0,0-9-44 16,1 3-8-16,0 2 11 0,-3 1-31 15,2 1-18-15,0 1-31 0,-1 0-17 0,1 0-1 16,1-1-12-16,-1 1-31 0,-1-2 18 0,1 0-16 16,-2-3-20-16,0 0-13 0,0-1 6 15,3 0 22-15,-1-3 3 0,-2 2 10 0,1-1 82 0,-1 0-18 16,1-2-66-16,-1-3 17 31,3 4-25-31,-3-4-2 0,0 0-24 0,0 0 0 0,0 0 11 0,0 0-29 0,10-8 1 0,-7 4-1 16,2 3 8-16,-2-3-15 0,2 2 12 15,-5 2-17-15,10-4-16 0,-5 4 8 16,3 0 0-16,-8 0-5 0,13 0 12 16,-5 3-2-16,1-2-10 0,0 1-10 0,-1 2-6 0,-1 1 19 15,1-2-37-15,1 2-10 0,-3-2-40 0,2 1-21 16,-1 2-42-16,-1-1-52 0,1-2-24 0,-2 2-62 16,3 0-45-16,-3-3-70 0,2 1-439 15,2-2 58-15,-1 1 79 0,-1-2 29 16,1 0 81-16</inkml:trace>
  <inkml:trace contextRef="#ctx0" brushRef="#br0" timeOffset="93938.85">3398 4630 1315 0,'0'0'374'0,"-11"1"-29"16,7 1-35-16,-1 2-21 0,0-2-115 0,-1 3-5 0,-1 1-23 16,4 0-25-16,-2 1 9 15,0-1-7-15,2 2-13 0,1-1-8 0,-1-1-17 16,0 4-6-16,2-4-17 0,0 1-26 0,1-1-6 15,1 0 45-15,0-3-27 0,2 3-12 16,0-1-18-16,-1-2-10 0,1-1 12 0,0 0 13 16,-3-2-20-16,7 1 10 0,-7-1-5 0,10-1-8 15,-10 1 13-15,8-2-2 0,-5-1 17 16,2 0-15-16,-2-2 8 0,2-1 0 0,-2-1-6 16,1 1 19-16,-1-1-8 0,0 0 20 15,1 1-5-15,-1-1-23 0,0 1 3 0,-1 0-5 16,1 0-3-16,-1 0 7 0,1 2-4 15,-3 1-6-15,3-1 1 0,-3 4 5 0,5-1-21 16,-5 1 2-16,0 0 4 0,12 2 30 16,-9 3-21-16,3-1-10 0,-2 1 8 15,4 2 3-15,-3 1-11 0,2-2 5 0,1 2 11 0,-2 1 10 16,-2-2-34-16,2 0-4 0,-1-1 9 16,0 0 1-16,-2 1 13 0,1-3-1 15,-1 0 31 1,0 0 93-16,-1-2-9 0,1 3-71 0,0-3 39 0,-3-2-22 0,4 4 24 0,-4-4 0 15,3 2-10-15,-3-2 36 0,0 0-1 0,0 0-10 16,6-8-20-16,-4 3 10 0,1 0-20 16,0-3-3-16,1 2-23 0,-1-2-26 31,2-3-20-31,0 3-5 0,0-3-51 0,3 2-26 0,-3 0-18 0,3 1-21 0,2 2-45 0,-4-1-11 16,1 3-7-16,0 2-26 0,1-1-8 0,-3 1-56 15,3 2-107-15,-2-1-170 0,1 2-450 16,-2 4 118-16,0 1 64 0,0-2 102 0,-2 2 54 15,2-1 57-15</inkml:trace>
  <inkml:trace contextRef="#ctx0" brushRef="#br0" timeOffset="94255.07">3795 4727 1005 0,'3'-9'405'0,"2"0"-34"0,-5 2-18 0,0 1-33 0,0 0-43 0,-2 0-1 15,-1 1-66-15,3 1-44 0,-3 0-4 0,1 2-22 16,2 2-4-16,-6-2-21 0,6 2-2 0,0 0 12 16,-12 5-33-16,7 0 11 0,2 0 10 15,-1 0-19-15,1 1-32 0,-2 1 22 0,4-2 6 16,-1-1-16-16,2 2 8 0,0 1-23 0,0-2 5 16,0 1 20-16,2-1-38 15,1-2-15-15,3 0-3 0,1 2-20 0,0-3-21 16,2-1-30-16,1 1-32 0,2 1-32 0,-2-3 9 15,4 0-1-15,-2 0-83 16,4 0-25 0,-6 0-67-16,5-1-33 0,-2 1-57 0,0 0-440 0,2-2 44 0,1 2 46 0,-1-2 123 0,1 1 43 15</inkml:trace>
  <inkml:trace contextRef="#ctx0" brushRef="#br0" timeOffset="95591.3">4447 4506 839 0,'0'0'392'0,"-8"7"-42"0,8-3-35 15,0 3-41-15,0 1-13 0,0 0-5 16,0 2-54-16,-2-1-15 0,2 2-28 15,-1 2-23-15,1 0-3 0,1-2-28 0,-1 0-3 0,0-2-17 16,2 1-1-16,-2-2-15 0,0-1 5 16,0 0-15-16,3 0 0 0,-3-2 13 0,2 0-24 15,-1 0 11-15,0-3 5 0,-1-2-7 0,1 4-1 16,-1-4 0-16,0 0 3 16,0 0-8-16,0 0-10 0,0 0-8 0,13-10 49 0,-13 7-38 15,0-2 7-15,2-4 8 0,-2 1-8 16,0-1 3-16,1-2-31 0,-1 0 8 0,2-2-1 15,0 1 1-15,-2 1-3 16,3-2 18 0,0 0-35-16,1 4-1 0,-3-4 13 0,1 5-5 0,1 0 2 0,0 0 3 0,2 1-10 0,-3 2 8 15,0 0-1-15,4 3 8 0,-3 2 13 16,-3 0 10-16,0 0-15 0,17 6 0 0,-9-3 0 16,-3 2-13-16,3 3 15 0,-1 1 1 0,1-1-14 15,-2 2 26-15,1-2-43 16,0 3 20-16,-1-4-25 0,2 2 5 0,-3 0-1 15,2-2-9-15,-2-1 9 0,1 1 16 0,-2-2-7 16,2 1 2-16,-1-3 15 0,0 1-25 0,-3-3 7 16,1 1 49-16,-3-2-8 0,10 0-22 15,-10 0 17-15,8-6-23 0,-2 3 21 0,1-4 12 16,-2 2-18-16,-2-5 29 0,4 1-18 16,-1-2-28-16,-2 0-3 0,2 1 7 0,-1 0-7 15,0 1 0-15,0-1-84 0,-2 4 17 0,0-1 16 16,1 1-5-1,-1 1-5-15,0 2 9 0,-1 2 1 0,0-2 8 0,-2 3-14 0,0 0 27 16,11 5-6-16,-6 0 8 16,-2-1 2-16,2 3-7 0,0 1 5 0,0 3 2 0,-2-1 19 15,1 1-9-15,-1 1-4 0,2 0-8 16,-2 1-23-16,0 0 0 0,1-2-39 0,-3 2-33 0,1-1-7 16,1-3-14-16,-1 3-50 0,1-2-3 15,-1-2-26 1,1 0-33-16,-1-2-7 0,3 0-39 0,-1 0-44 0,0-1-43 0,2-4 67 15,1-1-106-15,-2 1-4 0,3-1-262 0,0-1-10 16,2 0 233-16,-3-3 328 0,1 1-31 16,0-3 112-16,0-1 39 0,-1-2 23 0,1 2 70 15,-3-1-9-15,0-1 42 0,1 1 37 16,-2 0 29-16,-1 2 87 0,0-1-23 0,-1-2-7 16,-2 2-70-16,0 3 2 0,0-1-27 15,-2-1-5-15,-1 2-11 0,0 2 8 0,3 2 15 16,-7-3-43-16,2 3-21 15,5 0 10-15,-11 5 1 0,6-2-1 0,0 0-30 0,-3 3-3 16,4-1-2-16,-2 1-21 0,1 0-2 0,2 2 23 16,-1-2-24-16,1 0 1 0,0 1-18 15,1 0 12-15,0-2-4 0,1 0-14 0,1 0 3 16,0-2-5-16,0-3-18 0,0 7 21 16,0-4-13-16,0-3 12 0,3 3 14 0,-3-3-11 15,0 0-25-15,0 0 17 0,15-6-7 0,-10 4 2 31,3-3-10-31,-3 3 8 0,3-2 13 0,-1 2-1 0,1-3 9 0,0 4-17 0,-1-3 7 16,1 3 88-16,0 1-30 16,2 0 5-16,1 0 3 0,-1 2-21 0,-2 1 13 0,2 0 2 15,-3 0-30-15,1 3 2 0,0-2-12 16,0 0-80-16,-4 3 8 0,2-1 10 0,-2 0 8 16,-1 1 17-16,1-2-12 0,-3 1 8 0,2 0 33 15,0 1-39-15,-3-2 8 0,0-1 13 16,0 0 33-16,0-4 8 0,0 6 0 0,0-6 2 15,-3 5-9-15,3-5 12 16,-3 1 0-16,3-1-11 0,0 0 16 0,0 0-10 0,0 0-28 16,-5-8 15-16,5 2 5 0,0 0-23 0,0-1 8 15,3-4-18-15,-3 4-5 0,1-3-26 0,1 1 26 16,0-1-36-16,1 2 10 0,0 1-28 16,1 0-2-1,-1-2-14-15,0 3-40 0,1 0-28 0,-1 3 4 0,2-3-40 0,-2 4-8 16,2-2-23-16,0 3-74 0,0-3-49 0,0 3-84 15,1 0-59-15,1 0-415 0,-2-2 100 16,3 0 33-16,0-1 46 0,-1-2 111 0</inkml:trace>
  <inkml:trace contextRef="#ctx0" brushRef="#br0" timeOffset="95789.43">5344 4413 696 0,'1'-7'407'0,"0"4"-26"0,2 0-30 16,-3 3-8-16,3-4-51 0,-3 4-13 0,0 0-36 15,0 0-3-15,2 10-27 0,-2-3-8 16,0 1 5-16,-2 2-24 0,2 3-22 16,-3 1-3-16,-1 3-33 0,1 1-25 15,-2 2-29-15,2-2-30 0,-5 1-32 0,3 0-35 16,0-1-20-16,0-3-44 0,0 2-69 0,2-5-44 16,1 1-117-16,2-5-37 15,-3 2-470 1,6-3 66-16,-1-4 93 0,-1 0 5 0,3-1 150 0</inkml:trace>
  <inkml:trace contextRef="#ctx0" brushRef="#br0" timeOffset="96110.47">5532 4478 947 0,'-19'10'335'0,"2"-2"-33"16,-1 4 3-16,0-1-96 0,-3 3 4 15,0 0-1-15,4 2-30 0,-1-3-5 0,0 0-3 16,5-1 2-16,3-1-17 0,-3 2 46 16,6-4 23-16,1 1-44 0,1-1 28 0,2 1 3 15,0-4-43-15,1 2-8 0,3-2-29 0,-1 1-4 16,2 0-11-16,3 1 13 0,-2-4-20 0,4 1 7 16,1 0-38-16,-1 0-8 15,1-2-35-15,2 1-19 0,1-4-25 16,-1 2-23-16,2-2-39 0,2 0 11 0,-4 0-26 0,5-2-18 15,1 2-2-15,-1-3-75 0,-2 2-48 16,4-1-64-16,-1-1-98 0,-3 0-534 16,3 0 110-16,-1 1 50 0,0-3 65 0,-2 3 71 0</inkml:trace>
  <inkml:trace contextRef="#ctx0" brushRef="#br0" timeOffset="96659.53">5716 4714 862 0,'2'-6'335'0,"-2"0"-40"0,3 0 48 0,-3 0-36 0,0-2-18 0,0 1 13 0,1 1-43 15,-1 0-11-15,0-1 23 16,0 2-58-1,0-1-26-15,-1 4 25 0,1 2-43 0,-5-4-31 0,5 4-7 0,0 0-1 0,0 0-22 16,-15 8-13-16,10-3 7 0,2 1-18 0,-3 2-12 16,-1 1-3-16,2-1-7 0,0 2-21 15,2-3 2-15,1 1-20 0,-1-1-2 0,1 0 7 16,2-2-3-16,0 1-22 0,0-1 2 0,2 1-10 16,1-4-26-16,2 1 11 0,0-3 35 15,-5 0-25-15,16-3-13 0,-9 1 15 0,3-4 16 16,3 1-8-16,0-3 0 0,0-2 18 0,2 1 7 15,0-3-40-15,-4 0 30 16,4-4 29-16,-2 0-18 0,0-2-21 16,-3-2-5-16,0 2 2 0,1-6 19 0,-4 4 14 0,1-4 4 15,-3 0-24-15,2 3 8 0,-3 3 28 0,-2 5 3 16,-2 0-67-16,2 1 3 16,-2 2 8-16,0 3 2 0,-2 2-5 0,0 3-8 0,2 2 13 0,0 0-11 15,-16 7-6-15,11-1-4 31,-3 5 13-31,0 3 19 0,0 1-29 0,1 2 20 0,2 1-12 0,0 5-8 0,-2-2-7 0,3-1 1 16,0 1-45-16,3-3-7 0,1-2-34 0,-2 1-65 16,5-2-4-16,-1 1-51 0,0-3-70 15,1 1-135-15,2-3-141 0,-2 0-263 16,0-3 130-16,1-2 64 0,-3 0 20 16,4-4 90-16</inkml:trace>
  <inkml:trace contextRef="#ctx0" brushRef="#br0" timeOffset="97037.07">5873 4618 749 0,'14'-10'331'0,"-3"2"-45"0,2 0-4 0,-2 1-39 0,1 0-23 15,0-1 0-15,-1 2-17 16,-1-1-22-16,0 0 4 15,0 1-106-15,-2-1 31 0,0 3-8 0,0-2 8 0,-5 1 1 0,1 2-17 0,2-3-7 16,-4 3-15-16,0-1-8 0,2 4 5 16,-4 0 10-16,0 0-15 0,0 0-23 15,0 0-10-15,0 0 10 0,0 0-3 0,0 0-2 32,-3 10 3-32,3-10-3 0,0 9 2 0,3-2 11 0,-3 1 9 0,0-1 14 0,2 2-23 15,-2-1 20-15,2 2 74 0,-1-3 18 0,1 1-17 16,1 0 4-16,-1 1-15 0,-2-2-10 15,2 0 3-15,-2-1-29 0,0 0-2 16,0 0-3-16,-2 0-8 0,0 0 16 0,2 0-15 0,-6 1-65 16,2-1 26-16,-2 0-72 0,1 0-20 15,-3-3-38-15,1 3-21 0,-3-1-51 0,1 0-67 16,-3 1-87-16,-1-3-153 16,0 2-527-16,-2 1 129 0,-3 1 117 0,0-1 40 0,-5 0 56 15,-3 2 64-15</inkml:trace>
  <inkml:trace contextRef="#ctx0" brushRef="#br0" timeOffset="97332.72">3873 5063 913 0,'25'-5'307'0,"3"-1"-28"0,3 1-30 0,15-3-9 0,5 2-19 0,13-5-12 0,4 2-22 0,6 1-15 15,3-3-29-15,2 1-20 16,-2 1 5-16,0 1-28 0,-3-1-18 0,-2 1-8 0,-1 2-28 16,-14 1-13-16,-3 0-25 0,-3 2-13 31,-2-1-26-31,-11 2 0 0,-7 2-38 0,0-4-20 0,-8 4-62 0,-5-1-29 0,0 0-22 15,-5 1-5-15,-3 0 7 0,-2 2-12 16,-1-3-338-16,-7 1-124 0,0 0 134 0</inkml:trace>
  <inkml:trace contextRef="#ctx0" brushRef="#br0" timeOffset="97616.59">3744 5181 972 0,'-10'2'323'0,"5"1"-3"0,5-1-16 0,0-2-91 0,17 1-6 16,-3-1 46-16,12-1-14 15,20-3-14-15,8-2-10 0,17-3-21 0,6-2 14 16,5-1-42-16,5-2-30 0,5-1-21 0,-2-1 15 16,-2 0-4-16,2 0-24 15,-4 2-20-15,-3-3-13 0,-4 4-89 0,-10 0 20 0,-4-2-26 16,-17 8-28-16,-5-4 11 0,-9 6-8 0,-9 0 7 15,-7 0-2-15,1 0 0 0,-6 2-15 16,-1 0-67-16,-4 1-23 0,0 0-57 0,-6-2-104 16,-2 4-23-16,0 0-441 15,-8-5 34-15,-2 3 48 0,-5-1 100 0</inkml:trace>
  <inkml:trace contextRef="#ctx0" brushRef="#br0" timeOffset="98031.42">1988 4926 604 0,'24'-7'207'0,"-2"0"-38"0,1 1 15 16,1-3-46-16,-4 4-5 0,1-2-30 16,-1 3-47-16,-2-1-89 0,-3 3-62 0,1-2-33 15,-6 4-450-15,-3 0-8 0</inkml:trace>
  <inkml:trace contextRef="#ctx0" brushRef="#br0" timeOffset="98215.07">1847 5133 724 0,'0'0'274'0,"0"0"-31"15,0 0-23-15,20-8-7 0,-10 4-11 16,1 0-26-16,2-1-19 0,5-1-32 0,0 0 13 15,2-1-56-15,-1 2-38 0,0-2-88 16,0 1-89-16,-1 0-143 0,-3 2-431 0,-2 1 93 16,-3-2 74-16</inkml:trace>
  <inkml:trace contextRef="#ctx0" brushRef="#br0" timeOffset="98490.01">2062 4883 916 0,'19'1'317'0,"1"2"-15"0,-2-2-10 0,-1 2-38 0,2 2-73 0,-1-1-22 0,0 3-3 16,-3 1-5-16,1-1-33 0,-4 3 25 0,1-1-38 15,-3 2-28-15,-4 1 5 0,-1-1-5 16,-3 2-21-16,1 2-7 0,-3 1-37 15,-6 3-35 1,1 0-20-16,-3 0-67 0,-1 2-85 0,-1-1-45 0,-1 0-21 0,-1 0-472 16,1 0 63-16,-2 0 76 0,0-1 79 0</inkml:trace>
  <inkml:trace contextRef="#ctx0" brushRef="#br0" timeOffset="98929.89">1614 6201 785 0,'18'-7'254'0,"0"0"-3"0,-3 2-24 0,3-2-19 0,-3 1-32 0,9-1-20 16,-7 1-38-16,4 0 15 0,-3 1-53 15,2-1-32-15,-2 1-50 0,-2 2-60 0,-1-2-109 0,0 4-313 16,-4 1-187-16,-1-1 39 0</inkml:trace>
  <inkml:trace contextRef="#ctx0" brushRef="#br0" timeOffset="99101.9">1578 6287 1041 0,'-3'2'338'0,"1"-1"-20"16,2-1-32-16,0 0-4 0,0 0-29 0,11 5-25 16,-4-5-33-16,3-2-11 0,1 1 3 15,1-2-21-15,3 3-94 0,3-4-11 0,1 1-15 16,0-1 5-16,2 1-10 0,-2-3-12 0,3 0 1 15,-2 1-17-15,1-2-33 0,3 0-32 16,-7 1-45-16,1 1-79 0,-5-1-65 0,2-1-33 16,-5 1-496-16,-1 4 27 0,-2-4 73 0,-2 2 63 15</inkml:trace>
  <inkml:trace contextRef="#ctx0" brushRef="#br0" timeOffset="99375.4">1734 6019 793 0,'16'-1'233'0,"1"-3"10"0,1 3 49 0,0 1-11 16,-2 0 1-16,2 0-44 16,5 3 16-16,0 0-22 0,-2 2-9 15,4 2 7-15,1-1-25 0,-5 3-23 0,-1 2 18 0,-2 2-34 16,-6-2-46-16,-4 4 42 0,-5 2-34 15,-3 2 10-15,-3 4-41 0,-5 2-38 0,-9 7-23 16,1 1-44-16,-7 3-56 0,-5 8-54 0,-2 1-66 16,1-6-133-1,-7 2-216-15,5-3-309 0,6-6 74 0,-3-4 57 0,-9 5 107 0,5-9 86 16</inkml:trace>
  <inkml:trace contextRef="#ctx0" brushRef="#br0" timeOffset="105891.8">2827 5976 1218 0,'-1'6'397'0,"-1"1"-19"0,-1 4-45 0,1 0-23 15,-5 1-44-15,1 2-10 0,-4 5-23 0,0 1-23 16,-1 2-15-16,-7 6-6 0,3 0-18 15,0-5-4-15,0 5-26 0,1-7-13 16,4-1-21-16,-1-1 8 0,2-3-35 0,1-2 25 16,2 2-44-16,-1-3 13 0,2-3-5 0,2 1-35 15,0-3 22-15,1 2-25 0,3-3 33 0,0 0-21 16,2 0-4-16,3-2 9 0,1 0-4 16,1 0-26-16,5-2 2 0,-3 0 1 0,5-2 9 15,1-1-7-15,2 1-12 16,0-2 6-1,2-3-24-15,-2 3-1 0,2-1-28 0,1-2-23 0,0 0-30 0,-4 1-11 0,1-2-66 16,-2 1-37-16,-3 1-147 0,0-1 20 0,-6 2-175 16,3-4-386-16,-1 5 111 0,-2-5 45 0,0 4 52 15,-4-2 97 1</inkml:trace>
  <inkml:trace contextRef="#ctx0" brushRef="#br0" timeOffset="106068.49">2726 6265 837 0,'-2'3'355'0,"2"-3"-30"0,0 0-35 0,0 0-6 15,0 0-36-15,29 0-38 0,-14-1 8 16,2-2-34-16,4 0-13 0,0 0-22 0,2-2-21 16,-3 1 43-16,3-1-30 0,3-1-28 0,-1-1-44 15,-6 2-49-15,1-1-48 0,-7 3-97 16,2-1-108-16,-7-2-154 0,2 5-422 15,-2-4 77-15,-1 3 77 0,-4-2 66 0</inkml:trace>
  <inkml:trace contextRef="#ctx0" brushRef="#br0" timeOffset="106297.49">2647 6089 1174 0,'5'-6'343'0,"0"3"-10"0,3-1-23 0,2 0-41 15,3 2-19-15,5-5 6 0,3 1-53 16,4 0-24-16,1-1-10 0,2 1-34 16,0 1-50-16,-2-1-11 0,2 0-46 0,0 4-89 0,-2-3-123 15,-3 2-80-15,-3-2-194 0,3 0-302 16,3-1 63-16,0 0 88 0,2-1 38 0</inkml:trace>
  <inkml:trace contextRef="#ctx0" brushRef="#br0" timeOffset="106673.78">3424 5845 1067 0,'2'5'297'0,"-2"1"-5"0,1 1-29 0,1 1-9 0,-2 3-24 15,3 2 77-15,-3 2-28 0,2 2-30 0,0 4-42 0,-2 0-20 16,0-1 15-16,1 7-33 16,1-1 2-16,-2-4-35 0,3 0-16 0,-1-1-7 15,-1-2-34-15,4 0-22 0,-3-3 14 0,-1-2 16 16,1-1-35-16,0 0 1 0,1-1-9 15,-3-5 15-15,3 2-26 0,-1-1-18 32,-2-2 31-32,0-4-17 0,0 2-4 0,0-4 8 0,0 0-22 0,0 0 4 0,0 0 5 0,-12-1-2 15,12 1-2-15,-16-5 14 0,6 1 4 16,-1 1-19-16,-1-2 3 0,1 4-5 0,-1 0 35 16,-2-2 1-16,4 3-21 0,-2 0-69 15,1 3-5-15,-2-1 56 0,4 1-33 0,-2 1 21 16,3 2-1-16,0 0 14 0,1 0-11 0,4-1 7 15,-2 2-14-15,2-1 19 0,3 0-12 16,0 1 0-16,1-2 11 0,4 0 4 0,-1-1-20 16,4 3 2-16,0-3 11 0,2-2-18 0,3 2-13 15,3-3-18-15,-1-1-21 0,3 0-32 16,0-3-29-16,2 0-28 0,-2 1-23 0,0-3-62 16,0 3-117-16,-2-7-62 0,-1 7-458 15,0-2 139-15,-2 0 25 0,-3 0 59 0,1-1 28 16</inkml:trace>
  <inkml:trace contextRef="#ctx0" brushRef="#br0" timeOffset="107244.97">3678 6126 1077 0,'0'0'428'15,"0"0"-21"-15,0 0-31 0,-8 6-20 0,5 1-39 16,1-1-17-16,0 0-32 0,-1 1-19 0,0 1-29 15,3 1-15-15,0-1-8 0,-2 2-46 16,2-2-8-16,0 1-20 0,2 1-28 16,-2-4 2-16,3 1 8 0,0 1-26 0,1-1 6 0,-1-2-21 15,2-1-16-15,-2 0 6 0,2-3-5 16,-1 1-72-16,-4-2 5 0,11-1 5 16,-11 1 21-16,10-5-14 0,-2 2 9 0,-5-2 15 15,4-1 33-15,-1 0 69 0,-2-1-10 0,-1-2 11 16,2 1-34-16,-3 0-3 0,1 2 14 15,0-1-1-15,-1 1-82 0,1 1-25 0,0-1 20 16,-3 3 0-16,2-1-2 0,-2 4 20 16,5 0-20-16,-5 0 25 0,0 0 11 0,8 7 2 15,-6-1-8-15,2-1-15 0,1 3 10 0,0-1-15 16,-2 3 11-16,1-2-17 0,1 3-9 0,0-3-8 16,-1 3-36-16,0-3-23 0,1 2-13 15,0-2-41-15,1-2-58 0,-2 1-32 0,2 1-19 16,-2-3-63-16,2 2-145 0,-1-3-77 0,3-1-414 15,2 0 63-15,-2-3 128 0,2 0 44 16,0 0 62-16,0 0 76 16</inkml:trace>
  <inkml:trace contextRef="#ctx0" brushRef="#br0" timeOffset="108107.4">4122 6156 1192 0,'-14'7'482'0,"2"0"-35"0,2 1-14 0,1 1-123 0,2-2-16 0,-1 1-25 0,3 2-8 15,0-2-38-15,-1 2-16 0,2-1-25 0,1 1-18 16,1-1 7-16,1 1-33 0,1-2-15 0,0 0-26 16,3 1 1-16,0-2-21 0,1-1 12 15,4 2-51-15,0-3-20 0,3 0-15 0,-1-3-8 16,1-1-5-16,1-1-39 0,3-1 8 0,0-1-28 15,-2-2 5-15,3 0 0 0,-1-1-5 16,3-2 13 0,-3-2-3-16,-1 3-8 0,3-2 26 0,-4-2 0 0,0 1 5 0,-3 4 11 0,-2-3 20 15,0 2-3-15,-1 0 16 0,-2 0 27 32,0 1 6-32,0 1-5 0,-4 0 15 0,2 0-7 0,-3 4 2 0,2-4 5 0,-2 4-5 15,0 0 11-15,0 0-11 0,0 0 5 0,0 0-8 16,-13 10-7-16,10-5-13 15,-2 1 5-15,3 0 11 0,-3 1-16 0,2-2 13 0,1 2-11 16,-1-1-2-16,2-1-7 0,1-1-24 16,0 1-7-16,1-1 15 0,2-2-11 0,-1 4-7 15,0-5-2-15,1 2-6 0,-3-3 1 16,8 3-31-16,-3-3-11 0,2 0 34 0,-7 0-16 0,14-3 3 16,-7 0-3-16,0 2 3 0,1-5 10 15,-2 5-5 1,1-4 11-16,-1 0-1 0,-2 2-7 0,2-3 17 0,-2 2 11 0,4-1 30 15,-5 0-12-15,2 0-5 0,0 0 2 16,-2 0 20-16,0-1 21 0,-1 3-20 0,0-1 20 16,2 1-10-16,-2-1-3 0,0 1-2 15,-2 3 12-15,3-5-17 0,0 1-16 0,-3 4 21 16,2-2-11-16,-2 2-2 0,2-5 5 0,-2 5-10 16,0 0 0-16,0 0 0 15,0 0-3-15,0 0 16 0,0 0-1 0,0 0-9 0,0 0 14 16,6 11-12-16,-4-9-10 0,-1 4 7 0,-1-1 16 15,1-3-16-15,2 4-20 0,0-2 5 16,-2 0 0-16,3 0 8 0,-1 1 33 16,2-3-49-16,0 2 13 0,0-3-5 0,0 0-18 15,3-1 13-15,-1 0-2 0,1-1-11 0,0 0 13 16,2-3 2-16,-2 3 0 0,2-5 9 0,0-1-29 16,-2 1 10-16,2-4 5 0,-2 2 0 15,-3-3 21-15,2 2 0 0,1-4-3 16,-2 1 21-16,-3-3 0 0,1-2-13 0,-1-1 2 0,-3-1 3 15,0-2 13-15,3 2-13 16,-1 4 18-16,-2 2-8 0,0 1 36 0,0 0-28 0,0 3 3 16,0 1 7-16,0 2-5 0,0 4-5 0,0 2 10 15,0 0-15-15,0 0 0 0,0 0 7 16,-3 16 73-16,3-8-1 16,0 4-18-16,0 1 8 0,3 0-31 0,-1 4-12 0,4-2-24 15,-4 4-38-15,4 0-36 0,-2-1-25 0,-1-1-29 16,2 1-46-16,0-1-9 0,0-1-19 31,1 0-44-31,-4-1-63 0,1-2-90 0,-1-5-164 0,1 4-463 0,-3-2 133 0,3-2 36 0,-3-3 108 16,0 2 45-16,0-3 93 0</inkml:trace>
  <inkml:trace contextRef="#ctx0" brushRef="#br0" timeOffset="108482.84">4585 6209 1064 0,'6'-3'415'0,"-2"-1"-31"16,4 1-13-16,2-2-51 0,1-2-54 0,1 3-20 16,1-1-11-16,0 1-22 0,0-1-26 0,3 0-23 15,-4 2 7-15,3-2-30 0,-1 1-11 16,-2 2-4-16,1-3-24 0,-3 5 11 15,1-2-6-15,-1 1-20 16,0-1 3-16,-2 2-3 0,-1 0-77 0,1 2 26 0,0 1 23 16,-3-1-13-16,0 2 21 0,0 1-3 0,0 2 20 15,0-1-22-15,1 2-1 0,-4-1 0 0,1 4 1 0,-1-1-8 16,1-2-6-16,0 1-22 16,-3 2-11-16,2-1-38 0,-2-2-13 0,0 2-43 15,0 0-23-15,0 0-49 0,0-2-59 0,0 2-36 16,0-3-128-16,-5 0-64 0,5-1-460 0,0 0 99 15,0-3 60-15,0-3 65 16,-3 5 75-16</inkml:trace>
  <inkml:trace contextRef="#ctx0" brushRef="#br0" timeOffset="108598.64">4811 6094 378 0,'0'0'3'0</inkml:trace>
  <inkml:trace contextRef="#ctx0" brushRef="#br0" timeOffset="109260.97">4973 6183 1164 0,'0'13'440'0,"2"1"-45"0,-2-4-55 0,2 1-25 0,-1-3-28 0,4 2-34 0,-3-2-28 0,1 0-7 0,2 1-1 15,-2-2-135-15,4 0 13 0,-4 0 7 0,2-2-38 16,2-1 5-16,-1 0 8 0,2-3-23 15,-1 1-3 17,-1-2 3-32,3-3-10 0,0 1-27 0,-2 0 4 0,3-2 10 0,-2-3-19 0,2 1 27 0,-2-4-39 0,-3 2 20 15,5-3-7-15,-7 2-13 0,2-2 3 0,-2-1 12 16,-3 6 0-16,2-5 14 0,-2 3-19 16,0 0-10-16,-2-1-8 0,2 2 13 0,-3 1 8 0,-2-1-18 15,2 5-10-15,-2-2 7 0,0 2 5 16,0 0 11-16,5 2 0 0,-10-3-13 0,5 3-1 15,5 0 4-15,0 0-1 0,-13 3-10 16,10-2 13-16,3-1-23 0,-5 3 16 0,5-3 9 16,0 0 3-16,-3 4-10 0,3-4 8 0,0 0-8 15,0 0-11-15,0 0 22 0,10 6-4 16,-7-5 11 0,2 0-8-16,-2 2-8 0,4-1 19 0,-1 0 7 0,-1 2 8 0,0-2 15 15,0 2-16-15,1 1 11 0,1-2-10 0,-4 2 2 16,1-2-5-16,-1 1 1 0,2 2 17 0,-3-4 20 15,1 3-35-15,0 0-5 32,0-3 4-32,2 2-22 0,-3-1 0 0,-2 1 43 0,3-3-56 0,-3 4 10 0,0-5 15 0,5 4-15 0,-5-4 6 15,7 1-1-15,-7-1-33 0,10-1 25 16,-4-2 14-16,2 2-6 0,-1 1-13 0,3-3 34 16,1 1-10-16,-4 2 7 0,3 0 3 0,1 0-6 15,-1 0 3-15,0 2 3 16,0 0-5-16,-1-1-14 0,0-1 6 0,-3 0 5 0,1 2-18 15,1 0-22-15,-2-1-19 0,-2 0-33 16,2-1-1-16,-6 0-14 0,5 3-62 0,-5-3-25 16,5 4-90-16,-5-4-118 0,0 0-110 15,-10 5-422-15,4-3 97 0,-1-1 84 16,0 3 52-16,-4-3 99 0</inkml:trace>
  <inkml:trace contextRef="#ctx0" brushRef="#br0" timeOffset="109823.58">4408 6184 1259 0,'-4'-2'386'0,"1"-2"-30"0,-5 1-56 0,-2 1-37 16,0-1-17-16,-3 2-13 0,-1 1-33 0,2 0-6 16,-4 0-48-1,1 0-26-15,-1 2-40 0,4 2-39 0,-1-1-57 0,0 1-66 0,3 1-99 16,0 2-57-16,-1 0-128 0,4-2-420 16,4 2 87-16,-2 0 41 0,0 2 103 15</inkml:trace>
  <inkml:trace contextRef="#ctx0" brushRef="#br0" timeOffset="113272.85">6163 6053 586 0,'20'-2'238'0,"1"1"2"0,-1-3-22 16,0 2-24-16,-1 1 27 0,1-4-24 0,-2 4-26 15,-1 0-30-15,-1-1-26 0,2 1-38 16,-3 0-80-16,-5 1-58 0,4 0-57 16,-7 0-58-16,-2 1-152 0,3-1-276 0,-3 1-8 0</inkml:trace>
  <inkml:trace contextRef="#ctx0" brushRef="#br0" timeOffset="113509.34">6139 6170 1016 0,'-3'5'348'0,"3"-5"-13"0,0 0-120 0,8 5 10 15,-3-3-10-15,3-2-30 0,2 1-29 0,3 0-13 16,0 1 11-16,2-4-31 15,3 2 58-15,-2 0-30 0,4 0 0 0,1 0-12 16,-1-1-27-16,-2 1-20 0,3-1-56 0,0-1-41 16,-4-2-59-16,-2 3-87 0,1 0-115 15,-6-2-131-15,1 1-409 0,1-3 84 0,-4 3 59 16,-1-2 113-16</inkml:trace>
  <inkml:trace contextRef="#ctx0" brushRef="#br0" timeOffset="113780.64">6439 5887 1087 0,'23'1'318'0,"-2"3"-24"0,0 0-5 0,1 1-30 0,4 0-31 0,-3 2 23 0,5 0-62 0,5 7 18 0,-6-4-25 0,-5 3-26 15,-4-3-5-15,0 1-15 0,-3 4-13 0,-5-2-6 16,-1 0-19-16,-5 4-11 0,0-1 0 0,-3 2-16 16,-3-1-30-16,-1 2-2 0,-2-1-19 15,-3 3-20-15,1-2-28 0,-1 0-69 0,1-1-110 16,-1-1-98-16,3-2-576 0,-3 0 121 16,3-1 46-16,0-1 77 0,-1-6 56 15</inkml:trace>
  <inkml:trace contextRef="#ctx0" brushRef="#br0" timeOffset="114410.73">7547 5737 1013 0,'0'0'338'0,"0"0"-5"16,0 0-34-16,-3 14-7 0,3-7 0 15,0 5 25-15,0-3-33 0,0 5-51 0,2 0-20 16,-2 3 2-16,0-2-31 0,0 4-41 0,0-1-38 16,0 2-30-16,0 2-32 0,-2-2-15 15,2-1-58-15,0-1-75 0,0-4-75 0,0 3-81 16,0-4-66-16,0 0-487 0,2-1 48 0,1-4 55 16,0 0 104-16,-1-1 57 0</inkml:trace>
  <inkml:trace contextRef="#ctx0" brushRef="#br0" timeOffset="115134.01">7693 5815 1039 0,'0'0'289'0,"0"0"-13"15,-10 6-17-15,7-1 10 0,3 1-62 16,-3 1-12-16,3-1-6 0,0 3 36 0,0 0-20 15,3-1-33-15,-3 3-19 0,3-3-7 0,1 3-28 16,-1-5-13-16,4 4-16 0,-1-3-7 16,2-2-2-16,-1-1 7 0,1 0-26 0,2-3-20 15,0 0-8-15,1-1 39 0,2 0-21 0,-3-2-10 16,3-2 3-16,-3 1 12 16,-2-3 13-16,2-1 21 0,-5 0 7 0,0-1-10 15,-2 1 0-15,-1-2 36 0,-2 0-54 0,-4 1 41 0,3-3-33 16,-4 2 5-16,0-2-59 0,2 1-16 62,-4 3 11-62,-1-1 5 0,0 2-28 0,0 1 28 0,1 3 3 0,-3 1-18 0,2 1-11 0,0 0 11 0,0 1-19 0,1 1-24 0,-1 3 1 0,1-1-55 0,1 0-14 0,1 1-35 16,3 0-23-16,-1-2-31 0,3 1-21 0,0-4-48 16,3 6-38-16,2-5-62 0,-5-1 26 0,16 0 15 15,-4-1-67 1,-2-3-4-16,6 0 165 0,-1-1 62 0,1-2 21 0,-1 0 15 0,3-2 100 15,-5 5 38-15,2-3 70 16,-5 3 35-16,1-2 38 0,-1 2 26 0,-2 1-10 0,-1-1-10 16,-2 2 0-16,0 2 12 0,-5 0-15 15,0 0 11-15,10 4-21 0,-7 0-11 0,-2 1 24 16,1 1-46-16,0 1-3 0,1 1-10 16,-3 1 5-16,5-1 46 0,-2 1-36 0,4 1-8 15,-2-1 16-15,3-1-38 0,2 0 17 16,0 0-18-16,4-3-14 0,-1 1-14 0,4-5 21 15,-2 2-26-15,3-2-8 0,-2-2 16 0,1-1-28 16,-1 0 23-16,2-3 20 16,-5 2 13-1,-2-2 28-15,1-1 23 0,-2 1-68 0,-2-2 14 0,-3 1-38 0,0-1 23 0,-3-1-15 16,-2-1-3-16,-2 1 5 0,0 2 31 0,-1-3-25 0,-2 2-1 16,-3 0-15-16,-2 2-5 0,2 1 13 15,-2-1 2 1,0 3-30-16,-1-1-18 0,1 2-8 0,-2 1 5 0,3 1-36 0,-3 2-38 15,4-1-28-15,-2 2-11 0,2-1-48 0,1 1-46 16,1 1-5-16,2-2-14 16,1 2-22-16,3-3-43 0,0-2-16 15,5 4-90-15,0-3-105 0,0-1-360 0,5 0 61 0,-2-1 102 16,5 0 151-16,3-2-35 0</inkml:trace>
  <inkml:trace contextRef="#ctx0" brushRef="#br0" timeOffset="115439.69">8403 5615 1018 0,'-8'3'379'15,"3"-2"-44"-15,0 4 1 0,0-2-24 0,2 3-23 16,-1 0-12-16,1 1-49 0,3 3-24 0,0-1 11 16,2 2-2-16,1 1-11 0,5 1-46 15,-3 0-2-15,5 0 7 0,0 3-18 0,0-2 13 16,0-1 8-16,1 1-2 0,-3 0-81 0,2-1-17 15,-3-3 16-15,1 3 2 16,-3-2-8-16,1 0 5 0,-4-3-2 0,-2 3-16 16,-2-3 65-16,-1 3 17 0,-2-2-20 0,0 2-23 15,-3-3-8-15,1 1-20 0,-2-1-59 0,2-1 33 16,-6-1-67 0,3 0-17-16,0 0-44 0,1-1-26 0,-1-3-32 0,3 3-58 0,-1-5-37 15,3 0-113-15,5 0-105 0,-8 0-282 16,5-5-166-16,3 5 54 0,-1-8 169 0,2 3 25 15,2-3 82-15</inkml:trace>
  <inkml:trace contextRef="#ctx0" brushRef="#br0" timeOffset="115695.69">8547 5608 1082 0,'5'-7'456'0,"-3"2"-59"0,0 2-13 16,1-2-24-16,2 4-14 15,-5 1-3-15,0 0-13 0,0 0-20 0,13 6-21 16,-7 0-20-16,1 1-18 0,0 2-13 0,1 4-13 15,-2 3-28-15,1-3-25 0,1 4-11 16,0-2-18-16,-3 2-2 0,2 1-26 0,1 1-35 16,-3-3-65-16,1 1-18 0,1 1-48 0,-2-3-41 15,1 2 3-15,-2-3-47 16,2-2-33-16,-2 0 3 0,0-1-47 0,0-2-102 16,-1 1-92-16,-5-5-148 0,4 1-369 0,1-2 112 15,-1 0 60-15,1-3 68 0,-3-1 70 0</inkml:trace>
  <inkml:trace contextRef="#ctx0" brushRef="#br0" timeOffset="117603.43">8611 5866 834 0,'0'0'346'0,"0"-5"-21"0,0 0-8 15,0 5-33-15,5-7-25 0,0 3-32 0,2-2 12 0,1 0-37 16,0-1-13-16,4 0-5 0,-3 0-15 15,3 1-5-15,-2-1-10 0,1-1-26 0,2 0 15 16,-3 1-2-16,0 1 0 0,-2-1 58 16,0 1 1-16,-1 1 5 0,-2 2-16 15,0-1-25-15,1 2 7 0,-3-1-17 0,1 3 2 16,-4 0-7-16,0 0 2 0,10 4-3 0,-7-2-25 16,-3 3-82-16,3 0 10 0,-1 2-30 15,0 0-3-15,-1 0 10 0,2 0 10 0,-1 2-5 16,1-3-27-16,2 1 9 0,0-1-15 0,0 1 8 15,0-1 2-15,1-3 5 0,0 1-2 16,2 1-5-16,0-3 22 16,0-2-4-16,-1 1-11 0,1-2 16 0,2 1-23 0,-2-1 15 0,2-3 25 15,-2 1-27-15,2-2 33 0,-2-2 56 0,-1-1-18 16,2-1-18-16,0 1 21 16,-1 2 12-16,0-2-40 15,0 2-72-15,-3 0 20 0,0 2-10 0,-2 0 21 0,1 1-19 0,0 2 9 16,-4 1 2-16,0 0-11 0,12 3 14 15,-9 1-16-15,-1 1 18 0,3 1-2 0,0-1-52 16,-2 2 31-16,0 1-3 0,1-2 6 0,0 2-24 16,-2-1-35-16,1 2-28 0,-1-2-27 15,1 0-70-15,-1-2-42 0,1 1 3 0,2-3-18 16,-3 3-39 0,-1-3-2-16,1-1-30 0,3-1-22 0,-5-1-14 0,8 0 92 0,2-1 14 0,-5-3-42 15,3-1 27-15,2-2 45 0,3-2 50 0,-3-3 10 16,6-5 57-16,-3 2 39 15,7-9 27-15,-5 0 31 0,1-1 51 0,4-2 3 16,-4 8 18-16,-4 2 56 0,-1 3-23 16,-3 3 36-16,-1 2 5 0,0-1-13 0,-4 3 26 15,3 1-10-15,-1 4 10 0,-1-2 15 0,-4 4-26 16,0 0-9-16,0 0 9 0,8 8-15 0,-5-2 1 31,-3 2-24-31,2 0-13 0,-2 1 6 0,3 1-11 0,-3 3-7 0,3-4-8 16,-1 2-11-16,-2 0 1 0,3 0 10 0,2-2-46 0,-3-1 15 15,1 0-8-15,-3 0-27 0,3-3 14 0,-1 2 6 16,0 0-8-16,-1-3 13 16,1-1-5-16,-2 1 5 0,0-4-23 0,5 2-8 15,-5-2 16-15,0 0 2 0,0 0 3 16,0 0-13-16,0 0 23 0,0 0-36 16,-15-7 31-16,15 7-39 0,-11-1-7 0,4 1 28 0,-1 1-11 15,-2 1-9-15,-3 2 15 0,0 0-6 16,1-1 4-16,-1 4 12 0,0-1-29 0,2 0 24 0,-1 1-23 15,2 2 18-15,0-2-5 0,1 0-24 16,2 0 22-16,2 0 1 0,0-1-9 0,0 0-3 16,3 0 12-16,1-1-2 0,1 1-46 0,0-2 54 15,0-1 3 1,3 1-37-16,2-2 18 0,0-1 3 0,0 0 16 0,5-2-11 0,1 0 0 16,-1-1-20-16,3-2 33 15,-1-1-34-15,1 2 24 0,0-3-18 0,2 0 23 0,1-3-21 16,-4 3 28-16,1-2 8 0,-2-1-20 15,2 0-13-15,-1 1 26 0,-3-1-16 0,0 1 23 16,-1 1-23-16,-3 1-8 0,0 0 19 0,0 1 9 16,1 1 1-16,-4 0 7 0,1-1-12 15,2 3-1-15,-3 0-15 0,-2 2 5 16,3-5-7-16,-3 5 10 0,0 0-3 0,0 0-18 0,0 0 8 16,0 0 29-16,0 0-45 0,0 0 21 0,0 0-7 15,0 0 7-15,2 9-18 16,-2-9 11-16,3 5 17 0,-3-5-7 0,0 4-3 0,3-2 20 15,-3-2-12-15,2 6-8 0,0-5 5 16,2 2-17-16,-2 0 14 0,-2-3 14 16,5 5-19-16,-2-4-2 31,-1 2-23-31,-2-3 29 0,5 2-14 0,-2 1-7 0,-3-3 20 0,5 3 0 0,0-2 5 0,-5-1 21 0,5 1-36 0,-5-1 2 16,6 0-25-16,-6 0 33 15,0 0 10-15,10-2-4 0,-6-1-4 0,2 2-7 0,-1-2 8 16,-2 0-13-16,4-2 28 0,-2 3-36 0,3-3 21 15,-3 3-13-15,1-2 12 16,1 1-4-16,-2 0-1 0,-2 1 6 0,2 2-10 0,0-1 7 16,-5 1-3-16,8 0 11 0,-8 0 2 0,10 1 11 15,-5-1 89-15,2 2-33 0,-1 0 10 16,-1-1-18-16,0 1-33 0,0-1 34 16,1 0-19-16,1 2 5 0,0-3-25 0,-1 0-2 15,-6 0-34-15,12 0 0 0,-4-3 0 16,0 1 0-16,0 0 0 0,2-2 0 0,0 2 0 15,-2-4 0-15,2 0 0 0,0 0 0 0,-2-1 0 16,2 0 0-16,0-3 0 0,-1-1 0 0,1 1 0 16,0-2 0-16,-2-1 0 0,-1-2 0 15,1 1 0-15,-1-1 0 16,-4-2 0 0,2 4 0-16,0 0 0 0,-2 1 0 0,0 2 0 0,-1 1 0 0,0 0 0 0,2 0 0 0,-4 2 0 15,2 3 0-15,0 0 0 0,-2 4 0 0,0 0 0 16,0 0 0-16,0 0 0 0,0 0 0 15,0 0 0 1,-8 16 0-16,6-6 0 0,0-2 0 0,4 3 0 0,-2 2 0 0,0-1 0 0,2 1 0 16,-1-1 0-16,2 1 0 15,-1-1 0-15,0 1 0 0,1 0-88 0,-3-4-40 0,0 1-28 16,0-1-31-16,3 0-20 0,-3-1-49 0,-3-1 5 16,3 0-48-16,-3-2 7 0,1 1-13 15,0-1-20-15,-1-3-5 0,0 1 51 0,3-3-59 16,-5 3 41-16,5-3-7 0,0 0 58 15,-13-4-13-15,8 0 88 0,0-1 5 0,-3 2 102 16,1-2 20-16,1 0 85 16,-1-1 5-16,-1 1 13 0,1 2 28 0,1-2-8 15,1 4 47-15,0-3-24 0,0 2 16 0,0-1 7 0,5 3 6 16,-5-4-18-16,5 0-3 16,0 4-3-16,0-3-10 0,0 3 1 0,2-6-19 0,4 1 13 15,-2 3-25-15,4-2-16 0,0-1-18 16,3 0 3-16,3 2-16 0,4-4-30 0,0 0-18 15,8 1-31-15,-3-1-38 0,3 0-16 0,2-1-17 16,-2 2-11-16,-1 0-48 0,1-1 2 16,-3-1-10-16,0 2 5 0,-5 0 0 0,0 1 43 15,-6-1 31-15,-1 3 16 0,-1-2 51 16,-4 1 74-16,1 2-13 0,-2-2 39 16,-3 1 20-16,2 2-3 0,-2-3 19 0,-2 4 25 0,0 0-18 15,0 0-2-15,0 0 17 0,0 0-27 0,0 0 22 16,0 0-10-16,0 0 13 0,-2 13-5 15,2-8 0-15,2 0 12 0,-2-1 6 0,2 4-3 16,-2 0 16-16,3-2 15 16,-3 2 23-16,3-1 0 0,-1 3 0 0,-2-4-3 0,2 2-2 0,-2-2-8 15,1 2 3-15,-2 0 7 16,1-1-48-16,0 0 23 0,-2 0-24 0,0-2-17 0,-1 2-23 16,-4-1 10-16,1 0-13 0,-2-2-51 0,1 3-28 15,-3-4-36-15,-1 3-41 16,1-2-66-16,-3-1-11 15,0 1-64-15,1-2-30 0,-2 3-13 0,-1-1-72 0,-3-1-100 0,-2 3-18 16,4-5-519-16,-4 3 179 0,2 3-33 0,-2-2 133 16,-6-1 74-16,-2 2 33 0</inkml:trace>
  <inkml:trace contextRef="#ctx0" brushRef="#br0" timeOffset="122942.43">5629 6745 839 0,'0'0'312'0,"0"0"-4"0,0 0-35 0,0 0-29 0,0 0-24 16,-11 18-33-16,4-11 2 0,2 5-28 0,0-1-2 16,-3 1-26-16,0 3-28 0,1-4 5 0,1 3 5 15,-1 2-30-15,2-1 4 16,-1-2-20-16,-1-2-5 0,4 2-2 0,-2-1-6 0,3-4 6 15,1 3-16-15,-1-3-8 0,2 2-7 16,0-4-1-16,2 1-12 0,-1-1 13 0,4 1-10 16,-2-2 2-16,4-3-3 0,-2 2 1 15,3-2-1-15,0 0 93 0,2 0-21 0,0-4-31 16,0 1-12-16,1 0-11 0,1 0-22 16,1-3-6-1,2 2-23-15,1-3-41 0,-3 2-53 0,0 0-88 0,-1 0-73 0,1-3-70 0,-5 2-499 16,2 1 94-16,-2 0 47 0,2 1 74 15,-5-1 46-15</inkml:trace>
  <inkml:trace contextRef="#ctx0" brushRef="#br0" timeOffset="123161.59">5747 6864 947 0,'2'-7'299'0,"1"7"-28"0,-3 0-12 15,8-1-6-15,-1 1-17 0,-7 0-24 0,18 1 8 16,-8 3-17-16,3-1-27 0,-3 3-7 16,1 0-5-16,-1 0-8 0,0 1 57 0,-2-1-34 0,-2 4-21 15,-2-2-14-15,-1 2-49 0,-1-1-29 16,-4 3-10-16,-1 0-66 0,-1 2-46 16,1-1-103-16,-5 2-140 0,3-2-569 0,0 0 64 0,-3 1 80 15,3-3 61-15,-2-2 89 0</inkml:trace>
  <inkml:trace contextRef="#ctx0" brushRef="#br0" timeOffset="123642.62">6411 6863 811 0,'-7'6'328'0,"1"-1"-32"0,-1 2-9 0,-1 1-18 0,0-2-44 0,-4 5-17 15,3-3-19-15,-3 3-10 0,2 0-23 16,-1-2-12-16,-2 2 30 0,6-4-62 0,-3 0 3 16,2 0-27-16,2-1 22 0,-1 0-3 15,4-1-17-15,-1 1-11 0,3-3-5 0,-2 1 88 0,3 0-17 16,0-4-14-16,6 6-24 0,-1-4-12 16,2 0 10-16,3 1 3 0,4-3-6 15,1 0-28-15,3-3-84 0,0 2 7 0,0 0-35 31,5-1 0-31,-3-1-8 0,1 1-36 0,-3 1-36 0,-3-3-15 0,1 4-31 16,-4-4-64-16,-1 3-64 0,1-1-51 0,-4 1-473 0,0 0 50 16,0-2 63-16,-4 2 68 0,-4 1 49 0</inkml:trace>
  <inkml:trace contextRef="#ctx0" brushRef="#br0" timeOffset="123836.3">6493 6884 957 0,'0'0'333'0,"0"0"2"16,0 0 44-16,0 0-13 0,0 0-28 16,-6 11-39-16,6-6-2 0,1 3-28 0,1 1-110 15,3 0-1-15,-4 2-9 0,4 3-9 0,-3 0-17 16,0 2-7-16,1 1-22 0,2 0-12 16,-4 0-15-16,1 1-49 0,3-4-47 15,-4 0-42-15,1 0-50 0,0-1-4 0,1-4-57 0,2 2-104 16,-3-3-37-16,-2-3-12 0,6 1-477 15,-1-5 75-15,0 2 67 0,2-2 109 0</inkml:trace>
  <inkml:trace contextRef="#ctx0" brushRef="#br0" timeOffset="124860.27">6673 6937 1116 0,'-3'3'373'0,"0"1"-101"15,1-2-32-15,2 3-20 0,-2 0 11 16,2 1-32-16,0-1-30 0,2 1-18 16,-2-3-2-1,5 4-24-15,-3-3-25 0,3-2-3 0,1 3 3 0,1-3-13 0,1 1 5 0,-1-2-28 16,2-1 13 0,1-4-8-16,0 2-13 0,-2 0 8 0,2-3-15 0,1-1-10 0,-2 0 25 15,2 1-18-15,-4-2 0 0,0 0 0 16,1 2 20-16,0-2 6 0,-3 2 10 0,1 2 71 15,-2-2-2-15,0 0-20 0,0 3-18 0,-1-1 4 16,-3 3-24-16,7-1-24 0,-7 1 13 16,6 5 22-16,-4 1-14 0,1-1 0 0,2 3 7 15,0 2-2-15,0 0-85 0,0 3-8 16,1 4-7-16,-1-3 8 0,2 4 51 16,-1-2 17-16,-2 0-43 0,-1 1 3 0,0-2-33 0,-1 0-50 15,-2 0 6-15,-2-2 13 0,2-2-8 0,0-1-10 16,-3-1 5-16,1-3 10 0,1 1-15 15,-1-3 5-15,2-2-3 0,0-2 13 16,0 0 0-16,0 0 26 0,0 0-10 0,0 0-1 16,0 0 8-16,13-11-4 0,-8 3-1 0,2 0 5 15,4-3-10-15,-1-2 0 0,3-4 38 16,-2 2-25-16,3-2-3 0,0-1 23 0,-2-1-25 16,1 0 2-16,-3 0 5 0,1-1-2 0,-1 1 3 15,0 0 14-15,-2 3 1 0,-3 4 10 16,-2 0 13-16,1 3-6 0,-1-1 8 15,2 2 6-15,-4 2-8 0,0 1-14 0,-2 2 14 16,1 3 10 0,0 0-15-16,-3-4-16 0,3 4 10 0,0 0 16 0,-8 10-13 0,3-4-2 15,2 2 12-15,1-1-20 0,-1-1 18 0,1 2-16 16,2 2 5-16,-3-4 1 0,3 1-24 0,0 0 29 16,3 0-6-16,-1-1-25 0,1 1 5 0,2-2 21 15,0-1-31-15,3-2-1 0,2 2-14 16,-2-3 9-16,2-2-9 0,-2 0 14 0,7-2-24 15,-5 0 1-15,0-1 24 0,1-2-5 0,1 0-1 16,-3 1-9-16,1-3 4 16,-2 2 3-16,-1-1 21 15,1 0-34-15,-1 0 13 0,-1 1 23 0,-2 0-2 0,2 0-8 0,-4 1-3 16,1 1 1-16,-1 1 4 0,1-1-17 0,-3 4 30 16,0-3-8-16,0 3-2 0,0 0-5 15,0 0 8-15,0 0 4 0,0 0 9 0,0 0-26 16,0 0 2-16,-10 8 23 0,7-4-15 15,3-4-18-15,0 0 16 0,0 4-11 0,0-4 18 16,0 5 8-16,0-5-31 16,5 3-5-16,-5-3 15 0,3 2 11 0,-3-2-6 0,7 0 11 0,-7 0-8 15,8 0-13-15,-8 0 13 16,11-2 3-16,-7-1-26 0,-4 3 15 0,10 0-5 0,-4 0 11 16,-6 0-4-16,10 3 12 0,-7-2 19 0,-3-1-32 15,10 1 7-15,-7 0-6 0,-3-1 12 16,7 5 1-16,-4-3 14 0,2 1-21 15,-5-1 20-15,0-2-7 0,5 5 10 0,-2-4 8 16,-3-1 38-16,2 4 5 0,-2-4 3 0,5 2-21 16,-5-2 0-16,0 0 24 15,0 0-6-15,0 0 8 0,0 0 8 0,0 0-21 0,0 0-13 16,0 0-15-16,0 0 8 0,3-7-8 0,-3 7-34 16,3-6-7-16,-1 2-31 15,3-2-20-15,-2 4-18 0,2-3-2 0,0-1-19 0,0 4-33 16,2-4-20-16,1 1-39 0,-2 3-15 31,1-2-44-31,1 3-84 0,0-3-148 0,0 1 76 0,-1 3-402 0,-1 0 26 0,-6 0 3 16,12 0 71-16,-12 0 80 0,8 1 43 0</inkml:trace>
  <inkml:trace contextRef="#ctx0" brushRef="#br0" timeOffset="125231.13">7528 6912 857 0,'0'0'353'0,"0"0"-25"0,0 0-6 0,6-12-20 15,-4 10-110-15,-2-1 3 0,3-3-26 0,-3 4-5 16,3-3-21-16,-1 2 13 15,0-2-25-15,-2 1-16 0,1 1 8 0,-1 3-13 0,2-6-10 16,1 2 0-16,-1 3-16 0,-2 1-10 16,0-6 6-16,0 6-14 0,0 0-20 0,3-5 13 15,-3 5-18-15,0-1 8 0,0 1-11 0,0 0 13 16,2-5-12-16,-2 5-6 0,0 0-18 0,0 0 1 16,0 0-16-16,0 0 12 15,0 0 1-15,0-3-8 0,0 3-30 0,0 0-44 16,0 0-16-16,0 0-33 0,0 0-7 0,0 0-72 15,0 0-141-15,0 0-105 0,0 0-373 16,0 0 48-16,0 0 92 0,0 0 54 0</inkml:trace>
  <inkml:trace contextRef="#ctx0" brushRef="#br0" timeOffset="126062.59">5752 7482 1295 0,'0'0'409'0,"0"0"-30"0,0 0-36 16,-10 16-36-16,7-12-25 0,-2 5-24 16,0-1-2-16,0 4-89 0,-1-1-1 0,-1 2-30 15,-1 2-3-15,1 0-10 0,2-1 10 16,-1 0-23-16,1 0-23 0,0 0 15 0,0-3-25 16,2 4-3-16,1-2-12 0,2-1-1 0,-2-2 11 15,4 1 12-15,-2 0-25 0,2-4-23 0,1 4 2 16,2-3 1 15,0-1-8-31,3 0-1 0,0 0-4 0,4-2 2 0,1 0 21 0,0-4-44 0,2 4 5 0,3-5 8 0,-2 1-28 16,2-1-16-16,-1-2 6 0,1-2-44 15,0 3-26-15,1-4 3 0,-1 3-54 0,-4-3 18 0,2 4-66 16,-3-4-52-16,-1 0-33 0,2 3-81 16,-9-4-45-16,2 4-434 0,1-2 81 15,-3 0 93-15,1 2 51 16,-2-1 48-16</inkml:trace>
  <inkml:trace contextRef="#ctx0" brushRef="#br0" timeOffset="126296.66">5911 7638 1046 0,'0'0'372'0,"0"0"-35"0,0 0 60 15,0 0-31-15,11 8-23 16,-4-3-18-16,0-1-30 0,3 2-11 0,-1 2-64 0,1-2-2 15,2 7-47-15,-2-2 13 0,1 1-17 16,-4 0-16-16,1 1-28 0,-3 0 12 16,-2 1-20-16,-3-1 6 0,0 3-29 0,-5 0-31 15,0 1-22-15,-3 2-16 0,0 0-44 16,-2-1-53-16,0 1-28 0,-3-1-47 0,3-4-48 16,0 0-123-16,0-2-105 15,0 2-507-15,1-5 98 0,-1-2 84 0,2 2 149 0,0-2 60 0,1-1-17 16</inkml:trace>
  <inkml:trace contextRef="#ctx0" brushRef="#br0" timeOffset="129273.39">6872 7552 929 0,'-7'-1'358'15,"-1"1"-35"-15,0 0 2 0,1 0-26 16,-4 0-30-16,1 0-34 0,2 3 3 0,0-2-20 15,4 0-52 1,-4 0-17-16,3 3-3 0,2-2-11 0,1 2 14 0,-1-1-106 0,3 3-9 16,3 1 12-16,1 2 5 0,2-1-20 15,2-1-6-15,-3 5 9 0,5-4 17 0,-2 2-26 16,2-2-17-16,-2 2 7 0,2-2-2 0,0 0 13 16,-2 1 7-16,-1-1 3 0,-1-3-5 15,-1 1 114-15,0 2-24 0,-3-2 12 0,0-1 5 16,-2 1-5-1,-2 0 3-15,-3 0-29 0,2 1-12 0,-4 0 2 0,-1 0-17 0,-2-1-4 16,-3-1-4-16,3 1-13 0,-5-1-23 16,4 2 12-16,-5-2-14 15,4 0-11-15,-3 0-10 0,4 0-39 0,-1-1 13 0,2-1-46 0,1 1-25 16,2-2-26-16,-1-1-49 16,3 2-15-16,1-2-20 0,4-1-37 0,0 0-48 0,0 0-36 15,0 0-23-15,9-12-30 0,-1 5-21 0,0 1-233 16,5-6 2-16,-1 1-17 0,4-4 366 15,-1 2 148-15,1-2 61 0,-1 2-2 0,3 0 82 16,-3-1 16-16,-2 3 83 0,-2-1 52 0,-1 5 23 16,-3-1 13-16,-1 2 10 15,1 2 0-15,-2-3-41 0,1 3 8 16,-2 1 23-16,-1 1-29 0,2 0 3 0,-5 2-35 0,8 5 76 0,-3-3-10 16,-2 2-44-16,1 3-15 15,-1-1-8-15,3 0-25 0,1 1-10 0,1 2 9 16,2-2-17-16,-3-1-20 0,7 0-9 0,-4-1-25 15,3-1-2-15,-1 0 12 0,1-2 1 16,0-2 9-16,0 0-22 0,-1 0-9 16,2-1-9-16,-2-3 10 0,-1 1-3 0,-1-2 6 0,-2-1-19 15,-1 0-12-15,-4-1 40 0,-1 1-9 16,1-1-26-16,-3 0 12 0,-3-2 3 0,-2 1 18 16,2 0-15-16,-1 0-10 0,1 0-9 15,-4 2-9-15,1 3-3 16,1-2 18-16,0 3-8 0,0 2-25 0,5 0 20 0,-16 2 8 0,8 4-21 15,1-4 0-15,2 5 3 16,-3 0 18-16,4 1-18 0,0 0-26 0,2-1 11 16,0 0-6-16,2 1-17 0,2-3 9 0,3 0-12 15,0 0-2-15,8-1 27 0,-5-2-10 0,5-2-28 16,4-2-20-16,1-3 23 16,1 0 25-16,6-4-20 0,-4 0 2 0,-1-3 31 15,3 0 0-15,-5-1 13 0,0-1 8 0,-2-3 5 0,-1 1 9 16,-2-2 37-16,-5-1-8 0,-1-3-2 15,0 2 15 1,-1 1 0-16,-4 0 2 0,1 4 8 0,-1 0 8 16,1 2 35-16,-2 5-12 0,-1-1-46 0,1 2 5 0,-1 6 7 0,0 1-7 15,0 0-7-15,0 0-9 0,-1 19 21 16,0-6-23 0,1 4-3-16,0 4 8 0,0 6-5 0,0 1-5 0,-3 3 28 0,3 8-36 0,0 2-10 15,3-8 21-15,-3-2-16 16,0-1-5-16,1-3 2 0,-2 1-33 0,1-2 8 0,-3-5 16 15,1 1-40-15,-1-6 29 0,-2 2-2 0,2-1 2 16,-1-5 28-16,-2-3-23 0,1 2-15 16,0-4 23-16,0-1-21 0,-2-2-15 15,1-2 15-15,1-2 6 0,5 0-6 0,-13-2-18 0,10-2-15 16,-1 2 34-16,1-2-21 16,0-1-16-16,3 0 18 0,0-3-17 0,3 0-1 15,2 2 9-15,0-5-34 0,3 3-13 0,2-4 7 16,3 0-22-16,0 1 8 0,-1 0-16 31,-1-1-16-31,4-4-7 0,0 2-23 0,1-2-18 0,-3 1-15 0,3-3-34 0,-2 1 26 16,-1-2 6-16,1 0 22 0,0-1 36 0,2-9-3 15,-3 0 37-15,0-1 45 0,0-2 28 0,-6 3 37 16,1 4 30 15,-2 3 20-31,1-1 24 0,-5 5 53 0,3 1-20 0,-2 2 5 0,-3 3 13 0,3 4-5 0,-1 2-6 0,-2 1 11 0,0 5-8 16,0 0 23-16,0 0-15 0,0 0 13 15,-5 20-16-15,2-6-20 0,1 2-31 0,0-2 12 16,1 5-1 15,1 4-27-31,-2-4-19 0,-1 7-37 0,1-4-41 0,1-1-27 0,-1-2-65 0,2 3-51 0,0-2-51 0,0-2-34 0,-3-3-58 16,6-2-54-16,-3 0-369 0,-3-2-73 16,3-3 4-16,0-3 85 0,0 1 63 0,-2-1 83 15</inkml:trace>
  <inkml:trace contextRef="#ctx0" brushRef="#br0" timeOffset="129485.03">7459 7648 865 0,'-2'-3'338'0,"-1"0"-34"0,3 3-12 0,1-4-26 0,-1 4-15 16,4-6-10-16,0 3-31 0,3 0-11 16,-2 1-27-16,3-3-16 0,-1 3-26 0,4-2-4 15,-1 2-21-15,0-2-41 0,1 1-46 0,3-2-39 16,-1 0-38-16,3 0-97 0,2-1-120 15,3-1-65-15,4 1-414 0,-2-3 26 0,3-1 78 16,7-2 91-16</inkml:trace>
  <inkml:trace contextRef="#ctx0" brushRef="#br0" timeOffset="129756.9">7924 7331 1098 0,'-10'3'299'0,"1"2"-15"0,5 1-23 0,-2 0-23 0,4 1-23 16,-1 2-10-16,0-1-21 0,3 3-10 0,0 0-17 16,0 3-14-16,1 0-2 0,4-1-16 0,-1 4 13 15,4-3 11-15,-2 1-11 0,-1 1 67 16,0-4-18-16,0 0-23 0,-3 0-1 0,-2-1 9 16,0-1-13-16,-2 3 12 0,-3-2-99 15,2 2-26-15,-4-1 5 0,-1-3-10 16,-2 2 8-16,0 0-14 0,0-3-45 0,1-1-23 15,-3 2-18-15,2-3-18 0,0-2-26 0,4 0-66 16,1 0-75-16,0-3-94 0,5-1-54 16,0 0 23-16,-3-5-345 0,3 5-80 0,8-12 77 15,-3 4 69-15,8-4 13 0</inkml:trace>
  <inkml:trace contextRef="#ctx0" brushRef="#br0" timeOffset="129945.2">8093 7318 1123 0,'4'-7'420'0,"0"3"-49"15,-2 2-79-15,-2 2-21 0,8 1-10 16,-8-1 16-16,5 7-24 0,0-1-30 0,-2 2 0 16,1 4-29-16,-1 1-7 0,0 4-5 15,-1 2 56-15,1-1-13 0,-3 2-41 0,0-2-28 16,3 1-25-16,-1 0-64 0,-2 0-24 0,2 1-43 16,-1-2-59-16,1 0-28 0,1-2 3 15,2-4-70-15,-3-1-86 0,4 0-47 0,-1-5-100 16,0 0-498-16,3-1 81 0,-1-3 118 0,4-2 8 15,-4 0 109-15</inkml:trace>
  <inkml:trace contextRef="#ctx0" brushRef="#br0" timeOffset="130313.02">8287 7450 724 0,'-15'5'348'0,"2"1"-15"0,0-3-31 0,3 4-16 15,-2-2-30-15,4 3-7 0,-3-3-42 0,1 4 0 16,2-2-33-16,1 0 8 16,2 0-33-16,2-1-6 0,-2 1-5 0,2-1-12 0,1 0-24 15,2-1 23-15,0 0-30 0,2-2-28 0,1 2 2 16,2-4 72-16,3 0-6 0,-1-1-4 16,3 0-26-16,-1-1-21 0,3 0 11 15,2-4-34-15,-2 2 14 0,3-2 1 0,-1 0-19 0,0 0-11 16,0 2 23-16,-2-2-5 0,-1-1 8 15,1 4 35-15,-2-2-56 0,-1 3 36 16,0-3-2-16,-1 4-8 0,-3 0-80 0,-5 0 23 16,10 5 9-16,-4-4-9 0,-2 4 1 0,2 1-16 15,-4-1 0-15,1 2-10 0,0-1 15 16,-3 2-38-16,2-2-26 0,-1 4-66 0,-1-3-42 16,-1 1-65-16,1 0-114 0,1 2-143 15,-1-3-422-15,2-1 46 0,-2-1 67 16,0 0 68-16,2-2 65 0,-2-3 56 0</inkml:trace>
  <inkml:trace contextRef="#ctx0" brushRef="#br0" timeOffset="130431.57">8464 7446 918 0,'0'0'228'0,"-2"-3"-169"0,2 3-215 0,0 0-433 16</inkml:trace>
  <inkml:trace contextRef="#ctx0" brushRef="#br0" timeOffset="130642.28">8667 7270 1192 0,'0'0'530'0,"-5"19"-18"0,2-10-43 0,0 1-47 0,1 4-56 0,-3 1-74 0,3 0-57 0,-1 4-17 0,-3 0-6 0,4 0-22 16,-2-1-52-16,0 1-77 0,2 0-30 0,-3 0-67 16,2-2-74-16,1-4-41 0,0 3-64 0,1-3-143 15,1-4-257-15,1 1-196 16,1-4 61-16,0 0 110 0,3-4 28 0,-2-1 72 0</inkml:trace>
  <inkml:trace contextRef="#ctx0" brushRef="#br0" timeOffset="131057.71">8816 7273 821 0,'0'0'382'0,"0"0"-22"0,0 0-6 0,-5 10-14 16,2-1-17-16,1-1-19 0,1 5 65 16,-1 0-36-16,-3 3-19 15,4 0-52-15,-1 2-1 0,0 0-57 0,-1 1-40 0,3-6-38 0,-3 4-39 16,3-4-44-16,0 0-27 15,3-1-42-15,-3-2-25 0,5-2-31 0,-3-1-36 16,4-2-53-16,-1-2-55 0,3 1-78 0,-1-3-39 16,1-3-90-1,-1-1-330-15,1 2 90 0,0-1 238 0,0-3 220 0,-3-1 105 0,1-1 87 16,1-2 23-16,-4-1 41 0,1 0 46 0,-1 2 26 16,2-2 55-16,-3 2 24 0,2 1-17 15,-2 2 16-15,0 2 14 0,1 0-15 0,-3 3 2 16,5 0 10-16,-5 0-13 0,0 0-66 15,3 10 5-15,-1-4 13 0,1 2 48 0,-1 0 101 16,1 3-40-16,2 0-22 0,-4-1-97 0,1 1 22 16,2 2-22-16,-4-1-26 0,0 0-5 15,0 0-3-15,0 1-15 16,-2 0-26-16,0-2-38 0,-4 1-20 0,1-3-68 0,-2 2-52 16,-1 0-73-16,-3-3-61 0,1 2-120 0,-8-1-36 15,3 1-446-15,-7-1 67 16,-2 3 87-16,-12 0 64 0,-2 1 77 0</inkml:trace>
  <inkml:trace contextRef="#ctx0" brushRef="#br0" timeOffset="131692.75">5929 8275 1162 0,'0'0'358'0,"-3"16"-28"0,1-6-18 0,-1 2-2 15,0 5-13-15,-2 1 5 0,0 5-33 0,0 1-46 16,-2 1-16-16,2-1 54 0,-1 3-23 0,1-3-2 15,0 2-44-15,2-5-13 0,1-1-92 16,-1-1-16-16,3 1-9 16,3-5 4-16,-3 0-9 0,3-2 17 0,1 0-31 0,2-1-4 0,2 1 22 15,-1-3-17-15,1-1-16 0,2-3-18 16,0 0-17-16,1-1-1 0,1-4-31 0,2 2-25 16,-2-2-43-16,1-2-11 0,2-2-58 0,-2 2-22 15,3-3-70-15,-4 1-75 16,1-7-69-16,0 7-433 0,-3-3 41 0,1 2 116 0,-4-3 53 15,0 2 82-15</inkml:trace>
  <inkml:trace contextRef="#ctx0" brushRef="#br0" timeOffset="131916.62">6111 8500 1308 0,'3'-2'430'15,"-3"2"-82"-15,0 0-13 0,12 8-25 0,-6-3 5 16,4 3-3-16,-3-1 44 0,1 5-52 15,2 1-2-15,0 0-100 0,0 3-17 0,-2 0-3 16,0 1-11-16,-3 1-25 0,-2 1 84 16,-3 2-17-16,2-1-42 0,-4 0-10 0,-1-1-33 15,-2 0-23-15,0-2-56 0,0-2-31 16,0 2-41-16,0-2-77 0,2-4-13 0,-2-3-107 16,0 2-135-16,2-4-290 0,1-3-341 15,2-3 100-15,0 0 95 0,0 0 54 0,0 0 72 16,0-16 94-16</inkml:trace>
  <inkml:trace contextRef="#ctx0" brushRef="#br0" timeOffset="132315.13">6801 8395 1034 0,'2'4'427'16,"-2"-4"-43"-16,3 2-26 0,-3-2-38 15,12-1-28-15,-4-3-33 0,0 1 53 0,4-2-33 16,-1-2-33-16,4 0-24 0,0-3-12 0,-1 2-38 16,-1-4-11-16,1 5-84 0,0-4-16 15,-4 5 1-15,0-1-19 0,-2 1 42 0,-3 1-6 16,3 2-2-16,-4 2 0 0,-1-3 15 15,-3 4 0-15,0 0 74 0,0 0 26 0,5 11-23 32,-7-3-10-32,-1-1 15 0,0 4-3 0,1 2-32 0,-3 0-9 0,2 3-15 0,-1-1-15 15,-2 3 0-15,2 1 10 0,0 0-33 0,-1 0-39 16,0-2-43-16,0 1-59 0,3-2-46 16,-4 1-41-16,4-3-28 0,0-3-49 0,1 1-38 15,1-3-113-15,1-1-110 0,1-2-478 0,0-3 30 16,1 4 74-16,0-7 103 0,1 4 87 15,2-2 41-15</inkml:trace>
  <inkml:trace contextRef="#ctx0" brushRef="#br0" timeOffset="133069.81">7039 8598 880 0,'5'-5'335'0,"0"0"-27"0,3-1 19 16,-3-1-38-16,0-3 70 0,3 1-32 0,0-2-7 15,-1 3 13-15,1-5-49 16,-1 2-30-16,1 0-37 0,-3 1 1 0,1-1 12 0,-4 4-89 15,0-1 36-15,-1 2-6 0,1-2-30 0,-1 5-3 16,-1-2 0-16,0 5-25 0,0 0-18 16,-4-2 2-16,4 2-15 0,0 0 15 15,-7 9-33-15,4-3-8 16,-1 0-12-16,3 2 2 0,-4 2 0 0,3-1-10 0,1 1-18 16,-1 0-34-16,2-1-27 0,0 1-29 15,0-2-7-15,2 0-16 0,1-2-10 0,2-1-12 0,0 0-22 16,3-3-22-16,2-2-13 0,0 0-59 0,3-2 26 15,5-3-1-15,0-2 19 0,-2-1 28 16,2-2 2-16,-1-2 18 0,-1 4 8 0,-3-3 23 16,2 0 23-16,-2 2 38 0,-3 0 42 0,-2 2 22 15,-1 0 34-15,-1 4 10 0,2-2-3 16,-6 2 13-16,1 1 10 0,-3 2 6 0,5-1 4 16,-5 1-2-16,0 0 11 0,0 8-16 15,0-3 10-15,0 1 2 0,0 0-19 16,-3 2-14-16,3 1 13 0,0 0-10 0,0-3 3 15,3 4-8-15,0-1-29 0,1-2 1 0,-1 2 0 16,0-5-11-16,4 2-32 0,-2-1-4 16,3-1-14-16,-3-2 4 0,2-2 13 0,2-1-36 15,-1-3 1-15,2 3 17 16,-2-4 13-16,2-2 0 0,0-1 13 0,0-3-23 0,0 0 18 0,-2-2 38 16,-1-1 0-16,1 1-10 15,0-4 33-15,-3 1-7 0,0 0-8 0,0-2 25 0,-2 5 8 16,2 1 18-16,-3 0 31 0,2 4-8 15,-2-1-20-15,0 1 4 0,1 4-30 0,-3 0 16 16,0 4 17-16,3-1-18 0,-3 1 13 0,0 0-12 16,0 0 12-16,0 14-10 0,0-9-16 15,2 2 3-15,-2 0-7 0,2-1-6 16,-2 4 8-16,1-1 5 0,1 1-18 16,1-2 6-16,0 0-29 0,-1 1-10 0,3 0 33 0,-2 3-18 15,2-5-7-15,-3 3 5 0,1-3 2 16,2 1-18-16,-2-3-4 0,1 2 22 0,-1-1-26 15,2 0-9-15,-2 1 22 0,2-1 1 0,-3 0-6 16,1-1 3-16,0-2 5 16,0 2-13-16,1-1-28 0,-1-2-22 0,0 1-14 0,1-1-51 15,-4-2-46-15,6 2-13 0,-1-1-48 16,-5-1-42-16,5 2-15 0,-5-2-22 0,10 1-35 0,-5 0-45 16,1-1-97-16,2-1-433 15,2 0 25-15,2-2 134 0,1 1 56 0,3-2 36 16,4 1 97-16</inkml:trace>
  <inkml:trace contextRef="#ctx0" brushRef="#br0" timeOffset="134318.31">7721 8444 1005 0,'0'-5'423'0,"0"5"-57"16,0 0-15-16,5-1-44 0,-5 1-31 16,0 0-5-16,10 11-30 0,-7-8-23 0,2 2-6 15,-3 1-35 1,4 1-29-16,-1-1-15 0,0 0-10 0,-3 1 44 0,1-2-47 0,2 1-18 0,-2 1 8 16,-1-4 8-16,1 1-16 15,0 1-2-15,-1-3 5 0,1 1-5 0,-1 0 15 16,-2-3-2-16,5 5 12 0,-5-5-2 0,6 0-38 15,-6 0 4-15,10 0-4 0,-10 0 2 0,7-5-3 16,1 4-40-16,-3-1-39 16,0-3 43-16,1 5-32 0,1 0 7 0,-1-1 8 0,1 1-14 15,-7 0-17-15,15 1-12 0,-9-1-34 0,1 0-21 16,0 4-7 0,-1-3-67-16,-1 1 0 0,1-2-30 0,-2 3-65 0,2-2-71 15,1 0-72-15,-7-1-64 0,8 0-135 0,-8 0-264 0,10-2 28 16,0-1 120-16,-5 3 82 0,1-3 77 15</inkml:trace>
  <inkml:trace contextRef="#ctx0" brushRef="#br0" timeOffset="134489.78">8014 8481 534 0,'2'-5'256'0,"0"3"21"0,-2-2-16 0,0 4 82 15,3-7-10-15,-3 6-41 0,0 1-29 0,0 0 21 16,3-5-35-16,-3 5-16 0,0 0-16 0,0 0-12 16,0 0-98-16,2 13-30 0,-2-8 3 15,2 0 12-15,-2-2-33 0,0 3-29 16,3-1-19-16,-3 1-40 0,0 0-40 0,0-1-46 15,0 0-177-15,-3-2-92 0,3 2-432 0,0-5 53 16,3 6 92-16,-3-6 118 0</inkml:trace>
  <inkml:trace contextRef="#ctx0" brushRef="#br0" timeOffset="135090.74">8152 8313 1279 0,'-3'7'359'0,"1"-1"-34"0,2 4 2 0,-1-2-48 0,1 0-46 0,0 1-7 15,0 1-16-15,0 0-24 16,3-3-17-16,0 1-33 0,-1 1-29 0,1-2-19 16,2 0-35-16,0-3-7 0,0-2-20 15,3 3-11-15,-1-3-51 0,1-2-22 16,0-2-4-16,0-1-15 0,2 1 21 0,0-4-8 0,1-1-13 16,-1 0-7-16,0-3 2 0,-2 3 28 15,-1-1 11-15,1 1 14 0,0-2 9 0,-4 3 30 16,4 3 18-16,-2-3 21 0,-4 2 15 15,1 3 8-15,-3 1-8 0,0 0 23 0,0 0-34 0,0 0 4 16,7 6 2-16,-7-6-24 0,1 7 6 16,-1-3-2-16,2 1-6 0,-2-2 0 15,0 2 11-15,2-2 10 0,1 0-3 0,0-1-20 16,-3-2-11-16,5 4 0 0,-5-4-14 16,10-4-1-16,-10 4-3 15,10-3 16-15,-4-2-10 0,2-1-3 0,-1-1 3 0,1 1 4 0,1-4-4 16,0 3-10-16,1 0 14 0,-3 2 27 15,1-1 76-15,-3-1-5 0,1 4 21 16,-2 0 2-16,2 2-26 0,-6 1-4 0,0 0 7 0,13 6-18 16,-6-1 23-16,-4 3 13 0,2-1-13 15,0 5-33-15,0 0 20 0,2-1-22 0,-3 2-26 16,3 0-13-16,-1 0 2 16,1 0-43-16,-2-1-56 0,1-2-39 0,0 0-46 0,0 1-41 15,-1-3-155-15,2 1-265 0,-1-3-368 16,-1-2 120-16,0 0 52 0,3-3 109 0,-3-1 23 15,-5 0 75-15</inkml:trace>
  <inkml:trace contextRef="#ctx0" brushRef="#br0" timeOffset="135890.9">9144 6321 739 0,'12'7'320'0,"5"7"-5"15,3 0-26-15,3 10-17 0,0 3-9 0,2 3-30 16,1 10 56-16,-3-4-15 0,-2 7-33 0,-3-4-16 16,-3-2-12-16,0 1-50 0,-4-1-1 15,-1-2-37-15,0-2-2 0,0-7-8 16,-2-7-12-16,-5 0 4 0,2-3-17 0,0-3-24 16,0-2-2-16,-2-1 34 0,1-1-11 0,-3-2-23 15,4-1-16 1,-3-3 32-16,-1 0-40 0,3-1-16 0,-4-2 6 0,6 0 6 0,-6 0-33 15,8 2 2-15,-6 1 18 0,3 3 23 0,0 0 15 16,-2 7 31-16,2 5 16 0,0 8-67 16,0 13-3-16,-5 10 54 0,3 15 11 0,-1 8 9 15,-4 0-14 1,2 8-6-16,-3 3 33 0,1 4 37 16,-3 0-40-16,2 0 1 0,-5-2-10 0,3-2-18 0,-2-1-19 0,-1-6-1 0,2-2-19 15,-4-6-2-15,0-3-34 0,-3-5-4 0,-2-8 14 16,-1-3-50-16,-2-12 2 0,0-5 5 15,-2-1-48-15,-3-7-42 0,0-1-40 16,3-8-18-16,1-5-62 0,4-4-13 0,0-3-124 16,4-3-129-16,-6 0-169 0,4-6-328 15,-3-3 78-15,4-3 119 0,-1-4 83 0,-1-5 81 16,2-9 80-16</inkml:trace>
  <inkml:trace contextRef="#ctx0" brushRef="#br0" timeOffset="136362.65">9724 7238 1261 0,'12'-2'351'0,"1"-2"-8"0,7-1-49 0,4-1-40 15,4 2-16-15,0-2-23 0,3 1-31 0,0 0-25 16,-3-1-13-16,2 4-3 0,-1-3-69 15,1 1-33-15,-6 2-33 0,-1 0-64 0,-5 1-90 16,0-1-92-16,-6 2-113 0,-1 2-322 0,-1 0-23 16,-5-1 40-16,0 5 91 0</inkml:trace>
  <inkml:trace contextRef="#ctx0" brushRef="#br0" timeOffset="136552.54">9787 7406 1039 0,'-5'3'312'0,"3"0"-5"0,2-2-15 16,0-1-21-16,3 7-28 0,1-7 6 16,4 3-37-16,3-1-27 0,4-1-1 0,2-1-28 0,1 0-20 15,6-1-11-15,-1-4-5 16,2 3-30-16,3-3-11 0,1-1-7 0,-3 0-49 0,-1-1-49 16,-2 1-40-16,-2-1-52 0,-4 0-53 15,2 0-106-15,-1-2-58 0,-3 2-303 16,0 1-99-16,-7-1 46 0,0-1 44 0</inkml:trace>
  <inkml:trace contextRef="#ctx0" brushRef="#br0" timeOffset="136828.66">10054 7045 1126 0,'0'0'345'0,"0"0"-9"0,21 6-106 0,-11 1 13 0,2-1 8 16,2 6 33-16,3 0-15 15,1 2 18-15,0 1-21 0,5 5-28 0,1 0 2 16,-4-1-30-16,-7-2-5 0,0 1-92 16,-1 2-11-16,-1 0-2 0,-8-1-8 0,1 0-25 15,-1 3 7-15,-6 1-5 0,-2 1-36 0,-3 0-22 16,-7 7-4-16,0 0-48 0,-1-1-20 0,-1-3-52 16,1-5-63-16,3-1-111 0,0-2-141 15,0-1-508-15,1-1 127 0,-1-4 102 16,0-3 62-16,0-1 59 0</inkml:trace>
  <inkml:trace contextRef="#ctx0" brushRef="#br0" timeOffset="137769.63">10916 6738 1195 0,'-1'12'376'0,"1"-4"-30"0,0 3-19 0,1 1-48 16,1 2-23-16,1 4-20 0,-3 2-47 16,2 0 62-16,1 3-56 0,-3 1-29 0,2 1-35 15,1-1-57-15,-3-3-61 0,3 2-60 0,-1-4-98 16,-2 1-122-16,0-1-155 16,2-1-405-16,-2-5 93 0,3 1 78 0,-3-4 65 0</inkml:trace>
  <inkml:trace contextRef="#ctx0" brushRef="#br0" timeOffset="138055.9">10893 6707 785 0,'5'-18'356'0,"2"5"43"0,1 5-30 0,0 2-11 0,-1 0-15 0,3 2-84 0,1 3-54 0,2 1 5 0,-3 0-24 0,3 3-4 15,-1 0-21-15,2 4-10 0,-2 2 29 0,-4-1-29 16,-1 3-11-16,1-1-4 0,-2 2-5 0,-4 0-19 16,0 4-20-16,-4-2-12 0,0 0-1 15,-1 3-33-15,-4 1-5 0,3-3-8 0,-3 3-22 16,-1-1-45-16,0-2-9 0,1-1-21 16,-1 0-31-16,3-4-28 0,0 1-43 15,-2-2-64-15,1-1-108 0,3-4-59 0,-2 2-481 0,3-3 118 16,0-1 40-16,2-2 83 0,0 0 94 15</inkml:trace>
  <inkml:trace contextRef="#ctx0" brushRef="#br0" timeOffset="138273.69">11172 6483 1226 0,'0'0'401'0,"0"0"58"0,3 11-40 0,-1-3-27 16,3 4-128-16,-2 5-13 0,-1 2-8 15,4 2-33-15,-4 7-24 0,0-2 9 16,1 1-18-16,2 10-29 0,-2-5 1 0,0-2-50 16,1 6-40-16,-1-5-38 0,0-5-49 0,-1-1-57 15,-1-4-48-15,3 0-59 0,-1-2-90 16,0-6-109-16,-1 3-500 16,4-5 139-16,0 0 37 0,0-4 78 0,2-2 99 0</inkml:trace>
  <inkml:trace contextRef="#ctx0" brushRef="#br0" timeOffset="138684.69">11497 6712 924 0,'-4'-1'384'0,"4"1"-54"0,-10 0-5 0,2 2-31 0,-1 4 16 15,-3 0-31-15,2 0-56 0,-3 2 30 0,0 3-58 16,0 1-9-16,1-1-17 0,1 2 10 15,1-3-22-15,0 1-27 0,4 2-35 0,-1-3 10 16,4-1-26-16,1 0-20 0,0-1 15 0,4-2-33 0,0-1-10 16,1-2-26-16,4 1-15 15,-1-4 5-15,1 0-3 0,1-3 0 0,2 1 8 0,3-3 0 16,-2-2 0-16,-1 0-2 0,0 0-3 0,0-5 17 16,1 4 1-16,-4-2 10 15,1 1 0-15,-1 1-7 0,1 2 17 0,-5-1-5 16,2 4 5-16,-2-2-12 0,1 4 15 0,-4 1 10 15,6-1-18-15,-6 1 8 0,0 0-26 16,4 9 34-16,0-5-34 0,-2 2 5 0,-2 1 13 16,2 0-17-16,-2 0 1 0,3 0 24 15,0 3-26-15,-1-3 1 0,-1 0-32 16,3 0-22-16,-1-1-9 0,-1 1-27 0,1-1-13 0,-1 0-41 16,2-1-51-1,0-2-67-15,-1 1-133 0,2-3-23 0,0 2-415 0,0-2 29 0,-5-1 73 16,13 0 62-16,-5-1 95 0</inkml:trace>
  <inkml:trace contextRef="#ctx0" brushRef="#br0" timeOffset="139202.31">11726 6692 1054 0,'0'0'438'0,"-10"3"-52"0,4 1-25 0,1 0-36 0,0 1-38 0,0 2-18 0,0 2 7 16,2-2-38-16,-2 2-36 0,2 1 1 15,1-2-47-15,-1 3-13 0,3-4 11 0,-2 3-8 16,4-1-23-16,-1-2-13 0,1 0-31 0,3-1-20 16,0-1-11-16,3 0-14 0,0 0-9 15,2-4-20-15,0-1 1 0,1-1 17 16,-1-2-16-16,2 1-14 16,1-3 37-16,-3 0-32 0,1-1 17 0,-1-2-25 0,-3 1 18 0,1-1-6 15,-2 2 24-15,-1-1-8 0,0 1 2 16,-2-2 29-16,-1 4-8 0,0-1-16 0,-2 0-9 15,0 5 19-15,0 0 9 0,-2-3-29 0,2 3 11 16,0 0 30-16,0 0-22 0,-8 10-17 16,6-4 14-1,0 0-3-15,1 1-7 0,-1 2 7 0,2-2 0 0,0 0-2 0,0 0-26 16,2-1-11-16,-1 2 35 0,3 0-55 0,1-1-2 16,-2-3-21-16,5 1-49 15,-3 0-43-15,2-3-22 0,1 1-65 0,2-2-69 0,-2-1-116 16,0 0-291-16,2 0-146 0,-2-2 72 15,0-1 120-15,1 2 72 0,-1-4 48 0</inkml:trace>
  <inkml:trace contextRef="#ctx0" brushRef="#br0" timeOffset="139692.23">12048 6703 929 0,'1'-3'384'0,"-1"3"-54"16,0-6-3-16,0 6-35 0,3-1-26 15,-3 1 24-15,0 0-11 0,0 0-41 0,12 9 89 16,-9-4-37-16,4 0-1 0,-4 2-41 0,3 0-15 16,-2-2-26-16,2 2-4 0,-2 0-45 15,2 3 16-15,-2-3-17 16,-1 0-45-16,2-1 3 0,-2 0 16 0,0-1-52 0,1-1 52 16,-1 0-26-16,0-2-82 0,0 2 0 0,-3-4 33 15,7 1 6-15,-7-1-6 0,0 0-5 16,11-5-10-16,-7 3 20 0,2-3-22 0,-1 2-8 15,2-1-3-15,-2-1-13 0,3 3 13 0,-2-3 8 16,-2 4 5-16,-1-1-10 0,4-1-18 16,-7 3 2-16,8-1 5 0,-8 1 9 0,10 0-17 31,-10 0 11-31,6 1-2 0,-6-1 4 0,5 5-4 0,-5-5 28 0,5 0-19 0,-5 0-7 16,7 2-7-16,-7-2 27 0,4 2 16 15,-4-2 61-15,0 0 11 0,0 0-3 0,0 0-13 16,12-4-107-16,-9 4 38 0,-3 0 20 0,10-6-50 15,-5 5 20-15,-2-3 25 0,5 2-25 16,-4 1 30-16,2-3-35 0,1 3-15 0,-1-4-16 16,1 5 0-16,1-3 0 0,-3 0 0 0,0 2 0 15,0-1 0-15,3-2 0 0,0 3-82 16,-3-1-77-16,5-1-61 0,0 3-16 0,-2-1-84 16,2 0-41-16,1-2-76 0,1 3-65 15,1 0-133-15,2 0-366 0,1 0 77 0,2 0 72 0,-3-1 76 16,1 1 93-16,1 0 56 0</inkml:trace>
  <inkml:trace contextRef="#ctx0" brushRef="#br0" timeOffset="140357.07">12577 6764 1046 0,'0'0'351'0,"0"0"-23"0,0 0-31 15,0 0-13-15,5-13-31 0,0 12-17 0,0-4-9 16,0-1-22-16,1 3 49 15,-2-3 7-15,2 2 5 0,-1-3-36 0,0 0-4 0,-2 1-32 16,2-1-7-16,-2 2-77 0,1-1 0 0,-1 1-20 16,-3 2 7-16,3-2-30 15,-1 3-3-15,-2 2-13 0,2-3-3 0,-2 3-2 16,0 0 11-16,0 0-4 16,0 0-27-16,0 0 20 0,-4 10-13 0,4-10-15 0,0 8 16 15,0-7-29-15,0 4-10 0,2-3-6 0,0 2 9 16,2-1 7-16,0 1-28 0,2-4 8 0,-2 4-6 15,2-4-7-15,-1 1 20 0,3-1-17 16,0 0 22-16,2 1-7 0,-3-1 18 0,4 1-16 16,-4-1 8-16,3 3-5 0,0-3 12 0,-2 2-22 15,2-1 23-15,-1 0 10 0,1 2-23 0,-2-2 17 16,2 0-24-16,0-1-6 0,2 0 23 16,-1-1-18-16,-1 0 13 0,3-2 10 31,2 0-5-31,-2-3-5 0,3-1 8 0,-1-2-21 0,0 1 13 0,3-5 21 0,-5 1 14 15,0 1-1-15,0-4 14 0,-3 1 11 0,-2-3 39 0,-1 0-24 16,1-2-10-16,0-1 20 0,-5 1-22 16,1 1 9-16,-1 0-7 0,2 3-23 15,1 2 28-15,-4 1 16 0,0 2-16 0,1 2-18 16,-3 1 0-16,3 3-2 0,-1 2 7 0,-2 2-10 16,0 0-2-16,0 0-24 0,0 0-2 0,2 11-13 15,-2-3-10-15,0 0-46 0,-2 2-38 16,2 0-80-16,0 2-85 0,-2 1-38 0,-1 3-127 15,-2-2-142-15,3-1-412 0,1 0 39 16,-4-3 115-16,3-1 97 16,-1 0 64-16,0-1 67 0</inkml:trace>
  <inkml:trace contextRef="#ctx0" brushRef="#br0" timeOffset="140520.29">12987 6601 1131 0,'0'-6'361'0,"3"1"-49"0,0 0-25 15,-1-1 20-15,3-2-26 0,3-1 6 0,1 3-46 16,2-5-26-16,2 3-18 0,0-3-5 15,0 5-21-15,4-4-32 0,-1 1-17 0,1 0-40 16,-1 0-20-16,3 0-24 0,3-1-58 0,-6 2-11 16,-1 2-53-16,-2 1-50 0,0-1-50 0,-3 4-82 15,-3-1-77-15,-1 1-358 16,-6 2-39-16,0 0 15 16,0 0 62-16</inkml:trace>
  <inkml:trace contextRef="#ctx0" brushRef="#br0" timeOffset="141378.31">11907 7195 1236 0,'-7'0'427'0,"0"4"-27"15,-3 2-45-15,-1-1 9 0,1 3-72 0,-4 0-16 16,4 4-22-16,-2-1-34 0,1 3-5 31,3-1-28-31,1 0-19 0,0 3-34 0,4-3-6 0,-2-1-41 0,2-1 7 0,0-1-14 16,3-1-19-16,3-1 16 15,0-2-41-15,2 0 10 0,2-4-3 0,1-1-17 0,0 2 12 16,2-7-4-16,0 3-24 0,1-4 5 0,1 0 3 16,-1-2 5-16,1 1-25 0,2-2 7 15,-4 0 10-15,0 0-12 0,0 0 4 0,-2 2 4 16,-1-1 9-16,1 5-7 0,-2-3-6 0,-2 0 17 15,-1 4-4-15,0-1-7 0,-3 2-6 16,0 0-4-16,0 0 25 0,0 0-23 0,10 4-12 16,-8 0 12-1,-1-2 0-15,3 3-26 0,-1-4 27 0,0 4-27 0,2-4-2 0,-2 1 13 16,-3-2-24-16,14 0-4 0,-6-1 28 16,2-1 0-16,-2-2-24 0,3 0 19 0,-1-1 15 15,0-1-13-15,0 0-7 0,-2-1 9 0,2 1 4 16,-2 1 12 15,-1-1 5-31,-1 2 18 0,2 0 6 0,-4-1-14 0,2 3 21 0,-3-2-36 0,-1 4 8 0,-2 0 28 0,0 0-26 0,10 0-12 16,-10 0 25-16,2 3 26 15,-2-3-65-15,6 3 32 0,-4 1-16 0,-2-4 5 16,3 3-17-16,2-1 7 0,-5-2 20 0,8 2-10 0,-8-2-2 16,7-1 20-16,-1-2-20 0,-1 1 0 15,2-3 2-15,-1 0-18 0,1 0 11 16,1 0 7-16,0-1 0 0,0-3 11 0,-1 0-3 15,-2-3-72-15,3-2-15 0,-3-2 51 16,3 1-44-16,-3-1 11 0,0 1 26 0,0 3 7 16,0 0 20-16,0 2 21 0,-2 1-15 0,-1 4 5 15,1 0 35-15,-3 3-22 0,0 2 53 0,0 0-20 16,0 0 125-16,0 14-17 0,0-4 2 16,0-2-34-16,0 5 11 0,0-2 5 0,3 2-28 15,-1 0-18-15,1-1 21 0,2 1-19 0,0 0-33 16,3-3-28-16,0-1-38 0,2 1-62 15,-2-3-30-15,4 0-42 16,-2-3-60-16,3-1-63 0,0 1-53 0,0-2-128 0,0-2-243 0,-1 0-371 16,2 0 132-16,-2 0 83 0,1-2 130 15,0 0 36-15,-3-2 85 0</inkml:trace>
  <inkml:trace contextRef="#ctx0" brushRef="#br0" timeOffset="158465.43">11049 8320 1420 0,'5'-3'435'16,"-2"-2"-43"-16,6 0-52 0,0-1-9 0,3 4-29 0,1-3-8 15,2 4-43-15,1 0 18 16,-3 1-49-16,-1 1-13 0,-1 0-10 0,2 4-23 0,-3-2 5 16,-3 5-15-16,-1-2-10 0,-4 4 22 0,-2-1-19 15,-2 4-22-15,-1 0-22 0,-7 2 22 16,2 4-22-16,-5 0-31 0,0 0 10 0,-1 0-5 16,-5 5 8-16,1-6-69 0,3-4 9 15,0 2-24-15,4-5 40 0,-1-1 0 0,2-1-10 16,2-2 8-16,0 1-3 0,0-2-8 0,3-1 0 15,0-1-4-15,0 0-14 0,2 2 42 16,0-2-27-16,3-1 14 0,0-3 25 0,3 6-53 16,2-3 2-16,-2-1-10 0,4-1 2 15,1-1 13-15,2 0 8 0,-1 0-5 16,3 0-11-16,1 0-51 0,2-2-4 0,0-2-22 0,3 3-19 16,1-4-76-16,-1 2-4 0,2-3-20 15,-2 0-75-15,-1 0-15 0,2-1-54 0,-1-3-103 16,2-2-25-16,-2 2-496 0,0-1 40 15,-3-2 144-15,1-2 48 0,-1 1 78 0,-2-4 40 16</inkml:trace>
  <inkml:trace contextRef="#ctx0" brushRef="#br0" timeOffset="158831.65">11442 8265 1149 0,'-6'3'310'0,"-2"1"-3"15,3-1-18-15,-2 5-2 0,2 2-21 16,-1-2-28-16,1 4-21 0,0-1-22 0,3 1-16 15,-1 0-5-15,3-2-30 0,0 3-27 0,3-2-2 16,-1 3-10-16,3-3-25 0,2 1 22 16,1-2-28-16,1-3-15 0,3-1 5 0,0-4-13 15,2 3-22-15,-2-5 14 0,1-1 83 0,3-3-4 16,-1 1-17-16,0-3-12 0,0-2 37 16,-4 0-76-16,-1-1 30 0,0-1 1 15,-2-2-16-15,-2 3 28 0,-4-2 8 0,0-1-23 16,1 1 2-16,-3 1 9 0,-3 0-1 0,-1 1-13 15,1-1 11-15,-2 0-8 0,-3 2-13 16,3 1-28-16,-3-1-13 0,0 4 0 0,0-2 5 16,1 4-2-16,-1-1-23 0,-1 2-16 15,1 0-23-15,-1 2-10 0,2 2-38 0,0-1-34 16,1-1-35-16,-2 4-34 0,3-1-28 0,0-1 3 16,2 3-72-16,1-1-120 0,0 0 15 0,2-2-492 15,0 4 29-15,2-4 115 0,-2 0 46 16,3 1 77-16,-1-2 51 0</inkml:trace>
  <inkml:trace contextRef="#ctx0" brushRef="#br0" timeOffset="159253.79">11954 8050 941 0,'-10'0'397'0,"2"0"-31"0,-2 2-43 0,2 1-16 0,3-1-18 16,-3 2-15-16,3-1-10 15,-2 2-52-15,4 2-15 0,-2-1 82 0,2 1-33 16,0 2-26-16,6-1-25 0,-3 0-11 0,5 3-36 15,1-3-7-15,1 3-15 0,1 0-16 16,5-2-5-16,-1 3-26 0,-1-2 16 0,1-1-8 16,1 3-26-16,1-2 11 0,-4-3 2 0,0 1-10 15,-3-1 8-15,1 2 38 0,-3-2-8 0,0-1 11 16,0 1 22-16,-4-1 1 16,1 2-92-16,-4-2 48 0,-1 2-54 15,-2 0 8-15,0 1 3 0,-3-1-18 0,-5 3 25 0,3 1-15 16,-5-2-18-16,2 2 10 15,-5-1 6-15,0 3-39 0,2-1-31 0,-2-2-23 0,0-1-35 16,0 1-14-16,4-3-48 0,0 2-31 0,4-3-25 16,-1-1-34-16,4 0-81 15,0-3-108-15,1-3-28 0,4 3-479 0,2-3 56 0,0 0 72 16,0 0 159-16,12-22 10 0,-4 11 85 0</inkml:trace>
  <inkml:trace contextRef="#ctx0" brushRef="#br0" timeOffset="159538.4">12136 7954 1167 0,'2'-6'440'0,"1"3"-41"0,-3-1 59 0,0 4-38 15,0 0-54-15,0 0 34 0,0 0-86 16,5 9 19-16,-3-3-31 0,-1 2-12 0,2 2-22 16,-1 2-9-16,0-1-39 0,1 4-10 0,-3-1-128 15,3 4 25-15,-1-1-45 16,1 2 12-16,-1-1-36 0,1 1-56 0,-1 0-35 0,-1-3-47 15,3 2-28-15,-1-5-69 0,0 4-54 16,2-4-54-16,-2 0-102 0,-1-2-69 0,3 0-450 16,-2-3 127-16,-1 0 18 0,1-3 93 0,-1 1 63 15</inkml:trace>
  <inkml:trace contextRef="#ctx0" brushRef="#br0" timeOffset="160432.65">12067 8213 1005 0,'0'0'346'0,"2"-6"-29"0,3 1-43 16,0 0 16-16,3-3-42 0,2 0-25 0,0 2-29 0,4-6 1 16,1 5 45-16,-2-5-9 0,2 4-27 15,-2-3-22-15,0 5 10 0,-3-1-15 0,0 0-1 16,-2 3-14-16,0-1 17 15,-1 2-21-15,1 1-24 0,-3 0 24 0,-2 1-17 0,-3 1-87 16,7 4 17-16,-7-4-24 0,8 3-4 31,-8 1-10-31,0-4-5 0,5 6 6 0,-2-4 12 0,-3 4-15 0,3-2 10 0,-1-2-24 0,0 3 1 16,1 0 10 0,0-2-17-16,2-2-19 0,0 4 11 0,0-5-11 0,0 1 16 0,0 1 2 15,-5-2-23-15,16-3 8 0,-8 1 2 0,-1-2 8 16,1 3-2-16,-1-1 7 15,1-2-15 1,0 1 13-16,-3 1 0 0,0 1-8 0,0 0-11 0,1 0 14 0,1-1-13 0,-7 2-16 0,10 0 0 16,-5 2-43-16,-5-2-36 15,11 1-10-15,-6 0-26 0,-5-1-30 0,10 0-39 0,-10 0-36 16,11-1-89-16,-4 0-80 0,1-2 49 16,-1 0-128-16,2-2-292 0,3 0 54 0,3-1 146 15,-2-1 410-15,-2 0 127 0,-1-5 3 16,2 4 71-16,-1-5 24 0,1 0 56 0,-4-1 61 15,2 0 37-15,-2-1-4 0,0-2 83 16,0 4 17-16,-3 2 16 16,0-2-87-16,0 2-16 0,-3 3-4 0,1 2 2 0,2 0-21 15,-3-1-33-15,-1 6 5 0,2-1-20 0,-3 2 18 16,0 0-41-16,0 0-13 16,10 7-3-16,-8-4-5 0,0 3-12 0,1 0 4 0,0 1-2 0,-1-2-15 15,1 2-8-15,-1-3-36 0,1 0 3 31,-2 1 2-31,3-1-5 0,-4-2 41 0,3 2-28 0,-3-4-5 0,2 4 18 16,-2-4-28-16,0 0-6 0,-7 4 16 0,7-4 10 0,-10 0-10 16,4 3-8-16,-1-2 8 0,-3 1-3 15,-1 2-7-15,1-1 30 0,-3 3 90 16,0 0-5-16,1-1-39 0,1 1-5 0,-2 0 6 0,3 1-26 16,-1 0 7-16,4-1-23 0,0 0 11 15,1 1 7-15,1-3-43 0,3 2 0 16,2-3-3-16,-3 3 19 0,6-3-11 0,-3-3-11 15,5 3-7-15,3-3-2 16,-8 0-26-16,20-3-21 0,-8 0 13 0,1-3-2 16,5-1-11-16,0 0 37 0,-2-1-14 0,-1-1 16 0,1-1-8 15,-1 1 3-15,-2-1 10 0,0 1 33 16,-3 3 15-16,-2-1-38 0,-1 1-12 16,-1 2-14-16,1 1 16 0,-4-1-13 0,1 2 26 0,-4 2 5 15,8 0-13-15,-8 0-5 0,0 0 13 16,8 7-8-16,-6-3 10 0,1-2-15 0,0 4 10 15,-1-1-8-15,1-2 6 0,2 3-8 0,-2-1-5 16,2 0-11-16,0-2 1 0,0 1-54 16,-2 0-34-16,1-1-40 0,-1-3 10 15,2 3-57-15,-2-1-22 0,-3-2-80 0,10 2-39 16,-5-2-81-16,-5 0-146 0,8 0-448 0,-5 0 120 16,-3 0 26-16,10 0 97 0,-10 0 103 15,10 0 12-15</inkml:trace>
  <inkml:trace contextRef="#ctx0" brushRef="#br0" timeOffset="160786.26">13200 7829 1412 0,'7'-4'528'0,"-1"3"-55"0,-1-3-32 0,5 2-42 0,3-3-51 16,0 2-25-16,-1-1-39 0,4-1-77 15,2 0-20-15,-1 4-59 0,2-5-46 0,-3 5-59 0,-2-3-44 16,2 2-53-16,-1-1-97 16,-5 1-83-1,-2 2-43-15,0 2-61 0,-3-1-482 0,-2 1 93 0,-1 2 30 0,-2-4 59 0,-2 7 128 0</inkml:trace>
  <inkml:trace contextRef="#ctx0" brushRef="#br0" timeOffset="160991.91">13205 7926 1182 0,'-5'3'387'0,"5"-3"-50"0,-5 2 14 16,5-2-31-16,0 0 46 0,0 0-18 0,0 0-23 0,0 0-17 16,0 0-4-16,22-4-48 0,-13 1-28 15,1 0-46-15,2 0-21 0,2-2-51 0,-1-1-20 16,5-1-67-16,-3 2-67 0,3-1-17 31,-3 0-32-31,3-1-73 0,0 2-77 0,0 2 5 0,2-2-62 0,-1 2-71 0,3 0-494 0,1-2 115 31,5 4 51-31,1-6 52 0,12 2 58 0</inkml:trace>
  <inkml:trace contextRef="#ctx0" brushRef="#br0" timeOffset="161611.14">13559 7663 954 0,'0'0'384'0,"0"-5"-25"16,0 5-34-16,0 0-8 0,13-3-38 0,-6 3-28 0,4 0-41 0,-1 0-18 0,5 0 0 0,-2 1 13 16,3 4-49-16,2-3 10 0,-1 4-20 0,1 0 25 0,0 5-25 15,-5-3 3 17,2 3-29-32,-4 0 18 0,-1 3-5 0,-2 0-5 0,-3-2 11 0,-3 1-24 0,1 0-13 0,-3 3 8 0,-3-1-25 15,1 2 7-15,-3-3-15 0,-1 3-6 16,2-4-22-16,-4 1 5 0,2-2-49 0,2-1-31 15,-2-1-38 1,2 0-46-16,1-3-59 0,0 0-123 0,1-1-102 0,2-2-371 0,0-4-157 16,0 0 85-16,2 1 77 15,-2-1 59-15,10-6 97 0</inkml:trace>
  <inkml:trace contextRef="#ctx0" brushRef="#br0" timeOffset="161850.72">14200 7379 1156 0,'0'0'454'0,"0"0"63"0,0 11-59 0,0-4-5 15,0 2-21-15,0-1-71 0,0 4-18 0,-3 0-15 32,1 0-39-32,2 6-92 0,-2-4-15 0,1 5-33 0,-2-1-21 0,-1 1-34 0,3 0-17 15,-1 1-74-15,-1-1-26 0,3-1-72 0,-2 0-25 16,1-4-24-16,1-2-38 0,1-1-84 15,1-1-118-15,3-7-28 0,0 3-481 16,1 0 102-16,-1-6 130 0,2 0 4 0,-7 0 76 16</inkml:trace>
  <inkml:trace contextRef="#ctx0" brushRef="#br0" timeOffset="162157.63">14374 7484 911 0,'2'-3'361'15,"-2"1"-29"-15,0 2-101 0,0 0-14 0,0 0-32 16,0 0-11-16,-9 9-28 15,8-4-6-15,-1 1-9 0,2 0 7 0,0 1-48 0,-2 0-19 16,4 1-42-16,0 1-11 0,1-2-42 16,4-1-32-16,1 0 0 0,0-2 25 15,3 0 8-15,1-1 26 0,-1-2-6 0,4-1-2 16,-2-3 31-16,2 2 9 0,1-5 35 16,-4 1 6-16,1 2 22 0,-3-6 32 0,1 1-20 15,-4 1 34-15,-1-4-27 0,-4 3 9 0,0-3-26 16,1-2 2-16,-6 5 39 0,3-3-47 0,-2-2-22 15,-3 5 38-15,0-3-41 0,0 0-25 16,0 4-14 0,-1-2-1-16,3 1-40 0,1 2-40 0,-3 2-38 0,2-1-34 0,1 0-13 0,2 2-51 15,0 3-25-15,2-5-93 16,1 1-12-16,2 2-70 0,0 1-370 16,1-2 40-16,1 1 100 0,1 2 64 0</inkml:trace>
  <inkml:trace contextRef="#ctx0" brushRef="#br0" timeOffset="162423.91">14603 7368 376 0,'4'2'199'0,"-1"3"4"0,-3 2 22 15,3-1-28-15,-1 0-5 0,1 1-15 16,-1 3-6-16,1-1-22 16,0-3-19-16,2 4-25 0,0-2 20 0,0-2-20 0,0 2-15 15,3 1-11-15,0-4-27 0,-1-1-1 16,1 1-3-16,2-4 1 0,0 3 2 0,0-4 85 16,1 0 2-16,2-2 18 0,-3 0 16 0,0-1-16 15,1-2-77-15,-1 0 11 0,-5-1 30 16,3 0-15-16,-4-2 0 0,0 1-3 0,0-2 8 15,-4 2-15-15,0-2-21 16,-2-1 6-16,0 4 4 0,-2-1-20 0,0 1-7 0,-2-1-4 16,1 1-27-16,-3 1-18 0,0 3-44 15,1-2-23-15,0 3-8 0,-1 0-71 0,0 1-87 16,8 0-67-16,-13 1-77 0,8 0-457 16,5-1 50-16,0 0 49 0,0 0 90 0,0 0 68 15</inkml:trace>
  <inkml:trace contextRef="#ctx0" brushRef="#br0" timeOffset="162613.96">15158 7070 1028 0,'4'-2'482'0,"0"2"-19"0,-4 0-15 16,0 0-21-16,3 6-104 0,-3-2-24 16,0 4-22-16,0 2-11 0,-3 1-25 15,3 5-26-15,-4 0-18 0,0 6-10 0,0 1-8 16,-2 4-10-16,-1 7-23 0,-3 1-11 0,2-8-32 15,0-2-73 1,-2 6-27-16,2-6-44 0,0-2-59 0,1-3-5 0,1-3-59 0,-1-2-63 16,4 1-134-16,-7-3-77 0,8-4-450 0,-4 0 43 15,4-5 121-15,-3 2 53 0,2-1 80 0</inkml:trace>
  <inkml:trace contextRef="#ctx0" brushRef="#br0" timeOffset="162786.29">14918 7239 1108 0,'-3'-3'397'0,"1"0"-21"0,2 3-51 0,-6-2-92 0,6 2-49 0,0 0-64 0,0 0-73 0,0 0-209 16,0 0-567-1,0 0 35-15,0 0 82 0,24 2 54 0</inkml:trace>
  <inkml:trace contextRef="#ctx0" brushRef="#br0" timeOffset="162952.99">15295 7266 1220 0,'5'0'436'0,"-5"0"45"15,7 0-66-15,-7 0-32 0,6-2-27 16,-6 2-66-16,0 0-42 0,5 0-41 0,-5 0-81 16,0 0-85-16,7-1-70 0,-7 1-152 0,0 0-193 15,0 0-455-15,0 0 27 0,0 0 137 31,-5 7 25-31,5-7 51 0</inkml:trace>
  <inkml:trace contextRef="#ctx0" brushRef="#br0" timeOffset="164388.54">11193 9244 947 0,'7'-9'399'0,"-2"3"-18"0,3-1-12 0,2 1-39 16,3 2-36-16,-1-1-9 0,4 4-32 16,-3 0-23-16,0 1-20 0,0 2-15 0,0 1 10 15,-3 0-34-15,0 3-15 0,-4 1 85 16,-2 3-24-16,-1 1-25 0,-3-2-7 0,-1 4-24 15,-1 1-8-15,-3 3-25 0,0 1-33 0,-5 0 41 16,2-1-39-16,1-1 0 0,-4 2-7 16,1-5 7-16,0 3 34 0,-1-3 4 0,4-1-4 15,-1-2-13-15,2-2-54 0,2 0-23 0,1-2 12 16,-2 0-14-16,3-1 2 0,-1-1-5 16,3 0 23-16,0-2-6 0,0-2-19 31,7 5-27-31,-3-4 21 0,2-1-10 0,2 0-2 0,3 0-37 0,-1-1 6 15,3-4-52-15,0 3-17 0,0-2-11 0,2 0-7 0,0-2-54 16,3 0-49-16,-3-2-44 16,1 1-55-16,0 1-6 0,-1-1-71 0,0 0-90 0,-2 1-499 0,0-1 117 15,-3 1 44-15,3-1 82 0,-6 0 85 16,3 0 43-16</inkml:trace>
  <inkml:trace contextRef="#ctx0" brushRef="#br0" timeOffset="164775.23">11772 9157 1028 0,'-8'-2'364'0,"8"2"-1"0,-12 1 37 0,2 1-11 0,1 2-33 0,-6 3-31 15,4-3-41-15,-3 3-5 0,0-1-39 16,1 2 19-16,1-2-59 0,2 0-16 0,2 1 0 15,-2-1-23-15,5 0-40 0,2 0 2 0,0 0 2 32,3-1-56-32,0 0 26 0,3 0-18 0,2 0-90 0,3 4 21 0,-1-2-6 0,4 0 13 15,2 0 9 1,0 0 11-16,2 3-6 0,-2-2 29 0,-1-1 12 0,-1-1-14 0,-1 3-10 0,-2-1 3 16,0 0 45-1,-4 3-14-15,-1-3-19 0,-3 3-5 0,0-2 11 0,-3 2-8 0,-1 2-21 16,-6 0 11-16,-1 2 5 0,-2 0-16 15,0 1-2-15,-2-4-16 0,2-2-58 0,0 2-11 16,-3-2-40-16,4-2-29 0,-1-1-13 16,3-3-68-1,0 0-34-15,0-1-82 0,4-2-125 0,6-1-8 0,-8-6-484 0,6 4 69 0,2 2 93 16,2-9 107-16,1 5 61 16,2-5 83-16</inkml:trace>
  <inkml:trace contextRef="#ctx0" brushRef="#br0" timeOffset="165331.76">12079 9018 1177 0,'-12'0'410'0,"4"1"-32"15,-3-1 4-15,4 0-83 0,2 1-27 0,0 2-9 16,0-1-30-16,2 3-18 0,1-3-15 15,-1 5-26-15,6 2-23 0,-1-2-8 0,1 1-12 16,4 2-6-16,-2-1-10 0,3 3-25 0,2 0-11 16,1 1-33-16,-1 0 18 0,0 0 8 15,-2-1 64-15,2 0 12 0,-5 0-28 16,3-1-9-16,-3-2 17 0,0 2-26 16,-2-3 3-16,-3 3 33 0,2-5-105 0,-4 5-7 0,-1-3 5 15,-2 0 33-15,0 3-21 16,-3-3 3-16,3 1 11 0,-3-3-42 0,1 1-15 0,0-2-31 15,1-1-33-15,1 0-56 0,2-3-67 0,3-1-33 16,-5 0-31-16,5 0-87 0,0 0-76 16,5-12-27-16,3 5-375 0,2-5 38 0,0-1-6 15,3-6 157-15,0 2 36 0,0-2 38 47,3-7 550-47,-2 1 80 0,-3 6 51 0,-1-2 59 0,0-1 18 0,0 5 43 0,-2 2 113 0,0 2-97 0,-3 1 38 0,1 1-13 0,-2 3-18 16,-1 2 16-16,2 0 51 0,-3 2-10 15,2 1-9-15,0 2-40 0,-4 1-28 0,10 1-2 16,-10-1-34-16,8 7-8 0,-3-1 23 0,1 0-45 16,1 4-34-16,1-1 0 15,-3 4-5-15,0-2-36 0,0 1-3 0,1 2-40 0,-1 0-54 16,0-2-62-16,0 1-48 0,-3 2-52 0,4-2-53 16,-4 0-54-16,0-2-100 0,-1-2-46 15,2-1 0-15,-1 1-473 0,0-2 58 16,1-1 101-16,0-3 68 15,-1 1 31-15</inkml:trace>
  <inkml:trace contextRef="#ctx0" brushRef="#br0" timeOffset="165633.84">12375 9200 944 0,'0'0'276'0,"0"-6"9"15,2 5-42-15,-2 1-13 0,2-5-33 0,1-1-12 0,0 4 19 16,2-3-42-1,-2-1-4-15,1 2 4 0,-1 0 1 0,2-1-17 0,0 0-20 0,0 3 37 0,1-2-19 0,-4 2 12 16,1-2-18-16,-3 4 41 0,8-2-53 16,-8 2 7-16,7-4-26 0,-4 3-22 15,-3 1 10-15,8 0 4 0,-8 0-27 16,10 0 0-16,-10 0 17 0,7 0 9 0,-7 0 76 0,10 0 18 16,-4-1-36-16,-1-1 8 0,2 1-31 15,-1-2-39-15,-1 3 32 0,2-1-14 0,-1 0 1 16,1-3-11-16,-1 4-14 0,1-1-9 15,-2-1-2 1,1-1-42-16,-2 3-40 0,2-3-30 0,-1 2-52 0,0-2-13 0,0 3-79 16,0-2-95-16,3-2-215 0,-3-1-551 0,0 4 47 0,2-3 236 15,2-1-21-15,1 0 74 16,2-2 71-16,-2-2 73 0</inkml:trace>
  <inkml:trace contextRef="#ctx0" brushRef="#br0" timeOffset="165899.19">13434 8711 1105 0,'14'-7'448'0,"0"0"-56"0,-2 2-39 0,1 0-25 0,0 0-49 0,-3 1-31 16,5 0-51-16,-4-1-69 0,1 2-23 0,-1 0-72 0,-1 0-45 15,-2 0-50-15,0 3-79 0,0-1-130 0,-8 1-5 16,7 1-65 15,-7-1-363-31,0 3 67 0,0-3-1 0</inkml:trace>
  <inkml:trace contextRef="#ctx0" brushRef="#br0" timeOffset="166068.44">13474 8757 1041 0,'-12'5'320'0,"1"0"0"0,1-2 16 0,3 0-42 0,4 0 74 16,-2-3-12-16,2 3-46 0,3-3-21 0,-6 2-2 31,6-2-59-31,0 0 7 0,0 0-27 0,0 0-32 0,0 0-12 0,24-5-23 16,-13 2-23-16,1-1-16 0,1 1-64 16,2-1-25-16,1-1-13 0,2-1-74 0,2-1-28 0,-2 1-32 15,-3 0-81-15,1-1-105 16,-4 1-133-16,4 0-453 0,-3 1 85 0,3-2 58 0,-4 1 146 15,-2-1-5-15</inkml:trace>
  <inkml:trace contextRef="#ctx0" brushRef="#br0" timeOffset="166329.26">13646 8530 1069 0,'0'0'523'0,"0"0"-78"0,0 0-10 15,0 0 0-15,0 0-110 0,16 2-38 16,-12 2 20-16,2-2-41 0,-1 5 44 16,3-1-31-16,-1-1-13 0,1 3-48 0,-1 1-8 15,1 0-21-15,-2 1 1 0,1-1-29 0,-2 2 13 16,-2-3-33-16,2 3-13 0,-2 1-5 16,-1-3-31-16,-2 2 66 0,2-3-50 0,-2 2-59 15,-2-2-90 1,2 2-57-16,-2-3-73 0,2 1-85 0,0-2-284 0,0-1-520 0,0 1 75 0,2-5 148 15,-2-1 48 1,0 0 126-16,0 0 44 0,18-7 69 0</inkml:trace>
  <inkml:trace contextRef="#ctx0" brushRef="#br0" timeOffset="166810.91">14466 8255 1389 0,'0'0'438'15,"0"0"-28"-15,0 0-72 0,0 0-3 16,-12 8-28-16,4-2-2 0,3 0-21 0,-3 5-18 15,0-3-20-15,1 3-31 0,2-2-28 0,-1 3-11 16,2-1-2-16,1 0-20 0,0-2-26 16,3 0-10-16,0-1-26 0,0 0 15 0,3-2 1 15,0-1-14-15,-1-3-7 0,3 1-20 0,3-2-3 16,-3-1-3-16,3-3 14 31,-1 0-34-31,6-2 10 0,-5-1 15 0,2 0 16 0,0-1-13 0,0-1 13 0,-2 2-7 0,0 0 9 16,0 0-7-16,-1 1-8 0,-2-1 18 0,3 4 18 15,-3 2 5-15,1 0-8 0,-6 0-17 16,10 3-11-16,-5 2 16 0,0 1-24 0,0 2-15 16,-2 1 13-16,-1-1 16 15,1 5-37-15,-3-2-12 0,2 1-59 0,-2-2-64 16,0 0-11-16,0 3-43 0,-2 0-51 0,2-2-61 31,-1-2-47-31,1 1-58 0,-2-1-124 0,2-4-43 0,0 2-473 0,0-2 51 0,3 1 130 0,-1-5 113 16,3 1 51-16,-5-2 47 0,11-3 76 15</inkml:trace>
  <inkml:trace contextRef="#ctx0" brushRef="#br0" timeOffset="167171.69">14862 8144 1105 0,'-4'-2'453'0,"4"2"-43"0,-12 0-26 15,4 1-21-15,1 0-43 0,-4 1-15 16,-2 3-13-16,1-2-52 0,4 0-20 0,-3 2 11 15,1 0-47-15,2 1-23 0,1-3-4 0,2 2-22 16,0 1-12-16,5-1-23 0,-3-2 10 16,3 2-15-16,0 2-21 0,3-1-15 0,0 0 38 15,1-1-33-15,-1 1 31 0,4 1 2 16,1-1-82-16,-2 1 21 0,-1-1 18 0,0 0 2 16,0 0 16-16,0-1 5 0,-2 2-18 0,2-1 22 15,-2 1 17 1,-1 1-4-16,-2-2-7 0,2 0-17 0,-4 4 6 15,0-2 4-15,-1 3-16 0,-4-1-11 0,1 1 6 0,-4 2-30 0,2-1 6 16,-3 1-55-16,-1 0-54 0,2 0-34 16,-3-1-56-16,0 0-35 0,3-1-47 0,-1-2-46 15,1 0-97-15,0-4-148 0,0 3-477 0,5-4 138 16,-1-1 32-16,4-3 84 16,2 0 89-16,0 0 67 15</inkml:trace>
  <inkml:trace contextRef="#ctx0" brushRef="#br0" timeOffset="167381.66">15064 8035 1428 0,'5'-4'583'0,"0"3"-68"0,-2 0-8 0,-3 1-23 0,0 0-14 0,7 6-175 16,-6-2 4-16,1 2-38 0,-2 4 1 0,0-2-32 15,-2 5-25-15,2-1-6 16,-3 4-25-16,0-1-28 0,1 4 0 0,-1 0-15 0,-2 0-16 15,-2 2-36-15,1-2-28 0,1 2-71 0,-2-2-49 16,1 0 0-16,1-1-100 16,-2 0-8-16,1-3-58 0,3 3-119 0,-4-2-170 15,2 0-436-15,0-4 79 0,0-1 67 0,-1-3 64 16,1 2 116-16,0-4 42 0</inkml:trace>
  <inkml:trace contextRef="#ctx0" brushRef="#br0" timeOffset="167567.37">15010 8227 1141 0,'0'-3'438'0,"0"-2"-39"0,0 0-30 0,0 5-47 0,0-7-56 0,0 5-66 16,0 2-67-16,0-5-69 0,3 2-77 15,-3 3-104-15,7-2-157 0,-2 1-146 0,-5 1-330 16,18 1 44-16,-7-1 127 0</inkml:trace>
  <inkml:trace contextRef="#ctx0" brushRef="#br0" timeOffset="167711.7">15335 8207 1059 0,'0'0'364'0,"9"0"66"16,-9 0-21-16,0 0-40 0,7 0-72 0,-7 0-3 16,0 0-20-16,5-2-54 0,-5 2-59 15,0 0-45-15,0 0-91 0,0 0-76 0,0 0-133 16,0 0-208-16,0 0-447 0,0 0 94 0,0 0 79 15,-13 6 44 1</inkml:trace>
  <inkml:trace contextRef="#ctx0" brushRef="#br0" timeOffset="169641.71">11503 10444 1205 0,'4'-7'343'0,"0"2"-13"0,0-1-40 16,4 0 4-16,2-2-51 0,-1 3-25 15,5-1 22-15,-1 4-30 0,0-3 56 16,2 3-35-16,-2 0-1 0,0 2 3 0,-3 2-36 16,-2 0-7-16,-1 3-32 0,-1 1-78 0,-4 1 9 15,-2 3 8-15,-2 2 3 0,-3 1-13 0,-2 3 3 16,-1 3-16-16,-3 1-15 16,-2 0 2-16,0 0 3 0,1-2-15 15,4-4-8-15,-2-1-5 0,2 1-13 0,3-3 10 0,-1-1 8 0,0-2-8 16,2-1-10-16,0 0 13 15,4-2-8-15,-1 0-15 0,1-5-23 0,3 2-39 16,-3-2 11-16,12-2-46 0,-4-3-29 31,5-1-10-31,3-3-43 0,2-1-8 0,3-4 10 0,7-5-33 0,-1-3-6 0,1 1-6 0,-2-2 4 16,-2 4 31-16,-2 0 20 16,-6 6 21-16,-1-1 5 0,-2 4 79 0,-2 2 39 0,-4 0-23 0,-2 3 28 15,-2 2 10-15,2 0 10 0,-3 2 26 16,-2 1 0-16,0 0-13 0,0 0 11 0,0 0 9 15,0 10-35-15,0-5 26 0,3 1-22 16,-3 1 9-16,0-2 5 0,5 0-16 0,0 1-5 16,0-2 11-16,3 1-1 15,0-2-12-15,2-1 15 0,-2 0-15 16,5-2 5-16,-3-2 7 0,0 1 0 0,1-3 16 0,-1-1 41 16,0-2 5-16,-5 1 18 0,3-1 5 0,-3 1 13 15,-2-1-26-15,-1-1 0 16,-2-1-10-16,0 1-13 0,-2 1 8 0,-4 1 7 0,1 0-15 0,0 0 3 15,-3 0-29-15,1 4-2 16,-1-2 16-16,-2 2-4 0,0 1-40 0,1-2-15 0,-1 3-26 16,2 0-42-16,1 0-12 15,0 2-66 1,-1-1-39-16,5 2-74 0,3-3-156 0,-8 3-374 0,8-3 0 0,0 0 23 0,0 0 5 0,0 0 175 16</inkml:trace>
  <inkml:trace contextRef="#ctx0" brushRef="#br0" timeOffset="169842.52">12225 10097 1146 0,'3'-3'458'15,"-3"3"-122"-15,0 0-21 0,8 9-16 0,-6-3-38 0,1 1 23 0,-3 1-41 16,0 2-33-16,0 0 5 0,3 2-43 0,-3 4-3 16,0-1-16-16,-3-1-30 0,0 4-46 15,1-1 0-15,-3 0-90 0,0 0-33 0,0 2-64 16,-3 2-167-16,0-1-314 0,3-1-241 0,0-1 59 15,0-6 67-15,0-1 58 16</inkml:trace>
  <inkml:trace contextRef="#ctx0" brushRef="#br0" timeOffset="169965.41">12121 10236 1279 0,'-3'-5'308'0,"3"-1"-42"0,0 6-33 0,0 0-98 0,0 0-45 0,7-2-123 15,-7 2-126-15,11 2-542 0,-6 3 120 16,6-3 51-16</inkml:trace>
  <inkml:trace contextRef="#ctx0" brushRef="#br0" timeOffset="170062.44">12307 10281 824 0,'3'-4'358'0,"-3"4"-23"0,6-4 8 15,-4 0-61-15,1 1-41 0,-1-1-78 0,-2-1-86 16,3 2-192-1,-1-1-604-15,3-2 28 0,-2 2 122 0,2-1 42 0</inkml:trace>
  <inkml:trace contextRef="#ctx0" brushRef="#br0" timeOffset="170450.47">13959 9875 1571 0,'-5'-1'466'0,"5"1"-69"15,0 0-31-15,0 0-28 0,15-8-49 16,-5 5-36-16,4-4-7 0,0 4-44 31,4-2-30-31,1-1-44 0,1 0-31 0,3-1-69 0,0-2-53 0,0 2-9 0,-4 2-42 0,1 1-96 16,-5 0-58-16,-2 2-19 0,-6 2-132 0,1 0-464 15,-8 0 144-15,8 2 30 0,-6 3 49 16,-4 0 77-16</inkml:trace>
  <inkml:trace contextRef="#ctx0" brushRef="#br0" timeOffset="170632.6">14010 9966 883 0,'-5'2'440'0,"0"-1"-8"0,2 0-66 0,3-1-5 0,-2 4-110 0,2-4-10 0,0 0-34 16,0 0-7-16,15 0-13 15,-4-2-26-15,1-1-10 0,3-3-41 0,4 3-38 0,1-2-26 16,6-1-33-16,-5-2-31 0,4-1-44 0,-2 2-76 16,0-4-113-16,-5 4-43 0,-3 1-80 15,3-2-386-15,-2 0 0 0,-3-2 130 0,-3 4 59 16</inkml:trace>
  <inkml:trace contextRef="#ctx0" brushRef="#br0" timeOffset="170862.06">14262 9662 988 0,'0'0'407'0,"0"0"0"0,0 0-93 0,0 0-9 15,0 0-16-15,14 11 49 0,-8-8-31 16,-1 6 8-16,5 0-54 0,-2-3-2 0,0 5-39 16,2 1 5-16,-2 0-23 0,-1 1-33 0,1 1-95 15,-3 3 8-15,-2-2 3 31,-3 1-26-31,0 0-21 0,-2 0 8 0,-4-1-23 0,1 3-53 0,-3 0-19 0,3-4-79 0,-3 2-54 0,3-4-79 16,3-6-189-16,-1 2-405 16,-2 0 59-16,3-3 56 0,-1-1 64 0,3-2 69 15,0-2 55-15</inkml:trace>
  <inkml:trace contextRef="#ctx0" brushRef="#br0" timeOffset="171463.75">14751 9537 1087 0,'0'0'418'15,"0"0"-9"-15,0 13-33 16,0-7-50-16,3 1-37 0,-1 2-15 0,0-1-24 15,4 3-45-15,-1-1-13 0,-2 1-7 0,1 0-111 16,-1 1 0-16,0 0-18 0,-1-2 6 16,-2 2 4-16,-2-1-20 0,-1 1-7 0,1-1 22 15,-1-1-22-15,-2-1-19 0,2-2 13 0,-1 0-15 16,-2-2 23-16,4-2-20 16,-4 0 22-16,6-3-17 0,-4 0-1 0,4 0-9 0,0 0-6 15,0-10-2-15,2 4 17 0,3-1-14 0,0-4 4 16,1 1 3-16,4-6 5 0,0 1-15 15,1-3 2-15,-1-1 8 0,2 2 23 0,-4-2 102 16,0 2 5 0,-1 2-14-16,-1-2-55 0,-4 4-10 0,0 0 21 0,-2 2-6 15,3 3 1-15,-6 0-6 0,3-1-15 0,-4 3-8 16,1 2 18-16,-3 1-22 0,-1-2-9 0,-1 4-7 16,1 1-5-16,-1 0-47 0,0 1-20 0,0 2-48 15,-2-1-44-15,5 1-43 0,-3 0-50 16,4 1-29-16,0-1-70 0,4 2-116 15,0-5 70-15,4 1-496 0,0 2 53 0,-4-3 46 16,13-3 77-16,0 0 56 0</inkml:trace>
  <inkml:trace contextRef="#ctx0" brushRef="#br0" timeOffset="171786.74">15038 9344 1041 0,'3'-1'438'0,"-3"1"-21"0,0 0-66 0,0 0-18 0,0 0-3 0,0 0-31 0,0 0-25 16,-13 17-13-16,10-9-46 0,1 4-12 15,-3 0-1-15,0 2-31 0,2 4-17 0,0 0 2 16,1 1-51-16,2-2-41 0,2-1-21 0,1 2-20 16,2 1-5-16,0-6 21 15,3 3-14-15,2-4 4 0,3-2-12 0,-2 0 4 0,1-4 5 16,1-3-16-16,2 2 20 0,-4-5 9 0,2-1-3 16,-1-3 38-16,1-2 13 15,-5-1 5-15,-1 1 8 0,-1-3 23 0,-1-3-41 16,-5 1 15-16,0 0 18 0,-1-2-7 15,-3 0-14-15,-2 1-12 0,-2 2-23 0,-2 0-28 0,3 2 25 16,-6 2-5-16,2 0-12 0,-1 1-16 16,-1 4-15-16,0-3-57 0,0 4-20 0,3 0-36 15,-2 0-31-15,3 3-38 0,-1-1-51 0,2 1-85 16,1 0-125-16,4-1-151 0,1 1-384 16,2-3 130-16,0 0 77 0,0 0 93 0,0 0 55 15,18-5 39-15</inkml:trace>
  <inkml:trace contextRef="#ctx0" brushRef="#br0" timeOffset="171977.34">15503 9151 1192 0,'2'0'412'0,"-2"0"-10"0,0 0 62 0,0 0-22 0,0 0-37 0,5 13-34 0,-5-5-100 16,0 1-22-16,3 3-19 0,-3 1-25 15,0 0-21-15,0 4-7 0,-3 2-8 0,3 1-34 16,-3 3-22-16,1 1-41 0,-1 1-52 0,-2 1-46 15,0-1-50-15,0 1-19 0,0-1-59 16,0-2-76-16,0-3-82 0,2-5-118 0,-4 3-489 16,3-2 112-16,0-4 75 0,1-2 57 15,0-1 60-15</inkml:trace>
  <inkml:trace contextRef="#ctx0" brushRef="#br0" timeOffset="172172.66">15372 9288 1228 0,'-6'-7'356'16,"2"2"-23"-16,-2 3 5 0,1-3-65 15,2 5-63-15,3 0-46 0,0 0-54 0,0 0-64 16,0 0-53-16,0 0-109 0,3 14-104 0,2-6-484 16,5 1 70-16,1 0 19 0,1 1 42 15</inkml:trace>
  <inkml:trace contextRef="#ctx0" brushRef="#br0" timeOffset="172278.64">15600 9419 749 0,'5'4'374'0,"-3"-3"-23"0,-2-1-16 0,6 1-35 0,-6-1 35 16,4 1-20-16,-4-1-52 0,0 0-42 0,0 0-45 15,6 2-53-15,-6-2-64 0,0 0-100 16,0 0-169-16,0 0-540 0,0 0 23 16,5 2 67-16,-5-2 66 0,0 0 115 0</inkml:trace>
  <inkml:trace contextRef="#ctx0" brushRef="#br0" timeOffset="175666.34">11846 11443 1387 0,'0'-6'404'0,"0"0"-40"15,2 0-3-15,2-1-36 0,3 1-33 0,-2 0-21 16,3 3-15-16,-1-2-13 0,4 1-10 16,-4 3-26-16,3 1-2 15,-2 0-44-15,0 0-30 0,0 1 5 0,-3 3 4 0,0 1-19 0,-2-1 14 16,-1 6-104-16,-2-2 2 0,-5 3-7 0,2 2 2 16,-4 4-13-16,-3 2-2 0,-1 1 0 15,-2-1 10-15,1 0-15 0,1-2 25 0,-4 0-7 31,2 0-11-31,3-4 11 0,2 1-42 0,-2-2 39 0,2-2-7 16,1-1-4-16,1 0-22 0,2-1 13 0,1-2 2 0,0-1 13 16,3 1-13-16,0-3-15 0,0-3-6 0,8 4-35 15,-3-4-18-15,-5 0-28 0,21-6-8 16,-8 1-3-16,2-3-12 0,3-1-26 16,2-3 0-16,9-5 16 15,-7 3 7-15,7-3 10 0,-9 3-2 0,-2 3 12 0,-2 2 22 0,-6 3 19 16,0 0 24-16,-2 1 7 0,2 2 0 0,-5 1 8 15,-2 2 8-15,-3 0-8 0,10 2 15 0,-8 1-15 16,2-1 36-16,0 2-10 0,1 2-14 16,-2-3 9-16,5 3-8 0,-3-2 7 15,5-2 8-15,0 3-10 0,0-3 10 0,1 0 36 0,2-2-15 16,-1-2-11-16,1 1 36 16,0 0 8-16,0-4 18 0,-3-1 28 0,1 0 71 15,-1 2 14-15,-5-2 20 0,0 0-49 0,0 0-2 16,-2-1 2-16,-3 2-18 0,0-2 13 15,-3 2-35-15,-2 0-16 0,-1 0 25 0,2 1-38 16,-6 1-10-16,2-1 23 0,-2 2-15 16,1-1-29-16,-1 2 1 0,3-1-16 0,-4 4-46 0,4-1-8 15,1 0-46-15,-1 1-30 0,4 1-77 16,1 0-37-16,2-3-86 0,0 0-205 16,5 7-509-16,3-3 59 0,-1 1 84 0,1-2 105 0,2 2 92 15,3-3 31-15</inkml:trace>
  <inkml:trace contextRef="#ctx0" brushRef="#br0" timeOffset="176183.44">12744 11174 1052 0,'-10'18'381'0,"1"0"-38"16,-1-1-38-16,-2 3-21 0,-6 8-13 0,0-1-15 16,-1 0-15-16,-3 4-37 0,3-4-30 0,-3 1-53 15,3-2-37-15,2-5-22 0,2-4-39 16,2-2-28-16,5 0-88 0,-2-2-91 16,2 0-100-16,0-4-67 0,3 0-432 0,0-4 100 0,2-1 35 15,1-1 44-15</inkml:trace>
  <inkml:trace contextRef="#ctx0" brushRef="#br0" timeOffset="176296.84">12490 11428 988 0,'-3'-5'289'0,"3"0"-20"0,0 2-52 0,0 3-17 16,0-8-47-16,0 8-58 0,5-3-46 16,-5 3-139-16,8 0-94 15,-8 0-441-15,13 3 13 0,-3 1 52 0</inkml:trace>
  <inkml:trace contextRef="#ctx0" brushRef="#br0" timeOffset="176416.06">12759 11466 714 0,'0'-4'312'0,"0"4"-64"16,5-3-33-16,-3-1-112 0,1 1-162 0,0 0-553 16,0 1 46-16</inkml:trace>
  <inkml:trace contextRef="#ctx0" brushRef="#br0" timeOffset="176700.11">13934 11056 1435 0,'0'0'405'0,"24"-2"-47"0,-13 1-12 0,5-2-47 0,-1 3-79 0,6-4-10 0,2 1-64 0,-1 2-48 0,7-4-70 31,-1 2-62-31,1 0-96 0,-2-2-139 0,-6 3-107 0,4-1-364 0,-4 1 67 0,-3 1 25 16,-3-1 75-16</inkml:trace>
  <inkml:trace contextRef="#ctx0" brushRef="#br0" timeOffset="176938.45">13969 11240 1261 0,'-5'3'436'0,"0"-2"-17"15,5-1-45-15,0 0-3 0,0 0-53 16,0 0-29-16,0 0-18 0,28-4-33 0,-12 1-23 16,2-2-28-16,4 1-46 0,1-2-18 15,4-1-16-15,1 1-58 0,9-5-121 0,0 0-69 16,-7 3-27-16,-3 1-78 0,-2-3-130 0,-7 5-67 16,7-2-374-16,-2-2 54 0,-8-1 146 15,1 4 11-15,-3-2 89 0</inkml:trace>
  <inkml:trace contextRef="#ctx0" brushRef="#br0" timeOffset="177171.61">14279 10801 1116 0,'0'0'440'0,"0"10"-61"0,0-4-77 0,5 2-3 0,0 2 60 16,1 4-22-16,2-1-22 0,4 6-38 15,-2 0-3-15,1 0-24 0,-1-1 6 0,0 2-12 0,-2 3-50 16,0-3-10-16,-3 3 6 0,0 0-19 16,-3 0-30-16,-4 1-8 0,-3 2-7 0,0-1-44 15,-5 7-24-15,0-5-60 0,1-5-34 0,-1 0-33 16,2-1-34-16,0-4-58 16,1-3-79-16,2-2-165 0,0-2-585 0,2-2 81 15,1-5 67-15,-1-1 117 0,3-2 37 0,0 0 63 0</inkml:trace>
  <inkml:trace contextRef="#ctx0" brushRef="#br0" timeOffset="177682.47">14995 10537 916 0,'0'0'371'0,"-8"18"-36"15,3-7-7-15,0 2-26 16,0 2-33-16,-1 2-6 0,4 2-25 0,-4 2-7 15,4 3-29-15,-3-1-30 0,2 1-37 0,1-2 11 0,4-1 59 16,1-1-41-16,0-1-13 16,5-4-8-1,-1 2 13-15,1-3-53 0,4-3-11 0,-1-3-13 0,2 0-2 0,-1-4 0 0,1 0-11 0,0-3-2 16,0-2-10-16,-1-2-3 0,1 2 39 16,-2-6-21-16,-1 2 0 0,-2-2 33 15,-3 0 11-15,-2 1-21 0,-1-1 3 0,-2 0-23 16,0 1-6-16,-3-1-2 0,-2 2 8 0,0 0-11 15,-3 0 19-15,-2 4-34 0,0 1-5 16,0 0-41-16,-3 0 10 0,3 0-49 16,-1 0-14-16,-1 4-57 0,-1-2-21 0,5 4-53 0,-2-5-67 15,5 5-113-15,-1-6-122 0,6 0-499 16,0 4 107-16,0-4 64 0,0 0 82 16,0 0 74-16,21-4 64 0</inkml:trace>
  <inkml:trace contextRef="#ctx0" brushRef="#br0" timeOffset="177976.72">15236 10659 959 0,'0'0'446'0,"-11"8"-29"15,6-3-28-15,3 1-43 0,-3 1-11 0,2 2-43 16,3 2-11-16,-3 0-58 16,1 0 2-16,2-1-23 0,0 3-17 0,2-1-34 0,1 0-21 15,2 0-17-15,0-1-8 0,3-2-28 0,0-3 17 16,4 1-14-16,-2-1-16 0,1-3 13 15,2-1-42-15,-3-3 32 0,1-2 15 16,1 2 5-16,1-5 28 0,-3-1-118 16,-2 1 52-16,0-1 0 15,-1-1-11-15,-4-3 26 0,-1 1-8 0,-2 0-22 0,0 0 4 0,-4-3 16 16,-2 5-13-16,1-2-18 0,-3 2 20 0,-4 0-22 16,-1 3 4-16,2 0 1 0,-2 2-8 15,-2 1-23-15,0 1-10 0,-1 2-47 0,3 2 11 16,-2 0-41-16,-2 3-18 0,3-1-29 15,4 1-63-15,0 1-41 0,-1 1-113 0,4-3-112 16,4 1-438-16,1 1 46 0,2-1 130 16,2-1 83-16,1-1 42 0,4-3 88 0</inkml:trace>
  <inkml:trace contextRef="#ctx0" brushRef="#br0" timeOffset="178215.27">15682 10447 1013 0,'5'-4'422'0,"0"-2"1"0,-2 5-44 0,-1 1 63 16,-2 0-37-16,8 5-1 0,-6-2-27 16,-2 3-39-16,3 4-36 0,-3-1-3 0,0 1-51 15,0 4-25-15,0-1-16 0,-3 6 3 16,1-1-18-16,0 1-56 0,-1 0-13 0,0 0 0 16,0 1 7-16,-2 1-58 0,1-3-26 15,-2 1-51-15,1 0-52 0,0-3-32 0,0 2-39 16,-1-1-31-16,-1-2-46 0,0 1-58 0,1-7-254 15,1 4-489 1,0-2 105-16,0-1 146 0,0-3 25 0,2-1 72 0,1-3 103 0</inkml:trace>
  <inkml:trace contextRef="#ctx0" brushRef="#br0" timeOffset="178404.24">15548 10587 1069 0,'-4'-1'359'0,"3"-3"-24"16,1 4-64-16,-5-1-76 0,5 1-39 16,0 0-48-16,0 0-42 0,0 0-86 15,0 0-172-15,0 0-269 0,24 4-210 0,-12 0 52 16,-1 0 66-16</inkml:trace>
  <inkml:trace contextRef="#ctx0" brushRef="#br0" timeOffset="178536.2">15858 10675 1226 0,'8'0'414'16,"-8"0"-37"-16,0 0-4 0,0 0-68 0,0 0-47 16,0 0-50-16,8-2-60 0,-8 2-68 0,0 0-109 15,0 0-83-15,0 0-185 0,5 3-489 16,-5-3 115-16,3 5 54 0,-3-5 67 0</inkml:trace>
  <inkml:trace contextRef="#ctx0" brushRef="#br0" timeOffset="182095.91">12252 12487 1139 0,'0'-3'465'0,"0"3"-12"0,0 0 8 0,0 0-72 16,0 0-15-16,2 18-39 0,0-9-12 0,1 4-31 15,0 3-26-15,1 0-15 0,-3 2-34 0,6 1-27 16,-6 1-29-16,3 1-18 0,-1 0 13 16,0-1-56-1,-3 1-49-15,2-2-25 0,-2 1-21 0,3-1-33 0,-1-4-8 0,-1 0-61 16,-1 0-31-16,0-3-49 0,2-2-56 0,-2-1-110 15,0-1-138-15,2-3-443 0,1 0 115 16,0-3 136-16,1-1 18 0,-4-1 30 0,0 0 95 16</inkml:trace>
  <inkml:trace contextRef="#ctx0" brushRef="#br0" timeOffset="182552.81">12625 12478 1075 0,'-7'1'312'0,"2"1"5"0,-3 1-30 0,0-1-11 0,1 2-109 0,0-2-9 0,1 2 9 0,-2-1-3 0,3-2-24 0,0 4 6 16,-2-1-25-16,1-1-32 0,1 3 32 0,0-1-42 15,3-1-2-15,-1 1 7 0,0 0-7 16,3 0 53 0,0 1 22-16,3 1-45 0,0 0 1 0,1 0-4 0,2-1-16 0,2 3 9 15,-1 0-15-15,1-3-8 0,-1 2 0 0,2 0-12 16,1-1 9-16,0 0-20 0,0 0-25 16,0 1 35-16,-2-2-20 0,-1-1 13 0,-1 1 0 15,-1 1 0-15,0-1 22 0,0 0-4 0,-2 2 15 16,-3-2 18-16,0 0-5 0,-3 0-23 15,-2 2-21-15,-1 0 11 0,-1 0-9 0,-3 1 30 16,-5 0-48-16,2-1-9 0,-3 1-3 16,-2-2 6-16,3 0-24 0,-3-2 15 0,0 2 4 15,5-3-50-15,1 0-15 0,1-3-20 0,1 2-34 16,0-1-17-16,0 0-42 31,4-1-37-31,1 0-27 0,5-1-38 0,-10 0-41 0,10 0-109 0,0 0-232 0,0 0-234 0,0 0 86 16,0 0 44-16,0 0 115 0,13-9 53 0</inkml:trace>
  <inkml:trace contextRef="#ctx0" brushRef="#br0" timeOffset="183323.46">13579 12480 837 0,'8'-3'304'0,"2"0"-58"0,3 0-18 0,0-1-47 15,5-2-1-15,0 0-47 0,0 0-8 16,5 0-51-16,3-1-81 0,-1 1-103 0,0-2-62 15,-1 1-424-15,-6 1-37 0,0 0 45 0</inkml:trace>
  <inkml:trace contextRef="#ctx0" brushRef="#br0" timeOffset="183547.96">13585 12590 888 0,'-3'1'312'0,"3"-1"0"0,0 0-48 0,0 0 64 0,0 0-47 0,0 0-7 0,0 0-38 16,0 0-11-16,23-5-41 0,-13 2-18 15,1 0-20-15,1-3-25 0,6 2-57 16,0-2-34-16,1-2-48 0,1 3-66 0,1-4-98 16,1 0-97-16,-2 3-499 0,-3-2 41 15,0 0 66-15,-1 2 57 0</inkml:trace>
  <inkml:trace contextRef="#ctx0" brushRef="#br0" timeOffset="183867.24">13723 12218 895 0,'0'0'292'0,"13"-3"-18"0,-1 2-49 0,-1 2 6 0,4 0-27 0,3 1-9 0,0 1-13 0,5 0 17 16,0 3-14-16,3-1-4 0,-3 3-12 0,0-1-12 15,1 2-17-15,-7-2 14 0,1 1-36 16,-5 1 97-16,2-1-26 0,-2 1-17 0,-3 2-3 16,-4-1-3-16,-2 0-2 0,-1 1-31 0,-6 2-10 15,-1 3-26-15,-4 0 36 31,-5 3-66-31,0-1-21 0,-10 6 7 0,0-1-37 0,0 1-52 0,-1-3-36 0,2 1-51 0,3-4-51 0,2-2-153 16,4-6-600-16,1 1 90 0,1 0 59 16,-2-7 82-16,3 1 107 15,2-3 26-15</inkml:trace>
  <inkml:trace contextRef="#ctx0" brushRef="#br0" timeOffset="185045.09">14584 12062 1159 0,'0'0'353'16,"-2"-3"-48"-16,2 3-13 0,0 0 56 15,0 0-36-15,0 0-25 0,2 15-34 0,-1-7 8 16,-1 1-30-16,2 2-14 0,0 2-53 16,1 2 0-16,0-1-28 0,-1 3 2 15,1 2-41-15,-1 0-5 0,-1 0-51 0,1 1-49 0,-2-2-7 16,2 1-62-16,1 0-23 0,-3-4-45 16,3-1-83-16,1-1-85 15,-6 0-111-15,7-3-475 0,0-3 177 0,1-2 23 0,1-1 67 16,1 0 51-16</inkml:trace>
  <inkml:trace contextRef="#ctx0" brushRef="#br0" timeOffset="185391.34">14772 12195 1026 0,'0'0'294'0,"-3"-3"-15"0,3 3-30 16,0 0-9-16,0 0-55 0,-5 13 6 15,5-4-14-15,0-1-34 16,-2 1-2-16,2 1-31 0,0 1 21 0,0-1-49 0,2 1-3 15,0 1-2-15,1-3-16 0,0 1 3 16,2-4-23-16,0 0 0 0,2-1-15 0,1-4 15 0,-2 0 41 16,1-1-21-16,1-2-63 0,2-2 40 15,-3-1 16-15,1-2 25 0,0 1 90 16,-5-4-10-16,1 1-11 0,0 1 3 0,-2-3 5 0,0 2-28 16,-4 0-64-16,0-2-13 15,-1 3-17-15,0-1-1 0,-2 1 21 0,0 0-29 0,0 1 1 16,-1 1-21-16,-1 1 10 15,-1 3-2-15,1-1-28 0,-1 1-34 0,3 2 8 16,-6 1-41-16,4 0-20 0,-1 1-11 0,0 1-27 16,0 1-6-16,1-1-69 0,4 3-139 0,-4-1-6 15,4-1-516-15,1-2 111 0,1 3 69 16,1-5 86-16,0 0 55 0</inkml:trace>
  <inkml:trace contextRef="#ctx0" brushRef="#br0" timeOffset="185608.54">15177 11895 939 0,'5'-1'328'0,"-2"1"-44"15,-3 0 10-15,7 5-23 0,-7 1-10 0,1 0-28 16,1 2-33-16,-2 2-11 16,-2-1 19-16,1 5 43 0,-2 0-24 0,1 0-47 15,-1 5-9-15,-2-1-7 0,2 1-26 0,-1 0-30 16,-2-1-16-16,2 3-38 0,0-2-19 0,-3 4-55 15,2-4-26-15,2 0-69 0,-4-1-134 0,-1 4-155 16,5-5-489 0,-4-1 161-16,2-1 87 0,2-2-3 0,-2-2 67 0</inkml:trace>
  <inkml:trace contextRef="#ctx0" brushRef="#br0" timeOffset="185738.67">14885 12199 616 0,'0'0'146'0,"0"0"-84"0,-1-4-119 0,1 4-506 0</inkml:trace>
  <inkml:trace contextRef="#ctx0" brushRef="#br0" timeOffset="185911.15">15264 12165 857 0,'0'0'320'16,"0"0"-21"-16,5-2-25 0,-5 2-28 15,0 0-54-15,7-2-8 0,-7 2-79 16,0 0-66-16,0 0-60 0,0 0-99 0,6 4-144 16,-6-4-417-16,5 4 26 0,-3-1 87 15</inkml:trace>
  <inkml:trace contextRef="#ctx0" brushRef="#br0" timeOffset="187119.31">13218 12993 1067 0,'41'-5'374'16,"5"-1"-31"-16,8 1-31 0,20-4-36 0,10-2-17 16,9-4-13-16,2 5-34 0,26-6-2 15,-4-2-39-15,-1 0-25 0,4-1-10 0,1-1 5 16,-1-3-6-16,1-1-35 0,-4 1-23 0,2-5 10 16,-7 2-33-16,-4-1-16 0,-8-2-2 15,-20 5-3-15,-6 0 8 0,0 0-23 0,-10-1 16 16,1-1-6-16,-9-1-16 15,-2 1-14-15,-3-5 33 0,-4 1-26 0,-6-1 13 0,2 0-8 16,-7-1-10-16,2-1 13 0,-4-1-6 16,-6 6 9-16,-3-2-14 0,4-8-7 0,4 1 21 15,-7-5-9 17,-1 2-4-32,-4 5 38 0,-4-3-11 0,-6 5 4 0,-1-4-9 0,-5 6 6 0,-2 1 5 0,-6 3-21 0,-4-11 8 0,-4 1 11 15,-4 1-11 1,-5 4 18-16,-11-5-24 0,-5 2-6 0,-3 2 12 0,-2 1-10 0,-2 5-8 15,-3 0 15-15,-3 1 3 0,0 3-5 16,0 0-10-16,4 6-3 0,-7-3 18 0,-4 2-21 16,-1 3 16-1,1-2 8-15,5 9 0 0,4 1 9 0,-4 1 4 0,-3 2-1 0,3 0 26 16,-3 3-25-16,0 4 2 0,3-2-6 0,-5 1-1 16,1 2 1-16,0 1-17 0,-2-2 18 0,0 3-5 15,1 0 2-15,-13 1-97 16,2 2 10-16,3-1 8 15,0 0 8-15,0 3-3 0,0-3 13 0,-3 4 23 0,14-6-28 0,-10 5 17 16,10-3-12-16,2-1 20 0,0 4-7 0,-1-3 12 16,-9 3 1-16,-3 2 4 0,0-1 16 15,-3 1-18 1,-2 0-5-16,2 2-2 0,-2 0 4 0,-3-1 26 0,2 3-15 16,-1-3-8-16,-1 3 18 0,-5 0-21 0,0-2 18 15,-2 1-17-15,0-1 17 0,-1 2-10 0,1-2-12 16,-1 2-1-16,3 1 13 0,-5 0-2 0,2 1-6 0,-1 0 13 15,-1 2 13-15,-1-1-46 16,1 1 13 0,2 1 2-16,-1 4 21 0,3-2-8 0,-18 8 0 0,21-2 13 0,1 1 8 0,-11 12-41 15,19-9 38-15,4 4-34 0,3 3-1 0,5 3 9 16,3 2 11-16,7 1 15 0,4 2-5 16,6 0 23-16,6 2-11 0,4 1-19 31,4 0-14-31,7 1 21 15,5-8-3-15,4 2 3 0,4-2 5 0,5 0-15 0,5-2-8 0,0 2 5 0,8 5 10 0,3-4-2 0,2-2-5 0,0-9 0 16,2-2 2-16,4-4-3 0,9 1 1 16,-7-5-16 15,7-2 21-31,6 1 5 0,-3-8-28 0,-1-3 33 0,5-2-33 0,-2-2 10 0,4-3-21 0,1-3 14 0,0-1-19 0,-1-6 29 16,2 0-50-16,-1-4-9 0,-2-1 8 15,3-1 4-15,-2-1-20 0,-2-1 31 0,1-3-29 16,-2 1-7-16,-6 1-18 0,-1-3-10 0,-4 3 20 15,-7 3-30-15,-6 1 17 0,-2 3-20 16,-8 1-36 0,3-1-25-16,-3 0-65 0,-5 3-53 0,0 1-29 0,-2 0-4 0,-1 1-482 15,-2 1 105-15,0 0 11 0,0 0 99 0</inkml:trace>
  <inkml:trace contextRef="#ctx0" brushRef="#br0" timeOffset="187595.47">10682 12564 1320 0,'-13'8'446'0,"1"0"-34"16,-4 8-59-16,-10 10-15 0,1 5-23 15,-6 8-16-15,-2 5-48 0,2 1-33 0,1 2-24 16,1-2 21-16,1-1-77 0,2 5-20 0,0-3 5 16,4 2-54-16,-1-3-33 0,5-8-46 0,0 1-13 15,2-3-21-15,3-2-33 0,-2-3-33 16,7-8-46-16,0-3-69 0,0-8-144 31,1 0-457-31,2-2 22 0,0-5 102 0,-3-2 91 0,1-4 63 0</inkml:trace>
  <inkml:trace contextRef="#ctx0" brushRef="#br0" timeOffset="187795.13">9995 12871 1146 0,'13'2'433'0,"0"2"-21"0,2 4-38 16,5 1-21-16,11 8-115 15,0 1-26-15,8 2-9 0,9 5-14 0,3 0-35 16,1 2-8-16,4 1 5 0,3 0-52 0,0 1-4 16,-5-2 2-1,0-2-45-15,-3-1-45 16,-5-1-32-16,-7-2-21 0,-6-4-18 0,1 0-26 0,-12-3-43 0,-3-2-57 0,-4-4-73 0,0 0 9 16,-4-2-101-16,-3 0-401 0,-1-2 70 15,-2-3 31-15,-3 1 59 0</inkml:trace>
  <inkml:trace contextRef="#ctx0" brushRef="#br0" timeOffset="188029.53">10218 12512 1087 0,'-3'-2'302'0,"1"-1"-12"0,2 3-80 16,-5-2-31-16,5 2-56 0,0 0-67 0,0 0 21 16,-5 10-226-16,-1-1-114 0,4 1-434 0,0 2 98 15,-1 5 67-15</inkml:trace>
  <inkml:trace contextRef="#ctx0" brushRef="#br0" timeOffset="188184.94">10103 13009 957 0,'0'0'322'0,"0"0"-43"0,-5 4-56 0,5-4-23 15,0 6-72-15,0-1-75 0,2 3-78 0,1 3-108 16,-1 1-238-16,1 4-267 0,2 3 26 0</inkml:trace>
  <inkml:trace contextRef="#ctx0" brushRef="#br0" timeOffset="188349.62">10480 13477 1149 0,'2'3'425'0,"-2"-3"-39"15,0 0-43-15,0 0-48 16,0 0-57-16,0 0-49 0,0 0-97 0,0 0-112 15,0 0-193-15,-5-13-578 0,3 7 110 0,2-3 62 16,0-1 97-16</inkml:trace>
  <inkml:trace contextRef="#ctx0" brushRef="#br0" timeOffset="188499.15">10818 13079 1126 0,'0'0'348'0,"3"-3"-54"0,-3 3-22 0,0 0-65 0,0 0-100 16,2-3-37-16,-2 3-65 0,0 0-105 16,8-2-54-16,-8 2-486 0,5 0 18 0,-5 0 26 15</inkml:trace>
  <inkml:trace contextRef="#ctx0" brushRef="#br0" timeOffset="192371.41">10908 8130 1415 0,'-8'-5'412'0,"-2"5"-28"0,0-1-23 16,-8 2-38-16,-6 3 12 0,-6 0-41 0,-11 7-17 0,2 2-50 16,1 6-70-16,-3-1-17 0,-1 11-17 15,10-4 13-15,-7 7-39 0,3 1-7 16,5 4-6-16,8-5 13 0,1 4-9 0,3-3-12 15,4 4-14-15,2 1-3 0,0-1-6 16,3 4-1 0,0-1 9-16,2 1-20 0,0 1 26 0,1 3-52 0,-1 0 18 0,2 0-5 15,-3 0-23-15,4 0 16 0,2 2-6 0,-5-2 3 16,1 0 13-16,-1 2-18 0,0 9 2 0,1-11 13 16,-4 12-18-16,1-2-7 0,-3 0 20 0,0-3-2 31,1-9-11-31,-6 5 3 0,-1 2 10 0,-1-3 15 0,0 2-2 0,-3-4-13 0,-1 2-8 15,1-1 8-15,-2 3-10 0,-6 2 10 0,5-1 5 16,-4 1 11-16,-1 2-4 0,3-3-4 16,2 2 2-16,0-1-30 0,-2 3 92 15,0-3-29 1,-1-3 24-16,2 2 2 0,-1-3-20 0,4 2-19 0,-4-1-22 0,3-1 18 0,-1-3-18 16,0 2-1-16,0-1 27 0,-2 0-4 15,0 0-14-15,0-1-11 0,2 2-13 0,-2-1 18 16,-3 0-4-16,3 2-17 0,0-2 17 0,0 0-9 15,-1-3-2-15,1 3 5 0,0-2 10 16,0 0-2-16,0 1-16 0,-1 2 19 0,-1 0 14 0,1-2-27 16,-3 4-14-16,1-2 55 0,-3 1-13 15,-1-3-16-15,-2 1-15 0,-4 2 38 0,2-3-2 16,-4-1-18-16,0-2-29 31,2-3 16-31,-3-5 3 0,3-5-26 0,8-4 33 0,2-5-28 0,7-6 18 0,2-3-41 0,6-1 8 16,1 0 15-16,2-2-7 0,0-2 15 0,3 0-3 15,3-1-20-15,1 0 12 0,-1-1-4 0,4-2 7 16,3-1-8-16,-2 4 13 0,2-4-5 16,0 0-22-16,10 3 17 0,-5-2 5 15,3-1 2-15,2 2 4 0,5-2-11 0,0 3-3 0,1 0 24 16,2 2-9-16,3-1-24 0,-1 1 17 16,-2 2 10-16,2 0-2 0,-2 0-3 15,-2 6 36-15,2 0-13 0,-6 2 44 0,-1 2 3 16,-1 3 17-16,0 1-66 0,-7 4-31 0,2 3 0 15,-5 12 0-15,-5 3 0 0,0 4 0 16,-8 9 0-16,2 7 0 0,-1 2 0 0,-3 4 0 16,-1-1 0-16,-2 0 0 0,3 2 0 0,-3-1 0 15,2-5 0-15,3 0 0 0,-5-4 0 0,6 0 0 16,1-4 0-16,3-8 0 16,1-3 0-16,2-1 0 0,0-5 0 0,5-7-24 0,0-5-160 15,0-6-13-15,0 1 0 0,5-3-44 0,0-3-7 16,3-2-5-16,0-6-34 0,0-2 3 0,2 0-67 15,0-4-166-15,0-6 13 16,0 0-428 15,0-1 18-31,1-5 95 0,1-3 90 0,-1-5 63 0,2-1 83 0</inkml:trace>
  <inkml:trace contextRef="#ctx0" brushRef="#br0" timeOffset="193609.33">6549 10829 1256 0,'-7'0'492'0,"7"0"-39"16,0 0-28-16,0 0-36 15,12-7-31-15,-1 3-25 0,-1-3-39 0,5-2 6 0,1 0-24 16,4-4-45-16,8-5-11 0,-2-1-18 0,0-1-15 16,0-2-5-16,-1 2-44 0,-2-4-8 15,0 4-15-15,-5 1 1 0,-3 1-40 0,-2-1 22 16,-3 0-106-16,-2 4-2 0,0-2 17 16,0-1 17-16,-4 7 16 0,2 1 24 15,-4-1-2-15,0 3 20 0,-1-1-5 0,-1 6-6 16,0-1-2-16,0 4 16 0,0 0-21 0,0 0-10 15,-11 22 28-15,4-6-8 0,0 7 0 0,-3 9 23 16,1 4-28-16,-1 2 36 31,2 0-25-31,3 2-11 0,0 3-31 0,-3 1-5 0,4-1 26 0,1 2-18 0,0-2-7 0,0-2-27 0,3-7-9 16,0-4-50-16,3-1-29 16,0-4-40-16,-1 0-25 0,1-7-56 0,-1-4-33 0,1 0-52 15,2-6-46-15,0-3-25 0,0-4-57 0,-2-2 29 16,4-4-93-16,-1-3 0 15,4-6-401-15,-2-2 38 0,2-4 125 0,-3-4 39 16,1-1 522-16,2-7 204 0,-2 6 60 0,-3 3 81 16,1 5 62-16,-4 4 15 0,0 1 41 15,-2 2-20-15,1 3-103 0,-1 1-2 0,0 2 18 16,2 2 2-16,-2 3-13 0,0 0 3 0,0 0 8 16,0 0-44-16,0 0 57 0,8 16-24 15,-5-9-18-15,1 2-7 0,2-1-23 0,1 0 10 16,1 2 0-16,0-4-31 0,5 2-35 0,0-2 25 15,0-2 0-15,1-1-64 0,0-3 33 16,1 0-9-16,0-4 11 0,-2 1-6 0,-2-3 48 16,1 1-26-16,-4 1 31 15,0-3 43-15,-4-1-12 0,0 2-11 0,-4-2 6 0,-1 1 12 16,-1-1-109-16,-1 0-4 0,-2 1-17 16,-3 0 23-16,0 1-15 0,-2 1-19 0,0 3 11 15,-3 0-21-15,0 1-20 0,1 1-33 0,-1 2 7 16,0-1-33-16,3 1-30 0,-3 1-73 15,2-1-50 1,1 2-16-16,3-2-62 0,-1 4-12 0,3-2-90 0,2-3-81 0,-2 6-510 0,2-2 117 16,1-2 65-16,2 3 89 0,2-1 67 15,-2-1 56-15</inkml:trace>
  <inkml:trace contextRef="#ctx0" brushRef="#br0" timeOffset="194204.07">7221 10641 1192 0,'3'13'387'15,"1"1"-54"-15,4 6-19 0,0 3-35 16,5 8-23-16,0 1-25 0,0 0-1 0,1 0-48 16,0 3-21-16,1-2 8 0,-2 2-36 15,2-1-28-15,-2-2-13 0,0-2-53 0,0 1-14 16,-3-6-9-16,-2-7-11 31,-1-4-3-31,1 1-4 0,-2-3 27 0,-2-2 4 0,2 0 11 0,-2-3 9 0,-1-4 2 0,-3 1 24 0,3-3-24 16,-3-1 33-16,0 0-2 0,0 0 0 15,-6-13 36-15,4 2-34 0,-3 1 26 0,0-6-2 16,-3-5 71-16,3-2-15 0,-2-3-29 0,1 1 9 16,3-1-32-16,3-3 22 15,0 3-14-15,3 2 10 0,0 4-17 16,2-3 20-16,0 8-31 0,3 2-7 0,2-1 8 0,-5 6 4 15,3 0-22-15,-3 3 32 0,1 4 39 0,1 0-7 16,-7 1-19-16,7 5 1 0,-4-1-6 16,0 2-20-16,-3 3-15 0,0 0-11 0,-3 2-74 15,0 1 3-15,1 1-13 0,-1 0 15 0,-4 1-17 16,1-2-32-16,1-1-9 0,-2-2-29 0,2 2-44 16,-3-3-35-1,2 1-38-15,-1-4-29 0,4-1-43 0,-1-1-62 0,4-3-22 0,0 0-185 16,-6-3-274-16,6 3-184 0,0 0 81 15,3-14 114-15,-1 5 40 0,1-1 85 16,2-3 61-16</inkml:trace>
  <inkml:trace contextRef="#ctx0" brushRef="#br0" timeOffset="194790.26">7831 10450 1418 0,'8'0'422'0,"-8"0"-43"0,15-6-23 0,-5-1-44 0,3-1-36 0,5-5-17 0,-2-3-21 16,9-4-21-16,-2-4-14 0,-2 2-27 15,0-6-14-15,-4 1-24 0,-1-2-10 0,-4-2-5 16,-1-1-24-16,-4 5-12 0,-1-1 6 0,-4 3-1 15,-1-1 20-15,-1-1 6 0,-1 5 13 16,1 3 17-16,-2 4 52 0,2 2-42 16,-3 1 6-16,1 2 10 15,1 7-15-15,-4 1 5 0,5 2-39 0,0 0 6 0,-12 18 12 0,9-7-23 0,-2 8 8 16,2 0 0-16,1 7-10 0,0 2-5 16,1 0-8-16,1 2-11 0,0 1 17 0,1 8-32 15,3 3-2-15,-1-4-64 0,2-6-13 16,-3-6 0-1,6 10 0-15,-3-10 0 0,0-4-72 0,1-4-56 0,1-2-54 0,-4-1-2 16,2-5-18-16,0 0-57 0,2-4-2 0,-1-1-15 16,-1-5-24-16,1-2-38 0,1-1 8 15,3-4 18 1,-2-3 17-16,0-3 50 0,2-1 17 0,-3-3 67 0,2-2 68 0,-2 2 50 0,0 1 45 16,-1 0 34-16,-2 3 49 0,0 3 12 0,-2 1 34 15,0 2-16-15,1 0 23 0,0 2-2 16,-1 3 12-16,-2 2 26 0,3-3-2 15,-3 3-3-15,0 0 10 32,2 13-31-32,1-8-10 0,-3 5-2 0,2-1-28 0,1 3-6 0,-1 1-2 0,1 0-13 0,0 0-3 0,-3 0 14 15,2-1-65-15,1 3-72 0,-3-2 1 16,0-4-77-16,3 1-62 0,-3-2-22 0,2-1-86 16,0-6-193-16,-1 3-546 0,1-1 49 0,-2-3 110 15,0 0 97-15,0 0 56 0,3-14 72 16</inkml:trace>
  <inkml:trace contextRef="#ctx0" brushRef="#br0" timeOffset="194950.84">8226 10225 1200 0,'-2'-6'450'0,"-1"3"-91"0,3-1-47 16,-3 2-2-16,3 2-44 0,-4-4-18 0,4 4-61 16,0 0-38-16,-1-5-52 0,1 5-31 15,0 0-63-15,0 0-41 0,0 0-80 0,13 8-202 16,-8-5-461-16,0 1 18 0,1-1 116 15,1 1 84-15</inkml:trace>
  <inkml:trace contextRef="#ctx0" brushRef="#br0" timeOffset="195413.76">8370 10204 1072 0,'0'-6'422'0,"0"1"65"0,0-1-80 0,0 1 15 0,-3-1-30 0,1 4-13 0,2-3-36 16,-1 2-24-16,1 3-37 15,0 0-41-15,0 0 2 0,0 0-44 0,0 0 22 0,-9 13-52 0,8-5-3 16,1-1-23-16,0 3-5 16,0-2-30-16,0 2-6 0,1-1-25 0,1 2-5 0,0-3-8 15,1 2 8-15,0-2-34 0,2-2 0 0,0 1 6 16,0-3 12-16,2-2-23 0,-1 0-15 16,2-2 13-16,-1-2-13 15,1 1-8-15,2-4 8 0,0-2-10 0,3-1 10 0,0-1 7 0,0-1 19 16,2-2-16-16,-2 2 33 15,0-1 26-15,-1 3 8 0,-1 0-39 0,-1 1 49 16,3 3-25-16,-5 1 12 0,2 1-15 0,0 2 5 16,-3 2 0-16,2 1 15 15,1 1-8-15,-3 0 4 0,2 3-17 0,-3 1-24 0,2 1-52 16,-2-3 0-16,-2 1 0 0,2 1 0 0,-4-4 0 16,4 2 0-16,-4 0 0 0,1-2 0 15,-1-2 0-15,-2-2 0 0,6 0 0 16,-6 0 0-16,0 0 0 0,7-8 0 15,-2 2 0-15,-3-6 0 0,4 1 0 0,-3-8 0 0,4 1 0 0,1-2 0 16,2-4 0-16,3-4 0 16,-1 4-34-16,-1 3-78 0,-1 1-22 0,0 6-29 15,-2 1-14-15,-2 2-64 0,1 4-50 0,-2 1 30 16,0 3-59-16,-2 1-44 16,-3 2-58-16,0 0-131 0,7 5-448 0,-7 1 128 0,0 1 46 15,0-1 65-15,-2 5 106 0,-1 2 45 0</inkml:trace>
  <inkml:trace contextRef="#ctx0" brushRef="#br0" timeOffset="195751.24">7677 11074 1599 0,'3'-8'505'0,"4"2"-17"0,4-4-29 0,9-4-42 0,11-6-28 16,13-9-43-16,5-2-39 0,6-1-13 0,2-5-15 16,2-1-41-16,3-4-15 0,17-6-18 0,6 1-34 15,-1 1 29-15,4-1-60 16,-2 7-17-16,-16 5-33 0,1 3-34 0,-6 2-20 15,-3 3-15-15,-4 3-70 0,-16 5-74 0,-4 6-46 16,-10 2-54-16,-10 4 1 0,-2 5-4 16,-6-2-14-16,-2 4-93 0,-6 0-120 0,0 4-189 15,-2-4-239-15,0 7 85 0,-7-1 64 0,-1 2 92 16,-5 4 105-16</inkml:trace>
  <inkml:trace contextRef="#ctx0" brushRef="#br0" timeOffset="196058.96">7765 11093 1095 0,'-11'4'325'0,"6"-4"26"0,5-1-26 16,0 1 74-16,0 0-12 0,21-10 4 0,-6 3-48 16,8-4 3-16,13-7-36 0,3 0-31 0,12-4-5 15,5-3-36-15,3-3 10 0,0 1-18 16,5-2-33-16,0 0 6 0,5-3-29 15,3-1-21-15,-3 4-25 0,-2 1-10 0,-5-3 0 0,-3 5 17 16,-3 1-9-16,-8 1-39 0,-11 6-10 16,-4 3-36-16,-7 4 2 0,-6 0-33 15,-5 3-40-15,-1 1-19 0,-2 2 18 0,-1-1-38 0,-3 3-31 16,1-2-5-16,-1 1-38 16,-3 2-21-16,1 1-43 0,-2-2-1 0,-4 3-32 15,8-1-98-15,-8 1-84 0,3 3-426 0,-3-3-50 16,2 6 46-1,-2-2 125-15,-2 1 20 0,1 1 80 0</inkml:trace>
  <inkml:trace contextRef="#ctx0" brushRef="#br0" timeOffset="200169.14">4932 12428 1379 0,'0'0'456'0,"0"0"-24"15,0 0-35-15,-6 15-18 0,6-5-16 0,3 3-22 0,-3 2-42 16,3 9-15-16,1 3-35 0,-1 11-24 15,0 1-10-15,1 2-15 0,2 5-39 16,-4-3-7-16,4-1-29 0,-3-1-46 16,1-1 16-16,-1-3-46 15,0-5-34-15,-1-5-41 0,0-1-43 0,-1-4-20 0,1-2-26 0,-2 2-70 16,3-3-37-16,-3-4-47 16,2 0-95-16,-1-7-84 0,-1 2-435 0,0-1 62 0,0-4 101 0,-1-2 78 15,1-3 58-15</inkml:trace>
  <inkml:trace contextRef="#ctx0" brushRef="#br0" timeOffset="200444.22">4852 12552 1443 0,'5'-8'469'0,"-2"0"-27"16,4-1-65-16,3-3-16 0,1 0-47 15,7-3-19-15,0 0-34 0,10-4-36 16,0-1-10-16,5 0-123 0,-2 3 11 0,0 1-24 16,0 1-23-16,0 1-15 0,-3 3-74 0,-6 1-39 15,2 4-53-15,-6 0-88 16,-2 4-163-16,-1 0-64 0,-5 2-410 0,3 2 121 0,-5 0 4 15,-4 4 62-15</inkml:trace>
  <inkml:trace contextRef="#ctx0" brushRef="#br0" timeOffset="200711.84">4524 13003 1105 0,'-18'9'474'0,"7"-1"-29"0,2-4-53 0,8 0-54 15,1-2-8-15,0-2-15 0,0 0 2 0,19-2-51 16,-4-2-48-16,8-3 17 16,2-1-58-16,12-5 0 0,3 1-26 0,1-3 7 0,0 1-30 15,3-2 11-15,-3 0-37 0,0 0 26 16,0 2-133-16,0-3 2 0,-2 2-58 0,-4 0 5 16,-1-1-42-16,-6 5-22 0,-7 1-21 15,-1-1-15 1,-2 2-59-16,-2 1-20 0,-1-1-78 0,-2 0-183 0,-1 3-323 0,-4-1 17 0,2 1 109 15,-5 2 94 1,1 0 69-16</inkml:trace>
  <inkml:trace contextRef="#ctx0" brushRef="#br0" timeOffset="201198.71">5278 12471 1149 0,'-1'13'466'0,"2"-5"-26"16,1 5-54-16,3 4-9 0,-3 2-45 16,-1 5-14-16,4 2-24 0,-3 2-17 0,1 11-19 15,0 1-63-15,0-2-16 0,-1 2-33 16,0-6-31-16,1-6 0 0,-3 0-46 0,3-1-35 16,1-3 1-16,-1-4 17 15,0-2-22-15,-1-4-17 0,1-1 2 0,0-1 21 0,-1-1 13 16,-2-4-8-16,2-2 0 15,-2 1 31-15,0-5-11 0,0-1 29 0,0 0 15 0,0 0-36 0,-7-17 33 16,2 4-48 0,-1-6 12-16,1-7-4 0,-2-13-37 0,-1-5 55 0,3-3-108 0,3-1-8 15,-2-14 13-15,4 10 0 0,4 2 28 16,1 2 15 0,2 4-4-16,1 4 9 0,-1 5 21 0,1 7-28 0,-2 8 36 0,1 6-11 0,-2 2-17 15,3 3 12-15,0 4 3 16,-1 2 8-16,1 4 18 0,2 6 2 0,0 1-21 15,0 4 27-15,3 3-11 0,-2 5-6 0,5 7-6 16,-1 2 27-16,-2 2-20 0,-1-1 7 0,1 2-2 16,-3-4-35-16,0 2 19 0,-2-1-15 15,0-6-7-15,-3 2-13 0,1-1-13 0,1-1-46 16,-4-1-44-16,2-3-17 0,0 0-21 0,-3-1-46 16,1-2-36-16,0-2-36 15,1-2-53-15,-3-1-91 0,1-3-155 16,-2 0-440-16,3-2 97 0,-3-2 120 0,0 0 79 0,0-4 21 0,0 0 79 15,0 0 65-15</inkml:trace>
  <inkml:trace contextRef="#ctx0" brushRef="#br0" timeOffset="201463.24">5295 12854 1661 0,'-10'0'453'0,"10"0"-59"0,-5-3-25 0,5 3-8 0,-2-3-36 0,2 3-13 0,7-8-43 16,-1 3-16-16,1-1-2 0,3 0-44 0,6-2-5 16,-1 0-38-16,3 0 3 0,2-2-16 15,1-1-18-15,2 0-46 0,-2 1 5 0,2-1-20 16,-3 0-67-16,1 0-13 0,2-1-56 0,-5 2-46 16,2-1-28-16,-4 1-47 0,-3 2-45 15,2 0-113-15,-4 2-110 0,1 0-392 0,-2 1-15 16,-2 1 74-16,0 0 93 0,-1 1 35 0,-1 0 146 15</inkml:trace>
  <inkml:trace contextRef="#ctx0" brushRef="#br0" timeOffset="201849.15">5762 12829 1297 0,'0'0'502'0,"0"0"-85"0,-7 1-23 0,7-1 18 0,0 0-38 0,-6-9-31 0,3 4-13 16,1 0 47-16,0-3-22 0,2-4-37 0,-3-2-37 15,1-5-40-15,1-3-11 0,1-5-50 16,1-3 6-16,1-15-32 0,3-2-3 16,0-2-2-16,3-8-39 0,0 11 7 0,2 3-27 0,2 4 28 31,-1 5-6-31,-3 8-22 0,-1 5 2 0,-2 5-13 0,1 3-17 0,-1 3 17 0,2 1-28 15,-1 4 29-15,1 4-16 16,-2 2 12-16,3 4 9 0,0 2-26 0,-1 5-18 0,3 5-3 16,-1 3 11-16,0 3-41 0,-1 2-8 15,0-1 0-15,-3 2 0 0,3 8 0 32,0-5 0-32,-3-3 0 0,2-2 0 0,-1 1 0 0,-1 0 0 0,0-3 0 0,0 1-139 0,0-5-48 15,-2 2-38-15,1-3 13 0,0 0-67 0,-2-2-41 16,0-2-128-16,-4 1-159 0,2-3-470 0,0-1 160 15,0-1 108 1,-2 0 41-16,-2-4 85 0,2 1 56 0,0-2 123 0</inkml:trace>
  <inkml:trace contextRef="#ctx0" brushRef="#br0" timeOffset="202089.13">5736 12753 1308 0,'-7'0'468'0,"7"0"-18"0,0 0-2 0,-7-1-66 0,7 1-6 0,0 0-28 0,0-5-38 0,0 5 51 16,10-6-8-16,-3 2-56 0,1 1 8 15,5-1-44-15,-3-2-34 0,5 2-19 0,1-4-34 16,1 1 2-16,1-2-35 0,1 1-49 0,3-1-12 16,-1-1-60-16,2 0-25 0,-2 0-44 0,0-2-15 15,1 0-33-15,1 0-64 0,6-3-26 16,-4 2-89-16,-4 2-116 0,-1-1-130 0,3 3-451 15,-5 2 100-15,5-2 95 0,-3 2 102 0,-2 1 52 16,1 1 27-16</inkml:trace>
  <inkml:trace contextRef="#ctx0" brushRef="#br0" timeOffset="202738.57">6288 12704 1123 0,'0'0'435'0,"0"0"6"0,-3-16-37 0,3 11 62 16,0-1-23-16,0-3-11 0,0 1-25 15,0-2-36-15,0 0-4 0,0-2-22 0,-2-1-61 16,2-2-18-16,0 1-5 0,-3-2-20 16,3-3-41-16,0 2-29 0,0-1 16 15,3 1-44-15,-1 4-17 0,0-2 20 0,-2 3-23 0,4 2-47 16,-2 2 17-16,1 3-12 0,4-1-6 15,-2 6 2-15,0 0 10 0,4 4-34 16,-2 2 6-16,6 2-33 0,-3 3 45 0,1 1-17 0,1 2-36 16,0-2 0-16,-1 0-18 15,-1 0-5-15,3 0 5 0,-2-3 0 0,-1 1 18 16,-3-2-10-16,1-1-8 0,0 0 0 0,-1-3 0 0,-2 0 0 16,1-2 0-16,-1-1 0 15,-5-1 0-15,13-5 0 0,-9 0 0 0,2-1 0 16,-1-2 0-16,0-2 0 0,0-1 0 0,-2-2 0 15,2-4 0-15,-2-3 0 0,2-3 0 0,-3-1 0 16,0-4 0-16,1 1 0 0,0 0 0 16,-1 2 0-16,-2 2 0 0,3 4 0 15,-3 0 0-15,0 5 0 0,2-1 0 0,-4 2 0 16,2 2 0-16,0 1-164 0,0 3-79 0,0 1-13 16,0 2-34-16,0 4-71 0,0-3-130 15,0 3-195-15,0 0-402 0,0 0 138 0,0 0 119 0,0 0 65 16,0 0 72-16,13 0 57 15,-6-5 54-15</inkml:trace>
  <inkml:trace contextRef="#ctx0" brushRef="#br0" timeOffset="203063.69">6846 11878 1300 0,'0'0'440'0,"-4"17"-43"16,1-5 5-16,-2-1-49 0,-1 5-13 0,-4 5-45 0,3 1-16 15,-9 7-36-15,4 1 18 0,-1 0-43 0,2-3-26 16,4-5-13-16,-1 0-23 0,3 0-41 0,2-3-23 16,1-5 0-16,2-1-25 0,0 0-6 15,2-6 1 1,-1 0-1-16,4-3-7 0,-1-3-16 0,2-2 24 0,-6 1-44 16,15-7 35-16,-5 1-1 15,0 1 12-15,0-1 12 0,1 1-12 0,-3 1 6 0,2 3 109 0,-2-1 15 16,2 5 8-16,0 4-10 0,0 2 3 0,1 5 35 15,-1 5-40-15,0 3-29 0,1 8-20 0,-1 4-26 16,-2-4-10-16,-4-5-100 0,2 3-46 16,-1-1-5-16,-5 1-21 0,3-4-37 0,-3 3-42 15,2-5-49-15,0 0-28 0,-1-3-27 0,1 0-63 16,-2-3-89-16,3-1-263 0,-3-2-408 0,2-1 137 16,-2-4 75-16,3 0 68 0,-3-1 74 15,0 1 99 1,2-4 42-16</inkml:trace>
  <inkml:trace contextRef="#ctx0" brushRef="#br0" timeOffset="204026.47">5026 13285 1331 0,'-4'-1'430'0,"4"1"-34"0,-8 12-9 0,5-1-49 15,-5 5-34-15,-2 6-20 0,-5 10-17 16,2 5-47-16,-5 1-10 0,3 2-44 0,-1 9-33 16,-2-1-7-16,3 2-93 0,2-10-2 0,0 2-65 15,2 0-55-15,2-1-119 0,4 1-112 16,2-3-542-16,3-7 89 0,0-5 56 0,0-4 54 16,3-3 82-16</inkml:trace>
  <inkml:trace contextRef="#ctx0" brushRef="#br0" timeOffset="204445.79">5380 13248 1011 0,'0'0'435'0,"0"19"-46"0,3-5-39 0,-1 5-17 16,1 7-54-16,4 10-23 0,-1 4 18 16,-1 1-59-16,0 2-46 0,2 0-28 0,1 2-23 15,2-3-113-15,-1 2-169 0,1 1-138 16,2-4-553-1,4-1 110-15,-4-3 92 0,-1-2 52 0,4-3 89 0</inkml:trace>
  <inkml:trace contextRef="#ctx0" brushRef="#br0" timeOffset="205213.67">5798 13037 993 0,'0'0'417'0,"0"0"8"0,8 18-62 0,-3-2-15 16,5 5-56-16,-2 11-38 0,2 5-1 0,3 1-20 0,-3 5-51 16,3 9-16-16,-1 2-58 0,2-1-78 15,-2 0-71-15,-1-11 3 16,-1 0-157-1,2-3-201-15,-1 0-454 0,2-1 118 0,-3-10 25 0,-3-5 80 0</inkml:trace>
  <inkml:trace contextRef="#ctx0" brushRef="#br0" timeOffset="205698.76">6475 12802 1346 0,'5'10'425'15,"2"5"-5"-15,1 0-54 0,0 7-39 16,0 3-9-16,2 7-34 0,-3 4-36 16,2 0-23-16,-2 1-69 0,1 4-51 0,-3-1-41 15,3-2-76-15,-3-1-91 0,2 2-148 0,-4-3-107 16,7-1-487-16,-2-8 70 0,-1-5 109 0,1-1 65 15,-3-5 50-15</inkml:trace>
  <inkml:trace contextRef="#ctx0" brushRef="#br0" timeOffset="206125.17">6859 12812 1328 0,'13'15'535'0,"2"-4"-69"0,1 3-23 0,-1 1-16 0,13 5-45 16,1 3-45-16,4-1-19 0,13 5-47 15,-3-1-7-15,2 1-44 0,0 0-33 0,0 1-67 16,-10-6-18-16,1 1-50 0,-3 1-52 15,-2-1-72-15,-2 2-15 0,-4-3-136 0,-10-2-250 16,4 2-485-16,-2-4 134 0,-4-4 31 0,-5-1 91 16,0-2 91-16,-4-2 40 0</inkml:trace>
  <inkml:trace contextRef="#ctx0" brushRef="#br0" timeOffset="211057.36">12356 8412 94 0</inkml:trace>
  <inkml:trace contextRef="#ctx0" brushRef="#br0" timeOffset="-209008.32">12574 12508 427 0,'0'0'200'0,"8"1"-34"15,-8-1 18-15,11-1-35 0,-4 0-3 0,-2-1 12 0,3 2 9 16,0-2-26-16,2 1-8 0,-3-1-23 0,3 1 18 15,-2 0-16-15,3-1-32 0,-1 1 12 16,-2 0-15-16,2-1 7 0,0 0-25 0,-2 1 23 16,2-1-23-16,-2 1-21 0,-1 1 8 15,1-1 0-15,-2 0-23 0,1-2 16 16,-7 3-1-16,8 0 6 0,-8 0-32 0,8-1 34 16,-4 0-30-16,-4 1 7 0,6-2-13 0,-6 2 13 15,5-1-13-15,-5 1-4 0,0 0 6 0,0 0 14 16,0 0-24-16,0 0 16 0,-11-5-18 15,11 5 8-15,-10-2 10 0,5 1-23 16,5 1 28-16,-12 1-5 0,4 1-26 0,-2-2 16 16,1 1-13-16,-1 1 23 0,-2 0 0 0,2-1-36 15,0 1 18-15,1 0-3 16,1-2 0-16,-2 0 29 0,3 3-13 0,2-2-13 16,-1 0-10-16,-1 0 10 15,7-1-3-15,-8 1-7 0,8-1-6 0,-10 0 19 0,10 0-13 16,-6 1 12-16,6-1-7 0,0 0-2 15,-10 0 1-15,10 0 1 0,0 0 13 0,-5 0-5 0,5 0-3 16,0 0-11-16,0 0 9 0,-7 1 15 31,7-1-19-31,0 0 32 0,0 0 5 0,0 0-26 0,-6 4 8 0,6-4 2 0,0 3 13 0,0-3-2 16,0 0-3-16,-2 3-10 16,2-3 10-16,-2 5-21 0,2-5 6 0,0 0-8 0,-1 5 0 15,1-5 0-15,0 0 20 0,0 4-22 16,0-4-11-16,0 0 34 0,0 0-9 15,-2 4-7-15,2-4-2 0,0 0 5 0,0 0-21 16,0 0-2-16,0 0 25 0,0 4-15 0,0-4 17 16,0 0 1-16,0 0-5 0,0 0-13 0,0 0-3 15,0 0 18 1,0 0-10-16,0 0-7 0,-3 3 9 0,3-3 3 0,0 0 0 16,0 0-7-16,0 0-21 0,0 0 33 15,0 0-15-15,0 0 20 0,0 0-20 0,0 0 13 0,0 0-26 16,0 0 59-16,0 0-46 0,0 0 7 15,0 0 9-15,0 0-9 0,0 0-20 0,0 0-30 16,0 0-24-16,0 0-18 0,0 0-73 0,0 0-40 16,0 0-68-16,0 0-249 0,0 0-171 15,0 0 72-15,0 0 92 0</inkml:trace>
  <inkml:trace contextRef="#ctx0" brushRef="#br0" timeOffset="-202326.56">588 9994 885 0,'-7'19'341'0,"-1"0"-42"0,-2 0-33 0,0 1-17 16,-1 1-32-16,1-1 3 0,0 2-41 0,-1-1-28 15,1-1 3-15,2 0-18 0,-2-1-13 0,5-2-6 16,0-4-27-16,-1 0-8 16,2-1 5-16,-1 0-10 0,4-6-11 0,-1 4-4 15,-1-3-3-15,1 0 15 0,2-1 3 0,0-1 2 16,2-1-7-16,-1 0-1 0,3 1 14 15,-1-3-6-15,4 2-25 0,-1-4 20 0,4 2-38 16,0-2 7-16,1-2 3 0,2-1-2 0,2 2-21 16,0-2 8-1,-2-1-26-15,3-1-26 0,-1 2-2 0,0-1-18 0,-2-1-53 0,2-1-14 16,-2 2-20-16,0-2-71 16,2 0-91-16,-2 1 4 0,-3-2-78 0,3 2-409 15,0-3 3-15,-2 2 112 0,1-3 87 0</inkml:trace>
  <inkml:trace contextRef="#ctx0" brushRef="#br0" timeOffset="-202002.48">837 10090 1231 0,'-2'-2'402'0,"2"2"-47"0,0 0-14 0,0 0-54 16,-1 13-11-16,2-4-33 0,4 0-25 0,-3 1-6 15,1 2-25 1,2 0-15-16,0-2-19 0,0 2-20 0,2 0-30 0,1-1-6 0,0-3-2 15,0 2 20-15,-1-4-21 0,3 0-7 16,-2-3 18-16,2 2-94 0,-2-3 7 0,0-2 12 16,0 2 9-16,-8-2 7 0,12-2 10 0,-7-1 110 15,-1-1 16-15,0 1 2 0,-3-2-2 16,1 1-31-16,1-1 23 0,-3 0-20 16,-3 0-3-16,1 1-10 0,-1-2-29 0,0-1 14 15,-2 4-42-15,0-2 1 0,-2 0-9 16,1 3-22-16,-1-1-5 0,-1 2-36 0,2 0-57 15,-1 0-40-15,7 1-32 0,-13 3-24 16,5 1-39-16,1-2-72 0,-1 3-85 0,3 2-140 0,0-1-527 16,2-1 58-16,-2 1 119 0,3-3 93 15,-1 2 96-15,3-3 7 0,0-2 72 16</inkml:trace>
  <inkml:trace contextRef="#ctx0" brushRef="#br0" timeOffset="-201550.78">968 10112 1121 0,'0'0'386'16,"0"0"-35"-16,0 0-47 0,0 0-19 15,0 0-40-15,0 0-9 0,0 0-8 16,0 0-26-16,0 0-38 0,9 8-11 0,-5-4 3 0,-2-2-30 16,0 3-8-16,1-4-8 15,2 4 15-15,-2-3-51 0,2 2 16 0,-2-3-49 0,1 3 10 16,2-2-31-16,-6-2 21 15,8 0-12-15,-4 0-12 0,-4 0 45 0,9 0-21 16,-2-2-5-16,-2-2 0 0,1 1-11 16,1-1-7-16,-2-1-10 0,0 4 25 0,0-3 3 0,1 3 10 15,-2-1-18-15,2 0 18 0,-2 0 10 16,-4 2-27 0,9-2-6-16,-5 0 105 0,2 2-26 0,-6 0-17 0,8-3 48 0,-4 2-90 0,-4 1 44 15,8-2 3-15,-8 2 7 16,8-3 26-16,-7 2-13 0,-1 1 3 0,7-6-11 0,-7 5-18 15,3-4 1-15,-3 5-13 0,4-4-1 0,-1 2-2 16,-3-4 6-16,0 6-6 0,3-7-36 16,-1 5-30-1,-2-2-62-15,2 1-16 0,-1-1-40 0,-1 4-26 0,5-5-43 0,-5 5-46 16,3-1-54-16,-3 1-36 0,7-2-110 0,-4-1-67 16,4 3-463-16,-4 3 108 0,-3-3 56 15,10 0 77-15,-2 0 71 0,-8 0 54 0</inkml:trace>
  <inkml:trace contextRef="#ctx0" brushRef="#br0" timeOffset="-201156.17">1308 10006 980 0,'0'-3'358'0,"1"0"-20"0,-1 3 10 15,0-8 34-15,0 3-6 0,0 5-33 16,-3-5-13-16,3 5-23 0,-3-3-23 0,3 3-30 16,0 0-29-16,-7-3 3 0,7 3-31 0,0 0-36 15,0 0-10-15,0 0-7 0,-8 9-24 16,8-9 0-16,0 6-28 0,0-3-17 15,0-3-4-15,0 6 1 0,0-2 0 0,0-4-6 16,3 3-30-16,-1 1 41 0,-2-4-16 16,5 2-25-16,-5-2 15 0,8 2-15 0,-5-1 23 0,-3-1-36 15,13 1 5-15,-8-1 16 0,2 1-3 16,-2 0 10-16,3-1 15 0,-8 0-27 0,13 0 4 16,-8 0 19-16,0 3-21 0,0-2 12 0,-5-1-30 15,10 1-10-15,-4-1 10 16,-6 0 28-16,7 1-22 0,-3 0 14 0,-4-1 34 15,6 2-11-15,-6-2 29 0,6 2 15 0,-6-2-69 16,0 0 3-16,0 0 4 0,8-1-22 0,-8 1 20 31,0 0-10-31,2-5-5 0,-2 5-11 0,0-7 16 0,0 3-28 0,0 1 2 16,0-2-3-16,0 0-47 0,0-1-37 16,2-2-33-16,-2-2-29 0,3 2-22 0,0 0-5 0,0-3-29 0,1 0-20 15,4 3-59 1,-2-3-25-16,3 4-80 0,-1-4-105 0,5 2 41 0,0-2-516 0,3-1 52 15,-2-1 86-15,4 2 109 0,0-2 59 16,1 1 65-16</inkml:trace>
  <inkml:trace contextRef="#ctx0" brushRef="#br0" timeOffset="-200817.23">1868 9695 1515 0,'0'0'496'0,"0"0"-45"0,0 0-13 0,0 0-72 16,0 0-49-16,7-13-17 0,-6 10-21 0,4-6-29 16,-1 1-22-16,2 1-28 0,-3-4-36 15,1 2 12-15,1-1-7 0,0-1-25 16,-2 3 25-16,0 1-24 0,2-1-24 0,-2 3 4 16,-1 0-22-16,0-1 42 0,-1 4-37 15,4-2-3-15,-5 4 23 0,0 0 15 0,7 9-35 16,-4-2 22-16,-1 1-17 15,1 4-8-15,0 1-13 0,-1 0-10 0,1 5-16 0,2 0 21 16,-5 2-7-16,5-1-29 0,-5 3-28 16,2 4-38-16,-1-5-31 0,1-2-62 0,1 3-51 0,-1-3-56 15,1 0-79-15,0-4-72 0,-1-2-128 16,0-1-138-16,1 0-392 0,2-6 105 0,-3 1 49 16,4-1 109-16,-4-6 73 0,3 0 53 15</inkml:trace>
  <inkml:trace contextRef="#ctx0" brushRef="#br0" timeOffset="-200641.52">2126 9730 1067 0,'0'0'443'0,"0"0"-41"16,0 0-24-16,-2 14-14 0,2-8-42 16,2 0-17-16,1 2-41 0,0 1-26 0,-1-1 13 15,-1 0 48-15,1 3-56 0,3 1 11 0,-3-1-42 16,1-2-38-16,2 3-43 0,-2-1-55 15,-1-2-55-15,1 1-47 0,-1-1-66 0,1-1-72 16,-1 0-191-16,-2-1-549 0,3-1 64 16,-3-1 11-16,3-3 148 0,-3-2 26 15,2 6 64-15</inkml:trace>
  <inkml:trace contextRef="#ctx0" brushRef="#br0" timeOffset="-200450.25">2167 9676 1136 0,'-4'-2'420'0,"4"2"-64"16,-3-5-34-16,0 2-17 0,3 3-54 0,-2-4-62 15,2 4-43-15,0 0-41 0,0 0-57 0,0 0-94 16,0 0-123-16,0 0-122 0,0 0-449 16,13 10 51-16,-8-6 70 0,0 1 63 0</inkml:trace>
  <inkml:trace contextRef="#ctx0" brushRef="#br0" timeOffset="-200031.46">2309 9745 1136 0,'0'0'371'0,"2"-4"-33"0,-2 4-49 0,1-4-10 0,-1 4-30 0,0-5-32 0,0 5 6 0,2-3-29 15,-2 3-32-15,0 0-22 16,2-4-4-16,-2 4 7 0,0 0-56 0,0 0 26 15,0 0-44-15,0 0 18 0,0 0-13 0,0 0-7 16,0 0-11-16,13 5 29 0,-13-5-31 16,0 0 33-16,10-1-36 0,-10 1 0 0,8-3 8 15,-3 3 28-15,-5 0 54 0,8-1 53 0,-3 1-30 16,-5 0-31-16,10 0 62 0,-10 0-6 16,10 0-92-16,-10 0 3 0,8 0-10 15,-8 0-8-15,10 0 15 0,-10 0 0 0,8 0 6 16,-8 0 7-16,8 0 5 0,-8 0 44 0,0 0 63 15,7-1 9-15,-7 1-42 0,8-2-7 0,-5-1-18 16,2-2-13-16,0 2-69 0,1-2-82 16,1-1 0-16,0-1 0 15,1-1 0-15,2-1 0 0,-1 2 0 0,0-1 0 0,0 0 0 16,-2 2 0-16,0-2 0 0,1 4 0 0,-3 0 0 16,1-2-77-16,-1 4-156 0,-2-1 2 0,1 2-32 15,-4 1-34-15,0 0-46 0,0 0-115 16,5 6-164-16,-7 0-433 0,2-1 111 0,-5 2 137 15,0 0 21-15,-6 4 121 0,1 0 33 0,-3 3 43 16</inkml:trace>
  <inkml:trace contextRef="#ctx0" brushRef="#br0" timeOffset="-199763.39">1450 10411 1612 0,'-6'-6'476'0,"7"2"13"0,-1 4-59 0,12-9-31 0,1-1-30 0,5 1-11 0,11-8-17 15,4-1-49-15,5-1-34 0,9-6-2 16,4 0-36-16,2-3-18 0,1-1-56 0,6 4-10 16,1-2-28-16,0 1-47 0,-4 3-17 0,-6 0-27 15,-10 6-63-15,-5 2-20 16,-8 4-57-16,-8 3-66 0,-2 3-85 0,-5 1-98 15,0 1-150-15,-5 2-456 0,-3 2 129 0,-5-1 109 16,5 4 39-16,-5-4 79 0,-7 9 43 16</inkml:trace>
  <inkml:trace contextRef="#ctx0" brushRef="#br0" timeOffset="-199542.83">1598 10437 1041 0,'0'0'392'0,"24"-14"-26"0,-14 7-26 0,8-2-20 0,2-4-38 0,11-2 56 0,2-5-8 15,0 2-56-15,6-4-16 0,8-3-27 0,1 3-16 16,1-1-8-16,-8 4-35 0,-3 1-42 0,1-1-12 16,-3 1-62-16,-3 3-46 31,-5 5-10-31,-5-1-66 0,-5 3-67 0,2 3-151 0,-7-2-90 0,5 0-548 0,-5 4 101 0,-2-1 84 0,-1-1 112 15,-3 4 34-15</inkml:trace>
  <inkml:trace contextRef="#ctx0" brushRef="#br0" timeOffset="-180577.45">9421 473 1133 0,'-6'-4'487'0,"6"4"-11"0,-7-3-54 0,7 3-35 0,0 0-37 16,-3-2-35-16,3 2-31 0,0 0-30 16,0 0-6-16,0 0 3 0,13-2-36 15,-3 3-23-15,0-2-33 0,6 1 12 0,2-2-15 0,3 2-20 16,1-2-8-16,1 1-23 15,6-1-39-15,1 0 9 0,1-1-11 0,3 0-41 0,-3 1-59 16,2-1-26-16,-2 1-71 0,-1-2-41 0,1 3-15 16,-7-1-103-16,-2 1-87 0,-1-2-79 15,-3 3-428-15,-3-1 75 0,-5 0 30 16,0 0 75 0,1 1 50-16</inkml:trace>
  <inkml:trace contextRef="#ctx0" brushRef="#br0" timeOffset="-180402">9918 409 1023 0,'-7'0'372'0,"-4"0"63"0,4 0-33 0,-1 2 5 16,0 1-54-16,-2 3 15 0,0 0-99 16,2 2-3-16,-2 1-33 0,5 2 18 0,-3 2-44 15,0 2 8-15,3 1-30 0,-2 2-34 0,1 1 10 16,3 4-33-16,-1-1-3 0,-2 2-32 16,2-1-37-16,1 1-15 0,0-4-69 0,-1 0-21 15,0-1-48-15,2-1-70 0,-1 0-48 0,1-1-112 31,2-6-162-31,-3 4-456 0,1-2 160 0,-1-1 42 0,1-1 39 0,-1-1 141 0,0-4 13 16</inkml:trace>
  <inkml:trace contextRef="#ctx0" brushRef="#br0" timeOffset="-180197.29">9449 831 1397 0,'3'-3'387'0,"-3"3"-32"15,5-6 4-15,2 4-32 0,1-2-4 16,3 2-29-16,1-3-12 0,4 1-49 0,1 0-16 16,7-1-35-16,1 0 5 0,3 0-26 0,1-1-12 15,12-1-39-15,-1 0-57 0,2 1-53 0,-1 0-43 16,-5-1-88-16,-6 4-94 0,1 0-151 0,-3-1-203 16,-2 3-273-16,-3 0 56 0,-2-1 143 15,-1 0 13 1,-2 0 39-16</inkml:trace>
  <inkml:trace contextRef="#ctx0" brushRef="#br0" timeOffset="-179685.13">10121 818 1233 0,'0'0'451'0,"0"0"-75"0,0 0-25 15,0 0 15-15,0 0-13 0,0 0-20 0,0 0-8 16,0 0-18-16,-3-12 36 16,6 7 23-16,-3 0-15 0,0-1-49 0,2-2 0 15,-2-1-46-15,1-1-11 0,1 1-35 0,0-1-2 16,1 0-126-16,0 2 7 0,-1-1 3 15,0 1-23-15,-1 2-35 0,4 1 22 16,-3 1-18-16,1 1 29 0,0 1-36 0,-3 2-8 0,0 0 31 16,0 0-26-16,15 6 5 0,-10-2 3 15,0 1-36-15,0 0 10 0,0 1 8 0,1 1-23 16,-2-2-3-16,2 1 24 0,-1 0-32 16,2-3 11-16,-1 2 36 0,1-2-8 0,-1 1 41 15,2-3 15-15,-4 1 121 0,4-3-13 0,-8 1-26 16,11-2-135-16,-2 0-26 0,-3-3 0 15,1 0 0-15,-1-1 0 16,-1 0 0-16,2-3 0 0,-1-1 0 0,-1 1 0 16,2-2 0-16,-2-1 0 0,-2-1 0 0,2 1 0 0,-3 1 0 15,2 0 0-15,0-1 0 0,-1 4 0 16,0 0 0-16,-1 0 0 0,0 1 0 0,-1 2 0 0,4-1-384 16,0 2-80-16,2 1-258 0,1 1-419 15,0 1 89 1,2-1 100-16,3 0 122 0,2 1 73 0,3-1 78 0,3 0 73 0,2-1 83 0</inkml:trace>
  <inkml:trace contextRef="#ctx0" brushRef="#br0" timeOffset="-179434.84">11113 445 1215 0,'5'-3'461'0,"1"2"-51"16,-4-1-8-16,-2 2-29 0,0 0-14 0,0 0-1 15,8 7-18-15,-6 1 78 0,0 0-24 0,-2 1-28 16,0 5-8-16,0 0-51 0,3 5-28 15,-6 1-30-15,6 1-6 0,-2 6-51 0,-1-1-34 16,0 2-22-16,-1-1-54 0,-2 0-33 0,3 0-70 16,-2-2-9-16,2-5-68 0,-2 0-25 15,2 0-58-15,0-4-42 0,0-3-43 0,-3 3-34 16,5-4-125-16,-2-2-76 0,0-1-459 16,0-2 72-16,1-2 71 0,-1-2 70 15,2 2 107-15,-2-5 61 0</inkml:trace>
  <inkml:trace contextRef="#ctx0" brushRef="#br0" timeOffset="-178722.86">11149 511 1128 0,'0'0'400'0,"5"-10"-34"15,-3 6-36-15,4-1-18 0,-1 1-2 0,3 0-34 16,2 2-48-16,0-1 10 0,2 3-18 16,-1 0-46-16,2 0 8 0,-3 0 2 0,1 3-33 15,1 0-12-15,-2 0-9 0,-1 2-22 0,1 0-11 16,-3 0-15-16,-2 1 2 0,-2 1-20 15,2-1 26-15,-5 2-16 0,2-3-10 0,-2 2-20 16,0-1-3-16,0 0-8 0,0-1 18 0,0 1-28 16,1 0 16-16,-1-1-4 15,2 2-22-15,1 1 33 0,-1-2-33 0,3 1-8 0,1 2 5 16,1 1-7-16,0 0 28 0,1-1-29 16,2 1 6-1,-2 2-8-15,0-1 54 0,-3-1-26 0,1 0-18 0,-2 1 21 0,-4-2-8 0,0 0-18 16,-4 2 38-16,-2-1-4 0,-2-1-19 0,-2 3 8 15,-3-2 11 1,-2 0-1-16,0-1-2 0,2-2-44 0,-5 1 11 0,3-2-21 16,-1 0-18-16,1-1-74 0,2-3-26 15,0 2-20 1,3-2-64-16,2 1-100 0,-2-1-130 0,0-1-34 0,5-2-445 0,5 1 135 0,-5-3 19 16,5 3 68-16,0-8 90 0</inkml:trace>
  <inkml:trace contextRef="#ctx0" brushRef="#br0" timeOffset="-178282.7">11436 616 1167 0,'0'0'356'0,"5"8"-19"0,-5-3-14 16,1 0-70-16,1 2-4 0,-2 3-22 16,0-1-22-16,2 0 3 0,-2 1-60 0,2 1 6 15,2 0-16-15,0 0-8 0,-1 0-9 0,2-1-16 16,0-1-13-16,3 1 13 0,0-2-29 15,0-2-4-15,-1-2-13 0,4 1 13 0,-1-1 7 16,-3-3 16-16,3 1 81 0,1-2 29 0,-1-3-10 16,3 2-19-16,-3-4 27 0,1-1-111 15,-1-1 7-15,0-3 6 0,0 0 16 16,1-3 4-16,-1 0-15 0,-2 1 16 0,2-1-37 0,0 1-9 16,-3 1-16-16,1 2 7 0,-2 0-7 15,1 3-10-15,-4 1 13 0,2 1-21 16,0 2-5-16,-5 2 0 0,0 0-6 0,8 6 6 15,-6 1-13-15,-2 2 13 0,0 3 11 0,0 1-29 16,1 1 20 0,-1 2-4-16,0 0 81 0,0 1 3 0,0-3-44 0,2 2-40 0,-2-3-50 15,2 1-48-15,-2 0-30 0,3-1-16 0,0-3-46 16,1 0-41-16,0-1-18 16,0-2-28-16,2-1-33 0,-1-2-65 0,2-1-117 0,3 0-77 15,-5-3-79-15,6-1-343 0,-1-2 117 16,0 0 47-16,3-3 153 0,0 0 29 15,-1-4 45-15</inkml:trace>
  <inkml:trace contextRef="#ctx0" brushRef="#br0" timeOffset="-178134.52">11954 743 796 0,'8'-8'317'0,"-3"2"82"0,-3 1-12 0,3 2-24 15,-2 1-15-15,-3 2-23 0,0 0-76 16,0 0 12-16,0 0-38 16,8 8-3-16,-6-2-28 0,-2 0 7 0,0 2 14 0,3-1-60 0,-3 2 19 15,-3 1-39-15,3-3-13 0,0 3-17 16,0-1-60-16,-2-1-30 0,2 1-39 0,-2-1-84 0,2-1-56 15,0-1-93-15,2 1-153 0,-5-2-38 16,4 0-408-16,1-4 80 0,-2-1 51 16,7 4 77-16,-7-4 105 0</inkml:trace>
  <inkml:trace contextRef="#ctx0" brushRef="#br0" timeOffset="-178017.81">12016 595 903 0,'-1'-3'228'0,"1"3"-103"0,0 0-122 0,-5-3-231 0,5 3-373 0</inkml:trace>
  <inkml:trace contextRef="#ctx0" brushRef="#br0" timeOffset="-177724.65">12156 566 1356 0,'0'6'397'0,"-2"-1"-29"0,2 3-35 15,0 1-8-15,2 3-5 0,-2 1-23 0,3 4-20 16,2-1-9-16,0 1-12 16,-2-1-28-1,2 2-26-15,0-1 6 0,-2-1 76 0,-1-2-31 0,3 0-22 0,-5-2 14 0,0-2-71 0,-2 1 11 16,-1 0-1-16,-2-1-18 0,-2 0-17 15,-1-3-26-15,0 2-8 0,-3-2-20 16,1-1-47-16,-2-1-20 0,1 0-48 0,1-2-52 16,0-1-33-16,0-1-58 0,2 0-55 15,0-1-76-15,8 0-180 0,-13-2-66 0,9-1-456 16,1-2 59-16,3 0 121 0,3 0 86 0,-1-3 90 16,0 1 44-16</inkml:trace>
  <inkml:trace contextRef="#ctx0" brushRef="#br0" timeOffset="-177356.35">12246 667 1041 0,'8'-1'371'0,"-3"1"1"0,-5 0 37 0,10 5 3 0,-5-1-46 0,0 2 3 0,1 2-52 0,-1 1-27 15,0 1-24 1,-3 1-21-16,4 0-17 0,-2 0 23 0,-1 1-64 0,0 0-21 16,-1 0 3-16,-1 0-25 0,1 0-16 0,1 1 10 15,-1-3-46-15,-2-1 31 0,3 0-18 16,-3-1 5-16,0 0-74 0,5-2 23 0,-5 0 23 15,2-2 25-15,-2-1 82 0,0-3 29 0,1 6-90 16,-1-6-44-16,0 0 6 0,0 0-18 0,12-9 10 16,-6 5 0-16,1-3-16 0,0-1 1 15,1 1 15-15,1-2-41 0,1 1-13 0,0 2 0 16,-3 0-18-16,4 3 8 0,-1 1-5 31,0 0-3-31,-2 2 0 0,2 3-7 0,0 0 12 0,3 1-17 0,-5 3-6 0,2-1 13 16,-3 3 10-16,1-2-27 15,-2 1-27-15,-1-1-43 0,0 1-30 0,-2-1-47 0,1 2-56 0,-1-2-67 16,0 0-32-16,1-1-83 16,-3 1-136-16,2-1-66 0,-1-1-407 0,0 1 39 0,1-3 189 15,-3 1 56-15,5 0 59 0,-2-1 72 16</inkml:trace>
  <inkml:trace contextRef="#ctx0" brushRef="#br0" timeOffset="-176780.09">12707 923 1057 0,'6'-8'450'0,"-1"0"-35"0,3 1-24 15,-3 0 1-15,0-1-44 0,0 0-59 0,0 0-10 16,1 0 8-16,-2 1-13 0,-1 1 2 16,0 0 60-16,-1 3-6 0,1-1-56 0,-1 0-67 15,1 2 6-15,-3 2-11 0,0 0-8 0,0 0-17 16,0 0-11-16,0 0-56 0,-10 8 29 0,7-4-27 15,-2 3-17-15,2-1 2 0,0-1-22 16,-1 3 27-16,4-2-36 0,-3-1-4 16,6 2 22-16,-1-1-9 0,0-1-37 0,4-1 6 15,2 1-4-15,4 0-1 0,-1-2-21 16,4 0-3-16,2-3-5 0,-1 1 31 0,2-2-97 16,-3 1 2-16,3-3 1 0,-2 0-9 0,-3-1 6 15,2 0-1-15,1-3 4 0,-1 1 25 16,-2-2-21-16,-1 1 8 0,-3 1-10 15,-2-1-6-15,1 1 22 0,-1 1-11 0,-1 0-1 0,-4 2 17 16,0 1-9-16,-2 2-12 0,0 0 28 16,0 0 3-16,0 0-6 0,0 0 3 0,-18 6 8 15,14-2 7-15,-2 0-20 0,2 1 5 16,-2-1 5-16,4 2 8 0,-1-2-13 16,0-1 30-16,1 1 6 0,2 0 0 0,0-4 2 15,2 7 19-15,3-7-4 0,1 2 16 0,-1 0 11 16,0-1-22-16,3 0 17 0,2 1 27 0,-2 1 16 15,4-1-8-15,1 1 66 0,0 0-40 16,-3 1 92-16,1 1-26 16,1 0-23-1,-2 0-71-15,0 0-85 0,-2-1 0 0,-2 1 0 0,-1 0 0 0,0-1 0 0,0 1 0 0,-3-1 0 16,-2 1 0-16,0-1 0 0,0 1 0 0,-2-1 0 16,-3 0 0-16,2 0-121 31,1 0-186-31,-3 0-72 0,0-1-146 0,2 0-527 0,-2 0-41 0,0-3 134 0,5 0 81 0,0 0 69 0,0 0 107 15,-5-9 47-15,7 4 74 16</inkml:trace>
  <inkml:trace contextRef="#ctx0" brushRef="#br0" timeOffset="-176623.72">13503 791 1845 0,'10'-1'520'0,"-2"0"-24"0,2-1-43 0,0 1-133 0,1 0-33 15,-1 0-41-15,0-1-65 0,3-1-99 0,-3 2-51 16,0 0-82-16,-5 1-46 0,3-1-118 16,-8 1-151-16,10-2-495 0,-5 1 78 15,-5 1 84-15,5-4 103 0,-5 4 5 0</inkml:trace>
  <inkml:trace contextRef="#ctx0" brushRef="#br0" timeOffset="-176420.16">13626 685 1523 0,'15'7'570'0,"-10"-1"4"16,1-1-134-16,0 3-20 0,2 2-31 0,-2 0 5 15,1 2-43-15,1-1-1 0,-2 1-45 16,-2 1-41-16,2-1-24 0,-4 0-20 0,-2 0-48 16,-2 0-26-16,-1 1-44 0,-4 1-86 0,-2 1-65 15,-6 0-94-15,0 0-49 0,-3-1-90 16,-11 5-263-16,1-2-502 0,1 0 136 0,1-6 81 15,5-3 111-15,1-1 46 0,-1-3 92 0,1 0 84 16</inkml:trace>
  <inkml:trace contextRef="#ctx0" brushRef="#br0" timeOffset="-175077.61">14659 248 1543 0,'-1'-4'456'0,"1"4"-26"15,0 0-85-15,0 0-4 0,0 0-29 16,0 0-36-16,0 20-32 0,0-10 14 0,0 5-56 15,0 0 0-15,-2 4 37 0,2 0-30 0,-2 0-4 16,-1 3-38-16,-2 3-4 0,0 0-12 0,0 0-76 16,0 1-65-16,-1-1-41 15,1-2-71-15,2 1-72 0,-1-4-80 0,1 0-163 16,0-1-494-16,1-2 15 0,0-2 105 0,-1-2 110 16,0-1 28-16,1-3 62 0</inkml:trace>
  <inkml:trace contextRef="#ctx0" brushRef="#br0" timeOffset="-174707.39">14687 355 1254 0,'15'-7'356'0,"-2"1"-11"0,0 4-48 0,2 1 0 0,-2 1-39 0,-3 1-19 0,0 1-27 15,-1 1-5-15,-2 1-17 0,1 2 48 0,-5 3-18 16,-1-1 3-16,-4 2-52 0,-1 2-12 16,-5 2 17-16,-2 1-50 0,-3 2 10 15,0-1-32-15,1 1-1 0,-4-3-16 0,6 0 5 0,-1-1-15 16,-1-2 33-16,4-1-49 0,0-1 6 31,1 0-6-31,1-2 1 0,2 0-16 0,0-1 8 0,2 1-1 0,2-1-14 0,0-1 20 16,2 1-8-16,2 0 8 0,3-1-18 15,-2 0 7 1,3-2 1-16,2 0 0 0,0 1-26 0,1-2-41 0,1 1-28 0,-1-2-21 0,1 1-48 16,-1-1-16-16,2 0-7 0,-1-1-74 15,-1 1-101-15,1-1-163 0,-1 0-484 0,2 0 57 16,-3-1 99-16,-3 1 85 0,3 0 71 16,-2 0 65-16</inkml:trace>
  <inkml:trace contextRef="#ctx0" brushRef="#br0" timeOffset="-174214.93">14982 587 1118 0,'2'-10'497'0,"-2"2"-8"0,1-2-123 0,-1 3-29 0,2-1-22 0,-4-1-10 0,2 2-36 0,0 0-11 16,0 2-7-16,-1-1-23 0,-1 0-18 0,2 1-34 15,-3 3-7-15,3 2-28 0,0 0 15 16,-7-1 18-16,7 1 0 0,-8 6-15 0,3-1-3 15,0 0-35-15,2 3-11 0,-2 1-29 16,0 0-14-16,2 1-21 0,1-1-41 0,-1-1 5 16,3 0 14-16,2 0 4 0,-2-2-8 0,1 0-7 15,1-2-13-15,1 1-15 0,2-3 17 16,0 0 3 0,0-1 16-16,3-1 7 0,-8 0 0 0,13-2-13 0,-5 0 26 0,0-1-10 15,2 0 13-15,-3 0-11 0,1 0-23 0,-1 1 18 16,1-1 3-16,-3 2-13 0,1-1 0 0,1 2 10 15,-7 0-18-15,11 2 23 0,-4-1 1 16,0 4-27-16,-1-2 19 0,1 2-11 0,-1 0-12 16,2 1-3-16,-1-2 0 0,-2 1 10 0,3 0-5 15,-3 0 16-15,2 0 2 0,-1-1-21 16,-1-1 34-16,0 0 21 31,0-1 7-31,1-1 23 0,1-1-3 0,-7 0 31 0,10-1-18 0,-4-1 3 0,1-2 0 0,-2-1-18 0,3 2 3 0,-3-3 17 16,0 0-25-16,3-1-18 15,-5 0-41-15,2-2-18 0,0 1 0 0,0-1 0 16,-2 2 0-16,1-3 0 0,2 1-80 0,-2-1-107 16,2 1-51-16,-1 2-66 0,3 1-68 0,0 0-147 15,1-1-518-15,0 0-30 0,3 2 153 16,-2-2 59-16,3 1 90 16,0-1 84-16,5 0 67 0</inkml:trace>
  <inkml:trace contextRef="#ctx0" brushRef="#br0" timeOffset="-173485.78">15843 295 1133 0,'-2'8'461'0,"2"-1"-18"0,-3 3-16 16,3 3-50-16,0 2-24 0,0 1-36 15,0 2-25-15,3 3-18 0,-1 4-31 16,-1 0-43-16,1 1-18 0,3 0-54 0,-2 0-46 0,1 1-6 15,0-3-32-15,0-1-21 16,-1 0-36-16,2-4-15 0,-3-1-18 0,1-4 7 0,-3-2 6 16,3 1 20-16,-1-3 11 0,-2-1 10 0,3-1 50 15,-5-2-12-15,2-1 18 16,-1-1 29-16,1-4 17 0,-2 3 10 0,2-3 34 16,0 0-19-16,0 0 44 0,-8-15 1 0,8 5-35 15,-2-3 17-15,4-2-6 0,-2-4 8 16,3-1-75-16,-1-6-4 0,6-11 66 0,0 2-13 15,2-2 5-15,0 3-4 0,6 1 12 0,-1 5-49 16,-3 7-7-16,-1 4-11 0,-1 5 29 16,3 1-36-16,-5 4-16 0,-1 3 13 0,3 1-40 15,-2 3-34-15,0 2 0 0,0 1 0 16,-1 2 0-16,-1 2 0 0,-4 2 0 0,3 2 0 16,-5-1 0-16,0 3 0 0,-3 1 0 0,-4 1 0 15,0 1 0-15,-2 2 0 0,-3 0 0 16,-1-1 0-16,0-2 0 0,0-1-6 0,3-3-137 15,-2 0-13-15,4-3 20 0,-2-1 1 16,4-2 4-16,1-1-17 0,0-3-14 0,2 0 45 16,3-1 1-16,0 0 1 0,-2-8 23 15,4 2 10-15,1-2 10 0,5 0 14 0,-1-5 6 16,1-2-1-16,3 1 17 0,1-3 0 0,3 2 5 16,-1 2-12-16,-2 3 50 0,1 0-9 15,0 3 12-15,-3 1 3 0,3 2-5 0,0 0 38 0,-3 3-3 16,3 0 11-16,-3 3 0 0,0 1-8 15,-2 1 23-15,2 1-18 0,-2 1 0 16,2 2 21-16,-2 0-8 0,0-1-26 0,-3 2 13 16,0-1-4-16,-3 1-9 0,1 0 13 15,-1-2-23-15,1-1 16 0,-3 1-8 0,2-1 25 16,-2-2 26-16,1 2 28 0,-1-3 0 0,2 1-17 16,-2-4 17-16,0 0-20 0,0 0 20 0,0 0-41 15,0 0-15-15,0 0 8 0,10-11-67 16,-7 4 0-1,2-1 0-15,0 0 0 0,3-1 0 0,0 1 0 0,2-1 0 0,-2 2-29 0,0 0-78 16,2 0-44-16,-3 3-36 16,3-1-51-16,-2 1-23 0,0 4-41 0,0-1-69 15,-1 2-157-15,-2-1-470 0,3 3 36 0,-3 0 66 16,1 3 79-16,-2-2 88 0,2 1 68 0,1-1 62 16</inkml:trace>
  <inkml:trace contextRef="#ctx0" brushRef="#br0" timeOffset="-172895.5">16486 492 1154 0,'1'-6'415'0,"-1"3"-19"0,0-2 11 0,0 5-41 0,0-7-35 0,0 7-45 16,-3-5-22-16,3 5-18 0,-5-1-16 0,5 1-18 16,0 0-25-16,-13 5-23 0,9 0-21 0,-2-1-4 15,3 2-9-15,-4 1-20 0,4-1-10 16,-2 0-23-16,3 1-3 0,-1-2-10 15,1 3 8-15,2-3 7 0,0 1-17 0,2-2-47 16,1-1 31-16,4 1-25 16,1-2-4-16,2 0-22 0,3-2 0 0,2-1-36 0,3-2 31 15,3-2-23-15,-1-1 12 0,4-2 3 0,-1-1-2 16,-3 0 33-16,1-2-11 16,-1-3 19-16,0 0 35 0,3-6-2 15,-2 2 28-15,-5 1 17 0,6-7-27 0,-6 5 28 0,-4 3-62 0,-1 2-30 16,-3 3 66-16,0 1 13 0,-1 2-7 15,-4 1-11-15,1 4-5 16,-1 0 5-16,-3 3 8 0,0 0-21 0,0 0-12 0,0 10 7 16,-2-1-5-16,2-2-21 0,-1 3 14 15,-1 0 20-15,0 2-21 0,-1-1-7 0,3-1-1 16,0 1-19-16,0-1-9 0,0-2 37 0,0 0-19 16,0-1-7-16,0-1 0 0,0 0 25 0,3-1-17 15,-3-1 27-15,0-4-17 0,0 3-5 16,0-3-11-16,0 0 3 0,5 3-3 0,-5-3 8 15,0 0-25-15,0 0 12 0,0 4 16 0,0-4 9 16,-3 6-30-16,3-1 18 0,-2-1-12 16,2 0-14-16,-3 1-12 0,3 0 5 0,3-1-16 15,-1 0-7-15,3 0-11 0,1-1 24 16,2-2-47 0,2 1-22-16,0-1-24 0,2-1-33 0,1-1-10 0,1 1-28 0,0-2-37 15,-1 0-19-15,2-1-75 0,-2 1-161 0,-2-2-113 16,4 0-409-16,-4 3 110 0,-1-3 104 0,0 4 78 15,0-3 66-15,-5 1 92 16</inkml:trace>
  <inkml:trace contextRef="#ctx0" brushRef="#br0" timeOffset="-169632.76">18961 321 1220 0,'0'0'502'0,"-3"-5"-51"0,3 5-42 0,0 0-38 15,-2-2-12-15,2 2-34 0,0 0-13 0,-2 10-115 16,-1-3-5-16,0 1 13 0,0 2-26 16,1 2-25-16,0 2-26 0,-2 1 2 0,0 4-2 15,1-1-31-15,-4 5 8 0,1 2-15 0,1 1-8 16,-2-2-39-16,-1 10-37 0,3-3-35 15,-1-5-40-15,2-1-28 0,-2 0-41 0,1-2-44 32,0 0-41-32,1-4-71 0,0 0-110 0,2-6-1 0,0 1-465 0,1-3 87 0,1-1 58 15,0-6 119-15,1 1-1 0</inkml:trace>
  <inkml:trace contextRef="#ctx0" brushRef="#br0" timeOffset="-169029.96">18920 409 1156 0,'0'-5'338'0,"3"-1"-23"15,4 2-33-15,1 0-31 0,2-1-18 16,3 3-21-16,-2 1 3 0,1 1-23 0,1 0-21 16,-1 1-19-16,-1 1 22 0,-1 3-46 0,1-1 12 15,-6 1-24-15,0 0-4 0,-2 3-9 16,-1-1-27-16,-2 1 9 0,-2 0 35 0,-1 2-41 16,-2-1-22-16,2 2-3 0,-2-3-16 15,2 0-7-15,1 0 2 0,-1 0 3 16,2 0 7-16,-1 1 19 0,2-1-9 0,2 1 6 15,2 2-15-15,0 0-8 0,2 0 15 0,2 2-8 0,-1 1 1 16,-1-1 5-16,4 0 9 0,-5 2 22 16,2-3 7-16,-4 1-23 0,2-2 15 15,-3 1-7-15,-2-1-6 0,0 0 24 0,-7-1-18 16,2 1 12-16,0-1-17 0,-2-1-11 0,-4-1 0 16,1 0-22-16,-3-1 1 0,2-2-17 15,-1 0-43-15,-1-1-9 0,0-1-40 0,3-1-44 16,-1-1-22-16,5 0-60 0,-3 0-99 15,1-4-180-15,8 3-502 0,-8-1 47 16,6-3 107-16,2 4 72 0,-2-6 90 0,6 2 61 0</inkml:trace>
  <inkml:trace contextRef="#ctx0" brushRef="#br0" timeOffset="-168275.37">19356 454 1520 0,'-5'-4'468'16,"0"3"-30"-16,5 1-23 0,-13 3-42 0,5-1-58 16,-4 4-8-16,-2 0-43 0,1 2-26 0,-2 2-25 15,-2 3-21-15,-2 1-6 0,4 0-37 16,0 2-13-16,2 0-8 0,0 0-8 0,2-3 0 16,4 1-15-16,0-2-28 0,1 0-23 15,4-1-34-15,1 0 39 0,1-3-18 0,1 0-23 0,1 0 36 16,4-3-44-1,-2 0-5-15,4 0 31 0,0-5 7 0,0 2 3 16,2-4-28-16,0 0-18 0,1-2 41 0,-1-1-5 0,2-3-28 16,-1 0 38-16,1-3-23 15,-2-2-5-15,1 0 13 0,-1-1 10 0,-2-1 10 0,2 1-21 16,-4 1 29-16,1 1-28 0,-2 1 25 0,0 2-7 16,-2 0 20-16,1 1-33 0,-1 2-46 15,-3 2 46-15,3 0-13 0,-3 4-29 0,0 0 4 16,0 0 2-16,0 0-13 15,0 0 3-15,0 0 38 0,-6 15-25 0,4-10-9 0,0 2 6 16,2-1 23-16,-3 3-23 0,2-3-5 16,-1 1 3-16,0-3 2 0,2 2-5 0,0-2 17 0,-2 1-22 15,2-2 20-15,0-3-2 16,2 6-13-16,0-5 5 0,-2-1 8 16,0 0-11-16,6 3 6 0,-6-3 4 0,7 1 6 0,-7-1 3 15,11 0-24-15,-11 0 3 0,7 0 15 16,-1 1 3-16,-6-1-11 0,7 2 11 0,-4 0-10 15,1 0-8-15,-4-2 35 0,6 5-22 0,-3-3-3 16,2 0 23-16,-3 2-33 0,1-2-5 0,-3-2 30 16,2 4-12-16,1-3 2 0,-3-1 11 15,3 3 22-15,-3-3 1 0,4 3 30 0,-4-3 3 16,0 0 28-16,6 1 2 0,-6-1-89 16,0 0 26-16,0 0-16 15,0 0-10-15,10-5 0 0,-10 5 10 0,5-3-15 0,-2 1-1 16,-3 2 1-16,5-2 5 0,-5 2-10 0,0 0 12 15,0 0 1-15,13 4-44 0,-10-1 61 16,1 1 8-16,2 1-30 0,-2 0 2 0,0-1-1 16,0 2-22-16,-1-1-7 0,2 0-27 0,0 1-22 15,-2-3-49-15,-1 1-36 0,0 0-26 16,-1 0-15-16,1-3-35 0,-2-1-29 0,6 5-26 16,-2-4-81-16,-4-1-146 0,0 0-26 0,8-1-468 15,0-2 107-15,0-2 115 0,2-1 26 16,-2-1 75-16,5-4 47 0</inkml:trace>
  <inkml:trace contextRef="#ctx0" brushRef="#br0" timeOffset="-168116.08">19768 437 1044 0,'6'-5'379'0,"-4"2"-36"0,0 0-11 0,-1 1-14 0,-1 2-6 16,0 0-28-16,0 0 82 0,0 0-36 0,3 10-22 16,-3-3 9-16,-3-1-15 0,3 3-28 15,-1 1-15-15,-1 3-14 0,0 2-14 0,-1 2-34 16,-2 1-51-16,2 1 17 0,-4-1-45 0,4 1-38 15,-4 0-34-15,4-2-23 16,-3 0-62-16,-1-1-25 0,6-3-61 0,-3-1-31 0,2-2-34 16,2-1-99-16,0-3-85 0,2-3-153 15,3-1-400-15,0-1 44 0,5-2 151 16,1-2 77-16,4-3 33 0,2-3 54 0</inkml:trace>
  <inkml:trace contextRef="#ctx0" brushRef="#br0" timeOffset="-167829.49">20066 462 1067 0,'5'-7'394'0,"-5"1"-20"0,3 1-29 0,-6 2-4 0,3 3-47 16,0 0-20-16,-13 0 10 0,3 2-30 16,-1 4 9-16,-3 0 52 0,-4 3-5 0,-3 0 15 15,0 2-56-15,-7 8-11 0,0 0-2 16,7-3-49-16,1-1-12 0,2 1 7 0,3 1 6 16,-1-1-24-16,6-2 3 0,0-1-18 15,1 2-11-15,0-2 1 0,4-2-41 0,2 0 0 16,-2-1-31-16,5-1-11 0,0-3-9 15,0-1 5-15,5 1-47 0,0-1 16 0,1-2-41 16,1-2-46 15,3 1-10-31,0-2-57 0,3-3-28 0,0 2-35 0,0-2-39 0,1-2 2 0,0 1-94 0,2 1-108 0,1-3-112 16,-1 0-499-16,2 2 45 0,0-2 108 0,0 1 121 0,0 0 25 16,0 1 123-16,-3 0 10 0</inkml:trace>
  <inkml:trace contextRef="#ctx0" brushRef="#br0" timeOffset="-167627.78">20397 593 1520 0,'0'0'440'0,"0"0"-38"0,0 0-38 16,0 0-60-16,20-4-12 0,-7 2-44 15,0 1-28-15,5 0-5 0,-1 0-64 0,1 1-56 16,1-1-64-16,-1 1-52 0,0 0-53 16,-3 1-97-16,1 1-93 0,-6 1-128 15,0-1-429-15,-5-1 55 0,3 2 139 0,-6 1 46 16,-4 1 74-16</inkml:trace>
  <inkml:trace contextRef="#ctx0" brushRef="#br0" timeOffset="-167435.88">20338 717 1366 0,'-8'3'400'0,"1"-1"-4"0,1-1-35 0,4 2-30 0,2-3 6 0,-2 3-27 0,2-3-41 0,0 0-39 16,12 3 16-16,-4-3-41 15,4-1-3-15,1 0-61 0,5-1 23 0,5-2-62 16,3 0 13-16,0-1-84 0,1-1-36 0,0 0-36 0,-2-2-64 16,0 2-90-16,0-2-158 15,-6-1-387-15,-1 3-163 0,-2-1 102 0,-6 0 102 16,2-1 67-16,-3 0 48 0</inkml:trace>
  <inkml:trace contextRef="#ctx0" brushRef="#br0" timeOffset="-167215.5">20704 423 1172 0,'0'0'471'0,"0"0"-110"16,0 0 12-16,8 12-27 0,-5-6 69 0,4 3-36 15,-2 1-42-15,3 4 6 0,2-1-46 16,-1 2 10-16,3 3-53 0,-2 0-14 0,2 1-24 15,-6-3-42-15,2 1-34 16,-3-1-30-16,0 2-38 0,-3 1 0 0,-2-3-77 16,-5 2-24-16,0-1-63 0,-2-1-38 0,-2 3-65 15,-3-1-94-15,0-5-174 0,2 0-505 0,-4-1 59 16,4 0 119-16,0-5 116 0,-1-1 57 16,1-4 31-16</inkml:trace>
  <inkml:trace contextRef="#ctx0" brushRef="#br0" timeOffset="-165733.06">21602 272 1036 0,'0'0'417'0,"0"0"-25"0,0 0-39 0,-3 14 11 16,0-5-57-16,-1 2-33 0,-4 4-16 0,2 2 65 16,-1 4-72-16,-3-1-26 0,3 4-2 15,0 0-6-15,-7 9-15 0,4-3-40 16,2-2-34-16,0-5-5 0,0-1-24 0,3 0-24 16,3-3-14-16,-2-2-28 0,2-2-25 0,0-2 25 15,2-1-20-15,0-1-8 0,0-2 0 0,4 0 8 16,-3-3-8-16,4 0 26 0,-2-4-21 15,2 1-10-15,0-3 0 0,-5 0-5 0,8-5 13 16,-2-1 7 0,-2 0-23-16,-2-2 29 0,1 0-19 0,-3-2 6 0,0-1 15 0,0 0 8 15,0-2 7-15,-3 1-4 0,1 2-11 16,-2 0 15-16,-2 0 11 0,3 4-16 0,-3-1-8 16,-3 4-4-16,1 0-6 0,-3 2-4 0,1 3-6 15,-3 1-5-15,-2 1 15 0,5 3 3 0,-5 1-21 16,2 1-2-16,3 1 8 15,0-1 5-15,2 1 12 0,0 0 16 0,3 0-21 0,0 1-10 16,4-3-15-16,1 1 8 0,1-1 27 16,4-2-40-16,0 1-19 0,3-3 55 15,2 1-21-15,2-3-10 0,4 0 2 16,-3-3 23-16,5 0-35 0,-3-1 15 0,3-2-5 0,0-3-3 16,1 1 20-16,-2-1-9 0,-2-2 15 15,1 0-29-15,-3-3 14 0,2 1 7 16,-2 1 3-16,-2-1 2 0,-1 0-15 0,0 5-21 0,-3-1 0 15,-2 2-4-15,-2 3-1 0,2-2 0 16,-3 3-7-16,-2 1 7 0,0 0 24 0,0 0 7 16,0 0-8-16,0 12 8 0,0-7-10 0,-1 1-16 15,0 0 6-15,1 0-14 0,0 1-4 16,2-1 30-16,-1-1-46 0,4 2 16 0,0-3 15 16,2-1-21-16,1 1-2 0,0-3 26 15,2-1 2 1,5-2 8-16,-2-1-13 0,0-1 10 0,5-3 5 0,-2-1 13 15,-1-1 47-15,2-5 12 0,0 1-8 0,0-1 8 16,-4-3 13-16,2-1 20 0,-1-1-25 0,0-9 40 0,-3 3 1 16,5-4-26-16,-6 8 5 0,0 3 8 15,-3 4 15-15,-2 2-7 16,-2 2-19-16,2 4-25 0,-2 1 28 0,-3 2-23 0,0 3-2 0,0 0-18 16,0 0 7-16,0 0-13 0,-5 21 19 15,0-9-6-15,-1 3-25 0,3 2 0 0,-4 1-8 16,0 3-11-16,-1 1-32 0,2 1-41 0,2 0-29 15,-2 0-53-15,4-3-21 16,1-2-31-16,-3 1-30 0,1-4-31 0,1-1-113 16,2-1-143-16,-1-3-2 0,1-1-446 15,0-1 97-15,0-2 98 0,1-2 51 0,-1-2 79 0,0-2 116 16</inkml:trace>
  <inkml:trace contextRef="#ctx0" brushRef="#br0" timeOffset="-165563.6">21884 591 1141 0,'0'-5'425'16,"0"5"-49"-16,0-8-56 0,2 4-15 16,0 2-36-16,2-2 5 0,0 1-70 0,2-1-19 15,-1 2-11-15,5 0-8 0,-2-1-53 0,4 3-54 16,-2-1-70-16,-1 0-99 0,3 2-110 16,0 0-85-16,-3 1-532 15,1-1 90-15,0 1 58 0,-2-1 73 0</inkml:trace>
  <inkml:trace contextRef="#ctx0" brushRef="#br0" timeOffset="-165318.62">22115 589 926 0,'0'-4'389'0,"2"1"-18"0,0-1-81 0,1 2-14 0,-3 2-10 0,1-7-17 0,-1 4-29 0,0 3-28 0,0 0-18 16,-6-5-8-16,6 5-17 0,0 0-21 0,0 0-8 0,0 0 0 15,-15 7-28-15,12-3-20 0,-2 0 12 32,-1 1-17-32,2 0-16 0,0 2-23 0,-2 0-23 0,4-1-17 0,-2 2 1 0,2-1-40 15,2-1-13-15,0 1-18 0,0-2-12 0,2 0-101 16,1-1-84-16,0 1-79 0,1-2 2 0,2 1-338 16,2-3-66-16,-1 2 120 15,1-1 133-15</inkml:trace>
  <inkml:trace contextRef="#ctx0" brushRef="#br0" timeOffset="-164753.48">22335 539 1059 0,'0'0'425'0,"-8"-1"-43"0,8 1-19 0,-10 4-102 0,2-1-25 16,5 1-42-16,-4 3-15 0,0-1 6 15,-1 3-32 17,0 0-20-32,3 1-7 0,-1 0-9 0,2 0-12 0,1-1-12 0,1-1-14 0,2-1 8 0,0 0-46 0,2 0 5 15,4-1 23-15,1-2-28 0,-2-1-3 0,3 0 11 0,4-2-28 16,-1-2 19-16,1-2-1 0,4 1-16 16,2-4 28-16,0-1 16 0,3-4-16 15,0 0 38 1,-2-1-4-16,-1-3 22 0,8-4 6 0,-8 1 97 0,5-4-10 0,-7 2 7 0,-2 3-5 15,-5-3-18-15,3-1-10 0,-2 3-2 16,-2 3 7-16,-2 0-2 0,0 4-19 0,-2 1-19 16,0 2-14-16,-3 3-46 0,1 2-2 0,-2 3 44 15,0 0-63-15,0 0 14 16,0 0-39-16,-10 17 8 0,7-5-7 0,-4 1-27 0,2 4-40 16,-3 2-51-16,3 1-29 0,-2 1-18 15,1 1-84-15,1-3-18 0,0-1-28 0,2-1-59 16,-2-1-133-16,4-2-100 0,-3 0-463 0,2-3 102 15,1-2 106 1,-1-1 76 0,-1-3 97-16,3-1 31 0,0-2 35 0</inkml:trace>
  <inkml:trace contextRef="#ctx0" brushRef="#br0" timeOffset="-164601.83">22532 610 749 0,'-1'-6'336'0,"0"1"66"0,1 1-21 16,0 0 3-16,0 4-51 0,1-8-57 0,0 4 6 15,0 1-26-15,3 0-11 0,-1 0-22 0,4 0-18 16,-1-1-18-16,2 2-34 15,2 0-4-15,0-3 12 0,1 3-15 0,4-1-123 16,-3 0-18-16,4 1-5 0,2-2-48 0,-3 2-45 0,5-3-19 16,1 1-57-16,1 0-79 0,0 1-80 15,1-2-36-15,3 3-452 0,-1-3 86 32,1-1 21-32,2 0 59 0,0-1 77 0</inkml:trace>
  <inkml:trace contextRef="#ctx0" brushRef="#br0" timeOffset="-164384.16">23245 254 1059 0,'3'-4'456'0,"-1"2"-54"0,-2 2 0 0,0 0-39 0,0 0-23 0,0 0 16 0,0 0-54 0,-5 17-28 15,0-9-23-15,2 3 2 0,-3 2 3 16,-2 2-110-16,2 1-18 0,-2 2 16 0,3 4-27 0,-3 1-27 16,2 2-13-16,-6 8 0 0,2 0-29 15,3 0-35 1,-4-2-46-16,1-4-1 0,3-3-30 0,1-2-71 0,-2-2-49 0,4-3-78 15,-2-1-122-15,3-5-30 0,1 1-482 0,-3-3 113 16,5-3 43-16,-3-1 59 0,1-1 72 16</inkml:trace>
  <inkml:trace contextRef="#ctx0" brushRef="#br0" timeOffset="-164032.4">23053 651 931 0,'0'-5'318'15,"0"-1"-29"-15,0 1-5 0,2-1-13 16,0 2-12-16,-1-2-42 0,2 0-4 0,2 1-26 15,2 1-13-15,0-1 61 0,-1 0-45 0,4 2 12 16,0 2-46-16,-1 0 26 0,3-1-41 16,0 2-34-16,-1 3 13 0,0-1-40 0,2 2 12 15,-1 0 8-15,0 3-16 0,-3 0-27 0,-1 0 24 16,1 1-45-16,-1 1 8 0,-1 1-3 16,-3-2 5-16,1 0-28 0,-3-2 5 15,1 1 18-15,1-2 23 0,0 1 38 0,-1-3 52 0,-1 1 25 16,-2-1-5-16,0-3-87 0,6 3 28 15,-6-3 34-15,0 0 2 0,0 0-29 16,9-10-11-16,-4 4 96 16,0 0-38-16,2-2-85 0,-1-2-22 0,2-2-32 15,2 0 27-15,-1-2-21 0,3-3-26 0,3 1-28 0,-1 0-18 16,0 1 0-16,2 2-51 0,-3 2-31 16,2 3-22-16,-2-1-63 0,-1 3-4 0,-1 3-31 15,-3 0-33-15,2 1-44 0,0 1-102 16,-2 2-13-16,2 0-389 0,-3-1-57 0,4 2 78 0,-1 0 63 15,-2-1 133-15,1 0-22 16</inkml:trace>
  <inkml:trace contextRef="#ctx0" brushRef="#br0" timeOffset="-163557.96">23632 506 1187 0,'0'0'376'0,"0"0"6"0,0 0 4 16,0 0-45-16,0 0-116 0,0 0 5 0,-25 6-12 16,20-2-21-16,-5 0 5 0,2 1-20 0,-2 1 0 15,1 0-16-15,1 1-48 0,-1-1 36 16,1 2-37-16,1-2-25 0,1 1 13 15,1-1-18-15,0 0 3 0,2 1-29 0,1-3-7 16,2 1 8-16,3 0-27 0,-1-2 9 16,0 0 10-16,4-1 7 15,0-1-20-15,-2 0-5 0,-4-1 18 0,15-2-16 0,-4 0 3 16,-4-3 3-16,3 2 27 0,0-4-22 0,1 3-21 0,-1-3 39 16,0-1-27-1,-2 2-22-15,0 0 18 0,0 2 5 0,-3 0 3 0,0 1-21 0,-1 1-8 16,0 0 26-16,-4 2-8 0,0 0-25 15,0 0 20-15,0 0 8 0,0 0-36 16,7 5 8-16,-4-2-6 0,-3-3 3 16,1 6-2-16,-1-3-8 0,1 1-8 0,-1-4 8 0,5 4-31 15,-2-1 18-15,-3-3 18 0,5 3-18 16,1-1 13-16,-6-2 3 0,7 0 12 0,0 0-8 16,-7 0 14-16,10-1-29 0,-10 1 31 15,9-1 7-15,-4 0-25 0,-5 1 8 0,7-1 2 16,-7 1-2-16,0 0-3 0,8 1-13 0,-8-1 14 15,5 3 9-15,-5-3-10 0,7 3 0 16,-6-2-23-16,-1-1-12 0,7 5-6 16,-4-3 10-1,2 1-15-15,-2-2-23 0,3 2 3 0,-2-1-24 0,2 0-12 0,0-2-21 0,0 2-40 16,-1-2-11-16,3 0-34 16,0 1 11-16,-8-1-56 0,15-1-131 0,-8-1-33 0,3 1-507 15,-2 0 167-15,1-4 43 0,0 4 117 0,0-3 16 16</inkml:trace>
  <inkml:trace contextRef="#ctx0" brushRef="#br0" timeOffset="-163199.5">24229 404 1420 0,'0'0'502'0,"0"0"-90"0,0 0-33 0,4 10-18 0,-5-5-26 0,0 0-12 15,-3 2 40-15,2 2-64 0,1-2 9 16,-4 2-37-16,3 0-33 0,1 0-20 0,-1 1-14 16,-3-2-40-16,5 1-28 0,-3-1-6 0,-1 0-45 15,0 0 25-15,0-1-26 0,0-1-12 16,-2 0-3-16,-2-1-7 0,3 0 4 0,-2 1 6 16,0-1-24-16,0-1 9 0,-3 0-26 0,3 1-14 15,-1 0 22-15,2 1-11 16,-1-1 0-16,1 0 5 0,-1 0-10 0,2 1-5 15,3 0 18-15,-2-2-8 0,2 0 1 0,4 1-6 16,-2-5 18-16,4 5-13 0,2-3-21 16,-2-2-32-16,3 0-26 0,3 0-11 0,-2-2-20 15,4 2-23-15,-4-3-23 0,2 1-64 0,-2-1-64 16,0 1-210-16,-3 1-460 0,0-3-65 16,-4 0 129-16,-1 4 78 0,-1-7 101 15,-6 3 97-15,-1-1-6 0</inkml:trace>
  <inkml:trace contextRef="#ctx0" brushRef="#br0" timeOffset="-161412.66">21481 991 1172 0,'0'0'438'0,"0"0"-21"0,-17 10-18 16,11-4-41-16,-4 2-48 0,1 3 25 0,-3 2-27 16,-1-1-27-16,-2 3-30 0,-2-1-33 0,3 3-19 15,0-2-17-15,0 2-13 0,-1-1 2 16,2-2-30-16,0 0-26 0,3-1 21 0,5-2-44 16,-3-1-5-16,4-1-18 0,-4-1 24 15,5-2-42-15,0 1-15 0,0 0 5 0,2-3-3 16,1 1-41-16,1 0-4 0,0-2-9 0,4 0-22 15,-2-1-24-15,4-2-12 0,-7 0-23 16,13 0-13-16,-3-2-23 0,3-1-8 0,2-1 13 16,-2-1-61-16,6 0 12 15,-1-2 8-15,2-3 28 0,-3 3 3 0,4-1 18 0,-3-1 53 16,-2 2-4-16,1-1 40 0,-4 3 10 0,-1-1 37 16,-3 2 20-16,-1 0 25 0,2 0 11 15,-3 1 25 1,-2 0-36-16,1 2 8 0,-2 0 8 0,-4 1-8 0,0 0-17 0,9 4 4 0,-7-1 23 15,-2 1-22 1,2-1-6-16,2 2 8 0,-2-1-29 0,0-1-9 0,3 2-1 0,-2-1 21 16,1 0-10-16,2 0 10 0,-1-1-13 0,3 1 26 15,0-4-36-15,0 0-11 16,-1 0 45-16,3 0-34 0,-2-2 12 0,5-1-4 0,-6 1 25 16,1-2 18-16,0 0 0 0,-3 0-2 15,0-1 43-15,0 0-26 0,0 0-20 16,-3 0 5-16,-2-1-7 0,1 1-8 0,-1-1-3 15,-1 2-41-15,-3-1 0 0,1 1-12 0,0 0-39 32,-1 2 5-32,-2-1-59 0,2 1-20 0,4 2-26 0,-8-1-10 0,8 1-41 0,0 0-61 15,-8 0-29-15,8 0-2 0,0 0-120 0,0 0 4 16,0 0-91-16,0 0-300 0,18-1 31 16,-8-1 138-16,-2 2 74 0,4-2 366 15,-1-2 139-15,1 1 66 0,-1 0 66 0,2-1 55 16,-1 0 61-16,-3 1 17 0,-2 1 34 15,1-2 3-15,1 2 58 0,-6 0 8 0,3 0-46 16,-2 1-25-16,-4 1-16 0,0 0 10 0,0 0-30 16,8 4-27-16,-8-4-4 0,0 7-23 15,0-4-5-15,0-3 7 0,-4 7-48 16,0-2-11-16,2 0-17 0,0 0 5 0,0 0 17 16,1-1-48-16,-2 2-7 0,1-2 9 0,2 0 11 15,0-4-18-15,0 6-21 0,0-6-10 0,2 5 3 16,-2-5 2-16,4 3 14 31,0-2-17-31,-4-1 1 0,10 0-16 0,-4 1-12 0,1-1 35 0,-7 0-12 0,15-1-13 16,-9 0 5-16,1 2-8 0,-7-1 13 0,14 1-13 15,-10 0-5-15,4 1 0 0,-3 1-10 0,2-1 21 16,-4 3-11-16,3-1 18 0,-2-1-8 0,0 1-17 16,-2 0 37-16,3-1-19 0,-2 1-19 15,-1-2 54-15,2 1 1 0,-3-1 53 0,4 1-6 16,-5-3-58-16,3 0-7 0,-3 0 12 0,7 3 10 15,-7-3 23-15,0 0-12 0,9-1 20 16,-9 1-21-16,7-2 14 0,-7 2-34 16,9-2 3-16,-9 2 20 0,6-1-18 0,-3-1-23 15,-3 2 15-15,7-1 11 0,-7 1-33 0,8 0-3 16,-8 0 0-16,5-2-59 0,-5 2-16 16,8-1-60-16,-8 1-14 0,8-1-23 0,-3 0-40 15,-5 1-36-15,9-2-47 16,-5 2-7-1,1-1-85-15,3 0-137 0,1 1-390 0,0-1 33 0,3-1 57 0,1 1 79 0,1-1 92 0,-2-1 74 16</inkml:trace>
  <inkml:trace contextRef="#ctx0" brushRef="#br0" timeOffset="-160045.02">22868 936 1041 0,'6'-7'489'0,"-4"1"-38"0,0 2-26 0,0 1-59 0,-2 3-46 0,1-3-21 16,-1 3-17-16,0 0-24 0,0 0-20 0,-3 13-20 15,1-5 48-15,0 4-5 0,-1 0-48 0,-2 4-21 16,0 2-18-16,-1 4-8 0,1 0 13 16,0 0-41-16,0 0-20 0,0-3-21 15,3 0-17-15,1-2-1 0,0-1-5 0,1-2-12 0,-4-2-39 16,4-2 48-16,-2-1-35 0,2 0-5 0,0-1 7 15,0-1 19-15,-2-3-11 16,1-1 8-16,1-3-21 0,-7 2-15 0,7-2 0 31,0 0 10-31,0 0 13 0,-16-6-11 0,9 3-6 0,1 0-19 0,-2 2 28 16,1 0-51-16,-3-1 28 0,2 2 11 0,-2 1-11 0,0-1-13 16,-1 2 1-16,1 1-16 46,0-1 13-46,-3 2 12 0,5 0-22 0,0 0 7 0,1 0-4 0,-1 1 7 0,5 0-1 0,-2-1 1 0,5-2-20 0,0 2 14 0,0-4-6 0,8 4 14 16,-1-1-7-16,2-3-8 0,1 0 15 0,5 0-12 16,-1-2-24-16,3-1 11 0,0-1-13 15,2 0-12-15,4-4 9 0,-3 2 11 0,-2-1 25 16,2 1-15-16,-3-2-2 0,-1 2-16 16,-4 0 28-16,0 1 31 0,-1-1-34 0,-2 2-25 15,-1 1 23-15,-1 0-5 0,-3 1-25 0,1 2 27 16,-5 0 21-16,0 0-20 0,5 4-3 0,-3-2 25 15,-2-2-4-15,0 7-24 0,2-4 3 16,-4 2 21-16,2-5-34 0,2 6-3 0,-1-4-12 16,2 1 31-16,1 0-11 0,-4-3 3 0,9 1-11 15,-2 1 19-15,0-2 10 0,-7 0 7 16,18-4 1-16,-9 1-11 0,1-2 8 16,0 1 0-16,2-2 12 0,-2 0 24 0,-1-2-3 15,1-1 8-15,2-1 0 0,-1-1 28 16,-3-1-16-16,2 0 14 0,-2-1-26 0,0 2 15 15,-1-2-13-15,0 4-12 0,-4 1 23 0,4 0-6 16,-6 3-23-16,4 1-2 0,-3 3 21 16,-2 1 2-16,0 0-21 0,0 0 26 0,-1 16-25 15,-2-5 7-15,0 2-8 0,-2 4 6 0,-1 4 15 16,-1 3-31-16,-1 9 8 0,1-4 0 16,-3 7 13-16,0-2-31 0,-1-1 13 0,1-2-54 15,0-3-11-15,2-6 17 0,0-5-24 16,3-1 33-16,0-4-17 0,-3 0 20 0,5-2 79 15,-1-2-38-15,1-1 13 0,0-3 9 16,1-1-19-16,2-3 2 0,0 0 0 0,0 0-5 16,0 0-10-16,0 0-6 0,8-13 1 0,-2 8-1 15,2-4 14-15,2-1-42 0,-1-2 23 16,5 2-20-16,0-6 3 0,1 1-16 0,3-2 26 16,3-4-13-16,-1 2 23 0,-2 4-15 0,-2 0 7 15,-3 1 3-15,2 2-8 0,-5 1-8 16,0 3 11-16,-2 0-8 0,-1 2-23 15,0 0 39-15,-3 2 4 0,1 3-30 0,-5-1 31 16,0 2-1-16,0 0-25 0,0 0 39 16,0 0-24-1,5 9-10-15,-7-4 23 0,2 0-15 0,-3-1-8 0,3 0-8 0,0 2-17 0,0-1-21 16,0-1-5-16,0 0-31 0,0 0 3 16,0 1-36-16,0-5-8 0,3 5-26 0,-1-1-66 15,2-3-112-15,-2 1-129 0,-2-2-7 0,7 1-417 16,-7-1 91-16,13-3 73 0,-6 1 86 15,4-2 54-15,-4 0 57 0</inkml:trace>
  <inkml:trace contextRef="#ctx0" brushRef="#br0" timeOffset="-159748.1">23466 1210 739 0,'2'-3'279'0,"-2"3"-13"0,0 0-2 0,0 0-3 0,0 0-15 0,0 0-36 0,0 0 0 0,-20 6 5 0,17-3-39 15,-2 0-17-15,0-1-23 0,0 2-16 0,0 0 18 16,3 0-30-16,-4-1 9 0,4 1-42 0,-1-1-9 15,0 0-22-15,3-3 25 0,0 5-8 16,0-5-17-16,0 0 2 0,3 4-8 0,-3-4-7 16,7 2-8-16,-7-2-5 15,8 0 5-15,-8 0 5 0,12 1 8 0,-8-1-5 0,-4 0 35 16,10 1 65-16,-10-1-31 0,8 1 20 0,-8-1-7 16,7 1-21-16,-2-1-8 0,-2 3-7 0,2-1 25 15,-5-2-45-15,9 2 2 16,-5 0-11-1,1-1-32-15,-2 2 7 0,-3-3-49 0,7 3 13 0,-2-1-48 0,-2-1-29 0,-3-1-38 16,7 3-46-16,-4-1-74 0,-3-2-64 16,8 2-49-16,-4-1-274 0,-4-1-207 0,6 2 115 15,-6-2 92-15,5 1 44 0,-5-1 79 16</inkml:trace>
  <inkml:trace contextRef="#ctx0" brushRef="#br0" timeOffset="-149354.58">23632 4938 1269 0,'-7'-1'461'0,"1"-1"-126"0,6 2-43 0,-15 3 5 0,3-1-18 0,-2 3-38 0,0 2-21 0,-3 1-5 0,0 3-21 15,-4 2-10-15,-2 9-12 0,3-4-11 16,2-3-15-16,-3 8-31 0,3-4 13 16,7-1-18-16,-3-3-2 0,6 2-19 0,0-4-12 15,4-1 0-15,1 1-21 0,0-1 29 16,3-2-29-16,0-1-12 0,3-1 2 0,1 0 20 15,-1 1-27-15,3-3-24 0,-2 0-23 0,4-3-17 16,0 2-29-16,2-1-2 0,-2-2-36 16,4-1-36-16,-1-1-57 15,-1 1-89-15,2-2-117 0,-1-1-42 0,-1 1-465 0,4-4 112 16,-1 3 56-16,-1-3 85 0,2-1 77 16</inkml:trace>
  <inkml:trace contextRef="#ctx0" brushRef="#br0" timeOffset="-149128.22">23706 5117 1062 0,'3'-4'376'0,"0"-1"28"0,1 3-37 0,-4-2-30 0,0 4-32 16,1-2-13-16,-1 2 46 0,0 0-3 0,0 0-20 16,0 0-59-16,-1 13 13 0,-1-7-49 15,0 2-10-15,-1 1-1 0,1-1-57 0,1 3-22 16,-1-2 19-16,-3 3-29 0,4 0-28 0,-3 0-8 16,1 0-63-16,-2 0-44 0,3-3-67 15,-1 2-40-15,0-3-98 0,1 2-184 0,-1-3-543 16,2-1 87-16,0 0 62 0,-2-4 71 0,3 2 83 15,0-4 40-15</inkml:trace>
  <inkml:trace contextRef="#ctx0" brushRef="#br0" timeOffset="-149020.95">23790 5020 724 0,'0'0'23'0,"0"0"-348"0</inkml:trace>
  <inkml:trace contextRef="#ctx0" brushRef="#br0" timeOffset="-148604.18">23886 4947 911 0,'0'0'397'0,"0"0"-57"0,0 0-5 0,0 0-17 0,0 11-52 0,0-2-31 0,-2-1 9 0,0 4-40 16,-2 1-7-16,0 0-38 0,-2 1-31 16,3 3 8-16,-4 1-31 0,2 0-21 0,1-1-10 15,-2 0-28-15,0 1 3 31,2-5-5-31,1-1-19 0,-2 0 26 0,4 0 11 0,-4-4-6 0,5 0 34 0,-2 0-11 0,2-4-7 16,0 2 30-16,2-3-35 0,-2-3-3 0,6 1 5 16,-6-1 10-16,10-1 1 0,-2-2-1 0,-1-1-36 15,4 1 14-15,-4 0 12 0,1-2 84 16,2 2-22-16,0 0-16 0,-1 3 44 16,-2-3-39-16,-2 3-30 0,2 0 53 0,-7 0-122 0,11 3-16 15,-7-1 59-15,-3 1-29 0,4 0-4 16,-5 2 15-16,0 0-7 0,0 2 2 0,-2-1-16 15,-1 0 6-15,-4 2-13 0,1 0-26 16,-2 1-43-16,1-2-26 0,-1 1-53 16,-2-2-14-16,2 3-22 15,0-2-75-15,1-4-51 0,2 1-89 0,0 1-149 0,2-3-427 0,0-1 163 16,3-1 1-16,0 0 63 0,0 0 114 16,0 0 40-16</inkml:trace>
  <inkml:trace contextRef="#ctx0" brushRef="#br0" timeOffset="-148432.12">24006 5175 1156 0,'3'-6'423'0,"2"5"-108"0,-5 1 5 16,3-1-44-16,-3 1 1 16,0 0 4-16,0 0-28 0,5 8-22 0,-4-2-31 15,-2-3-6-15,1 4-38 0,-3-1-5 0,1 4-33 0,-1-4-16 16,-2 6-71-16,1-4-57 0,-2 3-35 16,1-3-72-16,2 3-126 0,-4-3-127 15,1 3-454-15,2-3 52 0,-2 1 76 0,3-3 65 16,-1-2 107-16</inkml:trace>
  <inkml:trace contextRef="#ctx0" brushRef="#br0" timeOffset="-148117.89">24176 4819 806 0,'0'0'356'0,"0"0"-93"0,0 10-12 0,-2-1 84 0,-1 3-7 0,-3 2-16 16,-1 3 3-16,-1 6 18 0,1-1-34 16,-1 3-14-16,-2 7-47 0,1 3-5 0,-1-3-1 15,2-4-40-15,2-4-23 0,2 1-12 16,-1-1-6-16,0 0 7 15,3-5-53-15,0-1-18 0,2-3-28 0,0 0-59 0,0-1-18 0,0-1-7 16,2-5-65-16,-2 2-53 0,2-1-11 16,1 0-76-16,-1-2-141 0,-1-2-205 15,1-2-325-15,3 2 97 0,-2-4 105 0,1 0 69 16,-4-1 60-16</inkml:trace>
  <inkml:trace contextRef="#ctx0" brushRef="#br0" timeOffset="-146950.9">22994 5253 995 0,'0'0'364'0,"8"-4"-52"0,-8 4 3 0,12-4-59 16,-3 4-49-16,1-1-15 0,2 0-38 15,0 0-54-15,-3 1-90 32,1 1-46-32,0 0-174 0,-2 2 36 0,-3 0-21 0,1-1 24 0,-4 4-82 0,-2 0-6 0,0-1 47 0,-2 2 89 15,-1 0 105-15,0 0 28 0,-2-1 23 16,2 0 36-16,-2 1 39 0,0-1 12 0,0 1 8 0,2-2 26 15,-2 1-13-15,2 0 17 0,-1-1 1 16,1 0-16-16,0-2-17 0,1 1 7 16,-1-2-13-16,3 2-20 0,0-4 0 0,0 0-8 15,0 0-38-15,7 7-36 0,-7-7-44 16,7 0-71-16,-7 0-44 0,12-4-25 16,-4 1-21-16,-1 0-51 0,1 1-6 0,-1-3 27 0,0 2-65 15,-1-2 103-15,0-1 26 0,1 1 114 16,-4-2-2-16,2 1 57 0,2 0-4 15,-6-1 70-15,4 0 41 0,0 2-13 0,-2 1 21 0,1 0-11 16,-3 0 46-16,4 3-15 0,-2-1 3 16,-3 2 12-16,7 0 6 0,-7 0-18 15,11 6-19 1,-5 1 1-16,-2 1-6 0,1 4 3 16,2 0-35-16,-2 4-21 0,1 1-34 0,-4 1-7 0,1 1-64 0,-2 5-139 0,-9-2-209 0,7 5-440 15,-2-1 135-15,-2-1 59 0,-2 1 46 16</inkml:trace>
  <inkml:trace contextRef="#ctx0" brushRef="#br0" timeOffset="-146734.95">22925 5938 1366 0,'0'0'359'0,"15"-11"7"16,-7 9-54-16,1-1-28 0,2-1-28 0,2 0-33 16,0 2-62-16,2-3-30 0,-1 3-60 15,-4-1-71-15,0 2-120 0,0 0-164 0,-2 0-118 16,-3-2-366-16,0 3 105 0,-5 0 28 0,0 0 41 16</inkml:trace>
  <inkml:trace contextRef="#ctx0" brushRef="#br0" timeOffset="-146591.95">22927 5985 803 0,'0'0'315'0,"0"0"-59"0,0 0-10 0,0 0-31 16,16 2-33-16,-16-2-39 0,12-3-38 0,-6 1-80 16,1 2-101-16,-7 0-170 0,13 0-438 15,-4 0 116-15,-3-1 36 0</inkml:trace>
  <inkml:trace contextRef="#ctx0" brushRef="#br0" timeOffset="-146207.22">23137 5770 936 0,'6'0'405'0,"-6"0"-26"0,18 4-34 0,-11-2-25 15,1 1-15-15,0 1-24 0,2 2 6 0,-2 1-23 16,2 3 66-16,-5-1 0 0,3 2-46 16,-3-2-48-16,-2 3-14 0,-3 2-99 0,-1 0 13 15,-4 4-67-15,1-2-49 0,-2 2-43 16,-4 1-18-16,-1 0-61 0,3-3-52 0,1-2-84 16,0-1-135-16,-3-1-83 0,7-2-453 0,3-3 124 15,0-4 93-15,0 1 83 0,5-3 79 0</inkml:trace>
  <inkml:trace contextRef="#ctx0" brushRef="#br0" timeOffset="-145871.79">23625 5770 1182 0,'-3'7'353'0,"-4"2"-17"0,-1 1 42 0,3 1-45 0,-5 3-33 0,2 2-19 15,0-1-43-15,3 2-23 0,-1 0-18 16,2 2-46-16,1-2-58 16,3-1 12-16,0-3-26 0,3 0 23 0,1-1-43 0,-1 0-3 0,5-5 14 15,0 2-24-15,-1-4-13 0,0-1 49 16,-3-3-13-16,1 3 13 0,3-3-13 0,-4-1 21 16,-4 0 9-16,8-6-14 0,-5 1 2 15,-2 1-8-15,0 0-2 0,-1-1-5 0,-1-2-26 0,-3 0 2 16,4 2 14-16,-2 0-47 0,-4-1-5 15,4 2-15-15,-1 0-48 0,-2-1-68 16,3 3-45-16,-3 1-98 0,5 1-145 16,0 0-551-16,-6-1 169 15,6 1 43-15,0 0 47 0,0 0 87 0,-6 4 46 0</inkml:trace>
  <inkml:trace contextRef="#ctx0" brushRef="#br0" timeOffset="-144698.18">23845 5909 1448 0,'0'4'502'0,"0"0"-39"0,0-1-51 0,2 4-43 0,-2-1-23 0,2-1-37 0,-1 1-48 16,-1 0-5-16,0-1-43 0,3 1-14 15,-3-2 1-15,0 1-21 0,4 1-33 16,-4-2-8-16,1-2 6 0,4 0-21 0,-2 1-65 0,-3-3 4 16,10 1 4-16,-3-2-2 15,-7 1 11-15,15-3-4 0,-7 1-7 0,2 2 31 16,-1-1 69-16,-1 0-21 0,2-1-15 0,-3 1-20 16,4 0 2-16,-6 1-23 0,3 0-3 15,1 0 21-15,-9 0-25 0,15 0-55 16,-7 0 8-16,0 0-12 0,1 0-24 0,-2 0-32 0,3 0-17 15,-3 0-12-15,3 1-38 0,-1-1 30 16,1 1 16-16,2-1-31 0,-2 2 23 0,-1-1-5 16,0-1 15-1,0 0 5-15,-1 1 6 0,-1-1 15 0,3 0 10 0,-3 0-3 0,1 0-4 16,1-1-8-16,0 1 9 0,0-1 7 16,-2-2 14-16,1 2-12 0,1 0-3 0,-2-3 10 15,-3 3 16-15,2-2-16 0,0-1 0 0,-5 2 8 16,2-1 21-16,-3 3-6 0,6-3-2 0,-6 3-18 15,0 0 2-15,0 0 6 0,0 0 25 16,0 0-33-16,-14-3 7 0,14 3 22 0,0 0-27 16,0 0 13-16,-12 5 21 0,8-4-18 15,4-1 2-15,-5 3-5 0,0-2-15 0,5-1 10 16,0 0 23-16,-2 3-25 0,2-3-11 16,0 0 24-16,0 0-6 0,0 0 10 0,0 0-4 15,20-7-14-15,-12 5 14 0,2-4-11 0,2 0 13 16,-3 1-18-16,7-3 25 0,-4 1-17 0,3-3 2 15,1 2-2-15,4-4-13 32,-5 1 5-32,1 3 7 0,-1-1-9 0,-4 4 15 0,-1-2-16 0,1 2 24 0,-5 1-1 0,2 2 21 0,-5 2-10 15,-3 0 20-15,9 2 10 16,-9-2-20-16,1 7-2 0,2-1-3 0,-3-1 2 16,0 1-23-16,0 0-10 0,0 1-7 0,0-1 20 15,0 2-46-15,0 2-49 0,2-2 28 0,-2-2-28 16,2 1-43-16,-2-1 25 0,0-1-22 15,1 1-14-15,1-2 26 0,3-2-2 0,-2 0 9 16,1 2 22-16,-4-4-27 0,9 1 11 0,-9-1 31 16,11-5-16-16,-5 3 5 0,2-2 26 15,0-1 0-15,-3 0-3 16,3-4-2-16,4 2 13 0,-6-4 17 0,6 1 11 0,-4-1-21 16,0 3 11-16,1-1 20 0,-1 2 26 0,0 1-26 15,-4 0 5-15,2 4 13 0,-2-1 23 16,0 1 5-16,-4 2 5 15,0 0-5-15,8 5 8 0,-7-3-16 0,1 2 3 0,-2 2 13 0,0-2 15 16,2 1-23-16,-2 0-31 0,-2 2-10 16,2-2-2-16,0 3-11 0,-2-3-20 0,1 1-13 15,0 0-18-15,-3-1-23 0,1 1-41 0,-1-3-20 16,-2 1-23-16,2 3-24 16,-2-4-55-16,1 0-22 0,0-1-83 0,0 0 27 0,-1 0 29 15,6-2 43-15,-9 0 41 0,9 0 46 16,-8-4 64-16,8 4 72 0,-3-2 10 0,3 2 16 15,0-6 7-15,0 6 46 16,5-8 5 0,1 3 19-16,1 0-6 0,2-1 36 0,1 1 12 0,7-3-17 0,-2 2-5 0,6-2-18 0,5 1-6 15,-3 0 11-15,5-2-10 0,-1 3-39 16,0-2-30-16,1 3-39 0,-3-2-54 0,-4 2-27 16,0 0-83-16,-6 3-71 0,-2 0-39 0,0-1-468 15,-6 2 146-15,1 0 40 16,-2 1 27-16</inkml:trace>
  <inkml:trace contextRef="#ctx0" brushRef="#br0" timeOffset="-144183.36">23140 6562 872 0,'17'-5'336'0,"0"3"-14"0,1-2-43 0,-1 2-51 0,-1-1-31 0,-1 1-38 15,3 1-57-15,-2 0-61 0,-6 1-107 16,0 1-75-16,-2 0-74 0,-3 1 31 15,0 2-438-15,-5-2-29 0,0-2 134 0</inkml:trace>
  <inkml:trace contextRef="#ctx0" brushRef="#br0" timeOffset="-144009.75">23137 6645 757 0,'-10'4'351'0,"2"-2"7"16,4-1 67-16,1 1-46 0,3-2-49 0,-5 2-15 16,5-2-33-16,0 0-1 0,0 0-38 15,10 5 21-15,-3-5-57 0,2 1-33 16,5-2 36-16,0-1-74 0,1 0-18 0,1 1-70 0,4-1-63 15,0-1-59 1,-2-2-123-16,4 2-162 0,-3-3-565 0,-4 5 69 0,-2-3 92 0,1-2 72 16,-2 3 72-16</inkml:trace>
  <inkml:trace contextRef="#ctx0" brushRef="#br0" timeOffset="-143753.66">23365 6400 1272 0,'3'7'476'0,"5"3"-39"0,0 0-42 0,2 3-101 15,2 5-15-15,-1-1-26 0,-1 2-30 16,3 0-5-16,-5 1-44 0,1 0-18 0,-2 2-15 16,-3-5-49-16,1 2-8 0,-6 0-17 0,-3 0-52 15,2-1-20-15,-3 3-26 0,-3-1-30 0,-2 1-36 16,2-1-1-16,-3-1-104 15,1-5-92-15,1-4-65 0,-2 3-449 0,1-3 42 16,-1 1 106-16,2-4 84 0,-2-1 26 0</inkml:trace>
  <inkml:trace contextRef="#ctx0" brushRef="#br0" timeOffset="-137581.02">25117 4775 721 0,'14'-6'223'0,"-4"2"0"0,-1 1-16 15,1-1-33-15,-2 3-2 0,0-2-16 16,0 1-15-16,-1 2-8 0,0 0 7 0,-7 0-6 16,11 5 34-16,-6 1-1 0,0 6-19 0,1 2 14 15,1 10-19-15,-2 1-18 0,5 15-12 16,0 7-6-16,-1 11-2 0,1 5-20 0,-2-1 4 16,-4 0-7-16,-1-11-2 0,-3 3-39 0,0-2 10 15,-3-1 0 1,-1-2 3-16,4 1-16 0,-6-2 8 0,1-4-5 0,0-1-25 0,-3-3 9 15,1-3-17-15,-3-2 28 0,0-4 30 16,1-6-58-16,-1-5 2 0,-2 1 8 16,0-2 10-16,-2-1 0 0,-2-1-17 0,1-4 14 0,1 0-9 15,-1-1-14-15,1-5 14 16,-4 3-34-16,5-3-23 0,-3 0-34 16,2-2-65-16,0-2-114 0,-1 2-73 0,2-1-526 0,-2-2 121 15,2-1 41-15,0 0 66 0,0-1 85 16</inkml:trace>
  <inkml:trace contextRef="#ctx0" brushRef="#br0" timeOffset="-136772.72">23637 4575 1023 0,'-18'-11'302'0,"-2"4"-7"0,-1 0-124 16,1 3-9-16,-3 2-4 0,-5-2-20 0,-3 4 1 15,-2 3 7-15,-11-1-26 0,-2 3-2 16,2 7-19 0,0-2 4-16,2 3 2 0,-3 4-8 0,-1 6-15 0,0 4-23 0,3 2 20 15,-1 3 93-15,6 4-37 0,2 3-35 16,5 0 18-16,1 3-23 0,1 2 2 0,1 5-2 0,2 1-29 16,0 0 6-16,3 4-24 0,0-1-4 15,3 2-11-15,3-3-10 0,-2 0 8 16,1 1-8-16,2-1 0 0,3-2 21 0,3-7-11 15,0 0-23-15,2-3 16 0,1 1 2 0,1-2-18 16,2-1 18-16,1-3-12 0,3-8 17 16,3 1-36-1,1 0 14-15,-1-2-19 0,7 8 26 0,-2-8 7 0,-2-2-25 0,4-1 13 0,-3-1 3 16,1-2-42-16,0 0 3 0,2-1-10 16,0-3-13-16,-2 0-11 0,2-1-4 15,-2-2-49-15,2-1-5 0,-2-3-49 0,2 2-59 16,4 1 11-16,-4-4-34 0,4 3-25 15,-3-9-106-15,2 7-393 16,2-1 120-16,1-3 20 0,-2 2 108 0</inkml:trace>
  <inkml:trace contextRef="#ctx0" brushRef="#br0" timeOffset="-135007.22">23816 6542 993 0,'-7'-3'363'0,"7"3"-25"0,0 0 66 15,-11 10-66-15,5-3-13 0,0 1-20 16,-2 4-34-16,1 0-4 0,-1 0-29 0,2 1-44 15,-1-1 11-15,0 1-41 0,4 0-18 16,-2-1-6-16,3 0-17 0,1-1 10 0,-1-2-28 16,3 1-18-16,0-3-5 0,0 0-10 0,5-2 18 15,-2-3-19-15,3 2-32 16,1-3 17-16,0-2-10 0,2-2 21 0,-2 1-19 0,2-4-20 16,2 0 24-16,-2 0-37 0,-3-3 21 15,0-1-13-15,-2-1 2 0,0 1 9 0,-2-1-37 16,-1 0 26-16,2 2 5 0,-3 0-12 0,-1 1 7 15,-1 2 18-15,-1 1-39 0,0-2 34 16,-3 6-13-16,2-1-31 0,-1-1-2 0,4 3 15 16,-10 0 3-16,4 0-31 0,6 0 38 15,-10 3-5-15,10-3-27 0,-5 2 17 16,5-2-3-16,-3 4-2 0,3-4 18 0,0 0-3 16,0 0-25-16,0 0 2 0,17-2 15 15,-10 0-27-15,3-3 30 0,0 0 3 0,4 2 35 16,-3-4-46-16,3 2-9 0,-2-2 14 0,0 1-12 15,-1 1 7-15,2 1-7 0,-3 1 8 0,0 2 4 16,-2 1-4-16,0 2 22 0,-1 3 16 16,1 1-36-16,-3 3 38 0,1 2-4 15,-2 7-14-15,-2 1 21 0,-1 0-13 0,-1 2-33 0,0 6 26 16,-1-1-4-16,-3 1 7 16,1 1-9-16,-2-2 18 0,0-1-25 0,-2 1 7 15,1-3-10-15,-1-2 6 0,1-3-22 0,-2-3 9 16,1 2 2-16,0-4-21 15,-1-1-4-15,2-1-37 0,3-5-15 0,-1 1-4 0,-1-5-12 16,4-2-14-16,1 0 10 0,0 0-24 16,0 0-2-16,3-15-12 0,2 4-16 0,3-6 28 15,1-4-18-15,0-3 5 0,4-6 24 0,0-2 20 16,2-2 40-16,0 2-9 0,-2-2 48 0,0 2 0 16,-3 6 1-16,-2 4 12 0,2 0 25 15,-2 4 19-15,0 1 12 0,0 4 11 0,-4 1-11 16,2 3-10-16,1-1 10 15,-4 3 1-15,1 2 4 0,0 3 21 0,0 2 26 16,-4 0-34-16,8 6-21 0,-5 1 37 0,-3 1-3 31,0 3-5-31,2 2-3 0,-4 2 3 0,1 0-5 0,-3 5-23 0,-1 4 0 0,0-1-1 16,-1-2-22-16,1 2-16 16,-2-3 6-16,-1-1 4 0,5-2 6 0,-4-2-26 0,4-2 11 0,-2-2-11 15,0 0 8-15,2-3-26 16,3-1 0-16,-3-1 0 0,3-5 11 15,0-1 25-15,0 0-39 0,0 0-7 0,0 0-7 0,18-10 1 0,-10 1-24 16,3 0 17-16,-1-4 15 0,1 2-15 16,0 1-25-16,-2 1 38 0,1 2-8 15,-2-2 31-15,-1 2-38 0,0 2-13 0,-3 2 56 16,1 2-5-16,0-2-23 16,-5 3 41-16,0 0-21 0,10 4-10 0,-10-4 21 0,3 7-23 15,-3-1 15-15,0-2 18 0,0 1-21 16,0 0-5-16,0 0-25 0,0 1 7 0,2-1-2 15,-2-2-33-15,0-3-16 0,0 7-30 16,0-2-57-16,0-5-92 16,4 6-136-16,-3-6-542 0,-1 0 122 0,5 4 62 0,-5-4 103 15,0 0 38-15,0 0 40 0</inkml:trace>
  <inkml:trace contextRef="#ctx0" brushRef="#br0" timeOffset="-134847.89">24407 6740 903 0,'2'5'325'16,"-2"-5"-2"-16,0 0-67 0,0 0-23 15,0 0-57-15,10-2-96 0,-10 2-127 16,6-4-142-16,-2 3-507 0,2 0 94 0,-1-2 60 0</inkml:trace>
  <inkml:trace contextRef="#ctx0" brushRef="#br0" timeOffset="-133857.62">24645 6552 1023 0,'0'0'366'0,"0"0"-35"0,0 0 76 0,0 0-39 0,0 0-15 0,-5 12 3 16,0-5-15-16,2 3-42 16,-2 1 19-16,1-1-45 0,-2 5-40 0,1 0-30 0,-1 2 1 15,-1-2-24-15,2 4-19 0,-1 3 13 0,2-3-15 16,-2 2-16-16,2-3-23 0,1 1-10 16,-2-1-38-16,-1-1-34 0,4-3 8 0,-1 0-40 15,-2-2-6-15,4 0-8 0,-3-4-20 0,2 2 28 16,-1-2-28-16,2-3-19 15,-1 0-1-15,0-1 7 0,0 0 5 0,2-4-20 16,0 4-3-16,0-4 28 0,0 0-30 0,0 0-8 16,0 0-29-16,0 0 9 0,0 0 12 0,0 0-33 15,0 0 18-15,0 0-8 0,6-16-33 16,-5 15 36-16,2-4-21 0,3 3 33 0,-2-3 16 16,0 1-26-16,2 0 29 0,-1-2 17 15,2 1-17-15,0-2 2 16,-1 2 25-16,0-1 24 0,2 0 2 0,-1 0 31 0,1 0-28 0,0-1 48 15,0 1-20-15,0 0 18 0,-2 1 31 16,0 0-19-16,-2 2 1 0,2-3 15 0,-3 4-8 16,-1-1 44-1,3 1-3-15,-5 2-7 0,0 0 30 0,0 0-46 0,0 0-20 16,10 5 5-16,-10-5-8 0,0 0 11 0,1 6-9 16,1-4 11-16,-2-2 13 0,4 3-41 0,-4-3-16 15,1 3 27-15,-1-3-19 0,5 2-8 0,-5-2 8 16,0 0 8-16,12-2 13 0,-8 1-6 0,1-3-48 15,2 2 8-15,0-4-1 0,-1-1 14 16,4 2-11-16,0-4 13 0,-2-1 12 16,2-2-22-16,1-1-33 0,2-4 27 0,7-6 21 15,-4 1-23-15,2-2-5 0,0 5-5 16,-3 0 2-16,1 5-7 0,-6 2 17 0,3 0-15 16,-5 3 21-16,1-1-21 0,-1 3 18 0,-3 1 21 15,-2 5 0-15,2-3-16 16,-5 4 18-16,0 0 31 0,0 0-31 0,3 9-28 15,-3-4-8-15,-1 4 11 0,-1-1 20 0,-1 2-26 16,0 0 24-16,-1 1-13 0,0 1-29 0,-2 0 1 16,0 3 4-16,1-1-17 0,-2-1-64 15,1 0-64 1,1-4-14-16,-3 4 1 0,0-1-41 0,1-1-30 0,0-2-24 0,-1-1 28 0,3 0 8 16,0-3 23-16,3-2 8 15,-2 1 23-15,4-2 15 0,0-2-15 0,0 0-21 0,0 0-27 16,0 0-1-16,14-6 3 0,-6 3 74 0,1-1-24 15,2 1 17-15,1 0 94 0,-1-2 5 16,-1 3 49-16,0 1 38 0,-2-4 23 0,3 4 56 16,-4-1 9-16,0 0 19 0,-1 1 21 0,1 1 13 15,0 0-30-15,-3-1 4 16,3 0-7-16,-7 1-11 0,8-3 11 0,-2 2-16 0,-6 1-15 16,10-1-21-16,-6 0 6 0,-4 1-8 15,10 0-21-15,-10 0-4 0,8 0-1 16,-8 0-18-16,9 1 8 0,-9-1 8 0,7 2-20 15,-4 1-1-15,-3-3 28 0,7 2-38 0,-7-2 13 16,3 1-51-16,1 1-21 16,-4-2-23-16,3 2-61 0,-3-2-80 0,0 0-51 15,0 0-76 1,0 0-475-16,8 1 119 0,-8-1 61 0,0 0 59 0,0 0 20 0</inkml:trace>
  <inkml:trace contextRef="#ctx0" brushRef="#br0" timeOffset="-133559.58">25283 6734 1128 0,'0'0'397'15,"0"0"-36"-15,0 0-77 0,0 0-71 0,-7-9-142 16,7 9-168-16,0 0-586 0,0 0 55 0,-3-5 50 15,3 5 112-15</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5:37:12.355"/>
    </inkml:context>
    <inkml:brush xml:id="br0">
      <inkml:brushProperty name="width" value="0.05292" units="cm"/>
      <inkml:brushProperty name="height" value="0.05292" units="cm"/>
      <inkml:brushProperty name="color" value="#FF0000"/>
    </inkml:brush>
  </inkml:definitions>
  <inkml:trace contextRef="#ctx0" brushRef="#br0">25378 1607 537 0,'-28'16'59'15,"-3"3"-80"-15,2-1-35 0,-4 1 46 16,0-2 0-16,0 1-26 0,-1-3 41 0,2 1-18 0,-2-1-20 16,8-3-36-16,3-3 43 0,0-1-40 15,3-1-34-15</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1T16:25:02.035"/>
    </inkml:context>
    <inkml:brush xml:id="br0">
      <inkml:brushProperty name="width" value="0.05292" units="cm"/>
      <inkml:brushProperty name="height" value="0.05292" units="cm"/>
      <inkml:brushProperty name="color" value="#0070C0"/>
    </inkml:brush>
  </inkml:definitions>
  <inkml:trace contextRef="#ctx0" brushRef="#br0">8923 1778 1169 0,'3'-11'484'0,"-1"3"-67"15,1 1 34-15,-2 0-8 0,1 2-31 0,-2 0-85 16,0 5-14-16,0-4-39 0,0 4-39 0,0 0-10 0,0 0-5 16,-18 19-22-16,7-4 1 0,-9 11-30 15,0 4-10-15,-3 2-13 0,-3 0-29 16,0-2-9-16,3 0-1 0,2 0-2 0,-1-4-18 16,9-5-5-16,0-2-15 0,5-2-34 0,1-3 3 15,1 0 0 1,4-3 0-16,0-1 7 0,2-1 1 0,2 0-6 0,3-1 1 0,0-3-1 15,3 1-2 1,4-6 20-16,-1 1-48 0,4-2 17 0,0-3 6 16,4-1-13-16,1 0-15 0,-2 0 12 0,-3-1 5 0,3 0-25 15,-5 3 8-15,0-1-1 0,-3 2 9 0,1 1-1 0,-1 1-5 16,0 3-15-16,-2 3 33 16,-1 1 74-16,1 1-28 0,-2 2 8 0,0 0-13 15,-2 2 0-15,-2 1 0 0,1 0-28 0,-1-1-13 16,1 1-28-16,-3 0-18 0,2 0-57 15,-2-2-40-15,0-1-54 0,2 2-16 16,-2-5-14-16,1 1-45 0,1 0-9 0,1-2-65 0,-1 2-176 16,1-7 13-16,2 1-474 0,-2 1 33 15,-3-3 136-15,12-3 77 0,-4 1 21 0,2-4 78 16</inkml:trace>
  <inkml:trace contextRef="#ctx0" brushRef="#br0" timeOffset="281.2">9259 2079 1208 0,'3'-1'417'0,"-3"1"-36"0,0 0-20 0,0 0 3 16,0 0-116-16,-13 13-10 0,8-7-26 16,-1 4 39-16,-1-1-33 0,2 3 10 0,-3 0-36 15,3 1 0-15,0-4-23 0,2 4-21 0,1-3 11 16,4 0-54-16,-2-1 18 0,3-1-16 16,2 2 3-16,3-1-2 0,-1-3-1 0,1-2-30 15,2 0 7-15,-2 1 9 0,2-5 29 0,1 1 19 16,-3-2-23-16,2-3 69 15,-3 1-49-15,-1-1 23 0,1-3-120 0,-4-1 3 16,-1-1 2-16,1-1-15 0,-6 0 25 0,1-2-2 16,-1 1-19-16,1-2 1 0,-4 2-15 15,-1 0-19-15,2 1-20 0,-3 0-23 0,3 1-43 16,-6 2-47-16,6 2-32 0,-3 0-40 0,-2 3-55 16,3 0-52-16,2 4-138 0,-3 0-140 15,-2 0-411-15,2 2 160 0,0 0 73 0,3-1 44 16,0 1 60-16,0 0 101 0</inkml:trace>
  <inkml:trace contextRef="#ctx0" brushRef="#br0" timeOffset="602.09">9456 2065 1308 0,'6'2'396'0,"1"1"-12"0,1 0-38 0,0 2-29 0,0 1 44 0,-1 1-46 0,1 2-16 0,0-1-9 16,-1 0-32-16,-2 2-20 0,3 0-41 0,0 0 21 15,-3 0-29-15,2-2 3 0,-1 3-10 0,1-5 18 16,-1 1-8-16,-1-1-26 0,0-2 8 16,0 1 62-16,-2 0-75 0,1-3-20 0,2 0 92 15,-1-2-16-15,-5 0-138 0,0 0 29 32,13-3-29-32,-10-1-4 0,1 0 19 0,2-2 11 0,-2-2-18 0,0-1-15 0,0 0-34 15,-1-1 6-15,4-2-44 0,-1 2-39 0,-4-2-27 16,3 2-19-1,1-1-40-15,-1 2-59 0,0 1-31 0,0 1-39 0,0 1-30 0,0 2-41 16,3 1-64-16,-1 1-8 0,-1 2-174 0,1 0-437 16,3 4 115-16,-2-2 66 15,3 1 67-15,1 2 79 0,1-1 74 0</inkml:trace>
  <inkml:trace contextRef="#ctx0" brushRef="#br0" timeOffset="1166.83">10144 2132 1638 0,'5'-2'517'0,"0"0"-67"0,3-1-61 0,2 1-25 0,3 0-19 15,2 1-40-15,1-2-23 0,4 1-42 16,1 0-33-16,2 0-38 0,0-1-48 0,2 1-57 15,-1 0-34-15,-1 1-53 0,-5 1-51 0,-3-1-33 16,1 0-52-16,-4 1-100 16,-2 1-43-16,-2 0 11 0,-3 2-27 0,-2-2-9 15,-3-1-29-15,0 0-74 0,-10 9 100 0,0-4 132 16,-4 0 58-16,1-1 78 0,-2 0 80 0,2 1 51 16,0 0 49-16,-2-1 5 0,2-1 33 15,3 2 10 1,0-3 19-16,2 2 35 0,1-2-33 0,1 0 2 0,-1 0-33 0,2 0 0 0,2 0 3 15,0 1-8-15,3-3 10 0,0 0-7 16,3 6-21-16,-3-6 51 0,5 2-17 0,3 0-6 16,0-1-10-16,2 0-13 0,0 0-41 0,3 0 29 15,2-1-80-15,1 0 0 0,2 0-36 16,-3-2-53-16,1 0-65 16,2 2-63-16,-4-4-103 0,-1 0-143 0,-2 2-533 0,2-1 126 0,-3 1 148 15,-2-1-18-15,-1 0 72 16,1 0 64-16</inkml:trace>
  <inkml:trace contextRef="#ctx0" brushRef="#br0" timeOffset="1421.77">10507 1984 1103 0,'4'-1'417'0,"0"0"-28"0,-4 1 3 15,11 0-19-15,-3 2-7 0,4 2 13 16,-2 3-41-16,8 1-28 0,-2 1-21 15,2 3 90-15,0-1-34 0,2 1-40 0,-2 0-110 0,0 1-32 16,-5-1-6-16,0 0-27 0,-3-1 1 16,-2-1-21-16,0 1-28 0,-4-1-36 15,-4 0-39-15,-2 1-30 0,-3 0-15 0,-3 1-39 16,-7 1-35-16,-3 0-57 0,-3 1-75 16,-2-3-65-16,1 1-147 0,-2-1-529 0,-1-1 96 0,2-1 68 15,-3-4 73-15,7-1 101 0,-3-1 17 16</inkml:trace>
  <inkml:trace contextRef="#ctx0" brushRef="#br0" timeOffset="2997.21">12554 1820 1195 0,'0'-4'504'0,"0"0"-76"0,0 4-24 0,0 0-71 16,0 0-3-16,0 0-20 0,0 0-39 16,0 0-5-16,-6 18-48 31,4-4-36-31,-3 1-72 0,2 3-23 0,-1 0 5 0,1 0-26 0,-3 1 6 0,-1 0-28 0,2 1-42 15,-1-1-15-15,2 0-38 0,-2-2-13 0,-1 1-49 16,2-2-7-16,-1 0-15 0,1-1-57 0,0-3-85 16,2-1-76-16,-1 0-323 0,1-3-71 15,0-1 76-15,1-1 6 0,2-1 107 0</inkml:trace>
  <inkml:trace contextRef="#ctx0" brushRef="#br0" timeOffset="3536.81">12436 1821 1011 0,'0'-6'442'0,"-3"1"-35"0,1 2-51 15,2 3-23-15,0 0-21 0,0 0-20 0,0 0-28 16,0 0-24-16,10 10-20 0,-5-2-33 0,1 1 18 16,4 1-67-16,-3-1-10 0,6 2-18 15,-2 0-15-15,1-1-10 0,-1 3-65 0,4-3-30 16,0-1-39-16,1 0-35 0,1-1 7 0,1-1-54 15,0-1-12-15,1-2-16 16,1-2 6-16,-2-1 9 0,0-2 6 0,0 1 23 0,2-4 38 16,-2 0 8-16,-2 0 77 0,-1 0-3 15,-2-1 59-15,-3-1 25 0,-3 2 29 16,1-1 23-16,-2 0-5 16,-4 2-19-16,1-1 6 0,-1 1-18 0,-2 3-18 0,0 0-2 0,0 0 4 15,0 0 34-15,-20 3-64 0,9 2 5 16,1 0-10-16,0 2-1 0,-1 0 19 0,-3 1-10 15,3 2 22-15,-2-1-56 0,3-2 13 0,2 1 8 16,1-1-47-16,1-1-22 0,2-1 38 16,3 0-13-1,-1-2-5-15,2-3 10 0,5 6-18 0,0-5 29 0,-5-1-36 0,17-1 4 16,-8-3 34 0,3 0-28-16,1-2 26 0,2-1-3 0,-2-2 28 0,1-1-13 0,0-1 16 15,-3-2 17-15,2 2-22 0,-3 0-65 0,1 2 24 16,-4 1-21-16,0 3 20 0,-1 0-12 15,-1 0 3-15,0 5 17 0,-5 0 36 0,10 2-31 16,-5 2 11-16,-2 2-3 0,-3 2-5 16,3 1-8-16,-3 3 16 0,-3 3 2 15,0 2-38-15,1 0-31 0,-1-2-21 0,-2 3-4 0,0 0-37 16,5-3-25-16,-3-2-15 0,3 0-62 16,0 0-36-16,3-1 9 0,-1-1-101 15,1-1-69-15,2-3-417 0,3 0 46 0,0-2 48 0,1-3 85 16,0 0 52-16</inkml:trace>
  <inkml:trace contextRef="#ctx0" brushRef="#br0" timeOffset="3841.36">13190 1990 1192 0,'-5'-2'392'0,"-1"0"-11"16,-1 1-38-16,-3 1-7 0,-6 2-19 0,3 1-94 15,-2 1-24-15,2 0 6 0,-2 1-64 0,-1 1-8 16,1 1-15-16,2-1-6 0,3 0 1 15,0-1-8-15,1 2-26 0,-1-1 1 0,6-1-27 16,-2-1 22-16,4 1 19 0,0-2-35 16,2 1 3-16,0-4-34 0,4 5-10 0,-4-5 13 0,8 0-6 15,0 0 8-15,-8 0 1 16,15-1-9-16,-7-1 14 0,0 0-19 0,0 0-12 16,-1 1 12-16,0-1-7 0,1 2-5 0,-8 0 12 15,10 1 16-15,-4 1-15 0,-1 2-21 16,0-2 12-1,0 1 4-15,0 2-32 0,0 0-9 0,-2 2-16 0,2-1-54 0,-2 0-30 16,-1 1-42-16,1-2-14 0,0 1-152 0,1-1-64 16,2 1-425-16,-2-2 11 0,2 0 87 0,-1 0 61 15,3-3 61-15</inkml:trace>
  <inkml:trace contextRef="#ctx0" brushRef="#br0" timeOffset="4308.1">13362 1931 870 0,'4'-19'445'15,"2"7"-12"-15,-3 0-3 0,-1 3-28 0,0 2-49 16,1 4-25-16,-3 1-19 0,0 2-27 0,0 0-24 16,0 0-14-16,0 14-24 0,-5-4-92 15,3 3-31-15,-4 3 0 0,1 0-5 16,0 0-5-16,-6 2-30 0,1 2-78 0,3-2-27 0,-3 1-9 16,2-4-45-16,2 1-26 0,2-4-18 15,1 0-59-15,0-2 16 0,3-1-1 16,0 0-25-16,3-3 8 0,2-2-36 0,3-2-31 15,2-1 26-15,0-2 68 0,1 0-24 16,4-1 68-16,3-3-7 0,0-2 2 0,5-3 56 16,-3 0 37-16,8-8 58 0,-1-1 51 0,-2 0 55 15,-5 2-4-15,-4 2 32 16,-1 1 9-16,-2 4 34 0,-5 1-21 0,-1 1 3 0,-1 3 18 16,-4 2-25-16,0 0-19 0,-2 3 13 0,0 0-23 15,0 0-15-15,-23 13 23 0,8-4-6 16,-2 0 1-16,-1 3-5 15,-1-1-11-15,1 2 15 0,3-5-9 0,2 3-8 0,0-2 15 16,1 2-10-16,2-3 5 0,2 0 0 0,3 1 64 16,-1-3 0-16,4 2-95 15,-1-3-8-15,1 2-22 0,2-1 20 0,2-2-20 0,1 1-27 16,2-4-9-16,0 4-15 0,3-4-24 16,2 0-31-16,-3 1-48 0,4-3-35 0,-1 0-37 15,3-1-59-15,-2 0-22 0,3-1-75 0,0 2-110 16,-2-4-33-16,1 3-456 0,0 0 90 15,-3 2 69-15,6-2 66 0,-6 1 82 0</inkml:trace>
  <inkml:trace contextRef="#ctx0" brushRef="#br0" timeOffset="4617.6">13800 2175 1110 0,'7'-9'402'0,"-4"7"-38"16,-3 2 9-16,0-8-30 0,0 3-20 0,0 0 58 15,0-1-22-15,0 1 2 0,0 0-47 16,0 1-6-16,-3-1-34 0,3 1-18 0,-2 1-13 16,0 0-23-16,2 3-49 0,0 0-2 15,-8-1-5-15,8 1-13 0,-10 4-36 0,4-1 11 16,1 2-113-16,-2 1 17 0,2-1-7 0,-1-1-7 16,4 3-14-16,-1-2 8 0,-2 2-2 0,5-2 7 15,0 0-15-15,0 0-2 0,2 0-24 16,2-2 3-16,0 3-43 0,2-3-52 15,1 0-51-15,1 0-36 0,2-2-20 0,0 0-54 16,6 1-125-16,-6 0-83 0,3-2-465 0,-1 0 125 16,-1 0 62-16,2 0 20 15,-3-2 105-15,1 2 51 0</inkml:trace>
  <inkml:trace contextRef="#ctx0" brushRef="#br0" timeOffset="5088.3">14605 1781 1054 0,'0'0'438'16,"-10"13"-44"-16,7-3-13 0,-4 2-38 0,1 5-7 15,1-1-60-15,-3 5-15 0,0 0-10 16,1 2-46-16,-3 0-18 0,4-2-34 15,-4 1-7-15,3 1-23 0,-1-6 61 0,3-2-17 16,0 0 7-16,0-3-39 0,2-1-1 0,-2 0 22 16,3-4 15-16,1-1 8 0,-1 0-84 0,2-3-3 15,-3-1-12-15,3-2 4 0,0 0 3 16,0 0-23-16,10-8-10 0,-4 2-6 0,2-1 19 16,-1-1-18-16,6-1-1 0,0 0-20 15,2 2 3-15,-2 1-23 0,0 3 7 0,2-1-2 16,0 3-16-16,-2 2 16 0,3-1-5 15,-1 4 33-15,-2-2-5 16,-1 2 12-16,-1 0-22 0,-1 2 5 0,-2-2 43 0,-3 2-5 0,0-1-20 16,-3 1 12-16,-4 1-12 0,-3 1 10 15,0 1 2-15,-8 0 16 0,-2 1-54 16,-4-2 23-16,-1 1 5 0,-3 0-41 0,0-2-15 0,0-1-20 16,0 0-16-16,3-1-39 0,1-1-27 15,4 0-47-15,-1-2-38 0,2 1-38 0,3-2-52 16,1 0-33-16,2 0-71 0,1-2-105 15,7 1-19-15,-6-3-450 0,6 1 90 0,0 2 94 16,11-7 67-16,-4 4 118 0,6-3 10 16</inkml:trace>
  <inkml:trace contextRef="#ctx0" brushRef="#br0" timeOffset="5393.81">14879 1989 913 0,'0'0'374'15,"0"0"-28"-15,0 0-24 0,0 0-30 0,0 0-31 16,0 0-5-16,-7 14-36 0,4-8-7 0,-4-1-32 16,1 1-27-16,1 1 10 0,0 1-13 15,-3-2-34-15,3 3-12 0,-3 0-43 0,3-3-1 16,2 1-35-16,-1 0-3 0,1 0 0 0,3-2 15 16,0-1-12-16,0 0-3 0,0 0-8 15,0-4 13-15,8 3-10 0,-6-2 8 0,-2-1 5 16,13-1 12-16,-13 1-17 0,11 0-3 0,-4-2 43 15,-2 2-2-15,-5 0 3 0,13 2-29 16,-13-2 3-16,8 0-20 0,-3 0 4 0,0 1 68 16,0 2-12-16,-5-3-11 0,8 2-50 15,-5-1-38-15,-3-1-36 0,7 3-69 16,-4 0-63-16,1-2-106 0,-4-1-92 0,8 1-509 16,0-1 94-16,2-1 49 0,1-2 95 15,1 2 53-15</inkml:trace>
  <inkml:trace contextRef="#ctx0" brushRef="#br0" timeOffset="6697.59">15282 1849 1087 0,'7'-10'453'0,"-1"1"-12"0,-1 4-45 0,0 0-42 15,-5 2-37-15,0 3 3 0,0 0-36 16,0 0 11-16,-2 17-42 16,-1-6-33-16,-2 2-25 0,-3 1 4 0,3 4-119 0,-3-1-6 15,0 2-15-15,0 0 30 0,1-2-27 0,2-1-44 16,0 0 20-16,0-4-30 0,4 0 10 15,-3 1-8-15,1-3-2 0,0-1 7 0,1-2-13 16,-1 0-14-16,1 0 19 0,1-2-9 0,-3-1 9 16,-2 0 17-16,1-1-4 0,-4-1 11 15,1 0-3-15,-1-1-23 0,-1 0 13 16,0 1-3-16,0 0 72 0,0-2-10 0,-1 3-5 0,1 0 25 16,-2 1-7-1,1-1-19-15,1 2 1 16,2-3-5-16,0 3-88 0,0 0 3 0,4-2 0 0,-2 1-7 0,4-1 4 0,0 0-7 0,2-3-8 15,4 7-12-15,2-6-27 0,2 2-17 16,2-5-18-16,2 4-18 16,4-4 3-16,4 0-34 0,4 1-15 0,-2-1-3 0,5-3 26 0,0 1 3 15,1-1 7-15,-2 0 3 16,0-1 17 0,-8 0 9-16,0-1 25 0,-3 0 23 0,0-1 20 0,-5 1 29 0,-1 1 38 0,-5 0 18 15,2-1 5-15,-1 2-5 0,-3 0 26 16,-1 2 17-16,-1 3 6 0,-1-6-19 0,1 6 19 15,-5-2-11-15,5 2 3 0,0 0-18 0,0 0 38 16,-12 6-25-16,9-2 21 0,-2 1-1 16,2 1 18-16,-2 1 16 0,2 3-32 15,3-1 19-15,-2 1-8 0,0 0 13 0,2 2-36 0,-1 0 15 16,-2 1-12-16,-1 1 5 0,1-1-6 16,-2-2-14-16,-3 3-4 0,1-2-4 15,-6-2 15 1,2 2-44-16,-1-3 31 0,2-1-28 0,-1-2-5 0,1 1 0 0,-3-2-52 0,6-2-35 15,-1 0-20-15,0-2-45 0,0-1-17 16,8 0-36-16,-10-1-33 0,10 1-21 0,-3-5-38 16,3 5-7-16,0 0-1 0,8-7-51 0,-3 4-5 15,1-1 89-15,3 1 34 0,0 1 33 0,1-2 8 16,2 0 7-16,-1 0 49 16,4 1 31-16,-2-2 49 0,0 2 37 0,4-3 42 15,-1-1-5-15,-3 2 25 0,2-2 23 0,3 1 8 16,-2-1 16-16,-1-1 45 0,1 1-20 0,-4-2-13 15,4 2 33-15,-3-1-25 0,-1 1 0 16,1 0 23-16,-8 3 7 0,3-1-28 0,0 0 11 16,-3 2 10-16,0-1-51 0,-2 3 40 15,-3 1-43-15,7-1 5 0,-7 1-10 0,0 0-38 16,0 0 2 0,0 7-15-16,0-7 17 0,0 7-9 0,0-3-14 0,0-4-22 0,0 5 23 15,3-2-16-15,-1 1 8 0,4-2 2 0,-2-1-30 16,2 0 0-16,1 0-26 0,3-2 0 31,6 0-2-31,-3-2 0 16,2-1 7-16,3-2 11 0,0 0 32 0,-2-2-22 0,4-2 15 0,-2-4 16 0,0-1-16 0,-3-2 3 0,6-7 20 15,-3-4 8-15,0 1-11 0,-6 4 22 0,-1 2-4 16,-3 2 13-16,2 4 21 0,-3-1-25 16,-4 6-17-16,2-1-4 0,-5 5 0 0,3 1-28 15,-3 3 14-15,0 2 7 0,0 0-27 16,0 0-2-16,-18 15-23 0,10-5 23 0,-2 3-8 15,-3 3-33-15,0 2-28 0,-2 0-29 16,-3 6-65-16,3-1-68 0,4-6-33 0,-2 0 19 0,3-1-35 16,-3-1-29-16,3-2-19 0,2-1-56 15,3-1-31-15,-2-2 72 0,-1 0 0 16,5-2 8-16,-2-2 25 0,2-1-15 0,-1-1 63 0,0-1-1 16,4-2 17-16,0 0 44 0,0 0-31 15,0 0 38-15,0 0 21 0,0 0 28 16,0 0 13-16,0 0 79 0,8-12 5 0,-5 10 46 15,2-1 34-15,0 0 20 0,3 0 5 0,0-1 29 16,0 0 20-16,4-2 0 16,0 2 17-16,-1-2-9 0,7-1 2 0,-2-1 0 0,1 1 10 15,4-3 11-15,-3 0-8 0,2-3-8 16,-2 0 26-16,-2 0-16 0,2-1 29 16,-5 1-13-16,-1 1-5 0,-1 1 12 0,-1 2-20 0,-2 1 8 15,-1 0-1-15,-2 3-27 0,-2-1-18 16,2 1-14-16,-2 4-12 0,-3 1 13 0,2-2-18 15,-2 2-13-15,0 0-2 0,5 8 48 16,-4-4-30-16,3 3 14 0,-1 1 40 0,0 2-17 16,2 1-11-16,0-1 6 0,0 0 19 0,2 4-8 15,-4-5 13-15,4 2-36 0,-3 0 10 16,0-1 0-16,-3-1-28 0,1-1-23 0,-4-1 41 16,1 3-15-16,-6-3 7 0,2 1-38 0,-8 2-44 15,0-1-69-15,-2-1-38 31,-1 0-95-31,-4-1-107 0,2-3-221 0,-5 5-626 0,2-4 143 0,1 2 125 16,0-2 56-16,-1-3 72 0,3-1 75 0,0-1 55 0</inkml:trace>
  <inkml:trace contextRef="#ctx0" brushRef="#br0" timeOffset="8734.1">13051 2632 1123 0,'-7'0'417'0,"-4"1"-48"16,-1 1-23-16,-2 1-24 0,-1 0-38 0,-5 1-20 15,4 3-39-15,-4 0-33 0,5 1 21 16,-1 0-37-16,1 0-20 0,4-2 23 0,1 2-61 16,3-2-13-16,-1 1 0 0,6 2-18 0,-2-2-5 15,7 1 13-15,-2 2-21 0,3-1-18 16,4 1 3-16,-3-1-18 0,5 0 5 15,1 1 0-15,-4 0 16 0,3-2 2 0,-2 2-28 16,0-3 30-16,-3 0 3 0,0-1-5 0,0-1 10 16,-2 2 39-16,0-2 13 0,-3 1-11 15,0-2 10-15,-3 1-28 0,-2-1 8 16,-3 0-28-16,-2 0 5 0,-1 0-26 0,-3-1-20 0,-2-1 13 16,1 0-24-16,-1-1-9 15,1 0-44-15,2 0-26 0,0-1-28 0,3 3-54 0,-1-3-25 16,1 0-57-16,2 3-55 0,1-3-93 0,4 3-77 15,1-2-474-15,2-1 21 16,0 0 113-16,0 0 107 0,10 6 29 0,-5-5 76 16</inkml:trace>
  <inkml:trace contextRef="#ctx0" brushRef="#br0" timeOffset="9164.4">13103 2866 1325 0,'15'-8'392'0,"-2"3"-26"0,-3-3-10 0,1 4-52 0,-4-3-7 0,0 4-89 0,1-3-6 16,0 0-8-16,-3-1-7 0,0 2-7 0,-2-2-9 0,2 2-43 0,-2-1-3 15,-3 0-25-15,2 1-2 0,-2 3-17 16,0 2 1 0,-2-5-18-16,2 5-10 0,0 0-16 0,-13 4 11 0,7-1 2 0,-1 0 3 15,2 2-23-15,-3 3 2 0,0-1-25 16,0 1 22-16,1 2 9 0,4-4-39 0,-2 1 18 15,3 0 2-15,-1 0 1 0,1-1 2 0,2-2-5 16,5 2 5-16,0-3-13 0,5-2 23 16,3 2-25-16,0-3-6 0,2-4 1 0,3 2 35 15,3-4-27-15,-1 0-1 0,3-1-15 0,-2-3 20 16,-3-2-5-16,2 2-15 0,-2-5 33 16,-2 0-28-16,-3-3 3 0,2 1 20 0,-5 0-5 15,3 0 13-15,-5 0 28 16,-3 3-42-16,2 2 32 0,-2 1-13 0,-2 0 30 15,2 4 4-15,-3 1-17 0,2 0-22 0,-4 5-8 16,0 1-2-16,0 0 30 0,0 0-33 0,-6 13 2 16,1-2 83-16,2 2-11 0,-2 4-23 15,3 1 5-15,-3 1-23 16,4-1-2-16,-1-1-49 0,2-1-67 16,0-1 6-16,3 0-52 0,-1-1-30 0,3 0-57 0,0-1-56 0,1-1-94 15,-2-1-63-15,2-3-413 0,-1-1-24 16,-2-2 28-16,1-1 62 0,-1-2 135 0,2 0 50 15</inkml:trace>
  <inkml:trace contextRef="#ctx0" brushRef="#br0" timeOffset="9380.27">13362 2771 1205 0,'-3'-4'366'0,"-2"1"-20"16,5 0-11-16,-2 0-30 0,2 3-14 0,-1-4-53 15,1 4 11-15,0 0-1 0,5-6-41 16,1 5-33-16,1-2-17 0,3 1-1 0,4 0-13 15,1 0-17-15,5-2-9 0,3 0 45 0,-2 0-29 16,2 1-69-16,5 0-26 0,-3 2-33 16,4-2-43-16,1 0-67 0,-3 3-82 0,5-2-141 15,-1 2-61-15,-5 0-517 16,2 2 130-16,-3-2 47 0,-1 1 66 0,-1 0 87 16</inkml:trace>
  <inkml:trace contextRef="#ctx0" brushRef="#br0" timeOffset="10148.92">14069 2728 1046 0,'-2'5'341'0,"1"-1"-21"0,-1 3-21 0,0-4-22 0,-1 6-42 0,2-2-22 16,-1-1-19-16,0 1-30 0,0 0-5 0,2 1-6 16,-4-2-14-16,4 1-24 0,-2-1-26 0,2-1 1 15,0 1-3-15,-2-2-10 0,2 0 12 16,0 0-2-16,0-4 41 0,-1 6-7 0,1-6-16 16,0 0-6-16,0 0-4 0,0 0 13 0,0 0-9 15,0 0-24 1,0 0 9-16,9-13-17 0,-7 9-21 0,2-3 2 0,0 1-9 0,0 1-3 15,2 1-1-15,-2-1 1 16,2-1-18-16,-1 2-2 0,1 0-4 0,1 2 22 0,-4 1-39 16,4 0 30-16,-7 1 14 0,11 0-52 0,-11 0 28 15,10 2-2-15,-7 0-21 0,4 2-5 16,-4-1 19-16,1-1-4 0,0 2-2 16,-2 0 10-16,0 0 21 0,0 1-3 0,-1-2-18 15,2 2 11-15,-3-1 15 0,2-1-3 0,-2 1 5 16,0 1 34-16,0-5-8 0,2 7 15 15,-2-7 90-15,0 3 3 0,0-3 10 16,0 4-11-16,0-4-17 0,0 0-103 0,0 0-13 0,0 0 34 16,3 2-26-16,-3-2 0 0,0 0 5 15,0 0-25-15,0 0 15 0,8-8-8 0,-6 5-15 16,4-1 8-16,-4 0-6 0,4 1 1 16,1-1-11-16,-2 0 10 0,0 1-12 0,2-1 2 15,-1 3-25 1,-1-1 10-16,3 2 0 0,0 0-3 0,0 0 23 0,-2 0-27 0,3 2 14 15,1 1-2-15,-2 0-8 0,-1 1 11 0,1-1-24 16,-3 1 14-16,0 1-26 0,3-2-29 16,-3 2-51-16,0 0-7 0,0 1-39 15,-2-3-22-15,2 2-34 0,-2 0-18 0,1-2-28 0,2 0-41 16,-4-1-39-16,4-1-76 0,-1 0 15 16,2 1 5-16,-7-2-53 15,11-2 58-15,-4 0 72 0,1 1 28 0,-3-3 108 0,0 1 59 16,2 0 58-16,-1-1 52 0,-1 0 66 15,0 2 31-15,0-2-8 0,-2 2 13 0,0 0 10 16,1 1-12-16,-4 1 15 0,6-2 28 0,-6 2-18 16,0 0-13-16,0 0 0 0,10 5-22 0,-10-2-4 15,2 0 34-15,1 0-38 0,-3 2-6 16,0 0-22 0,3-2-52-16,-3 2-100 0,2 0-135 0,-4 1-72 0,2-4-458 0,2 2 61 0,-2 0 57 15,0-4 71-15</inkml:trace>
  <inkml:trace contextRef="#ctx0" brushRef="#br0" timeOffset="10286.04">14520 2664 570 0,'-5'-2'59'0,"5"2"-589"16</inkml:trace>
  <inkml:trace contextRef="#ctx0" brushRef="#br0" timeOffset="10630.06">14610 2734 1069 0,'3'10'430'16,"-1"-4"11"-16,1 1-45 0,-1 0-27 0,1 0-3 0,0 0-36 0,2 3-51 15,-1-3-28-15,-1 0 10 0,2 1-30 0,-2-1-4 16,2 1-40-16,0-2-5 0,-3 1-21 0,2-3 24 16,0 1-29-16,2-2 92 0,-4 0-20 15,3-2-13-15,1-1-13 0,-6 0-2 0,17-2-118 16,-6 0 10-16,-1-1 18 0,0 0 0 16,1 0-13-16,1 1-7 0,-2 1 56 0,1 1-11 15,1 0 4-15,-1 0-19 0,2 0-38 0,-3 0 12 16,0 1-14-1,1 1 7-15,-1-1-18 0,0 2-28 0,-2-1-38 0,-1 1-3 0,1-1 0 16,0 0-41-16,-1 0-82 0,-4 2-33 16,2-1-57-16,-2-1-56 0,-1 2-69 0,0-1-153 15,-4 1-646 1,2 0 85-16,0-4 154 0,-2 7 64 16,-1-4 66-16,3 1 115 0,0-4 16 0,-5 3 102 0</inkml:trace>
  <inkml:trace contextRef="#ctx0" brushRef="#br0" timeOffset="11331.76">15269 2750 867 0,'0'0'356'16,"0"0"-13"-16,0 0-41 0,0 0-15 0,0 0-39 0,0 14-2 15,0-9-34-15,3-2-25 0,-3 3-23 16,2 1 5-1,-2-2-44-15,0 0 11 0,2 1-34 0,-1 0-15 0,-1-1 3 0,2-2-13 16,-2 4 0-16,3-4-6 0,-1 3 16 16,-1-4-5-16,1 1-3 0,0 0-9 0,-2-3-35 15,8 2 17-15,-3-2 22 0,0 1-43 0,-5-1-8 16,10 2 20-16,-7-1-28 0,-3-1 29 16,11 2-16-16,-7 1-23 0,2-1 0 15,-3 0 13-15,1 2-2 16,2 1-14-16,1-2 8 0,-2 2 1 0,-2-3 35 0,4 2 33 15,-1-1-10-15,-3 0 44 0,1-2-62 16,2 0 105-16,1 1 26 0,-7-2 25 0,8-2-7 0,-8 2 10 16,13-2-16-16,-8-2-84 0,3 0-2 15,-3-1-16 1,2-1-25-16,1-2 9 0,0 2 1 0,-3-3 8 0,2 1-44 0,-1-2-3 0,-1 2-7 16,0 1-11-16,-2-1-7 0,2 3-39 0,-2-1-40 15,-1 2-60-15,3 0-45 0,-5 1-29 16,0 3-33-16,5-3-33 0,-5 3-64 15,0 0-110-15,0 0-70 0,0 0-460 0,0 0 110 0,8 7 69 16,-8-7 167-16,5 3-19 16,0-2 80-16</inkml:trace>
  <inkml:trace contextRef="#ctx0" brushRef="#br0" timeOffset="11679.52">15643 2744 1305 0,'0'-4'399'16,"0"4"-2"-16,0 0-31 0,0 0-20 15,0 0-26-15,-18 8-21 0,11-3-17 0,2 0 12 16,-1 1-61-16,1 0-21 0,-2 2-20 0,1-1-48 16,2 2-11-16,-2-3 2 0,3 1 1 15,1-2-23-15,-3 2-34 0,5-1-5 0,0-2 3 16,0 1-15-16,3 0 7 16,-1-3 2-16,3 1-19 0,1-3-4 0,-6 0 1 0,15-2-13 15,-8 1-24-15,3-2 19 0,-2-1 23 0,0-1 2 16,2-2-15-16,-2 0-25 0,2 1 48 15,-2 2-3-15,-3-1-12 0,3 0 4 16,-5 1-9-16,1 1 2 0,2 0-23 0,-1 1 8 16,-5 2-6-16,0 0 16 0,10 2-5 0,-10-2 18 15,0 6-41-15,0-2 17 0,3 2-35 16,-3 0-31-16,-3 1-40 0,3 1-9 0,0 1-22 16,0-1-80-16,0 0-46 0,0-1-36 0,0 2-125 15,0-3-85-15,7 1-491 16,1-3 107-16,-2 0 44 0,4-1 95 0,0-2 51 0,3-1 74 15</inkml:trace>
  <inkml:trace contextRef="#ctx0" brushRef="#br0" timeOffset="12298.76">15938 2734 972 0,'0'0'356'0,"0"0"-41"0,-7-1-11 15,7 1 22-15,-8 4-35 0,2 3 16 0,4-1-38 16,-3 1-3-16,0 2-4 15,5 0-6-15,-2 2 10 0,-1 3-18 0,0-2-5 16,3 1-28-16,-2 1-36 0,2 0-7 0,-3-1-24 0,-2 4-9 16,0-1-9-16,-1-1 3 0,-1 0-5 15,-4 0-23-15,4-2 23 0,-3-1-28 16,2-2-23-16,-2-1-11 0,2-3-17 16,-2 2 10-16,2-4 20 0,0 3-23 0,3-5-38 0,-2 2 26 15,4-2-21-15,-2 0-8 0,2 0-28 16,3-2-4-16,0 0-6 0,0 0-6 0,0 0 9 15,0 0-8-15,8-10-11 0,0 5-14 16,4-3-6-16,1-1-8 0,3-1 8 0,4-3-10 16,-1 0 15-16,8-5-15 0,-1-1 13 0,3 0 23 15,-4 0-11-15,1-3 29 0,-6 6-6 16,-2 1-4-16,0 0 2 0,-5 3 20 0,0 1 1 16,-3 1 89-16,0 1-13 31,-2 1 36-31,-3 1-23 0,2 3-10 0,-4-2-18 0,2 4-3 0,-5-1-7 0,0 3 2 0,0 0 5 15,0 0-18-15,0 0-9 0,0 0-22 0,0 0 37 16,-8 14-24-16,6-11-9 16,2 2 9-16,-2 0 8 0,2 1 3 0,-3-3-13 0,6 2 0 15,-3 0 2-15,2-2 19 0,0 0-16 0,1 0 7 16,2 2-22-16,3 0 0 0,-3-3-36 0,3 3 66 16,0 0-38-16,-1-1 28 0,0 1-7 15,-1 0-6-15,-1 0 5 0,2-1 9 0,-1 1-6 16,-3 1 30-16,2 1-14 0,-2-2-1 0,-1 0 16 15,-2 0-8-15,0 0 18 16,0-1-33 0,-2 0 58-16,1 0-58 0,1-4 20 0,-5 7-23 0,3-6 18 0,1 2-7 0,1-3 2 0,-5 3-36 15,5-3-23-15,-5 0-31 16,5 0-17-16,0 0-47 0,0 0-58 0,0 0-29 16,-5-6-48-16,5 6 5 0,0 0-59 0,3-6-67 15,-3 6-59-15,0 0-89 0,7-2-540 16,-7 2 195-16,6-2 63 0,-6 2 90 0,0 0 79 15,8 0 24-15</inkml:trace>
  <inkml:trace contextRef="#ctx0" brushRef="#br0" timeOffset="14957.12">13005 3633 941 0,'-8'1'367'0,"8"-1"-19"0,0 0-5 16,0 0-21-16,0 0-43 0,0 0-15 0,21-7 10 15,-11 2-47-15,6-2-32 0,-1-1 17 16,5-2-17-16,4 0-31 0,-4-5-5 0,1 2-34 15,1 0 16-15,-4-1-8 0,-2-2-36 0,-1 6 16 16,-4-4-8-16,-1 1-18 0,0 3-10 16,-4-2 30-16,1 1-12 0,-4 3-42 15,-1-1 27-15,0 1 17 0,-2 2-28 0,0 1-15 0,-2 2-11 16,0 0-9-16,2 3 35 16,-10 1-31-16,4 3-2 0,1 2-3 0,-3 4-4 15,-2 3 14-15,2-1-20 0,-2 2 13 0,2 2-21 16,3-1 6-16,-2-1-14 0,1 2 22 15,4-3-32-15,-1-1 13 0,3-2-5 0,0 1-5 16,0 0 6-16,3 1-35 0,2-3 17 0,0 0 6 16,3-2-14-16,2-1-36 0,3-2 2 15,0 0-25-15,2-3-37 0,3-1-9 0,3-2 2 16,1-3 0-16,-1 0 5 0,3-1 6 16,-1-3 38-16,2 0-34 0,-4-1 36 0,-4-3 3 15,1 0 26-15,-5 1-6 0,0 0 21 0,-3-1 10 16,-2 1 31-16,-3 0-18 15,-3 1-5-15,1 3 27 0,0-1-6 0,-3 1 9 16,0 1-2-16,-3 2 28 0,3 2-28 0,-3-2 8 16,3 5-19-16,-7-4 32 0,7 4-47 0,0 0 34 15,-7 9-11-15,4-3 21 16,-2 1-26-16,5 1 3 0,-1 3-5 0,-1-3 7 0,2 5 3 16,0-2-23-16,0 0 23 0,0 1 0 0,2 1-21 15,-1-4 29-15,-2 3-16 0,2-2 23 16,-1 0-10-16,-1 0-13 0,-1-1 31 15,-1 1 0-15,1-1-43 0,-3-1 9 0,-1 0 4 16,-1 0-4-16,0-2 14 0,-1 3-29 0,0-2-12 16,0-4-49-1,3 0-18-15,-3 0-3 0,1 0-110 0,7-3-53 0,-8 0-67 0,8 0-10 16,0 0-54-16,0-10-13 0,5 3-138 16,0 0-10-16,6-6 122 0,1 0 211 0,1-3 89 15,0-3 28-15,7-8 19 0,-4 7 63 16,-4 3 67 15,2-3 79-31,-2 2 51 0,-1 5 18 0,-1-1-7 0,-2 4 35 0,-1-1 13 0,1 3-40 0,-1 0-6 0,-1 3-13 0,-1 0 8 0,0 4-21 16,0 0 21-16,-5 1-20 0,10 4 20 15,-4 2-41-15,-1 3-23 0,2 1-3 16,-2 1-12-16,1 4-8 0,-2 0 0 0,2 0-28 16,-1 2 15-16,0 1 54 0,-2-3-44 0,2 1-38 15,-3-2-72-15,1 3-33 0,-1-3-66 16,1-2-54-16,-1 1-103 0,-1-2-87 0,-1-2-109 15,0 1-418-15,2-4 120 0,1 0 90 0,-3-3 61 16,0 1 31-16</inkml:trace>
  <inkml:trace contextRef="#ctx0" brushRef="#br0" timeOffset="15224.83">13613 3651 749 0,'-6'-2'333'0,"6"2"-28"0,-2-3-6 16,2 3-22-16,0 0-21 0,0 0-49 15,5-6 3-15,0 1-36 0,1 3 8 16,4-4-41-16,0 4-16 0,3-3 0 0,2-2 6 16,3 0-31-16,0 1-6 0,3-4-6 0,1 2-12 15,-3 1 24-15,1-1 10 0,-2 3 0 0,0 0 0 16,-5 0 11-16,2 1-32 16,-2 0-15-16,-3 1-2 0,0 3 43 0,-1 0-5 0,-2 0-35 15,0 3-24-15,1 0 0 0,-2 1 8 0,-1 2-8 16,0 0-7-16,-3 2 12 15,-1 0-5-15,1 1-25 0,-2-1-37 0,-2 2-40 0,1 0-18 16,-1-1-46-16,-3 0-69 0,2 2-80 31,1-6-166-31,-4 4-471 0,1-2 79 0,2 0 77 0,1-2 62 0,0-1 46 0</inkml:trace>
  <inkml:trace contextRef="#ctx0" brushRef="#br0" timeOffset="15359.53">13918 3447 616 0,'-3'-4'139'0,"3"4"-155"15,0 0-498-15</inkml:trace>
  <inkml:trace contextRef="#ctx0" brushRef="#br0" timeOffset="15934.88">14125 3465 1246 0,'1'6'397'0,"-1"2"-34"0,0 0-33 0,2 0-38 0,-2 0 13 0,0 0-62 15,0 1-18-15,0-1-20 16,0-1-41-16,0-1 7 0,0 1 1 0,0-3 5 0,3 3 68 15,-6-3-140-15,3 0-8 0,3 0 29 16,-3-4-8-16,0 5 43 0,0-5 33 16,2 2-7-16,-2-2-20 0,0 0 4 0,0 0-51 15,11-7-15-15,-9 5 8 16,4-2-8-16,0-2-5 0,0 4-16 0,-1-4-12 0,2 2 12 16,-1 2-17-16,1-2 0 0,1 2-44 0,-2 1-3 15,1 1 34-15,-7 0-29 0,10 0 39 16,-5 1-46-16,1 1-7 0,1 1-22 0,-2-1 24 15,0 2 15 1,-1-2-5-16,0 3-12 0,-1-3 12 0,2 1 2 0,-3 0 11 0,1-1-23 0,2 1 18 16,-3-1 25-16,-2-2 3 15,3 4 15-15,0-1-71 0,0-1 40 0,-3-2-46 16,4 3 34-16,-4-3 97 0,0 0-25 0,0 0 14 16,8 0-7-16,-8 0-2 0,0 0-8 0,0 0-23 15,8-3-77-15,-6 0 0 0,-2 3 0 16,8-3 0-16,-8 3 0 0,5-1 0 0,-5 1 0 15,6-2 0-15,-6 2 0 32,0 0 0-32,12 3 0 0,-7-2 0 0,0 1 0 0,-1 1 0 0,0-2 0 0,2 1 0 0,-1 2 0 0,0-3 0 15,0 3 0-15,0-1 0 0,0-1 0 16,0 0 0-16,0 1 0 0,0 0-90 0,-2-3-140 0,-3 0-26 16,10 4-39-16,-7-2-40 15,2-1-108 1,-5-1-197-16,10 1-443 0,-5 0 134 0,1 0 66 0,1-1 51 0,-2 0 105 0,3 0 89 15,2 0 45-15</inkml:trace>
  <inkml:trace contextRef="#ctx0" brushRef="#br0" timeOffset="16940.86">14766 3558 598 0,'0'0'269'0,"3"-4"15"0,-3 4-5 0,0 0-30 16,0 0 17-16,0-6-36 0,0 6 3 16,0 0-5-16,-3-4-28 0,3 4-3 15,-4-4-23-15,4 4 0 0,-6-3 18 0,4 0-54 0,2 3-10 16,-10-3-3-16,10 3 3 0,-9 0 13 16,2 0-38-16,7 0 14 0,-11 2-9 0,4 0-11 15,-1 1-2-15,-1 0-21 0,3 1-12 16,-2-1 25-16,1 1-16 0,-1 1-32 0,2-3 12 15,-1 2-8-15,2 0 9 0,2-1-14 0,-2-1 11 16,2 2-14-16,-1-2-17 0,1 1 21 16,3-3-14-16,-2 6 14 0,2-6 9 0,0 0-27 15,0 0 2-15,7 2-3 0,-7-2-20 16,8 0 44-16,-8 0-39 0,10 0 5 0,-10 0-2 16,11 0-3-16,-7 0-5 0,2 0 3 15,-1 2 20 1,3 1-31-16,-1-3 16 0,-2 2-6 0,3 0 1 0,-3 1-83 0,3-2 9 15,0 0 12-15,2 2 8 0,-2-3 5 0,2-3-1 16,0 3 22-16,0-2-8 0,1-1 2 0,4-1 26 16,-5-2-8-16,5-1 46 0,-2-3 11 15,0 1 99-15,-2-3-10 0,3-4-89 0,-1 1 2 16,-2-3 25-16,2-1-24 16,-1-1 6-16,1-9 4 0,0-2-9 0,-2 0-9 15,1 0 9-15,-2 6-2 0,-5 4 13 0,1 5-10 16,1-2 7-16,-4 6 23 0,2 1-30 0,-2-1 10 0,-1 6-3 15,0 0-20-15,-1 2-5 16,-1 4 2-16,0 0 11 0,0 0-6 16,0 0-7-16,-8 18 23 0,5-7-24 0,1 1 6 0,-1 1 0 0,-2 5-3 15,0 1-23-15,5-3 3 16,-3 5-3 0,1 0-10-16,0-1 21 0,1-2-6 0,1-1 6 0,0-1-24 0,1-1-43 0,1-1 10 15,-2-1 3-15,2-2-16 0,1-3 19 0,0-1-45 16,-1 2 32-16,4-6-13 0,-2 1 4 15,2-3 4-15,-1-1-3 0,-5 0-16 0,13-3 13 16,-8 0 21-16,2 1 0 0,-2-1 15 0,1 0-26 16,-1 0-2-16,2 2 0 0,-7 1 13 15,11 1-11-15,-6 2 26 0,-2 0 1 16,4 2 11-16,-4 0-1 0,2 1-4 0,0 0-9 0,0-2 5 16,2 2-3-16,-1 0-26 15,-1-1-15-15,2-1-25 0,1-2-54 0,0 3-39 16,-1-4-28-16,4 0-107 0,-3-1-44 0,2-1-18 15,0 0-488-15,0-2 27 0,1-1 111 16,-3-1 23-16,2-2 74 0</inkml:trace>
  <inkml:trace contextRef="#ctx0" brushRef="#br0" timeOffset="17176.41">14851 3286 1197 0,'0'0'448'16,"0"0"44"-16,0 0-19 0,0 0-48 16,0 0-107-16,26 3-24 0,-11-3-30 0,3 0-31 15,5 0 0-15,2-1-11 0,6 1-53 0,3-4-10 16,-1 3-18-16,14-1-18 0,-6-3-52 16,-6 1-4-16,-4 2-39 15,-5-1-61-15,-1 1-39 0,-4-1-36 0,-3 0-40 0,-3 3-85 0,1-1-97 16,-6 1-100-16,0 0-466 0,-3 1 95 0,-3-1 112 15,0 3 26-15,-4-3 90 0</inkml:trace>
  <inkml:trace contextRef="#ctx0" brushRef="#br0" timeOffset="18447.16">16110 3338 829 0,'-15'2'325'0,"-3"4"-28"0,3 1-41 0,-1-1 20 16,1 4-58-16,-6 3-29 0,3 1 21 16,-5 5-43-16,2 0-39 0,4-3 15 0,1 0-25 15,3 0 7-15,0-2-30 0,3-2-18 16,5-1-8-16,0-1 20 0,2 2-9 16,1-3-6-16,4-1-8 0,1-1 6 0,2-2-39 0,3 0 8 15,4-1 8-15,-1-1 2 0,2-1-18 16,2-2-22-16,3 0 19 0,-3-1 1 0,1-1-3 15,-1-3-5-15,3 0-5 0,-2-1-20 16,1 0 19-16,-1-2 1 0,-3 2-15 0,-1 0 28 16,1 1-31-16,-5 0-8 0,-1 3 11 0,-1 0 2 15,-1 2 7-15,-5 0-24 0,10 1 9 16,-5 1 8 0,-2 2 21-16,-1 1 10 0,3-1-16 0,-2 1-30 0,-1 0 15 0,4 1-8 15,-1-1-7-15,2 2 44 0,-1-2-45 0,4-1 19 16,-2 2-5-16,2-1-9 15,0-3 29-15,1 1-20 0,-1-2 23 0,2-1-26 0,-1 0 15 16,-1-1 13-16,0-2-13 0,0 1 1 16,-2 0 66-16,0-4-18 0,-1 1-28 0,-1 0 12 15,-2-1-2-15,0-1-7 0,-2-1 2 16,-2 2-11-16,0 0 19 0,-2-1-39 0,-1 1 11 0,-2 1-11 16,-1 1-2-16,-1 2 22 15,-1-1-37-15,-2 1 22 16,0 2-20-16,0 0 2 0,0 2-7 0,1 0-44 0,-1 0 1 15,0 2-4-15,2-2-60 0,3 2-17 16,0-2 24-16,0 0-43 0,5 1-3 0,0-3-18 0,0 0-29 16,5 6-40-16,-5-6-15 0,13 0 14 0,-3 0 6 15,0-3 13-15,0 1 51 16,4 0-15-16,0-1 48 0,0 0 10 0,-1-3 14 0,-1 1 53 16,4-1 46-16,-1-2 79 0,-2 2 1 0,2-3 40 15,-5 3 46-15,-1-2-12 0,1 2 2 16,-3-1 16-16,-2 2 5 0,1-1-11 0,-1 0-23 15,0 3-2-15,-2-1 10 16,-1 1-12 0,3 0-14-1,-5 3-17-15,3-3-8 0,-3 3-18 0,0 0-3 0,0 0-10 0,2 13 24 0,0-8-19 0,-2 2-5 0,4 1-20 0,-2 3 23 16,0-3-6-16,1 2-7 16,2 2 21-16,0-2 7 0,0 1-3 0,-2 0-15 0,2-1 16 15,0-1-11-15,-3 0 1 0,2-1-14 16,-2 0 16-16,0 0-13 0,-2-2 13 0,0 1-31 15,0 0 23-15,-2-2-15 0,0 1 10 0,1 0-15 16,-4-1-23-16,3-3-11 0,-1 3 8 0,-2-3-56 16,2 1-13-16,3-3-28 15,-7 1-39-15,7-1-35 0,0 0-85 0,0 0-38 16,-11-5-62-16,11 1 13 16,2-1 11-16,2-3 43 0,0-2 30 0,2-3-10 0,1-4 44 15,6-2 85-15,-2-1 53 0,4-8 28 0,5 2 74 16,-2-1 47-16,-2 9 15 0,-3 0 46 0,-1 5 13 15,-2 0 35-15,0 0 1 16,-1 4 2 0,-1 1-5-16,-4 0 5 0,4 2-33 0,-2 2 10 0,-2 2 8 0,2 2-13 0,-6 0-28 15,0 0 3-15,12 6-14 0,-9 0 19 0,2 2-16 16,-3 3 5-16,-1 2-35 0,3-1-24 16,-1 3 21-16,-2 2-21 0,1-2-12 15,0 3-26-15,1 0-79 0,0-2-44 0,-3-1-46 16,0-1-71-16,0 3-68 0,0-4-88 0,0 0-434 15,2-2 37-15,-2-2 71 0,0 0 54 0,0-2 74 16</inkml:trace>
  <inkml:trace contextRef="#ctx0" brushRef="#br0" timeOffset="19291.75">16646 3506 934 0,'5'-5'414'0,"0"-1"-32"16,1 1-44-16,1-3-23 0,3 1-44 0,0 1-33 16,4-4 3-16,0 2-37 0,4 0-27 15,-2-1-39-15,2 3-66 0,0-1-11 0,0 1-15 16,-3 3 11-16,1-2-11 0,-4 0-23 16,-2 4 2-16,0-2-7 0,-2 3-2 0,-2 2 22 15,-6-2-12-15,10 4 25 0,-5 1-20 0,-5 1 4 16,2 0-4-16,-2 4 7 0,0-3-4 0,0 2-4 15,0 0 1-15,0 1-18 16,0 0 20-16,0-2-28 0,4 2 16 16,-2-1-1-16,0-3 1 0,4 4-11 0,1-4 8 0,1 0 36 15,2 1 25-15,-2-4-43 0,4 1-5 16,-1-3 25-16,2 1 0 0,-3-2-7 0,1 0 38 16,-1-1-3-16,-3 0-20 0,1-4 13 0,-3 1-20 15,0-4 22-15,0 1 59 16,-2-1-25-16,-3 1-3 0,-1 0 10 0,-1 1-28 0,-3-1 0 15,3 2-15-15,-6-1 33 0,3 1-61 16,-3 3 2 0,-2-1 8-16,2 3-23 0,-2-1-11 0,2 1-12 0,-2 1-10 0,-1 2-37 0,4-1-45 15,0 0-26 1,-1 2-5-16,2 1-26 0,3-3 8 0,-1 1-38 0,4 0-41 0,0-3-16 16,0 6-48-16,0-6-67 15,10 3 10-15,-5-2-38 0,3-2 3 0,0-1 17 0,4 1 18 16,1-3 49-16,0 0 39 0,2-1 56 15,3-2 43-15,1 1 3 0,-2-1 27 0,1-3 60 16,0 0 38 0,-2 1 60-16,-1-1 63 0,-2-1 36 0,0 0-26 0,-1 0 41 0,1-2 23 15,-5-1-12 1,2-1-21-16,-2 0-3 0,-1 1 19 0,-2 2 9 0,-2 1-17 0,2 2-13 0,-2 2 18 16,-1-2-21-16,1 2-33 0,-3 2 5 15,0 2-28-15,0 3 6 0,-5-6-1 16,5 6-15-16,0 0-8 0,0 0-23 0,-13 12 2 0,8-3 44 15,0 3-2-15,-1 4-3 0,2 3-18 16,1 0-7-16,0 7-3 0,0 0 5 16,1 3-18-16,0-4-3 31,-1 3 29-31,-2-1-42 0,0-1-17 0,2-1 21 0,-2 0-4 0,-2 0 1 0,-1-4 74 0,0-2-3 0,0 0-38 16,-2-2-2-16,3-2-1 0,-1-2-17 15,-2-2 25-15,2-2-21 0,0-2 16 0,3-1-10 0,-3-4-28 16,3 2 28-16,0-3-24 0,0-1 11 15,5 0 13-15,-7-5-28 0,4 0-1 16,3 2-15 0,0-3-15-16,2 2-28 0,-1-2 28 0,1 0-23 0,3-1-34 0,0 1 1 15,0-2-18-15,6 1-24 0,-4-3 1 0,6 2-31 16,2-2-44-16,-2 1 26 0,5-2-10 0,2-1-29 16,1 3-71-16,3-3-51 0,6-4-108 15,1 1-440-15,-1 0 41 0,1-1 66 0,-2 0 78 16,3 1 76-1</inkml:trace>
  <inkml:trace contextRef="#ctx0" brushRef="#br0" timeOffset="19644.8">17837 3180 1305 0,'0'-3'371'0,"0"3"3"16,0 0-18-16,0 0-121 0,0 0 8 0,0 0-17 15,-17 10-4-15,12-3-25 0,0 0 13 16,-2 5 51-16,-2 1-46 0,1 0-2 0,1 0-29 15,0 4 0-15,-4 2-10 0,6-3-38 0,-3 5-13 16,3-4 0-16,0-1-41 0,2 1 48 16,1-4-38-16,2 1-35 0,0-4 2 0,0 0-31 15,3 0 13-15,2-2 10 0,-1-1-10 0,2-1-16 16,-1-1-9-16,0 0 22 0,3-4 16 16,2-1-28-16,-2-1-9 0,0-2 7 0,2 0-1 15,-2 0 5-15,2-1 2 0,0-1 4 0,-2 3 12 16,-1-2 8-16,-1 3-6 0,1-3-20 15,-7 4 3-15,10 2 20 0,-10-2-7 16,8 3-14-16,-3 2 1 0,-2-1 5 0,2 1-8 16,-2 0-5-16,1 1-25 0,0 0 17 0,-2-1-46 15,3 2-12-15,-3-2-57 0,-1 0-36 16,1-1-43 0,0 1-74-16,1 0-154 0,-3-5-110 0,0 7-471 0,0-5 87 0,0-2 71 0,0 0 78 15,3 4 107-15,-3-4 30 0</inkml:trace>
  <inkml:trace contextRef="#ctx0" brushRef="#br0" timeOffset="19802.34">18010 3290 665 0,'0'0'215'0,"-3"-4"-43"16,3 4-80-16,0 0-80 0,-4-2-99 0,4 2-99 15,0 0-380-15</inkml:trace>
  <inkml:trace contextRef="#ctx0" brushRef="#br0" timeOffset="20093.32">18054 3322 1034 0,'2'5'419'0,"0"0"-12"0,1-3-56 0,0 2-21 0,-1 2-17 0,2-1 1 16,-2 0-104-16,2 0-23 15,-1 1-10-15,0-1 10 0,2 1-57 0,-3-3-7 0,1 1 5 16,2 1 0-16,1-2-13 0,-2 0-12 0,2-1 4 15,-2 0-17-15,4 0-11 0,-3-2-12 16,3 0-14-16,-8 0 1 16,13-2-5-16,-8 2-8 0,3-1 97 0,-8 1-25 0,10-1 17 0,-5 0 3 15,-5 1-33-15,8 0-21 0,-8 0 8 16,10 0-25-16,-10 0 12 0,8 1 16 0,-3 1-21 16,-2 1-28-16,1-2-8 0,-1 4 36 15,0-3-54-15,-1 2 32 0,1-2-4 16,-1 2-22-16,3-1-21 0,-2 0-13 0,-3 0-33 15,5 0-36-15,-3 0-46 0,-2-3 7 0,3 4-73 16,-3-4-100-16,3 2-193 0,-3-2-509 16,0 0 65-16,0 0 104 0,0 0 56 0,10-6 73 15,-10 3 88-15</inkml:trace>
  <inkml:trace contextRef="#ctx0" brushRef="#br0" timeOffset="20238.06">18407 3222 888 0,'0'-2'376'0,"0"2"-20"0,3-6-80 16,-3 6 8-16,0 0-46 0,0 0-64 0,0 0-51 0,0 0-56 0,0 0-90 0,0 0-105 0,0 0-85 15,-16 11-501-15,9-8 13 0,4 2 79 16</inkml:trace>
  <inkml:trace contextRef="#ctx0" brushRef="#br0" timeOffset="20475.97">18423 3308 1246 0,'5'2'389'0,"0"1"3"0,-1-1-52 16,2 2 6-16,-3-3-8 0,4 0-59 0,-2 1-3 0,1 1-117 16,1-2-21-1,-2 1-5-15,1 1-30 0,-1-2 12 0,0 0-8 0,0 0-20 16,1 1 0-16,1-1-25 0,-7-1 4 16,10 2-12-16,-7-2 13 0,2 2-19 0,4 0 6 0,-5-1-26 15,3 0 10-15,3-1 1 0,-2 1-8 16,2-1 2-16,1 0-8 0,1 0-17 0,-1-1-13 15,2 1-26-15,-1-1-5 0,1 0-22 0,2-3-24 16,-2 1-51-16,-2 0-13 0,4 1-97 16,-4-5-131-16,-1 4-496 0,0 1 73 0,3-4 86 15,-1 0 74-15,-4 1 30 0</inkml:trace>
  <inkml:trace contextRef="#ctx0" brushRef="#br0" timeOffset="23004.32">8916 2461 542 0,'36'-5'213'0,"5"-3"-39"0,5 2 0 16,5-1-33-16,1 2-31 0,1-2-77 16,-2 3-115-16,-4-1-97 0,-2 1-410 15</inkml:trace>
  <inkml:trace contextRef="#ctx0" brushRef="#br0" timeOffset="23287.34">8683 2620 844 0,'-3'-1'292'0,"3"1"-62"0,0 0 11 16,18-6-49-16,-2-1-13 0,6 2-2 0,4-1-31 0,15-4-13 16,5 1 43-16,3 2 1 0,15-6-29 0,5 1-2 15,-3 2-18-15,1 2-64 0,-3-1-20 16,-12 4-36-16,-1-2-62 0,-2 2-61 0,-1 1-90 16,-4-2-97-16,2 1-461 0,-2-2 138 15,0 1 24-15,2 0 51 0</inkml:trace>
  <inkml:trace contextRef="#ctx0" brushRef="#br0" timeOffset="23942.79">10223 2223 657 0,'0'0'256'16,"0"0"-18"-16,15-8-7 0,-4 8-26 15,-3-1-42-15,7-1-14 0,0 0-11 0,6 0-18 16,-1-1 11-16,1 1-57 0,-1 0-7 0,1 1-6 15,0-2-61-15,-1 2-74 0,-5 0-85 16,3 0-53-16,-2 1-467 0,-1 0 37 0,-3-3 63 16</inkml:trace>
  <inkml:trace contextRef="#ctx0" brushRef="#br0" timeOffset="24177.48">10123 2153 509 0,'11'-2'207'0,"1"2"-48"0,4 0-34 0,2-2-63 0,2 0-29 15,4 1-61-15,6-1-121 0,-1 0-391 0</inkml:trace>
  <inkml:trace contextRef="#ctx0" brushRef="#br0" timeOffset="35139.78">1542 5358 1067 0,'0'0'368'0,"0"0"-14"16,0 0-50-16,0 0-12 0,-5 16-26 15,2-8-22-15,-2 4-22 0,0 2-38 0,-3 8-2 0,0-2 3 16,-4 11-27-16,0 1-7 0,1 0-18 0,-5 4-25 15,2-3-21-15,-2 3 2 16,1-2-17-16,1 1-8 0,-1-3-31 0,-1-2-40 0,6-4-16 16,-2-5-46-1,1 0-36-15,1-2-21 0,0-3-22 0,2 0-83 16,3-3-89-16,-8-2-12 0,8-2-480 0,0-3 57 16,2 1 90-16,1-3 86 0</inkml:trace>
  <inkml:trace contextRef="#ctx0" brushRef="#br0" timeOffset="35858.18">1570 5406 1290 0,'23'-6'360'0,"-2"1"22"0,-1 5-42 0,-4 0-35 15,-1 0 87-15,1 4-34 0,-4-3-112 0,1 1-8 16,0 2-31-16,0 3-23 16,-6-1 1-16,4 1-22 0,-8 0 24 0,-1 1 56 0,0 2-17 15,-6 2-32-15,-2 2 1 0,-2 2-6 16,-5-1-43-16,-2 2-23 0,-8 5-3 0,0 0-17 0,0-7-6 15,3 1-28-15,-9-1 8 16,9 0 12 0,0-6-7-16,4 2-30 0,3-3 19 0,0-1-12 0,3-2-26 0,0 1 21 0,0-1-5 15,2 1-8-15,2-4-36 16,-1 3 26-16,2-2 4 0,2 2-14 0,1-1 15 0,-1 1 7 16,3 0-12-16,0 0 12 0,3 0-14 0,-1 1 1 15,3-1-9-15,1 2-1 0,1-2-15 0,0-2 3 16,4 2 30-16,-1 0-38 0,1-2-66 15,2 2-19-15,0-5-43 0,-1 4-12 0,-2-3-32 16,3-1-45-16,-2 1-42 0,1 0-22 0,-2-1-116 16,1 0-143-16,-1 0-451 0,0 0 100 15,-2 0 18-15,0-1 77 0,-1 1 100 16,-7 0 61-16</inkml:trace>
  <inkml:trace contextRef="#ctx0" brushRef="#br0" timeOffset="36596.24">1857 5760 1005 0,'6'-9'407'16,"-2"2"-30"-16,-1 0-32 0,2 0-27 16,-4-2 27-16,4 2-2 0,-3 1-13 0,-2-1-10 0,0 0-23 15,2 2-28-15,-2-1-39 0,-2 0 21 16,2 4-23-16,-2-3-28 0,2 0-1 15,-4 2-17-15,4 3-31 0,-4-3-5 0,4 3-20 16,0 0-14-16,0 0-15 0,-16 7-15 0,11-2-15 16,0 0-3-16,0 2 2 15,0-1-9-15,2 2 2 0,-2 0-8 0,3 0-15 0,1-2-18 16,-1 2-24-16,0-2-4 0,2 1-59 0,2 2 8 16,0-5-24-16,4 2-12 31,-3-2-18-31,4 0-11 0,1-1-4 0,2-1-6 0,-2-2-17 0,5 0-4 0,1-2-9 0,0 2-6 0,3-3-17 15,-4-1 5-15,3-1 28 16,-4 2 30-16,2-1 16 0,-4-2 33 0,-3 3 13 16,1-2 44-16,-2 0 7 0,1 0 13 0,-7 3 28 15,5-2-2-15,-5 2 22 16,0 2 9-16,0-6-6 0,0 6 10 0,0 0-4 0,-8-1 12 16,8 1-10-16,0 0 7 0,-15 2 24 0,8-2-11 15,1 4-20-15,1-3 10 0,-2 3 26 16,4-2-49-16,-3 0-13 0,4 2 1 0,-3-2-14 15,2 1-5 1,1-1-15-16,2 3-2 0,0-5-3 0,-2 7-8 0,2-7-5 0,4 3 15 16,-1 0-4-16,2-2-21 0,-5-1 33 15,10-1-10-15,-2 1 10 0,2-5-18 0,-2 3-13 0,5-4 31 16,-3 0-23-16,3-4 3 0,2 2 20 16,-4-3-7-1,1 0 12 1,-1-2-15-16,1-3 0 0,-1-1 28 0,2-1 5 0,-6-2-18 0,1 1 23 0,-1 1-4 0,-1 1 1 0,-3 5 32 15,1 2-6-15,-1-1 21 0,0 1-26 16,-1 2 3-16,0 6 5 0,-2-2 15 0,0 4 18 16,0 0 0-16,0 0-15 0,-4 16 5 0,1-9 18 15,3 5-62-15,-5 0 52 16,5 0-34-16,-2 2-2 0,1 1-6 0,1 0 1 0,1-1-21 16,1 1-23-16,3-2-35 0,-3 1-50 0,3 0 9 15,1-1-75 1,2 0-10-16,-3-2-21 0,2-2-56 0,1 2-120 0,-5-3-157 15,7-2-478-15,0 0 80 0,-2-1 73 0,-1 0 152 16,4-4 35-16,-1 1 54 16</inkml:trace>
  <inkml:trace contextRef="#ctx0" brushRef="#br0" timeOffset="37417.47">2719 5626 1108 0,'13'-9'356'0,"-6"5"-31"0,1-2-8 0,2-1-28 15,0 1-38-15,1-2-28 16,2-2-8-16,-3 0 0 0,0-1-87 0,-2 1-23 0,2-1 2 16,-5 2 11-16,0-1-15 0,0 2 1 15,-2 1 14-15,0 1 0 0,-1 0-26 16,-2-1-2-16,0 3-11 0,0 4 8 0,-2-2 5 15,2 2-48-15,0 0 15 0,-11 8-1 0,6-3-14 16,-3 4 12-16,1 2-12 0,2 0 25 16,-3 2-23-16,0 0-5 0,3 3-26 15,0-3-17-15,2 0 20 0,1 0-18 0,2 0 7 16,0-2-27-16,3 2 20 0,4-4 2 0,-2 2-35 16,5-5-21-1,3 1-2 1,1-2 20-16,3-3-28 0,-2-2-38 0,9-1 2 0,-4 0-10 0,3-4-8 0,0-2 39 0,-2 1-26 15,-3-2 13-15,2-3 18 16,-4 0-3-16,-4 2 10 0,1-3 3 0,-3 1 28 0,0 2 21 16,-4-1-16-16,-1 2 36 0,0-1 24 0,-3 3 14 0,1 2 11 15,-3-1-11-15,0 1-25 0,0 4 21 16,0 0-1-16,0 0 0 0,0 0 9 16,0 0 22-16,-12 11-3 0,9-4-17 0,-3 1 15 15,4 2 8-15,-5 1 4 0,4 2-25 0,-2 0 8 16,-1-1 0 15,2 1 33-31,-1 0-12 0,2 1-3 0,-5-3-21 0,3 1-5 0,2 0-7 0,-4-3 14 0,2 1-14 0,-1-2 5 0,-1 2-49 16,1-2 0-16,2-2-23 0,-2-1-41 15,-1-1-8-15,2-1-69 0,-1-2-33 0,6-1-10 16,0 0-106-16,-7-6-78 0,7-1-13 16,2-2-433-16,3-2 40 0,1-6 68 31,4-2 58-31,5-8 83 0</inkml:trace>
  <inkml:trace contextRef="#ctx0" brushRef="#br0" timeOffset="37634.87">3167 5371 1052 0,'6'-8'335'0,"-2"3"-5"0,0 4 10 16,-2 1-4-16,-2 0-80 0,8 5-16 0,-5-2 14 15,-1 2-19-15,3 1 57 16,0 2 10-16,0 2-15 0,0 2-98 0,0 1-7 16,0 0-23-16,1 1-8 0,-3 3 2 0,1-2-38 0,1 3-28 15,1-1 21-15,-4 1-13 0,0 1-16 16,1 0 11-16,0-1-57 0,-3 0-20 15,0-3-44-15,0 2-43 16,0-4 5-16,0 2-57 0,0-2-12 0,-3-1-23 0,3 0-47 16,-2-2-45-16,1-1-136 0,0 0 66 15,0-2-508-15,-1 1 45 0,-1-2 49 0,1-1 84 0,1-1 54 16</inkml:trace>
  <inkml:trace contextRef="#ctx0" brushRef="#br0" timeOffset="38654.93">3165 5652 934 0,'3'-2'397'0,"4"-2"-49"0,-1 1-36 16,4-2-43-16,0 1-3 0,5 0-43 15,1-1-21-15,4-1-15 0,-2 0-26 16,5 0-25-16,3 0-21 0,-1 0-51 0,-2 1-21 15,3-2 24-15,-3 1-36 0,-3 1-21 0,-1 2 21 16,-1-3-19-16,-4 2 4 0,0 1 9 16,-4-1-20-16,0 3 34 0,-2 0-3 0,-1 0-6 15,-7 1 6-15,0 0 0 0,6 2 33 0,-6-2-5 16,-3 5 8-16,3-5 2 0,-7 8 8 16,1-3 2-16,-1 2-9 0,2 0-1 15,-1 0 10-15,-1-1-27 0,0 1 12 0,4 0-33 16,-3-2 10-16,4 0-11 0,0 2 12 0,-2-1-17 15,4-2 1-15,0 0-16 0,0-4 3 0,4 5 0 16,1-5-5-16,2 0 20 16,-7 0-35-16,13-2-6 0,-3 1 44 0,-2-3-31 0,2-1 21 15,0 1-32-15,-2 0 9 0,0 2 7 16,-1-2-2-16,1 2-21 0,-2-2-10 0,-1 3-8 16,2 0 8-16,-7 1-2 15,8-2 12-15,-8 2 10 0,10 3 14 0,-5-2-27 0,-5-1 19 16,10 3-31-16,-4-1-13 15,-2-1-13-15,4 3 21 0,0-4-24 0,0 1 16 0,2-1-30 16,-3 0 17-16,3-3-10 0,4 0 36 16,-1-1 2-16,-1-1-2 0,4 0-3 0,-5-1 26 15,3-3-2-15,-1-1 4 0,0-1 31 0,-2-2 18 16,-2 1 46-16,2-4-43 0,-3 0 46 16,-1 0-8-16,3-3-13 0,-4 4 39 0,1-1 61 15,-2 3 56-15,-2 2-46 0,2 2-30 0,-3 2-6 16,-1 1-22-16,1 1-11 15,1 3-18 1,-3 2 11-16,0 0-8 0,0 0-3 0,0 13-87 0,-2-3 13 16,2 1-18-16,0 2-12 0,0 3 7 0,0 4 18 0,0 0-16 0,2 3 16 15,0-2-56-15,-1 5-26 0,4-2-59 0,-3 0-51 16,0-2-23-16,1-3-11 0,0-3-37 16,-1 0 9-16,1-3-15 0,-1 0-5 15,1-5-28-15,-2 2-28 16,0-4-18-16,0-1-75 0,1-2-17 0,-2 1-167 0,0-4 121 0,0 0 230 15,0 0 51-15,0 0 36 0,-12-9 46 0,9 5 31 16,-3 0 94-16,-1-3 36 0,2 1 60 16,-3 1 32-16,3 0 29 0,-2 1 12 0,1-1 16 15,1 0 12-15,-1 3 9 16,4-2-34-16,-5 2-26 0,4-2-7 0,1 1-21 16,2-2 8-16,0 5-16 0,4-7 11 0,2 1-44 15,1 1-4-15,1-2-4 0,5-4 6 0,2 5-26 16,1-3 5-16,2-2-25 0,2-2 15 15,1 3-36 1,-1-3 5-16,1 4 21 0,-6-1 10 0,1 2-38 0,-2 0 20 0,-3 1 25 0,-1 0 11 16,0 3 0-16,-4-1 67 15,-2-1-14-15,0 5 19 0,-4 1-13 0,0 0-8 0,0 0-3 16,0 0 21-16,-11 9-30 0,8-2 12 16,-4 0 13-1,4 2-29-15,-1-2 6 0,1 3-23 0,0 0 15 0,0 1-35 0,2 0 14 0,1-3-9 16,0 4-3-16,1-3-21 0,2 2 18 15,0 0-12-15,4-3-26 0,-1 1 8 16,1-2-19-16,4 0-50 0,-1-4-16 0,1 2-56 16,-1-3-5-16,2-2-34 0,-2 0-38 0,0-1-41 15,-1 0-35-15,1 0-104 0,0-1-122 16,-6 0-555-16,2-1 84 0,-6 3 82 16,2-1 69-16,-2 1 85 0,0 0 89 0,-12-5 23 0</inkml:trace>
  <inkml:trace contextRef="#ctx0" brushRef="#br0" timeOffset="38936.51">2112 5901 872 0,'-9'0'389'0,"7"0"-33"0,2 0 3 16,0 0-52-16,28 0 5 0,-4 0-10 15,9-5-61-15,20 3-3 0,20-5-44 16,8 2-15-16,3-2-2 0,6 1-18 0,8 0-26 0,-3-1 26 16,2 2-21-16,1-1-33 0,2 3 0 15,-3-1-18-15,-5 0-26 0,-7 1 1 16,-3 0-27 0,-23 2-12-16,-5 0-33 0,-3 1-79 0,-12 0-52 0,-11 0-59 0,-8 0-110 15,-5-1-53-15,-7 2-525 16,-5-1 102-16,-3 0 92 0,0 0 29 0,-21 5 104 0</inkml:trace>
  <inkml:trace contextRef="#ctx0" brushRef="#br0" timeOffset="39193.92">2196 6072 837 0,'0'0'358'0,"18"3"-56"0,-5-2 26 0,7-1-19 0,6 0-17 15,20-1 20-15,5-4-20 0,5 2-28 0,16-1-18 0,3-2-39 16,-1 0 5-16,3 4-38 16,-3-4-28-16,1 2 5 0,-3-2-28 0,-1 0-18 15,-2-1-18-15,-15 1-13 0,0 1-33 16,-3 1-25-16,-7 1-16 0,-6 1-13 16,-9-1-36-16,-6 1-12 0,0 0-24 0,-3-2-7 0,-2 4-13 15,-4-2-56-15,0-1-10 0,-4 1-32 0,1 1-58 16,-1-2 3-16,-4 1-113 15,1 0-420-15,-2-1 74 0,-2 1 56 0,-3 2 57 16</inkml:trace>
  <inkml:trace contextRef="#ctx0" brushRef="#br0" timeOffset="46772.13">1786 4106 880 0,'-3'-3'333'0,"3"3"-36"0,0 0-29 0,0 0-4 16,-13 11-31-16,10-3-20 0,-2 2-19 0,0 4-22 16,0-1-24-16,-3 3-7 0,0 0 12 15,1 6-48-15,0-2-18 0,-1 0 16 16,-3 2-26-16,4-3 2 0,-1 0-20 0,1-1-13 15,1 0 5-15,-2-4-51 0,3 2 10 0,0-1-58 16,0-3-29-16,3 0-61 0,-3-3-47 0,4 2-58 16,-1-3-248-16,-1-2-290 0,3 0 123 15,0-2 54-15,0-1 128 0</inkml:trace>
  <inkml:trace contextRef="#ctx0" brushRef="#br0" timeOffset="46968.89">1726 4059 785 0,'3'-2'243'16,"-3"2"3"-16,0 0-23 15,10 12-11-15,-4-4-17 0,1 2-29 0,-2 3-10 16,-2 0-25-16,4 1-8 0,-1 3-18 0,-1-2 71 15,2 1-7-15,-1 0-46 0,-2-1-64 16,2-2-8-16,-3 0-46 0,2 1-79 16,0-2-90-16,3-1-53 0,-3-3-520 0,2 2 45 0,1-6 68 15,0-1 38-15</inkml:trace>
  <inkml:trace contextRef="#ctx0" brushRef="#br0" timeOffset="47735.74">2175 4056 665 0,'-13'1'289'0,"4"4"-43"15,-2 2-34-15,-4-1 11 0,2 3-44 16,-5 3 6-16,3 1-29 0,-3 3-23 0,2-2 26 16,-2 3-57-16,3-2 69 0,-1 1-9 0,4-3-32 15,1 0 3-15,1-1-30 0,0 0-44 16,5-2-59-16,-2 0-13 0,3-3-23 0,0 1-56 15,4-4-8-15,1 1-64 0,-1-5-15 0,7 2-5 16,-7-2-19 0,14-2 29-16,-4-3-48 0,6-2 17 0,-3-3 23 0,3 1 49 0,1-4 44 15,7-9 17-15,0 0 92 0,-3-2 24 16,3-1 22-16,-4-1 57 0,-2-2 21 0,-3 9 45 16,-5 0 18-16,0 6 14 0,-2-1 34 15,-3 4-22 1,3-1-23-16,-5 3-13 0,2 1-46 0,-3 1-2 0,-1 4-6 0,-1 2-15 0,0 0 5 15,0 0-23 1,-1 16-2-16,-3-4 20 0,-2 5-23 0,-2 4-21 0,-2 3 3 16,-3 8-25-16,-4-1 4 0,1 4-30 0,-2-3-33 15,3 0-34-15,0-2-2 0,4-5-3 0,3-5-31 16,1-3-20-16,4-3-20 0,1-1-19 16,2-2-2-16,0-3-38 0,2-2-13 0,4 1-16 15,1-4 14-15,1-2 12 0,2 1 20 0,3-5-30 16,0-1 20-1,2-3 42-15,1 0 17 0,-1-3-3 0,3 0 16 16,0-5 59-16,0 2 28 0,-6 1 23 0,1 2 26 0,-2-1 17 0,-2 4 75 16,-1-2-49-16,0 3 21 0,-3 2-34 15,-2 0-2-15,0 4 28 0,-3 0-28 0,0 0 12 16,4 8-35-16,-6-1 20 0,0 3-2 16,1 1-41-16,-1 3 28 0,-1-1-21 0,1 3-2 15,0-3 10-15,3 0 5 0,0 0-15 16,1-1 10-16,1 0 8 0,2-4 0 15,1 2-3-15,1-3 5 0,0-1 0 0,1-4 13 16,1 2 47-16,1-3-22 0,0-2-71 0,0-1 23 16,0-2 6-16,-2 0 119 0,-1-1-48 15,1-3-18-15,0 1 23 0,-3 0-85 0,0 0 1 16,0-2 5-16,0 2-1 0,-4-1 11 0,0 2-18 16,0-1-8-16,-2 1-12 0,0 0-13 15,-2 0-3-15,-2 0-18 0,0 2-8 16,-1 1-30-16,-2-1-23 15,1 2-16-15,-3-2-2 0,2 4-13 0,0-2-15 16,0 1-21-16,1 1-23 0,1-1-58 0,2-1-16 0,4 2-31 0,-8-1 54 16,8 1-28-16,-3-4-108 0,6 0-261 0,0-2-81 15,6 0 9-15,2-5 118 16</inkml:trace>
  <inkml:trace contextRef="#ctx0" brushRef="#br0" timeOffset="48288.87">2588 4062 465 0,'18'-23'197'0,"-2"4"18"0,-4 1 16 16,1 4 2-16,-3 1 10 0,0 1-20 0,0-1-1 15,-2 6-27-15,-2 1-6 16,1 1-35-16,-4 5 20 0,-3 0-10 0,0 0-21 0,11 11-2 16,-9-1-21-16,-2 3 0 0,0 3-9 15,-2 4-9-15,-2 0-10 0,0 6-7 0,-6 8-14 0,1-2 21 16,-3 1-33-16,1-1-5 0,3-5-23 16,1-8-3 30,4-4 3-46,-2 2-26 0,0-5 13 0,3 0-6 0,-1-2 17 0,0-1 37 0,1-2 3 0,2-2-71 0,0-2-6 0,0 1 8 0,0-4 20 0,8 1-22 0,-8-1 25 16,12-5 10-16,-4-1-20 0,3 1 10 16,1 0 5-16,-1 0-20 0,4-2 2 15,-2 1-2-15,2 2 0 0,-2 2 15 0,-1-1-13 0,-1 2 8 16,1 0-3-16,-4 2 23 0,2 1 1 16,-2 0-19-16,0 1 37 0,-3 2-16 0,-2 0 17 15,-3-1 27-15,0 1-6 0,-3 2-20 16,-2 0-8-16,-3 1-12 0,-1 1 12 15,0-3-5-15,-3 3-18 0,1-2-33 16,-1-1 2-16,1 1-12 0,1-1-39 0,0-3-2 0,3 1-26 16,1-1-23-16,-2 0-33 0,3-3-41 15,5 0-49 1,-10 0-20-16,10 0-85 0,-2-10-7 0,2 7 40 0,2-7 29 0,3 0-39 0,3-2-46 16,4-6 95-16,1 1 26 0,0 3 81 15,3-3 18-15,-3 2 60 0,2-1 58 0,2 3 71 16,-4 2 57-16,1 1 18 0,-2 2-5 15,-2 1 28-15,-1 3-10 0,-2-1 31 16,1 4-21-16,-1-1 5 0,-7 2 23 0,8 3-15 0,-3 3-13 16,-2 0-13-16,-1 0-2 0,-2 3 12 15,0 1-30-15,0 3-5 0,-2-1-9 16,-3 3-32-16,2 3-5 0,-3-1-37 0,-1-3-35 16,2 0-41-16,0 2-13 15,-2-2-102-15,1-1-120 0,1-3-47 0,0 1-455 0,2-3 38 16,1-2 74-16,-1-1 44 0</inkml:trace>
  <inkml:trace contextRef="#ctx0" brushRef="#br0" timeOffset="48437.6">2998 3983 860 0,'-2'-2'238'16,"2"2"-98"-16,-5-4-96 0,5 4-108 0,0 0-274 15,-10 6-184-15</inkml:trace>
  <inkml:trace contextRef="#ctx0" brushRef="#br0" timeOffset="48879.39">3157 3896 970 0,'0'0'396'0,"-3"13"1"15,1-6-128-15,0 6-23 16,-4 2 10-16,-1 3-49 0,4 1 18 0,-5 6-46 0,-4 8-10 16,1 0-36-16,-1-1-12 0,-1 2 19 0,2-2-65 15,1 1-9-15,0-5-35 0,2-6-39 0,3-4-4 16,3 1-35-16,2-2 1 0,0-3 5 16,0-1-41-16,2 2 19 0,3-4 6 0,0-2 6 15,3-1-10-15,0-1-6 16,-1-3 6-16,3 1 17 0,1-4 36 0,2-1-30 0,-3-4 7 15,5 1 26-15,1-2-33 0,2-2 7 16,-3-4 49 0,3-1-23-16,-3-1 7 0,1-1 21 0,-4-2-12 0,-1-4 30 0,-1 0 2 15,-2 4-12-15,-3 1 43 0,0 3-15 0,-3 1 15 16,-2 2 8-16,-4 3-15 0,1 1 4 0,-2 4 9 16,-3 1 7-16,-2 1 10 0,-3 4-23 15,0 1 0-15,3 1 1 0,-3 2 14 0,0 1-30 16,5 2 5-16,-2-3-25 0,3 1 4 15,2-1 3-15,3 0 0 0,1-1-23 16,-1 2-10-16,2-2 15 0,2 0-15 0,3-1-8 0,0-1-23 16,0 3-15-16,3-5-31 0,2 1-38 0,-1 0-11 15,0-3-28-15,2 1-97 16,-1 0-82-16,0 0-15 0,-2-2-259 0,0 1-118 0,-1-1-2 16,-2 0 82-16,0 1 76 0</inkml:trace>
  <inkml:trace contextRef="#ctx0" brushRef="#br0" timeOffset="49186.61">1698 4653 936 0,'0'0'313'0,"16"3"-39"0,-4-1-21 0,9-2 46 16,8-2 3-16,22 2-10 0,8-4-49 16,20 1-10-16,0-2 0 15,6 0-51-15,0 0-67 0,2 2-46 16,3-3-5-16,-6 1 8 0,1 0-18 0,-6 2 5 0,-2-2-41 0,-7 0-11 16,-12 2-53-16,-9 0-13 0,-10 1-84 0,-11 2-3 15,-5-2-25-15,0 1-29 0,-10 1-46 0,-3-2-20 16,-4 2-387-16,-6 0-51 0,0 0 57 15,0 0 50-15</inkml:trace>
  <inkml:trace contextRef="#ctx0" brushRef="#br0" timeOffset="49398.7">1814 4706 647 0,'-18'3'220'0,"7"2"-25"0,3-1 15 0,6-2 0 16,2 3 2-16,6 1 8 15,1-4 44-15,6 2-16 0,10-2-12 0,10 3-11 0,16 0-41 16,7-4-2-16,1 1-18 0,1 0-18 0,2 1-8 16,4-4-23-16,-2 1-18 0,-1-4-25 15,0 3-13-15,-3-1 15 0,0-1-46 0,-5-1-23 16,-3-1-35-16,-2-1-42 0,-2 0-53 16,0 0-129-16,-2 0-45 0,-3-4-93 0,5 2-391 15,-2 0 74-15,0-3 28 16,1 1 64-16</inkml:trace>
  <inkml:trace contextRef="#ctx0" brushRef="#br0" timeOffset="49781.43">3522 4311 1223 0,'0'0'369'0,"15"-2"-29"0,-2 2-15 15,2 0-23-15,7 0-54 0,5 0-12 16,4 0-21-16,17-1-36 0,1 0-25 15,0 1-31-15,2-3-21 0,0 0-20 0,-2 2-23 0,-3-2-29 0,-7 2-27 16,-6-1-54-16,-5 0-69 16,-3 2-60-16,-2-1-99 0,-5 1 31 0,-2-2-74 15,-6 2-436-15,1 1 133 0,-7 0-20 0,-1 0 64 16</inkml:trace>
  <inkml:trace contextRef="#ctx0" brushRef="#br0" timeOffset="50001.7">3491 4408 890 0,'-14'4'302'0,"7"-3"-7"0,4 2-6 0,6 0-5 0,-3-3-23 0,15 6 3 0,1-5-29 0,1 0-15 0,7 0-12 0,4-1-27 16,5 3 52-16,14-7-41 0,4 4-20 16,1-1 2-16,1-1-23 0,1-1-31 15,-6 0-12 1,1-1-21-16,-2 2-46 0,-2-4-39 15,-11 1-20-15,-5 1-53 0,-4 1-1 0,-2-1-58 0,-3 0-42 0,-2-1-87 0,-3-2-71 16,-2 2-514-16,-3 0 91 0,-1-1 54 0,-1-1 47 16,-1-3 101-16</inkml:trace>
  <inkml:trace contextRef="#ctx0" brushRef="#br0" timeOffset="50223.03">3934 4050 834 0,'15'0'315'0,"9"2"0"16,4 2-39-16,13 2-5 0,3 1-45 0,-1 3-4 0,1 1-32 15,-1 2 2-15,1 0 5 0,-6 2 5 16,1 0-18-16,-3 1 6 0,-8 3-29 0,-7-3-12 16,-4 0-109-16,-7-2 24 0,-5-1 6 0,-2 4 42 15,-7 1-9-15,-5 3-9 16,-11 8-12-16,-9-2-31 0,-13 8-43 0,-10 0-28 0,-5 1-57 15,-7 1-146-15,-2 0-657 0,-16 6 48 16,15-10 110-16,-4 0 69 0,-5-3 49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5:38:40.510"/>
    </inkml:context>
    <inkml:brush xml:id="br0">
      <inkml:brushProperty name="width" value="0.05292" units="cm"/>
      <inkml:brushProperty name="height" value="0.05292" units="cm"/>
      <inkml:brushProperty name="color" value="#0070C0"/>
    </inkml:brush>
  </inkml:definitions>
  <inkml:trace contextRef="#ctx0" brushRef="#br0">4437 5643 865 0,'8'0'353'0,"1"-2"-20"0,2 0-85 0,4 2-36 0,1-1-7 0,6 0-8 0,-1-2-35 16,5 2-4-16,-3-1-2 15,7-1-23-15,-4 2-15 0,3-1-13 0,-1 2 15 0,0-3-17 16,0 1-21-16,1 1-18 0,-4 0-28 16,0 0-6-16,-1-1-19 0,-6 2-9 0,2-1-20 15,-2 1-38-15,-2 0-26 0,-3-1-10 0,2 1-41 16,-5 0-98-16,0 0-76 0,-2-1-484 16,-1 1 77-16,-1-2 92 0,-6 2 69 0</inkml:trace>
  <inkml:trace contextRef="#ctx0" brushRef="#br0" timeOffset="337.5">4483 5542 988 0,'0'0'299'0,"0"0"-20"0,0 0 0 16,28-2-28-16,-18 2-3 0,3 0-30 16,5-1-29-16,-3 1-17 0,4 0-19 15,1 0-12-15,0 0-33 0,1 0 7 0,2 0 0 0,-2-1-13 16,-1 1-15-16,3 0-28 0,-4 0-18 15,-2 0 5-15,4-1-56 0,-6-1-10 0,3 1-9 16,-3 1-53-16,1-1-23 0,-1 0-53 16,-2 0-70-16,0-3-66 0,-1 2-474 15,-1 2 31-15,-1-4 74 0,0 2 71 0</inkml:trace>
  <inkml:trace contextRef="#ctx0" brushRef="#br0" timeOffset="679.33">4846 5359 1144 0,'0'0'330'0,"9"7"-36"16,-2-2 8-16,1-1-112 0,5 2-11 0,2 1-13 15,3 0-17-15,3 4 45 0,4-3-25 0,8 8-2 16,-6-6 17-16,-4 0-46 16,12 4-30-16,-9-2 4 0,-3-2 6 0,0 0-5 15,-5 1-14-15,0-3-19 0,-3 2-9 0,-2 3 11 16,-3-2 11-16,-2 2-17 0,-5 0 9 0,-3 2-11 16,-3 3 5-16,-7 5-17 0,-10 8-31 15,-4 1-11-15,-11 7-43 0,-2-2-51 0,-4 5-49 16,-5-3-253-16,-2 4-541 0,-6-3 113 0,0 2 37 15,-5-4 88-15,0 1 96 0,0 1 45 16</inkml:trace>
  <inkml:trace contextRef="#ctx0" brushRef="#br0" timeOffset="7464.46">1719 7263 1026 0,'0'0'402'0,"0"0"-54"0,0 0-43 0,-5 1-29 0,5-1-35 0,0 0-8 0,0 0-18 16,0 0-8-16,18 2-97 0,-11-2-18 16,4-2-7-16,4 2 2 0,1-1-18 0,1 0 7 15,4-2-6-15,3 1-12 0,6-1-14 0,1 0 10 16,0-1-1-16,2 1-9 0,0-1-11 16,-2 2-5-16,-3-3-12 0,3 3-47 0,-8 0-23 15,-1-2-20-15,-1 3-21 16,-3 0-117-16,-2-1-95 0,-4 2-302 0,-1-1-185 0,1 1 103 15,-6 0 33-15,1 0 98 0</inkml:trace>
  <inkml:trace contextRef="#ctx0" brushRef="#br0" timeOffset="7676.23">2063 7238 1297 0,'-6'2'359'15,"1"4"-22"-15,-3 2-14 0,3 2-54 16,-2 3-21-16,1 4-25 0,-1 0-8 16,0 4-28-16,1-1-18 0,1 3-11 0,-2-2-7 15,1 1-112-15,1-1-3 0,-1-3 2 0,2 1-23 16,-2-2-33-16,2 1-17 0,1-2-4 16,-2 1-38-16,2-4-28 0,-2 4-84 0,2-4-103 15,1 0-330-15,-3 0-159 0,2-4 111 0,1 0 20 16</inkml:trace>
  <inkml:trace contextRef="#ctx0" brushRef="#br0" timeOffset="7919.02">1732 7614 1208 0,'0'0'389'0,"0"0"-44"0,0 0-20 0,0 0-94 15,0 0-26-15,20-1-16 0,-12-1-7 16,0 2-6-16,5 0 1 0,-1 0-29 0,1-3-2 16,5 3-25-16,-3 0-16 0,3 0 7 0,0 0-22 15,1-1-6-15,3 1-15 16,-3 0-20-16,-1 0-16 0,-1 0 3 0,-1 0-36 0,-1 0-15 16,0 0-8-16,-4 0-29 0,1 0-19 0,1 0-42 15,-3-1-86-15,1 0-137 0,-1 1-30 16,0-1-466-16,-2-3 85 0,3 3 58 15,-1-3 134-15</inkml:trace>
  <inkml:trace contextRef="#ctx0" brushRef="#br0" timeOffset="8482.32">2301 7444 755 0,'-7'8'307'0,"6"-3"-23"0,-1-1-43 0,-1 2-26 0,1 1-13 0,1 1-18 0,-1-2-30 15,0 4-3-15,-2-2-21 0,2 0-12 16,0 3-39-16,-1-4 11 0,1 3-1 16,1-3-19-16,-1-1-27 0,2 1-7 0,-2-3 7 15,2 0 88-15,-1 2-16 0,1-2 11 16,0-4-14-16,-2 6-30 0,2-6-5 0,0 0 20 15,0 0-12-15,0 0-24 0,0 0 3 0,0 0 0 16,0 0-13-16,13-10-2 0,-11 7 5 16,1-2-3-16,4 0-13 0,-1-1-4 15,-2 1 19-15,2 2 1 0,1-2-26 0,-1 1 18 0,-1 2-10 16,2-3-3-16,-1 4-15 0,-1 0 10 16,1 0-5-16,-6 1 1 0,10 2-9 15,-3-2 0-15,-2 4 21 0,-2-2-8 0,2 0-18 0,-2 2 1 16,2 1-80-16,-1-3 5 0,-3 3 30 15,4-2-9-15,-5 1-6 0,3 0-5 16,-1-1-48-16,0 1-34 0,1-2-50 0,-3 2-99 16,0-4-163-16,5 3-412 0,-2 0 92 0,-3-3 59 15,10-1 95-15</inkml:trace>
  <inkml:trace contextRef="#ctx0" brushRef="#br0" timeOffset="8971.74">3470 7267 924 0,'0'0'325'16,"-10"14"-23"-16,7-6-31 0,0 4-41 16,1 2-27-16,-3 3-19 0,0 3 0 15,-1 1-23-15,2 0-17 16,-2 2-16-16,-1-1 56 0,2 2-20 0,-3-1-28 0,3-3-11 15,-1 4-20-15,2-5-41 0,-2-2-23 0,2-2-23 16,0 3-18-16,0-4-28 0,4-3-34 0,-3-3-43 16,0 3-56-16,3-3-82 0,0-3-290 15,0 1-258-15,1-3 85 0,-1 1 53 0,0-4 98 16</inkml:trace>
  <inkml:trace contextRef="#ctx0" brushRef="#br0" timeOffset="9643.69">3454 7332 1103 0,'6'-3'330'0,"-1"-2"33"0,3 2-38 15,0 1-10-15,2 0-28 0,0 0-34 16,0 2 19-16,-3 2-67 0,2 0-11 16,0 0-25-16,-1 3-8 0,-2 1-17 0,-1 4 4 0,0-1-20 15,-3 2-10-15,-1 0-3 0,-4 2-23 16,3-2-20 0,-5 3 7-16,0-1-15 0,-1-1-5 0,1 1 2 0,-2-1-7 0,1-4-8 15,1 2 3-15,0-2 5 0,1 0-8 0,0-3-21 0,2 0 1 16,0-2-13-16,2 2 7 15,0-5-2-15,4 6-10 0,-1-5-3 0,0 3 0 16,2-3 0-16,2 1 5 0,-1 2 6 0,-1-3-1 16,2 0 16-16,1 4-16 0,0-4-7 15,-1 3 7-15,1-3-10 0,0 4 6 0,-4-3 27 16,2 4-53-16,-1-2-3 0,-2-2 13 16,-3 5 2-16,0-1 36 0,-3-1-5 0,-2 2 52 15,-1-1-1-15,0 0 6 0,-5 2-32 16,1 1-1-16,-3 0 17 0,-2-3-21 0,-1 3 16 0,1-1-15 15,-3-2-3-15,2 0-26 0,-1 0 34 16,3-3-51-16,-3 2 10 0,1-1-6 16,4-2-37-16,-2-1-11 0,2 0-16 0,1 2-35 15,1-3-3-15,2 0-48 0,1 0-34 0,0 0-73 16,7 0-142-16,-8-4-51 0,5 4-517 16,0-2 67-1,3 2 158-15,3-7 1 0,0 3 99 0,2 0 62 0</inkml:trace>
  <inkml:trace contextRef="#ctx0" brushRef="#br0" timeOffset="10033.7">3687 7461 1231 0,'0'0'368'0,"0"0"-27"15,0 0-32-15,4 7-24 0,-4-7-19 0,0 8-38 16,-3 0-36-16,2 1-8 0,0-1-5 0,0 1-18 15,1 0-30-15,-2 2-21 16,2-2-13-16,0 1-53 0,2-2-31 0,-2 2-1 0,1-1 4 16,1 0 7-16,1-1-3 0,1-1-17 15,-1 0 2-15,2-3 15 0,0 2 14 0,-1-4-24 16,0 0 10-16,2 1 32 0,-6-3-14 0,12-2 13 16,-7-1-10-16,2 1 100 0,0-2-23 15,0-2-3-15,-2-1-26 0,0 1 21 16,2 0 8-16,-3-2-38 0,1-2 1 0,0-1-4 15,-1 3 13-15,2-4 2 0,-3 4-15 0,1-4-11 16,-1 4 3-16,-1-2 8 0,-1 4-10 0,1-1-24 16,0 0-20-16,-1 2-5 0,2-2-20 15,-1 3-19-15,-2 0-45 0,2 0-11 0,-2 4-36 16,0 0-2-16,3-2-64 0,-3 2-103 0,0 0-132 16,5 0-569-16,-5 0 77 15,8 3 117-15,-8-3 42 0,10 5 84 0,-5-5 51 0</inkml:trace>
  <inkml:trace contextRef="#ctx0" brushRef="#br0" timeOffset="10397.1">4053 7431 770 0,'-7'0'356'0,"0"4"41"0,-3-1-37 0,0-2-29 0,3 4-27 15,-1-3-9-15,-1 2-65 16,1 2-18-16,1-1-25 0,0-1 3 0,1 0-32 0,-1 3-7 15,2-1-23-15,2 0 3 0,-2-1-34 16,3 2 18-16,1-2-30 0,-1 2 2 16,4-2-26-16,-2-1 3 0,1 2 8 0,1-1-3 15,0 1-25-15,3 0-9 0,-2-1 37 0,2 1-13 16,-2-2-28-16,2 0 2 0,0 1 3 16,-3 0 12-16,1-2 1 0,0 1 5 0,-1-2-18 15,0 2-67-15,-2-4 31 0,1 6 13 0,-1-6-21 16,-2 6 21-16,-1-4 2 0,-3 3-25 15,-1-3 7-15,0 2 3 0,-2-2 18 0,0 2 57 16,0-2-1-16,-1 0-41 16,2 1 5-16,-2-1-14 0,0-2-27 0,0 3-15 0,3-1-13 15,1-1-25-15,-2-1-51 0,1 0-50 0,7 0-104 16,-11 0-115-16,7 0-576 16,4 0 79-16,0 0 74 0,-6-2 177 0,6 2 28 0,0 0 26 0</inkml:trace>
  <inkml:trace contextRef="#ctx0" brushRef="#br0" timeOffset="10603.58">4085 7482 1054 0,'0'0'320'0,"6"0"-28"0,-6 0-5 0,0 0-26 16,0 0-41-16,5 7-21 0,-3-1-1 0,-2-1-14 15,3 0-49-15,-3 1 73 0,2 1-9 16,-2-1-27-16,0 2-29 0,0 0 1 15,0 3-62-15,0-5-41 0,-2 5-65 0,-1-3-52 16,3 1-124-16,-5 0-128 0,3-1-524 0,-1-2 120 16,2 3 10-16,1-7 82 15</inkml:trace>
  <inkml:trace contextRef="#ctx0" brushRef="#br0" timeOffset="10720.46">4146 7480 721 0,'0'0'307'0,"-1"-6"-25"0,0 3-36 0,1 3-118 15,-2-3-100-15,-6 2-166 0,8 1-515 0,0 0 41 16</inkml:trace>
  <inkml:trace contextRef="#ctx0" brushRef="#br0" timeOffset="11267.63">4267 7436 980 0,'0'6'338'0,"0"0"-31"16,-2 2-38-16,2-1-36 15,0 1-34-15,-2 2 19 0,2-3 28 0,0 4-34 0,-1-3-25 16,1 3 5-16,-2-2-26 0,2 0-17 15,-3-1-14-15,3 0-9 0,0-3-26 16,0 2-11-16,-2-1 26 16,2-1-25-16,2 0 5 0,-2-5 25 0,0 5 0 0,0-5-25 0,0 0 7 15,0 0-84-15,0 0 0 0,0 0 3 16,0 0 12-16,8-10-28 0,-3 5 0 0,-2-2-2 16,1 0 15-16,2 2-3 0,-2-2 0 0,2 1 6 15,2 0-19-15,-3 3 14 0,0-1-14 16,0 2 16-16,1 0 5 0,1 2-7 0,-7 0-9 15,7 4 11-15,-1 3 10 0,-4-3-17 0,0 3 9 16,1-1 3-16,0 2-18 0,-3-1 21 16,1 2-44-16,0-1-20 15,-1 0-26-15,1 2-44 0,-1-2-15 0,0-1-41 0,0 0-69 16,0 1-110-16,2-5-122 0,-2 4-418 0,3-1 53 0,-1-3 131 16,1 0 49-16,2 1 87 15</inkml:trace>
  <inkml:trace contextRef="#ctx0" brushRef="#br0" timeOffset="11981.53">4557 7566 926 0,'3'-4'356'0,"-1"-1"20"0,-2 0 8 0,1 2-41 0,-1-2 13 15,0 5-28-15,-1-6-44 0,1 1-31 0,0 5-28 16,-2-4-33-16,2 4-20 0,-5-4-11 16,5 4-79-16,0 0-21 0,-11 4 1 15,11-4-19-15,-10 7 1 0,5-5-3 0,0 4-3 0,-1-1 8 16,-1 1-20-16,4 0 15 0,-2 0-8 16,0 1 64-16,2-1-4 0,-1 1-6 0,4 0-16 15,-5-1-27-15,4 1-3 0,1-1 25 16,-2 0-2-16,2-1-23 0,2 0 5 0,-1-2-5 15,4 3-15 1,-3-3-1-16,1 1-30 0,2-3 10 0,0 2-25 0,0-3-6 0,2 2-7 16,1-2-13-16,0 0-49 0,2-1-30 15,-1-1-34-15,1-1-23 0,0 3-53 0,0-3-80 16,2-1-112-16,-1 0-139 16,-1 2-248-16,3-3 79 0,0 2 21 0,-2-2 164 0,1 5 40 0,0-4 467 15,2 0 66-15,-2-2 3 0,-1 0 48 16,1 0 49-16,-2 0 74 0,-2-1 23 0,1 2 77 15,-2 0 28-15,-2-2-8 0,0 1-81 16,0 3 7-16,-3-2-15 0,-1 0-11 16,1 3-27-1,-2 2-6-15,-3-6-18 0,-1 2-9 0,4 4-24 0,-10 0 0 0,4-1-21 0,6 1 75 16,-15 1-31-16,9-1 3 0,-4 4-8 16,2-2 21-16,1-2-60 0,0 2-4 0,1 2-16 15,1-2-15-15,0 1 17 0,0 0-17 0,2 2-23 16,1-1 0-16,1-2 7 15,1 3-17-15,0 0 15 0,0-5-11 0,1 8 24 0,1-2-31 16,3-1-10-16,-3-1 10 0,4 0 5 16,-4 3 0-16,4-3 10 0,-3 2-46 0,1-2-33 15,-1 1 0-15,0-2-26 0,1 0 16 0,-4 2 15 16,3-4 16-16,0 6-19 16,-3-4 8-16,0 0-7 0,0-3 15 0,0 7-3 0,-3-2 8 15,0-3-15-15,-1 2-8 0,1-2-13 16,0 2 10-16,-2-2-22 0,0 1-24 0,2-1 3 15,3-2-49-15,-9 0 0 0,9 0-20 16,-6 1-46-16,6-1-49 0,0 0-61 0,0 0-49 16,-10-3-110-16,13-2-361 0,-3 5 35 15,7-4 99-15,0 1 60 0</inkml:trace>
  <inkml:trace contextRef="#ctx0" brushRef="#br0" timeOffset="12320.23">4911 7539 893 0,'0'0'317'0,"0"0"-7"0,-16 0-13 16,16 0-31-16,-9 5-92 0,9-5-10 0,-9 2-5 15,5 1-16-15,-2-1-18 0,2 2-12 0,1-2 0 16,-3 3 4-16,4-1-17 0,-3 0-36 16,3 1 5-16,1 0 11 0,-1 0 7 15,2-1 51-15,0 1-7 0,0 1 2 0,0 0-26 0,2 1-4 16,0-3 32-16,1 3-45 0,0-1 10 15,-1 0-8-15,1 0 0 0,0 0-15 0,-1 1 10 16,1-1-74-16,-1 0 27 0,1-2 7 0,-3 2-14 16,0 0-5-16,-3 1-2 15,1 2 20-15,-1-2-21 16,-2 0 14-16,-3 0-16 0,1 3 23 0,-3-3-44 0,-1 0 19 0,1-1-31 16,-3 1-21-16,3-1-13 0,-1-4-15 15,1 2-43-15,3-2-46 0,-1-1-62 0,0 1-80 16,-4-5-155-16,9 1-451 0,3 2 108 0,-3-6 38 15,6 1 107-15,-3 5 37 16</inkml:trace>
  <inkml:trace contextRef="#ctx0" brushRef="#br0" timeOffset="12601.65">5314 7538 926 0,'0'0'417'0,"0"0"-12"0,18 4-16 0,-13-4-46 0,5 0-36 15,3-2-15-15,2 1-46 0,-2 0-3 16,4 1-39-1,0 0 6-15,-2-2-28 0,2-2-28 0,-1 4-24 0,-1-1 3 0,-2-1-35 16,0 0-45-16,2 0-4 0,-2 2-52 16,-3-1-40-16,1-2-80 0,-1 1-71 0,0-4-155 15,1 5-559-15,-4-1 94 0,0-1 89 0,-1 2 47 16,-1 0 64-16</inkml:trace>
  <inkml:trace contextRef="#ctx0" brushRef="#br0" timeOffset="12984.02">5539 7363 913 0,'0'0'315'0,"0"0"-31"0,0 0 3 0,0 0-11 0,18 4-35 0,-12-3 10 16,1 0-28-16,0 0-29 0,1 2 57 0,0-1-16 15,2 0-14-15,-2 2-19 0,2-3-15 16,1 0-21-16,-1 2-5 0,0-1-38 0,0-1-5 0,0 0-13 16,1 1 10-1,-1 0-43-15,0-2 15 0,0 2-10 0,1-2-21 0,-1 1-13 0,-5-1-20 16,2 2 18-16,1-2-51 0,-2 0-26 15,-1 2-15-15,-5-2-23 0,10 0-16 16,-10 0-68-16,8 1-19 0,-8-1-48 0,2 4-59 16,-2-4-75-16,2 1-529 0,-2-1 94 0,0 6 57 15,0-6 69-15,1 5 51 0</inkml:trace>
  <inkml:trace contextRef="#ctx0" brushRef="#br0" timeOffset="13461.99">5783 7399 1210 0,'0'0'438'15,"0"0"-36"-15,0 0 20 0,0 0-148 0,0 0-26 0,-10 14-15 0,7-7-36 16,-5 4-7-16,0 3-1 0,-4 4-35 0,-9 7-3 15,1 0-28-15,-6 5-36 0,-7 4-57 0,-4 2-32 16,2 1-42-16,-1-5-86 0,6-2-108 16,-12 3-149-16,14-2-473 0,0-6 115 0,2 1 62 15,0-1 22-15,6-1 83 0</inkml:trace>
  <inkml:trace contextRef="#ctx0" brushRef="#br0" timeOffset="17226.25">6796 7195 1505 0,'1'-4'435'16,"-1"4"-26"-16,0 0-27 0,1-3-80 0,-1 3-10 15,0 0-19-15,0 0-32 0,0 12-8 0,-1-6-18 16,0 2-56-16,0 3 25 0,-1 2-36 16,-1 5-12-16,0 0-16 0,1 1-22 0,-3 1 12 15,2-1-31-15,1 0 13 0,-3 0-25 16,2 0-34-16,-1-1 3 0,0 0-23 0,2-4-13 15,-1 2-23-15,-2-3-23 0,3-2-13 16,1-2-31-16,-1 1-17 0,2-2-34 0,-2-1-69 0,2-1-120 16,0-2-52-16,0-2-447 0,2 2 41 15,-2-4 17-15,0 0 108 0,0 0 72 16</inkml:trace>
  <inkml:trace contextRef="#ctx0" brushRef="#br0" timeOffset="17576.96">6824 7261 934 0,'2'-9'320'16,"0"3"-8"-16,2-1 57 0,0 0-39 0,2 1-13 15,-1 0 3-15,5 0-72 16,-2 5 1-16,2-2 4 0,0 1-58 0,1 4-67 0,4 0-26 16,-5 3 21-16,3-1-33 0,2 7-3 15,-2-3-11-15,0 4 22 0,-3 0-34 16,0 4 7-16,-2-2-7 0,-5 0-23 0,-1 2 26 15,1-2-3-15,-6-1-8 0,0 3-15 0,-1-1 5 16,-4 0-18-16,0 1-5 0,-2-3 13 16,-2 0 13-16,-2 3-24 0,1-6 6 0,1 1-8 15,-4 1 0-15,1-5 8 16,-1 3-8-16,-2-4-10 0,3 0 15 0,-1-4-8 0,2 2-20 16,1-2-15-16,-1-2 7 0,0 0-2 0,3 0-16 15,1 0-17-15,0 0-13 0,-1 0-11 16,4-1-48-16,-1 0-3 0,0-2-25 0,3 2-65 15,5 1-73-15,-5-5-77 0,3 4-218 16,2-1-236-16,0 2 44 0,5-9 103 0,-1 7 61 16</inkml:trace>
  <inkml:trace contextRef="#ctx0" brushRef="#br0" timeOffset="17922.5">6977 7345 1113 0,'6'0'397'0,"-1"0"-39"0,-5 0 3 15,9 3-33-15,-3-2-34 0,-1 1-35 0,0 2 9 16,0 1-42-16,-2-1-17 16,4 3 14-16,-3 2-41 0,3-1-13 0,-4 1-21 0,-1 0-50 15,1 2 9-15,-3-2 6 0,0 2-98 0,0-2 3 16,-1 2 0-16,-3 0 2 16,1-3 3-16,0 2-7 0,1-3-1 0,0 1-7 15,-2-3-1-15,2 2 19 16,0-2-8-16,2-3 20 0,-3 3 8 0,3-5-5 15,-3 2 13-15,3-2 10 0,0 0-13 0,0 0-2 0,0 0-11 16,-4-10-12-16,4 5 12 0,2-2-15 16,0-3 0-16,1 3 21 0,2-4-26 0,1 3-10 15,-2-4 4-15,2 4 11 0,1-2 3 16,-1 2-13-16,1 0 0 0,1-1-29 0,-1 2-25 0,1 1-10 16,0 2-26-16,-3 0-23 15,2-1-20-15,1 5-82 0,0-5-46 0,-1 4-111 16,-1 1-63-16,2-2-502 0,-1 1 97 0,1-2 118 15,2 2 82-15,-4 0 77 0</inkml:trace>
  <inkml:trace contextRef="#ctx0" brushRef="#br0" timeOffset="18087.74">7249 7351 918 0,'5'0'351'16,"-5"0"-36"-16,0 0-18 0,0 0 7 0,0 0-30 16,3 7-15-16,-5-2-6 0,1 1 65 15,1 0-44-15,-2 1-16 0,2 1-20 0,-3 1 8 16,3-1-69-16,-3 3 20 0,1-3-51 15,0 3-1-15,-1-4-58 0,3 4-38 0,-3-3-31 16,-1 0-67-16,1 1-71 0,2-1-80 0,-3-1-245 16,4-2-502-16,-3 0 115 0,0-2 59 15,3 1 87-15,0-4 15 0</inkml:trace>
  <inkml:trace contextRef="#ctx0" brushRef="#br0" timeOffset="18270.09">7305 7242 783 0,'0'0'289'0,"0"-4"-25"0,0 4-11 15,0 0-66-15,0 0-44 0,0 0-97 0,0 0-158 16,-8 6-526-16,6-1 14 0,2 0 63 0</inkml:trace>
  <inkml:trace contextRef="#ctx0" brushRef="#br0" timeOffset="18871.86">7385 7363 1080 0,'0'0'317'0,"0"0"-15"16,2 8-2-16,1-3-21 0,-3 1-34 0,3 0-14 15,-3 0-11-15,2 1-41 0,-2 1-7 16,0 0-19-16,1 1-10 0,-1-2-20 16,1 4-23-16,0-5-3 0,-1 5 11 0,3-3-24 0,-3-1 3 15,2 1-30-15,-2 0 12 0,2 0-13 16,-2-2-7-16,1 1-11 0,1-1 11 0,-2-1-13 16,3 0-1-16,-3-2-9 0,2 1-8 15,-2-1 0-15,3 1-8 0,-3-4 26 0,2 4-5 16,-2-4 15-16,6 2 2 0,-6-2-35 0,0 0 21 15,0 0-6-15,12-6 10 0,-9 1-23 16,2 3 16-16,-3-2-10 0,1-1-3 0,2 2 15 16,-2-1-13 15,-1 3 34-31,3-4-36 0,-2 3-5 0,0-2 0 0,-3 4 7 0,5-3-25 0,-3-1 15 0,-2 4-5 0,8-2 34 16,-6-2-34-16,4 4-3 0,-3-2 39 15,4 0 36-15,-4-1-3 0,4 1-17 0,1-2-11 0,-3 2 30 16,3-2-19-16,0-1-14 0,-3 1 21 15,2 0-18-15,-2-2 8 0,3-1-13 0,-3 1-3 16,0 0-4-16,-2 0-1 0,2 0 8 0,-2 0-13 16,2 2-2-16,-3 0-6 0,-2-1 8 15,1 3 6-15,-1 2-11 0,0 0-18 16,0 0 28-16,0 0 3 0,0 0-28 0,0 0 7 16,-13 12 0-16,10-6 16 15,0 1-23-15,-1-1-1 0,1 1 9 0,0-1-24 0,0 1 0 16,2 0 6-16,0-1-3 0,-2 1 30 15,3-1-32-15,0 0 4 0,0-1 13 0,3 1-25 0,-3-3-29 16,1 2 24-16,0 0-21 16,2-3-36-16,0 3 16 0,-1-4-57 0,1 2-13 0,-3-3 9 15,8 2-91-15,-4-2-10 0,2 0-125 0,-2 0-443 16,-4 0-153-16,14-1 117 16,-4-2 36-16,0 1 87 0,1 0 87 0</inkml:trace>
  <inkml:trace contextRef="#ctx0" brushRef="#br0" timeOffset="19400.66">8170 7292 796 0,'-15'2'353'0,"4"2"-33"16,1-1-31-16,0 1-36 15,2-2-15-15,3 4-17 0,-3 0-29 0,2-1-18 0,2 1-28 16,1 1 5-16,0 1-13 0,1-2-26 15,2 3 1-15,0 0-23 0,2-2 12 16,-1 3-30-16,4-2-8 0,-1 4-5 0,2-1 15 16,-1-2-3-16,0 3-32 0,3-2 15 0,-3-1-6 15,3 2 3-15,-3-3-28 0,2 0-7 16,-1 0 32-16,-1 0-19 0,0-2 17 0,-3-1 5 16,1 1 8-16,0-3 69 0,-1 2 7 0,-2 0-1 15,0-3-7-15,-5 4-16 16,2-5 14-16,-4 4-30 0,-1-5-6 0,1 5-4 0,-7-3-8 15,-1-1 4-15,-1 1-6 0,-1-1-32 0,1-1 31 16,-2 0-25-16,0 0-11 0,3-1-32 16,-3-2 19-16,3 3-35 15,0-2 15-15,2 2-13 0,0-3-58 0,5 1-3 0,-2 1-41 0,2-2-29 16,3 1-30 0,0 2-58-16,5 0-86 0,-2-6-145 0,2 6-479 0,0 0 152 0,12-5-12 15,-4 3 104-15,-1 0 119 0,7-2 14 16</inkml:trace>
  <inkml:trace contextRef="#ctx0" brushRef="#br0" timeOffset="20218.72">8467 7437 1169 0,'0'0'279'0,"-12"-7"-25"15,12 7 2-15,0 0 61 0,-3-4-7 0,3 4-39 16,0 0-23-16,-8 0-4 0,8 0-14 15,0 0-48-15,-8 0-1 0,8 0-17 0,-8 1-8 16,3 2-2-16,0-2-23 0,-2 4 12 0,1-3-23 16,-2 4-23-16,4-4 8 0,-4 2-7 15,3 3-34-15,-2-1-5 0,1-2-11 16,1 3 8-16,-1-2-15 0,2 2 8 0,-1-2-16 16,2-1 8-16,1 2-41 0,-1-1 28 0,3 0-10 15,-3-2-15-15,3 1 22 0,0-4-7 16,0 5-10-16,0-5 2 0,3 2 13 0,-3-2-7 15,7 0-14-15,-7 0 24 0,0 0-8 0,13-4 7 16,-8 2-9-16,1 0 7 16,1-2-3-16,-4 2-7 0,4-3 23 0,-4 1-34 15,4 3-12-15,-3-1 23 0,0-2 10 0,-4 4-38 0,6 0 22 16,-6 0 9-16,0 0 4 0,0 0-15 16,7 3 0-16,-4 0-2 0,-3-3-11 15,2 5-12-15,-1 1-8 0,1-4 10 0,0 3-15 16,1 0-39-16,-2 0 23 0,3-2-25 0,-1 1 13 15,0-2 12-15,1 0 0 0,2 1-4 16,-2-2 32-16,-4-1-7 0,11-1 2 16,-3-2 1-16,0 1 25 0,-1 0 43 0,-2-2-33 15,3-3 13-15,0 1 47 0,-1-2-4 0,-1-2-15 16,2-3 34-16,-1-1-26 0,0-3 2 0,1-3 26 16,0-3-18-16,0 3-5 0,-1-4-23 15,1 4-61-15,0 2 7 0,-4 0 10 16,2 4 11-16,-1-3 94 0,-2 4 9 0,-1 4 4 15,1-1-28-15,2 2-16 0,-5 1-35 0,2 1 3 16,1 1 25-16,-3 3-3 0,0 2-28 0,0 0 24 16,0 0-11-16,0 0 5 0,-5 19-10 15,0-9-21-15,0 6 37 0,0 2-9 0,0 0-12 16,-1 4-18-16,1-3 10 0,2 0 0 0,1 0-40 16,0-1 12-16,-1 1-34 15,0 0-27-15,3-2-19 16,0-4-14-16,0 2-21 0,0 0-21 0,0-3-46 0,3-3 8 0,-3 2-38 0,0-4-70 15,3 1-115-15,1-2-376 0,-1-1-210 16,2-1 108-16,1-2 76 0,-2 1 83 16,2-2 63-16</inkml:trace>
  <inkml:trace contextRef="#ctx0" brushRef="#br0" timeOffset="20785.71">8777 7523 921 0,'3'-4'363'0,"0"-1"-30"16,-1-2-3-16,3 1-30 0,-2 0 81 16,-1-2-38-16,4 0-38 0,-4 0-18 15,0 0 12-15,1 2-56 0,0-1-18 0,-1 1 31 0,-2 0-30 16,1 1-98-16,1 2 0 16,-2-1-26-16,0 4 6 0,-3-6-19 0,3 6 8 15,-7 0-15-15,7 0-2 0,0 0-11 0,-13 7-8 0,7-1 1 16,-1 0-3-16,2 1-3 15,0 1-41-15,-3-1 8 0,2 1-7 0,2-1-6 16,-1-1 26-16,2 1-24 0,1 2-29 0,-2-1 1 16,2-1 16-16,2-1-41 0,0 0 11 0,2 0 14 15,2-1-27-15,0-1-19 0,2 0 16 16,1 1 13-16,1-3-23 0,0 1-1 0,2-2 24 16,0-1-26-16,0 0-5 0,1-3-8 0,4 2 24 15,-2-3-16 1,-1 1-3-16,1-3-4 0,1 0 4 0,-4 1 16 0,2-3 12 0,-1 1-17 15,1 0-3-15,-4-3 18 0,2 3-2 16,-2 0 7-16,-3 0 31 0,0 2-5 16,0-1-13-16,-1 0 15 0,0 1 16 0,-1 1-16 15,-3 0 26-15,3 2-8 0,-1-2 0 0,-2 4 1 16,0 0 4-16,0 0-2 0,0 0-1 16,0 0-1-16,0 0 14 0,0 0-25 0,0 0 31 15,5 11-10-15,-2-5 14 16,-3 0-12-16,2 1 18 0,0 1-2 0,2-2-3 0,-2 1 7 15,0 3 26-15,1-3 0 0,0 0 0 16,-1 1 1 0,-2 1 78-16,1-3-12 0,-1 2-11 0,-1-1-5 0,1-1-25 0,-2 0-28 0,-3 1 15 15,4-1 2-15,-3 0-64 0,0-1-68 16,2 1-37-16,-3-5-27 0,2 3-49 0,1-2-75 16,2-2-171-16,-5 2-655 0,5-2 125 31,0 0 72-31,0 0 153 0,0 0 18 0,5-14 124 0</inkml:trace>
  <inkml:trace contextRef="#ctx0" brushRef="#br0" timeOffset="20938.32">9169 7481 1116 0,'4'3'468'0,"0"1"-23"0,-1 3-33 0,2-1-94 16,0 1-42-16,-5 4-22 0,0-1 4 0,0 1-50 15,-3 3-11-15,-1 2 56 0,-4-1-43 16,0 0-23-16,-3 4-57 0,-3 0-53 0,-7 4-64 15,5-3-95-15,1-7-256 16,-3 2-650-16,3 0 131 0,2-4 73 0,1-2 106 0,3-3 59 16</inkml:trace>
  <inkml:trace contextRef="#ctx0" brushRef="#br0" timeOffset="21450.54">9708 7239 1292 0,'0'0'492'0,"0"0"-39"0,0 0-28 15,0 0-29-15,-5 12-27 0,2-2-26 0,-2 2-41 16,3 3-51-16,-4 4-18 16,1 4-3-16,-2 2-2 0,-4 8-41 0,3-5-34 0,1-5-35 15,-6 9-16-15,1-2-32 0,4-4-52 16,0-4-52-16,3-5 1 0,-1 0-49 15,-1 0-38-15,4-4-49 0,-1-2-69 0,1-1-123 16,0-1-581-16,-1-3 69 0,3 0 131 0,1-5-16 16,0-1 87-16,0 0 62 0</inkml:trace>
  <inkml:trace contextRef="#ctx0" brushRef="#br0" timeOffset="22050.91">9662 7276 1308 0,'0'0'350'0,"0"-6"-53"16,0 6-10-16,0 0-11 0,0 0-22 0,0 0 2 15,0 0-64-15,13 11-6 0,-8-4-9 16,2-1-26-16,1 2 3 0,0 1-3 0,0-1-49 16,4 3-17-16,-1-2-11 0,1 2-26 15,-1-3-32-15,4 2-19 0,-4-4-20 0,1 2-20 0,-1-2-21 16,4-4 0-16,-2 2-18 0,-1-1-5 15,-1-1 7-15,4-2-27 0,-4 0 22 0,1 0 24 16,1-3 0-16,0 1-3 0,0-3-13 16,-3 2 31-16,2-2 12 0,-1-1-4 15,-1 0 33-15,-2 0-13 0,2-1 38 0,-5 2 1 0,1 2 30 16,1-2 18-16,-5 1 13 0,1 2-23 16,0-3-13-16,-3 5 18 15,0-2-18 1,0 2-2-16,0 0-1 0,0 0-4 0,-16 9 7 0,8-3-8 0,1 0-17 0,-3 1-4 15,-1 2 9-15,4-1 0 0,-1-1-26 0,-2 4 12 0,4-3-24 16,-1 0-32 0,4-1-22-16,1 0-9 15,-1 0 19-15,3-5-5 0,1 3-21 0,-1-5 5 0,4 2 39 0,-4-2-9 0,14 0 22 16,-7-2-16-16,1-2-13 0,2-2 41 0,3-1 13 16,-3 1 21-16,3-2 17 0,-1-4 24 15,-1 1 17-15,1 1 5 0,-1-2 21 0,-1 0-7 16,-2 2 4-16,2 0 11 0,0 1-29 15,-4 3 3-15,-1 0-13 0,2 2 6 0,-4 1 32 16,2 2-30-16,-5 1-10 0,0 0 5 0,8 11-6 16,-8-4-17-16,0 2 8 0,0 5 2 15,-3 1-26-15,0 4 8 0,1 0 8 0,-3 5-18 16,-3 1 10-16,3-1-5 16,-3 1-26-16,-4 8 11 0,1-1-24 0,1-7-33 0,0-1-17 15,2-4-37-15,-2-1-50 0,2-2-55 0,3-4-20 16,0 0-148-16,-8-2-28 0,11-4-521 0,2 0 119 15,0-4 61-15,2 1 90 0,-2-4 22 16</inkml:trace>
  <inkml:trace contextRef="#ctx0" brushRef="#br0" timeOffset="22715">10277 7482 1423 0,'0'0'407'0,"0"0"-34"0,-13 6-42 0,5-1-17 16,1 2-50-16,-4-2 20 0,4 3-71 0,-3-2 22 0,0 4-48 0,-3-1-15 0,2 2-16 16,1-1-28-16,0 1 0 0,2 0-26 0,1-3 29 15,1 2-44-15,-1-2-41 16,4 0 13-16,1 1-31 0,-1-4 10 0,3 0-5 0,0-1-4 16,3 1 9-16,-1-3-12 0,-2-2-14 15,10 1 6-15,-2-2-5 0,-8 1 18 16,13-4-1-16,-5 0-24 0,2-2 22 0,0 1 15 15,0-2-17-15,0-1 5 0,1 2-60 0,-1-1 17 16,0 1-17-16,0 0 17 0,-2 0-9 16,-3 2 1-16,3 1 15 0,0 0-21 15,-3 0 23-15,2 0-2 0,-1 3-15 0,-6 0-6 0,8 3 26 16,-4 0 8-16,-1 1 0 0,2-2-16 16,-4 4 13-16,1 1 3 0,0-2-13 15,-2 3-6-15,0 1 65 0,0-1 13 0,-2 4-21 0,0-4-3 16,-1 2 3-16,0-2-2 15,1 2-13-15,-1-3 30 0,-2 1-25 0,4-2-16 0,-3 0 11 16,4-1 18-16,-3-2-14 0,0 2 35 16,1-1 1-16,2-4 11 0,0 0-31 15,0 0 11-15,0 0 17 0,0 0-12 0,0 0 9 16,5-17-29-16,-2 11 9 0,-1-3-18 0,4-1 3 16,-1 1-13-16,2-1 24 0,-2-1-24 0,1 2-3 15,2 0-9-15,-1 1-16 0,-2-1 18 0,3-1-44 16,-3 4-25-16,2-1-31 15,-4 1-28-15,3-1-28 0,1 2-26 0,-2-2-54 16,0 2-43-16,0-2-169 0,1 1-599 0,-1-1 105 16,2-3 100-16,1 3 58 0,-1-2 101 0,4-1 33 15</inkml:trace>
  <inkml:trace contextRef="#ctx0" brushRef="#br0" timeOffset="22924.89">10575 7345 944 0,'0'0'486'0,"0"0"-20"0,2-4-51 0,-2 4-31 0,0 0-8 15,0 0-46-15,0 0-10 0,0 0-28 16,-8 15-13-16,6-7-28 0,-1 3-64 0,-2 2-31 16,0 0-15-16,-3 4-26 0,0 3-23 15,-2-1 31-15,0 0-10 0,0 4 40 0,-5 3-35 16,2 0-54-16,-5-1-31 0,5-2-35 16,2-5-39-16,1-3-41 0,0 2-23 0,3-3-64 0,1-3-108 15,-4 1-171-15,8-4-511 0,2-1 65 16,0-4 126-16,4 0 49 0,-1-3 87 15,-3 0 61-15</inkml:trace>
  <inkml:trace contextRef="#ctx0" brushRef="#br0" timeOffset="23261.22">10826 7412 1172 0,'0'0'327'0,"0"0"-27"16,0 0-39-16,0 0-5 0,-26 8-44 0,16-2-25 0,-3-1-15 15,-2 3-1-15,-5 3-30 16,-1-3 2-16,-3 3 78 0,2 0-37 0,1 0-5 16,-2-1 0-16,3 2-10 0,-1-1-97 0,3-2-13 15,-2 2 30-15,6-1-9 0,0-1-19 16,5-2 21-16,-1 0-5 0,0 2 2 0,2-1 13 16,3-2-28-16,0 1 0 0,0 0 59 0,2-2-10 15,1 2-3-15,2-1 13 16,0 0-26-16,0 1-23 0,2-3-7 0,3-1-3 0,-2 2-5 15,2 0-8-15,0-3-13 0,3 2 6 0,-3-3-39 16,3-1 5-16,-1 0-41 0,1 0-35 16,-3 1-1-16,-5-1-45 0,16-1-65 0,-8 0-97 15,-4-2-215-15,4 1-514 16,2-1 117-16,-2-1 105 0,3-1 52 0,-1 3 76 0,-2-2 65 16</inkml:trace>
  <inkml:trace contextRef="#ctx0" brushRef="#br0" timeOffset="23829.83">10813 7638 706 0,'3'-6'328'0,"4"4"-49"16,-2-2 5-16,1 0 36 0,2-1-11 0,-1 1-30 16,-2-2 0-16,3-1-43 0,-3 3-8 0,0 2-6 15,0-4-35-15,-2 4-2 0,0-2-6 0,-3 4-18 16,4-2-13-16,-4 2-22 16,0 0-16-16,0 0-8 0,0 0 6 0,0 0-36 0,-10 8 27 15,5-3-22-15,0 0-23 0,0 2 23 0,-1-1-39 16,2 1 21-16,-2 1-31 15,2 0 26-15,0 1-62 0,0-2 26 0,4-1-46 16,-3 1 10-16,6-1-36 0,-3-2 29 0,4 0-19 16,0 1 16-16,0-4 5 0,2 2 31 15,1-1-36-15,1-2 15 0,0-2 15 0,2-2-15 16,0 1 26-16,3-2 13 0,2-2-72 16,-2-3 15-16,0 2 23 0,2-3 39 0,3-3-16 0,-3-3 6 15,-1-1 2-15,6-8 33 0,-2 1 21 16,-1-3-3-16,-1 0-12 0,-3 3 12 0,-3 6 5 15,0 1 13-15,-2 3-25 0,0 2 46 0,-3 2-24 16,0-1 57-16,-2 5 8 0,-1 0-26 16,0 3-11-16,-1 1-12 0,-1 3-20 15,0 0 12-15,0 0-23 0,0 0 21 0,-11 16-33 16,7-5-22-16,-2 2 7 0,-1 3-30 0,-1 0-32 16,0-1-10-16,3 0-50 0,-2 3-17 15,1 0-15-15,1-3-6 0,3 3-12 0,-3-4-16 16,4 2-31-16,-1-2-32 0,2-1-52 15,-3-1-82-15,3 0-154 0,0-4-503 0,0 3 88 16,3-4 134-16,-1-1 41 0,-1 0 97 0,-1-1 34 16</inkml:trace>
  <inkml:trace contextRef="#ctx0" brushRef="#br0" timeOffset="24182.6">11015 7626 1118 0,'-2'-2'394'0,"2"2"-30"0,0-5-29 16,0 5-48-16,2-6-85 0,1 4-10 16,2-2-3-16,3 1-32 0,-3-1-1 15,3-1-10-15,0 3 20 0,-1-3-23 0,6 0-10 0,-5 2-2 16,2-1-1-16,0 1 4 0,1 0-22 16,-1-1 16-16,-3 1-18 0,3 2 16 0,-2-4-21 15,0 5-8-15,-3 0 21 0,3-1-16 0,-1 1-20 16,-7 0-16-1,13 1 11-15,-7-1-15 0,-2 2 2 0,2 0-13 0,-2 0 10 16,2 1-20-16,-3 1-5 0,2 0 15 0,-3-2-23 16,1 3 16-16,-1 0-8 0,1 1-13 0,-3-3-8 15,2 2-28-15,-1 2-30 0,-2-3 17 16,2 0-53-16,-2 2 2 0,1-1-61 0,0-5 2 16,0 6-56-16,0 0-64 0,0-6-156 0,1 4-548 15,-1-4 72-15,0 0 100 0,0 0 92 16,7 0 48-16,-7 0 31 0</inkml:trace>
  <inkml:trace contextRef="#ctx0" brushRef="#br0" timeOffset="24288.56">11297 7477 1072 0,'-4'-1'307'0,"1"-1"-82"15,-2-1-91-15,2-1-201 0,-2 1-616 0,5 3 114 16</inkml:trace>
  <inkml:trace contextRef="#ctx0" brushRef="#br0" timeOffset="24641.29">11366 7505 1039 0,'-2'6'389'0,"2"-3"33"0,-2 3-23 0,-1 1-48 15,3 2-49-15,-3-3 5 0,3 1-43 16,-2 1-16-16,2-1-35 0,-2 2-3 0,2-2-98 16,-3 0-7-16,2 0 28 0,1-2-12 0,-2 0-11 15,4-2 48-15,-4 3 4 0,2-2-6 16,0-4 64-16,0 5-79 0,0-5-21 0,3 4 13 16,-3-4 8-16,7 0-11 0,-7 0-9 15,0 0-1-15,13-7-35 0,-5 7 2 0,0-2 15 16,-3-2-46-16,2 4 6 0,1-5-9 15,-2 4 9-15,1 1-21 0,-2 0 2 0,-5 0 21 16,11-2-36-16,-4 2-15 0,-7 0-15 0,11 0-29 16,-7 1-15-16,-4-1-46 0,10 0-49 15,-10 0-28-15,9 1-36 0,-5-1-28 0,-4 0-12 16,11 0-37-16,-4-1-117 0,1 0-95 0,0-2-226 16,0 1-145-16,2 0 49 0,-3-1 89 0,3 1 84 15,-1-2 39-15</inkml:trace>
  <inkml:trace contextRef="#ctx0" brushRef="#br0" timeOffset="24963.23">11631 7546 801 0,'0'0'371'0,"0"0"-5"16,0 0-28-16,0 0-26 0,0 0 0 0,0 0-7 0,0 0-126 15,0 0 26-15,-8 10-3 0,6-3 80 16,-3 0 15 0,4 4-26-16,-6 6-100 0,4-2 14 0,-2 2-14 0,0 4-2 0,0 3 3 15,-2 0-19-15,-1-3 8 0,0 3-40 0,-2-1 7 16,1-2-23-16,-3 1 20 0,0-2-43 15,1-1 0-15,-2-1-21 0,0-3-2 16,1-2 3-16,1-1-3 0,3-3 10 16,-2-1-33-16,5-3 40 0,-2-2-42 0,1 3-1 0,1-6-18 0,5 0 26 15,0 0-10-15,0 0-6 0,-2-12 1 16,5 5-28-16,4-1 12 0,0-3 8 16,1-1-21-16,3-1 1 0,4-2-27 0,0-1-4 0,1 2-28 15,2-2 10-15,-3 2-42 0,5-4-14 16,-2 5-6-16,3 1-43 0,-3-2-15 15,3 1 2-15,-1-1-28 0,0 2-44 0,-1 0-56 16,3 0-125-16,-4 0-484 0,1-1 17 0,-2 0 96 16,1 0 97-16,0-1 79 0,0 3 92 15</inkml:trace>
  <inkml:trace contextRef="#ctx0" brushRef="#br0" timeOffset="25332.95">12272 7613 1254 0,'5'13'555'0,"-3"-7"-91"0,-2 4-27 16,0-1-45-16,-2 4-47 0,2 2-14 0,-5 2-42 16,-1 4-33-16,-4 1-10 0,-5 7-34 0,-3-2-64 15,-2-1-86-15,-4 2-62 0,1-2-74 0,1-2-65 16,3-6-114-16,4-3-274 0,2-2-387 15,3-2 126-15,2-2 94 0,3-2 28 0,0-4 67 16</inkml:trace>
  <inkml:trace contextRef="#ctx0" brushRef="#br0" timeOffset="25631.98">12616 7413 1203 0,'0'0'496'16,"-1"-6"-33"-16,1 6-71 0,0 0-18 0,0 0 10 15,0 0-72-15,0 0-23 16,-7 9-17-16,4-1-111 15,-2 1 15-15,0 2-19 0,0 3-14 0,-3 2-18 0,0-1-9 0,0 7 55 16,-2-1 6-16,0 1-29 0,2 0-22 16,-2 0-50-16,0-1-4 0,0 1-28 0,2 0-39 15,3-3-39-15,0 0-27 0,-2 0-62 0,3-4-48 16,0-2-65-16,3-3-117 0,1 1-630 16,0-1 64-16,-2-2 115 0,4-2 47 0,-2-1 50 15,1-2 98-15</inkml:trace>
  <inkml:trace contextRef="#ctx0" brushRef="#br0" timeOffset="25924.27">12533 7420 1336 0,'3'-7'506'0,"2"1"-35"0,2-2-61 0,4-1-31 15,2 1-41-15,2 0 12 0,1-2-63 0,4 4-28 16,1-1-34-16,2 1-87 0,2-1-48 16,-4 1-16-16,-1 1-20 0,-1 4-26 15,-4-1-36-15,2-1-30 0,-4 3-31 0,0 1-41 0,-2 1-113 16,-1 0-105-16,-3 1-156 16,-1 0-424-16,-2 3 150 0,-4 1 34 0,0-2 61 0,-4 3 79 15</inkml:trace>
  <inkml:trace contextRef="#ctx0" brushRef="#br0" timeOffset="26265.01">12382 7619 1110 0,'-3'3'407'0,"3"-3"-5"0,0 0-56 16,0 0-6-16,0 0-25 0,11 4-23 15,-4-3-41-15,3-1-23 0,4 0-3 0,-1 0-36 0,5 0-4 16,-1-1-63-16,4 1-19 0,2 0-9 15,0-2-81-15,0-1-26 0,0 1-27 16,0 0-53-16,0-2-47 0,1 2-19 0,-4-2-25 16,1-1-31-16,1 3-80 0,-3-3 50 0,-1 4 32 15,-1-4 36-15,-1 4 37 16,-1-2 73-16,-5 0 21 16,3 2 54-16,-5 0 38 0,2-2 33 0,-3 2 6 0,1 1 30 0,-8 0 5 15,10 0 21-15,-10 0 2 0,6 1 1 0,-4 3 4 0,-2-4-12 16,0 6-1-16,0-1-17 0,0-5-26 15,-5 8 13-15,3-1-15 0,-1 1-13 16,-2 1-6-16,2-1-2 0,-2 2 3 16,-2-1-34-16,1 2-25 0,1-4-23 0,0 4-59 0,-2-3-21 15,4-2-89-15,-2 1-169 0,0-1-543 16,2 0 57-16,1-2 120 0,2 0 79 16,-3 1 26-16</inkml:trace>
  <inkml:trace contextRef="#ctx0" brushRef="#br0" timeOffset="26389.6">12907 7519 788 0,'-2'-2'279'0,"2"2"-90"0,-8-3-168 0,8 3-180 0,-7 0-450 15</inkml:trace>
  <inkml:trace contextRef="#ctx0" brushRef="#br0" timeOffset="26777.05">12982 7529 1328 0,'0'0'351'0,"2"7"2"15,-1-5-51-15,-1 4-28 0,0-1-13 0,0 1-31 0,0 2-28 16,-1-1-10-16,-1-1-12 0,-1 3-17 15,3 0 1-15,-2-1-15 0,-1 3-32 0,1-5-9 16,-1 4 2-16,0-1-13 0,1-2-7 16,0-1 35-16,-1 3 3 0,3-2-18 0,-3-4 88 15,1 2 9-15,2 0-112 0,-2-3 12 16,2-2 11-16,0 6 5 0,0-6 2 0,0 0-20 16,0 0 20-16,0 0-38 0,0 0-15 15,0 0 89-15,17-8-17 0,-9 3-24 0,0 1-12 0,0 2-1 16,-1-2-38-16,0 2 36 0,3 1-10 15,-4 0-13-15,2 0 10 0,-3-1-10 16,0 1-28-16,-5 1-6 0,13 1 11 0,-13-1-21 0,12 3-7 16,-6-2-28-16,-3 0-21 0,1 0-21 15,2 2-25-15,-1-1-25 0,-5-2-57 0,5 4-33 16,-3-2-18-16,-2-2-23 0,6 5-52 16,-4-3-71-16,0-1-246 0,1 2-496 0,0-1 107 15,1-2 70-15,-4 0 132 0,9 0 80 0,-2 0 64 16,1 0 81-16</inkml:trace>
  <inkml:trace contextRef="#ctx0" brushRef="#br0" timeOffset="27453.94">13436 7567 1451 0,'0'0'430'0,"-8"-3"-26"0,5 2-33 16,3 1-2-16,-15 1-57 0,5 3-43 0,0-2 10 15,-3 2-41-15,2-2-41 0,-3 3 16 16,0 1-16-16,1-1-33 0,1 1-29 16,-1 1 21-16,0 1-33 0,3-2-36 0,-1 1 13 0,4-1-15 15,0 0-11-15,1-1-2 0,4 0-32 16,-1-2-4-16,3 1 21 0,0-1-14 0,0-3 3 16,5 5-18-16,0-3-2 0,-5-2 20 15,11-1-28-15,-1 0 23 0,-3-2 25 16,4-2-35-16,2 1 0 0,-3-2 0 0,0-1 33 0,1 3-21 15,-1-1 16-15,0 0-90 0,-2 0 13 16,-1 1 29-16,1 2 1 0,-3 0-22 16,0-2 13-16,1 3-3 0,-6 1 0 15,4-1 43-15,-4 1-40 0,0 0 4 0,0 0 14 0,0 0-26 16,0 8 2-16,0-8 6 16,-2 6-1-16,0-1 6 0,-1-3-18 0,3 3-23 0,-3-2 20 15,3-3 10-15,-2 5-10 0,1-1-7 0,1-4-1 16,0 6 29-16,0-6-8 0,0 0-13 15,1 3 1-15,-1-3 12 0,5 3 12 0,-5-3 11 16,5 1 16-16,-5-1-24 0,8 0 6 16,-8 0 9-16,7 1 4 0,-7-1-16 0,7 1 33 15,-7-1-15-15,6 3 2 0,-3-1 92 16,-3-2-4-16,7 5 2 0,-6-4-31 0,1 3 0 16,0-2-15-16,1 2-7 0,-3-1-29 0,3 1 30 15,-3-4 6-15,0 6 5 0,2-4-18 0,-2-2 6 16,2 5-45-16,1-3 32 0,-3-2 17 15,1 6 21-15,-1-6-100 0,0 0 15 0,4 0-4 16,-4 0 48-16,3 4-59 16,-3-4 0-16,0 0 0 0,0 0 0 0,0 0 0 0,13-4 0 0,-13 4 0 15,5-2 0-15,0 1 0 0,-5 1 0 16,8-3 0-16,-8 3 0 0,7 0 0 0,-7 0 0 16,8 1 0-16,-8-1 0 0,0 0 0 0,10 0 0 15,-7 2 0-15,2-2 0 0,-5 0 0 0,8 1-139 16,-8-1-199-16,10-1-143 15,-7-2-220-15,1 3-484 0,4-2 117 0,-2-1 111 16,-1 1 84-16,4-3 100 0,-1 4 64 0,1-5 77 16</inkml:trace>
  <inkml:trace contextRef="#ctx0" brushRef="#br0" timeOffset="27889.93">13787 7525 1328 0,'-2'-1'363'0,"2"1"-14"16,0 0-35-16,-11 1-19 0,11-1-26 16,-10 5-11-16,2-2-5 0,0 3-9 0,1 1 37 15,0 2-12-15,-1-1-26 0,0 2-110 0,3-2 3 16,-3 3-18-16,3-3-6 0,-2 3 27 16,1-1-52-1,4-1 12-15,1-1-40 0,-1 0-8 0,4 1 11 0,-1-3-3 0,1 1-11 0,3-1 19 16,0-1-11-16,1-2 1 0,1 1 1 0,1-2-6 15,2-2-4-15,0 0-32 0,0-2 2 16,4-2-3-16,-2 1 10 0,-1-3-9 16,4 0-16-16,0-3 13 0,-4 2-13 0,1 1 0 15,-4-1-3-15,2 0 24 0,-4 2-4 0,-1-2-32 16,0 3 13-16,-1 2 7 0,-3 0-8 16,-1 2 8-16,0 0 11 0,0 0-4 0,0 0-6 15,0 0 1-15,-18 3-2 0,13 2 8 0,-3-2 13 16,3 1 7-16,-2 2-30 15,1 1 25-15,3-1-41 0,-1 0-15 0,0-1-11 0,0 2 9 16,1-1-27-16,3-2-4 0,0 0-1 0,0 1-30 16,0-1-15-16,3-2-24 0,1 0-4 0,2 1-50 15,-1-2-35-15,1-1-123 0,3 0-156 16,-1 0-428-16,0 2 78 16,5-2 93-16,-3-2 109 0,1 2 38 0</inkml:trace>
  <inkml:trace contextRef="#ctx0" brushRef="#br0" timeOffset="28622.87">14562 7474 1461 0,'-8'-5'440'15,"8"5"-20"-15,-6-1-54 0,6 1-31 16,-5-1-20-16,5 1-33 0,0 0-31 0,-12 2-11 16,7 1-14-16,2 1-16 0,-2 0-21 0,0-2-30 15,-1 4-1-15,2-1-101 0,-2 0-24 0,-2-1 31 16,4 1 5-16,-2 1 13 0,1-1-10 15,0-2-21-15,0 1 8 16,0 2 0-16,2-5 5 0,1 3-13 0,-1-2-3 0,0 2 1 0,3-4-26 16,-2 4-8-16,0-1 24 0,2-3 2 15,0 0 7-15,-6 3-17 0,6-3 23 16,0 0-34 0,0 0 16-16,0 0-31 0,0 4 26 0,0-4-5 0,0 0-1 0,0 0-2 0,0 0-13 15,0 0 83-15,0 0-11 0,0 0 12 16,0 0 3-16,0 0-22 0,0 0 9 0,6-12-22 15,-6 12 7-15,0 0 0 0,2-5-21 16,-2 5-4-16,0 0-8 0,2-3 5 0,-2 3-5 0,3-4-3 16,-3 4 13-16,0-3-43 15,0 3-1-15,5-5 21 0,-3 2-18 0,-2 3 16 0,6-3 12 16,-1-1-7-16,-5 3-6 0,5-2-17 0,-2 0 2 16,-1 1 0-16,3-2-13 15,-5 4 13-15,5-3 29 0,-2 0-29 0,-3 3 8 16,5-4-19-16,-2 1 4 0,-3 3 15 0,2-2-3 15,-2 2-2-15,1-4 27 0,-1 4-19 0,0 0-24 16,0-5 18-16,0 5 3 0,0 0-18 16,0 0 18-16,0 0-29 0,-18 5 29 0,10 0-23 15,0-1 10-15,1 0-13 0,-4 3 16 0,1 2-11 16,-5-1 16-16,4 2-8 0,1-1-31 16,0-3 8-16,0 2 0 0,2 2 0 15,3-2 18-15,-1-1 2 0,4 1-7 0,0 0-23 0,2-3-8 16,0 1 0-16,2-2 23 0,1 1-44 15,2 1-25-15,2-3-5 0,1 1-38 0,2-3-16 16,0 3 0-16,3-3-28 0,0-1-31 0,2 0-43 16,1-1-75-16,2 1-109 0,-3-4-131 15,5 1-418-15,-1-2 139 0,1 0 26 0,-2-2 165 16,3-1 1-16,1-3 85 0</inkml:trace>
  <inkml:trace contextRef="#ctx0" brushRef="#br0" timeOffset="29123.42">14846 7332 1013 0,'2'-6'456'0,"1"-1"-1"0,-6 1-96 0,3 4-16 0,0 2-39 0,-4-4-27 0,4 4 9 16,-8 0-19-16,8 0-29 15,-13 7 15-15,5 0-56 0,-2 3-20 0,0 1-11 0,0 2-2 16,-1 3 5-16,-1 3-41 0,1 0 18 0,1 2-5 16,0-2-39-16,-1 1 0 15,1-1-2-15,0-1-18 0,-1 1-8 0,-1 0-20 0,4 0-67 16,-3-5 6-16,4 3-34 0,-3-4-23 0,0-1 7 15,4-2-1-15,-2-1-9 0,1-2 3 16,2-1-5-16,0-1 18 0,0-1 7 0,-1-3-4 16,2 1-1-16,4-2 34 0,0 0-6 15,0 0 29-15,-8-7 5 0,8 3-6 0,0 4 27 16,0-7 6-16,2 3 4 0,1 0 2 16,0-1 23-16,1-1-18 0,2 2-5 0,1 0 21 15,1-3-41-15,2 2 4 0,3-1 9 0,0 0 12 0,-1 1-5 16,6-1-13-1,-1 0-20-15,0 3 2 0,1-3 11 0,-2 1 18 16,-2 3-34-16,0-2-10 0,-1 2 10 0,-3 1-7 16,0-2-16-16,-2 3 23 0,-1 0 16 0,-2 3 12 15,-2 0-12-15,0-1 27 0,-1 2-30 16,-2 3 36-16,0-1 13 0,2-1-23 0,-1 2 81 16,-1-1-2-16,2 0-31 0,4 2-79 0,-2-1 23 0,2 2-33 15,4-3-6-15,3 1-40 16,-1-2 2-16,6 1-7 0,0-2-3 0,0 2-11 15,1-1-45-15,1-1 5 0,0-2-11 0,-2-1-38 16,3 0-12-16,-4 1-47 0,4-4-41 0,2 4-138 16,-2-6-345-16,0 4-265 0,-1-5 114 15,0-1 84-15,-2 0 97 0,-2 0 69 16</inkml:trace>
  <inkml:trace contextRef="#ctx0" brushRef="#br0" timeOffset="45516.62">2245 8751 767 0,'5'0'261'0,"-5"0"-15"0,0 0-18 15,2-3-21-15,-2 3-7 0,0 0-21 16,0 0-5-16,0 0-30 0,2-4 7 0,-2 4-3 15,0 0-7-15,0 0 0 0,0 0 5 16,0-5-29-16,0 5 16 0,0 0-20 0,0 0-8 16,0 0 54-16,0 0-3 0,0 0-21 15,0 0 1-15,0 0-10 0,0 0-6 0,0 0-25 16,0 0 15-16,0 0-36 0,-20 10 3 0,12-5 7 16,1 2-20-16,-4 1-20 0,-1 3 12 15,-1 3-25-15,-3 1 25 0,-6 8-25 16,3 2 2-16,-3 2 28 0,3 2-40 15,-1 2 2-15,2-1 20 0,0 2-14 0,3 0 1 16,-1-3-17-16,3-3 2 0,3-5-9 0,2 3 22 16,1-4-28-16,-1 2 18 0,3-4-26 0,2-3 3 15,1 3 38-15,-1-4-25 0,3 2-16 16,0-3-7-16,0-2 33 0,3-2-16 0,-2-2-9 16,3 3-6-16,1-4 3 0,0-1-3 0,1-2 13 15,-1-3 15-15,5 3-23 16,0-3-9-16,3-3 29 0,-2 1-35 0,3-2 31 0,-3-1-23 15,4 0 17-15,-4-3 8 0,2 1 1 0,-1-1-11 16,1-3 43-16,-2 5-56 0,-1-3 16 16,-3 1 15-16,3 0-28 0,-2 1-11 0,-2 2 34 15,1 2-18-15,-2-3-5 0,0 1 30 0,0 0-33 16,-2 4 21-16,2-1 5 0,0-1 10 16,0 3-10-16,-5 0 10 0,10 1-6 15,-4 2 45-15,1-1-36 0,-1 4 12 0,1 1 0 16,-1-1 21-16,1 4-36 0,-2-2 23 15,2 5-84-15,-1-3 5 0,-1 0-1 0,0 2-4 16,0-1-3-16,-2 2 23 0,2-1 10 0,-3 0-17 16,1-1-3-16,0-2 5 0,-1 2-23 15,-1-4-24-15,0 1-29 16,0-3-4-16,1 1-22 0,1 0 4 0,-3-2-65 0,0-1-68 0,0-3-99 16,0 0-54-16,10-7-484 0,-10 7 87 15,8-6 72-15,-3 1 100 0,3-3 64 0</inkml:trace>
  <inkml:trace contextRef="#ctx0" brushRef="#br0" timeOffset="45862.61">2508 9175 944 0,'-2'-3'292'0,"2"3"0"0,0 0-21 0,0 0 49 16,-11 9-28-16,9-2-29 0,-3-1-22 0,2 1-23 15,-1 5-16-15,0-1 3 0,2 1-37 16,0 2-19-16,2-4 7 0,0 4-46 0,0-1 16 15,2 0-24-15,0-1 8 0,4 1-33 16,-1-4 7-16,1 1-15 0,1 0 21 16,1-1-39-16,2-3 26 0,-3 0-13 0,1-1 36 0,0-4-36 15,2-1 23-15,-2 0 0 0,-1 0 13 16,1-1-75-16,0-3 1 0,-3 2 7 0,0-3 26 16,0-2-10-16,-2-1-24 0,-3-2 16 15,2 2-8-15,-2 0-7 0,-2-2-5 0,2-2-4 16,-5 0 1-16,2 3-7 0,1-2 12 15,-3 3-16-15,2-2-12 0,-3 4-8 0,2 0-30 16,-1-1-29-16,2 1-40 0,-2 4-11 0,-1-1-28 16,2 0-8-16,-2 2-51 0,6 1-66 0,-10 0-80 15,10 0-49-15,-10 2-488 0,5-1 128 16,5-1 74-16,-5 4 28 0,3-2 71 16</inkml:trace>
  <inkml:trace contextRef="#ctx0" brushRef="#br0" timeOffset="46262.75">2806 9193 1241 0,'10'7'320'0,"-7"-2"-39"0,-3 2-22 0,3-1 0 15,1 2-27-15,-1-1-34 0,0 4 73 0,0 1-28 16,1 0-43-16,1 0 10 0,-2 1-49 0,2-1-15 16,-3 1 10-16,4-2-38 0,-1-1 5 15,-2 0-26-15,2 1 5 0,-1-4-10 0,2 0 24 16,-1-1 9-16,0-2 26 0,0-1-10 0,-2-3 2 16,-3 0 0-16,11-1-56 0,-4-1-25 15,-2-1 12-15,0-4 77 0,0 0-31 16,0-3 8-16,1-3-53 0,-1 1 14 0,0-1 6 0,0-2-31 15,2-1-5-15,-1 1-3 16,-2 1 0-16,0 2-20 0,0 0-18 0,-1 1-5 0,0 1-46 16,0 3-8-16,-1-1-56 0,0 3-16 0,1-1 3 15,0 2-39-15,-1 1-20 16,-2 3-7-16,5 0-62 0,-5 0-118 0,8 5-535 16,-8-2-64-16,2 2 95 0,1 0 90 0,-1 1 76 15,1 2 75-15</inkml:trace>
  <inkml:trace contextRef="#ctx0" brushRef="#br0" timeOffset="46944.21">3178 9349 1308 0,'3'-5'363'0,"1"0"-20"0,-3 0 5 0,1 0-51 0,1-2 0 0,-1 0-33 0,-2 1 7 0,1 1-30 15,0 0 2-15,-1 0-39 0,0-1 1 16,1 3-100-16,-1 3 0 0,-1-7-26 0,1 7 1 16,-1-4-19-16,1 4 6 0,0 0 12 0,0 0-28 15,-13 6-2-15,9-3 0 0,0 2-3 16,-1 1-18-16,2 1 8 0,0-1-18 0,1 2-8 16,-3 2 0-16,4-4 21 0,-1 2-26 0,2 2-3 15,0-3-4-15,0 0 25 16,1 0-36-16,1-1-2 0,3 3 17 0,-3-4-14 0,1 0 6 15,0 0 1-15,2 1 16 0,-3-5-1 16,4 5-8-16,-4-6-2 0,3 1 13 16,-5-1-3-16,10 0-4 0,-10 0-4 0,10-3 6 15,-4-2 22-15,-1 2 4 0,0-2 7 0,0 1-8 16,1-3-2-16,1 2-13 0,-4 2 7 0,4-3 19 16,-4 1-29-16,2 0 16 0,0 0-3 15,0 1-5-15,0 0 3 0,-2 3-3 0,2-4 7 16,-3 4-7-16,-2 1-12 0,6-2 9 0,-6 2-2 15,0 0 10-15,10 2-18 16,-10-2-10-16,7 5 26 0,-3-4-21 0,0 3 3 16,-1-1 12-16,0 2-22 0,1 0 17 0,-1-2 11 15,0 3-6-15,-1-1-28 0,0 0 3 16,1-1 5-16,0 1 5 0,-3 1 11 0,2-3-8 16,-2 0-1-16,3 0-12 0,-3-3 5 0,3 5 8 15,-1-1 7-15,-2-4-2 0,0 0-3 0,0 0-7 16,0 0 25-16,13-5-13 0,-10-2 24 15,2 4-16-15,0-2 7 0,2 0 6 16,1-1-33-16,-3 1 2 0,1 2 20 0,1-2-17 16,1 0-10-16,-3 3 4 0,0-2 1 0,0 4 10 15,-5 0-16-15,10 0 11 0,-10 0-8 0,9 3-3 16,-2-2 11-16,-5 1-39 0,3 2 18 0,-2-1-15 16,0 1-3-16,1-2 3 0,-4 2-28 15,4-1-54-15,-2 2-26 16,-2-2-58-16,0-3-39 0,3 6-57 0,-1-4-152 0,1-1-562 15,0 0 134-15,-3-1 41 0,9 2 99 16,-9-2 93-16,13-3 28 0</inkml:trace>
  <inkml:trace contextRef="#ctx0" brushRef="#br0" timeOffset="48011.87">3370 9372 898 0,'5'-3'287'0,"-5"3"-34"16,6-1-2-16,-6 1-8 0,4-1-30 15,-4 1-22-15,8-1 4 0,-8 1-26 16,10 2-15-16,-5-1 9 0,1 3-35 0,-1-1 21 16,2 2-39-16,-1 0 3 0,-2 2-19 15,-1 0 16-15,2-1-5 0,-2 2-25 0,0 2-6 16,-1-2 8-16,-2 1-21 0,1 1 24 15,-2-1-39-15,1 0-10 0,-2 0 7 0,-1-1 1 16,0 0 17-16,1-1-48 0,-1 0 7 0,0 1 16 16,1-2-15-16,0-2 7 0,-1 1 25 0,0-4-29 15,1 3-9-15,2-4 23 0,0 0-15 16,0 0-2-16,0 0-1 0,0 0 8 16,-8-11-7-16,11 3 2 0,-3-1-10 0,0-2 23 15,3-2-6-15,1-2 52 0,2 0 26 16,-2-1-37-16,4-3-1 0,-2 5 14 0,1-4-15 15,1 4 3-15,2-2-34 0,0 2 1 0,-2 0 22 16,2 0-43-16,1 3 0 0,-1-2 0 16,-2 4 2-16,-1 1 3 0,4 0-33 0,-6 1-18 15,3 3 20-15,-1-1-76 0,0 0-24 0,-1 4-17 16,-1 0-65-16,2 1-68 16,-7 0-157-16,11 1-563 0,-6 0 121 0,0 4 76 0,-2-3 67 15,2 2 105-15</inkml:trace>
  <inkml:trace contextRef="#ctx0" brushRef="#br0" timeOffset="48420.34">3704 9319 734 0,'0'0'417'0,"4"4"-22"0,-4-4-29 16,-2 8-34-16,2-1-4 0,-2-1-69 15,1 1-4-15,1 2-4 0,-2-1-41 16,-1 0-23-16,1 2-10 0,1-2-26 0,0 2-23 0,0-1-8 15,-1 0 0-15,-1-1-2 16,2 0-18-16,-1-2-8 0,2 0-10 0,0 0 28 0,-2-1-23 16,2-2 36-16,0 2-36 0,0-5 23 0,0 0-13 15,2 4-22-15,-2-4 9 16,0 0 16-16,0 0-31 0,8-11-56 0,-3 5 5 16,0 0 15-16,0-3-28 0,3-1-5 0,0 2 21 15,0-1-14-15,2 1-9 0,-5 0-1 0,5 2 16 16,-2 1-11-16,0 0 19 0,-1 4-24 15,1 0-4-15,-1 0 22 0,1 2 11 0,0 0-24 16,-1 5 6-16,1-1 15 16,0-2-21-16,-3 2 1 0,2 2 2 0,-1-1-28 0,-1 3-10 15,0-3 0-15,0 2-34 0,-2-1-23 16,0 0-20-16,-1-1-48 0,0 0-42 0,1 1-64 0,0-1-140 16,-1 0-126-16,-1-2-394 15,1-1 100-15,3 1 66 0,-5-4 87 0,3 2 47 0</inkml:trace>
  <inkml:trace contextRef="#ctx0" brushRef="#br0" timeOffset="49009.39">4036 9330 767 0,'0'0'277'16,"0"0"22"-16,0 0-38 0,0 0-28 0,-4 14-30 0,1-8 6 15,3 1-37-15,0-1 2 0,0 4-18 0,-2-2 5 16,2 0-40-16,0 1 7 16,-1-1-41-16,2 0 18 0,-2 1-39 0,1-3 24 15,0 0-11-15,0 0-5 0,0-2 11 0,0 2-13 16,0-2 4-16,0-4-7 0,0 5-7 16,0-5 10-16,3 2-21 0,-3-2 36 15,0 0 5-15,0 0-33 0,0 0 15 0,7-7 3 0,-4 3-21 16,2 0-23-16,-4-1 13 0,3 1 3 15,0 2-5-15,0-2-11 0,-1 1 5 0,2-1 19 16,0 3-19-16,-2-4-20 0,1 4 0 0,-4 1 25 16,9-1 11-16,-9 1-21 0,9 2-10 15,-3 1 8-15,-1-1-3 0,0 0-5 16,0 3 0-16,-2 0 13 0,2 0-20 16,0-2 19-16,0 3-29 0,-2-1 29 0,2-3-22 15,-3 3 28-15,0-2-8 0,1 1 24 0,0-1 12 16,-2 0 72-16,0 0 25 0,-1-3-30 0,3 3-8 15,0 0-57 1,-3-3-12-16,3 4 49 0,-3-4-37 0,0 0 16 0,0 0-10 16,0 0 10-16,14-7-7 0,-11 4-34 0,2-2 84 0,1 1 6 15,-1 0-13-15,2 1-39 0,-2 0 13 0,1 0-12 16,-1 2-13-16,2-3 17 16,-1 4-35-16,-2 0 18 0,-4 0-21 0,11 0 10 15,-4 0-30-15,-1 3 23 0,-1-1-36 0,0-1 33 16,2 3-41-16,-1-1-15 0,-2 1 2 15,2-3-17-15,-4 3-42 0,4-2-27 0,-4 3-60 16,1-4-43-16,-1 3-17 0,1-1-19 0,-3 1-33 16,3-2-49-16,-1 3-102 0,-2-5-87 15,5 4-530-15,-2-1 43 0,-1 1 131 0,1-2 36 16,2 2 128-16,-2-3 66 0,2 1 70 16</inkml:trace>
  <inkml:trace contextRef="#ctx0" brushRef="#br0" timeOffset="49470.78">4426 9485 849 0,'8'-7'415'15,"0"-2"-26"-15,-1 2-33 0,-3 1-85 16,0-1-12-16,1 1-6 0,-4 0-7 16,3 0-41-16,-1-1 30 0,-3 2-25 0,3 2 8 15,-3-2-39-15,0 5 13 0,2-5-26 16,-2 5-10-16,0 0-30 0,0 0-11 0,0 0 10 16,0 0-25-16,0 0-26 0,0 0 6 0,-13 13 7 15,8-7-8-15,2 2-12 0,-2 1-11 0,2 0-20 16,2-3 0-16,-2 5-1 0,3-4 9 15,-3 2-13-15,3 0 5 0,3-2-13 16,-1 1 7-16,1 0-27 0,2-4 22 0,3 2-9 0,-1-3-6 16,1-1 3-16,4-2 2 0,2 0-10 0,-2-1 23 15,4-3-35-15,0-2 14 16,4-1 27-16,-5 0-47 0,6-5 31 0,-3-1 5 16,0 0 2-16,0-4-30 0,5-5 10 0,0-2 6 15,-5 0-9-15,2-2 26 16,-2 0-28-16,-5 3 8 0,-3 5 18 0,1-1 15 0,-1 4-16 15,-5 0 24-15,0 2 2 0,2 4-20 0,-3-1 10 16,0 3-5-16,-4 1-8 0,3 4 10 16,-6-2-10-16,3 4 0 0,0 0-10 15,0 0 18-15,-15 11 3 0,10-3-14 0,-3 3-12 0,1 2-8 16,-1 1 10-16,0 4 14 0,3-1-37 0,-3 4 23 16,3 3-12-1,0-2-1-15,0-3 11 0,4 0 5 0,-1 1-28 0,2-6-26 16,0 3-38-16,2-2-29 0,-1-4 9 0,4 2-52 15,-3 0-28-15,1-4-28 0,3-3-90 16,1-1-156-16,-2-1-305 0,3-3-161 0,0 2 72 16,-3-6 57-16,3 2 58 15,-1-4 122-15</inkml:trace>
  <inkml:trace contextRef="#ctx0" brushRef="#br0" timeOffset="49723.91">4667 9306 1305 0,'0'0'463'0,"0"0"-35"0,0 0-16 16,0 0-36-16,24 0-18 0,-14 0-32 16,2 0-45-16,4 0 6 0,-1-2-36 0,1 2-34 15,1-3 8-15,1 2-50 0,-2 0-7 0,5-3-34 16,-6 3 9-16,1-1-56 15,1-2-10-15,-2 2-52 0,1-2-66 0,-1 1-61 0,1-1-59 16,-1 0-100-16,-2 1-177 0,3 1-530 16,2-1 119-16,0 3 24 0,4-3 68 15,7-1 130-15,-1 4 40 0</inkml:trace>
  <inkml:trace contextRef="#ctx0" brushRef="#br0" timeOffset="50119.48">5495 9334 1279 0,'-8'-2'359'0,"8"2"-44"0,0 0-19 0,0 0-29 0,0 0 1 16,0 0 70-16,0 0-31 0,0 0-4 0,0 0-14 15,24-1-28-15,-14 1-26 0,1-2-50 16,-1-2-1-16,2 4 0 0,-1 0-51 0,4-2 21 15,0 1-49-15,-2-2 2 0,1 3-99 16,0-2-8-16,2 0-23 0,-3-1-10 0,0 2-34 16,2 0-30-16,-2-3-36 0,2 2-21 0,-4-1-35 15,1 1-49-15,-1-2-113 0,-6 1-92 16,5-1-471-16,0 3 124 0,-3-4 63 16,2 1 56-16,0 0 62 0</inkml:trace>
  <inkml:trace contextRef="#ctx0" brushRef="#br0" timeOffset="50484.12">5770 9109 1105 0,'5'2'346'0,"0"0"-31"16,3 3-16-16,2 0-15 0,0-2-28 0,3 3-30 16,0 0-1-16,2 0-20 0,-1-1-6 15,1 2-30-15,2-1 0 0,-1 1-36 16,-1-1 16-16,-2 1-19 0,2 4-4 0,-2-4-6 16,-3 0 74-16,0 2-2 0,-2 0-23 15,-2-1 13-15,-1 3-56 0,0 0 2 0,-3-2-1 0,-2 2-19 16,-5 2 5-16,0 5-19 0,-5-1-19 15,-3 3-4-15,-5 4-17 0,-5 2-69 16,0-2-31-16,0 0-54 0,0-3-56 0,-1 1-62 16,0 0-266-16,5-4-509 0,-1-5 97 0,2 0 54 15,-2 0 84-15,1-1 131 0,-1-1 10 16</inkml:trace>
  <inkml:trace contextRef="#ctx0" brushRef="#br0" timeOffset="52347.32">6926 9124 1233 0,'0'0'453'0,"0"-6"-66"0,2 2-29 16,-2 4-51-16,0 0 3 0,0 0-44 0,0 0-10 16,0 0-20-16,-7 11-39 0,7-3 15 15,-3 0-125-15,-1 2-5 0,3 1-31 0,-4 2 26 16,2 1-10-16,-1 2-6 0,-1 1-25 0,2-4 15 31,-2 2-12-31,4-2-11 0,-3 2 3 0,4-2-3 0,-3-3-5 0,3 0-21 0,-3-2-7 16,3-2 18-16,0 1-8 0,-2 0 18 0,2-2 3 15,0 0-8-15,0-5-3 16,2 5-10-16,-2-5 8 0,0 0 33 0,0 0-41 0,0 0-18 16,6-11 29-16,-4 4 9 0,1 0-9 0,2-3-14 15,-2 0 14-15,2 0 7 0,-1-1-16 16,2 1 24-16,-3 0-18 0,1-1-11 15,-1 2 14-15,2-2-14 0,0 5 16 0,0 0 3 0,-2 0-9 16,2 0-24-16,0 1 27 16,0 3 5-16,-2 0-2 0,-3 2-7 0,10 1 9 15,-10-1 3-15,10 6 59 0,-4-4-15 0,-2 4 12 16,-1 1-23-16,2-1-35 0,1 1 17 16,-2 1-30-16,-1 0 5 0,0-2-19 0,0 2 6 15,1-2 13-15,-1 1-13 0,2-2 13 0,-3-1 5 16,1-1 8-16,0 2-32 0,-1-3 47 15,-2-2-94-15,10 0 9 0,-10 0 16 16,11-1-10-16,-5-2 7 0,1-2 16 0,0 1 17 0,1-2-7 16,0-2 13-16,2 2 7 15,-2-1-5-15,2 1 3 0,-3-1-13 0,1 3 3 16,2-3-9-16,-2 3-4 0,-3 2 0 0,3 2 10 16,-2-1 15-16,-6 1-10 0,12 2 11 0,-9 2-16 15,2-1-5-15,-1 2 10 16,2 1-3-16,-4 3 1 0,-1-1 5 0,1-1-52 0,-2 1-2 15,3 1-15-15,-3 1-42 0,-3-2-2 0,3 1-20 16,0-2-24-16,0-1-48 0,0 2-79 16,0-3-200-16,3 1-443 0,-1 1 95 15,1-3 58-15,2-2 121 0,-2 1 59 0</inkml:trace>
  <inkml:trace contextRef="#ctx0" brushRef="#br0" timeOffset="52749.21">7521 9226 941 0,'-5'-6'438'0,"0"5"-54"0,5 1-54 0,-10 0-25 0,2 3-11 16,0-1-40-16,-2 0-32 0,-3 3 9 15,0 1-34-15,0 1 0 0,1-1-33 0,-1 1-100 16,-2 3 30-16,4-3-45 0,-1 2 5 0,1 1 12 15,3-2-14-15,0 1-14 0,1-1-12 0,2-1-14 16,2-1 24-16,0 1 5 0,3-4-31 16,0 0 26-16,3 2-28 0,2-4 12 15,-5-1 9-15,10 0 6 0,-4 0-1 16,1-2 40-16,1-2-33 0,2-2 8 0,-2 2 22 0,0-2-7 16,0 0-18-16,2 1 5 0,-5-1 19 15,3 1-27-15,-3 0 1 0,2 1-1 0,-4 1 1 16,2 1-3-16,-5 2 2 0,8-1 67 0,-8 1 5 15,0 0-38-15,3 9 23 0,-1-4-21 16,-2 0-45-16,0 2-9 0,0-1-25 16,0 2-2-16,-2 2-29 0,1-1-23 0,1 2-12 0,-2-3-55 15,2 2-63-15,0-2-28 0,0 2-137 16,0-1-580-16,0-2-5 0,2-2 156 16,-1 0 61-16,1-3 64 0,3-1 65 0</inkml:trace>
  <inkml:trace contextRef="#ctx0" brushRef="#br0" timeOffset="53019.52">7670 9130 1336 0,'0'-5'419'0,"2"4"-70"0,-2 1-9 0,0 0-2 16,0 0-28-16,0 0-116 0,0 0-7 0,-5 14-13 15,3-8-15-15,1 5-24 0,-4 1 1 0,3 1-8 16,-3 1 61-16,-1 5-35 0,-1 4 7 15,0 0-28-15,-1 1 1 16,-3 7-35-16,1-3-45 0,2-7-3 0,0 2-30 0,1-3-31 16,0-2-16-16,1-4-41 0,1 3-17 0,2-5-6 15,-1-4-38-15,3 2-56 0,1-3-159 0,0-1-61 16,3-4-464-16,2-2 64 0,3 0 100 16,-8 0 82-16,15-6 49 0</inkml:trace>
  <inkml:trace contextRef="#ctx0" brushRef="#br0" timeOffset="53313.94">7867 9245 857 0,'6'-8'456'0,"-2"2"-37"0,-1 1-24 16,0-1-29-16,-3 4-36 0,0-3-92 0,0 5-15 15,-10-1-49-15,10 1 2 0,-14 1-38 16,7-1-2-16,-6 4 84 0,2-1-43 0,-3 3-13 16,-3 0 0-16,0 2-6 0,-1 2-20 0,-2 3-4 15,-1-3 1-15,3 2 11 0,0 0 5 16,0 0-25-16,3-2-9 0,2 2 4 15,-2-1-1-15,4-3-2 0,1 3-24 0,2-3-19 0,0 2 22 16,4-2-38-16,-2-1 10 0,4 2-10 16,0-2 38-16,2 0-23 0,2-2-15 15,0 1-8-15,1-2-15 0,2 0-41 0,0-2 18 16,2 2-39-16,1-2-40 0,0-1-14 16,0 1-7-16,5 0-59 0,-3-1-15 0,1 0-36 15,1-1-46-15,1 3-57 0,0-1-99 0,-3-2-640 16,3 4 122-16,-1-2 73 0,2 1 104 0,-2 1 100 15,-2-3 49-15</inkml:trace>
  <inkml:trace contextRef="#ctx0" brushRef="#br0" timeOffset="53555.92">8013 9400 1313 0,'3'-11'361'0,"-1"3"-42"0,-2 1-19 0,3-1-24 16,-3 2-12-16,0 0-8 0,-3 0-33 0,1 1 69 0,-1 0-6 15,1 2-48-15,-4 0-15 0,-1 2-8 16,7 1-36-16,-15 1-35 0,7 3 4 0,-2 2-7 16,0 1-16-16,1-1-12 0,-1 2-13 0,0 4-6 15,0 0 4-15,5-1-14 0,-3 2-7 16,2 0 0-16,4-1-34 0,0-3 39 0,4 2-64 16,0 0 8-16,2-3-37 0,1 2-40 15,3-1-31-15,2-3-43 0,5 1-34 0,-2-2-61 16,2 0-131-16,1-3-685 0,2-2 114 15,2 0 54-15,1-3 139 0,2-3 89 0,2-3 54 0</inkml:trace>
  <inkml:trace contextRef="#ctx0" brushRef="#br0" timeOffset="54242.62">8590 9060 1172 0,'-3'3'417'0,"-1"2"-13"16,1 3-43-16,-4 1-18 0,6 0-38 0,-4 3-41 16,0 3-19-16,-1 2-99 0,2 1-15 0,-2 1-21 15,2 4-13-15,-4-1-15 0,2 2-26 16,1-1 1-16,0-2-4 0,1-2-35 0,1-1 8 15,0 1-3-15,1-2 0 0,1-4-18 0,-1-1 28 16,2-3-15-16,-2 2 0 0,2-4 23 16,0 2 10-16,0-3 21 0,0-2-3 0,-3 0-10 15,3-4-3-15,0 2 19 0,0-2-9 0,0 0 67 16,0 0 3-16,7-13-6 0,-1 6-22 16,-3-5-6-16,6 3-9 0,-1-4-1 15,3-1 5-15,1 1-5 0,1 3-5 0,0-2-8 16,0 2 9-16,0 4-27 0,2-1-10 0,-4 1 0 15,3 5-5-15,-4-3-2 0,1 4 30 0,-1 3-28 16,0-1-2-16,-2 1 12 0,0 2-28 16,0 0 34-16,-3 1-14 0,2 0 29 0,-4 2-5 15,-1 2 10 1,-2-2-31-16,-2 1 13 0,-1 0-26 0,-4 1 19 0,-1-1-27 0,-2 3-2 16,-1-1-5-16,-3-2 0 0,-2 3 3 0,1-2 10 15,-3-2-16-15,2-2-14 16,-2 1-101-16,3-3-5 0,-1-2-20 0,3 4 10 0,1-6-47 15,1 3 1-15,1-1 0 0,0 0-13 16,0-2-28-16,2 1-23 0,3 1-41 0,-2-1-28 16,7-1-80-16,-9-6-140 0,7 8-426 0,2-2 98 15,0 0 52-15,0 0 78 0,10-13 100 16,-5 10 55-16</inkml:trace>
  <inkml:trace contextRef="#ctx0" brushRef="#br0" timeOffset="54612.56">8826 9301 1203 0,'0'0'463'0,"0"0"-141"0,0 0-43 0,0 0-12 0,0 0-22 15,0 0-35-15,0 0-31 0,-5 16 8 16,2-11-20-16,1 3-14 0,-1-2-2 0,1 2-33 16,-1-1-5-16,3 3-14 0,0-3-17 15,0 1 18-15,0-2-18 0,3 4-18 0,-1-4-5 16,1 1 15-16,2-1 6 0,-2-1-27 0,1-2-4 15,4 1 12-15,-2-3-12 0,-1 0 51 16,2-1-29-16,1-1 93 0,2-1-18 0,-2-3 10 16,2-1 3-16,-2 1 13 0,2-3-108 0,0-1 0 15,-2 1 71-15,0 0 1 32,2 1-18-32,-5-2-8 0,2 2 15 0,-1 1-28 0,-3 3 24 0,1 0-9 0,0-1-43 0,0 2-17 0,-4 2 6 15,0 0-1-15,0 0-6 16,8 6 13-16,-6-1-15 0,-2 1-21 0,-2 2 26 0,2 1-60 15,0 1-14-15,-2 0-26 0,-1 1-62 16,3-2-22-16,0 3-47 0,0-2-30 0,-3 0-6 16,3 0-20-16,0-2-94 0,3-3-157 15,0 1-573-15,-1-1 84 0,0-2 113 0,4-3 59 16,-1 3 92-16,-5-3 59 0</inkml:trace>
  <inkml:trace contextRef="#ctx0" brushRef="#br0" timeOffset="55033.66">9380 9081 1190 0,'3'-5'425'0,"-1"5"-31"0,-2 0-36 15,0 0-25-15,0 0-59 0,-10 13 13 16,4-2-31-16,-1-4-47 0,-1 5-14 16,0 1-80-16,0 3-28 0,-2-2-10 0,0 5-13 0,5-1 2 15,-3-3-17-15,0 2-13 0,4-1 5 16,-2 0 20-16,2-4-4 0,1 1-27 0,3-2 9 15,-3-3 4-15,1 2-7 0,0-2-18 0,1-2 31 16,1-1 4-16,0-2-24 16,0-3-11-16,-3 4 104 0,3-4 6 0,0 0-30 15,0 0-32-15,0 0 31 0,0 0-33 0,-17-5 21 0,12 3-11 16,0 0-18-16,5 2-27 16,-16 0 45-16,6 1-26 0,2 2-12 0,-3-2-13 15,1 4 23-15,-2 0-69 0,1 0-12 0,-1 1-19 16,2-3 18-16,0 4 5 0,-1-1 31 15,3 2-20-15,0 0-6 0,1-3 16 0,2 2-5 16,2-2 15-16,0-1-23 0,1 2 25 0,2-1-2 16,2-3-5-16,1 3 20 15,0-3-15-15,1 1 13 0,4-1-10 0,0-2-26 0,2 0 2 16,1-1-12-16,1 0-34 0,1-2-15 0,3 1-30 16,-1 0-3-16,0-2-36 0,1 2-57 15,-1-2-81-15,5 2-131 0,-3-2-483 16,3 0 68-16,-2 1 70 0,-1-3 92 0,1 1 69 0</inkml:trace>
  <inkml:trace contextRef="#ctx0" brushRef="#br0" timeOffset="55427.41">9600 9293 1297 0,'0'0'338'0,"-10"-2"-41"0,5 2-5 16,5 0-31-16,-16 0-13 0,9 2-28 0,-3-1 1 15,0 2-17-15,-1 0-17 0,1-2 46 0,2 3-23 16,-2-3-15-16,0 3-4 16,2-2-34-16,0 1 1 0,3 1-17 0,-3-1-13 0,3 0-13 15,2 0-5-15,1 0-28 0,0 0 13 0,2-3-8 16,0 9-23-16,2-4 41 0,0 0-21 16,4 0-9-16,-3 3-19 0,4 0 46 15,1 0-25-15,-3 4 28 0,3-1 23 0,-4-2-10 16,4 2-13-16,-5 2-8 0,2-3 11 15,-2 1 2-15,-1 0-95 0,1 0 28 0,-3 0-9 16,-3 1-9-16,-2 0-4 0,0-2 2 0,-6 1-8 16,1 2-10-16,-5-2 29 0,-1 0-16 0,-4-1-1 15,5-1 4-15,-3-2-24 16,2-1-2-16,2-3-20 0,0 2-19 0,1-1-38 0,1-2-18 16,1-1-30-16,1-1-44 0,2 0-28 15,3-2-16-15,0-3-17 0,5 5-62 16,-2-5-110-16,-4 4-80 0,9-4-501 0,4 2 123 15,-1-2 56-15,4-1 98 0,-2 0 81 0,2 0 108 16</inkml:trace>
  <inkml:trace contextRef="#ctx0" brushRef="#br0" timeOffset="55983.85">9634 9455 1116 0,'8'-8'432'16,"-1"2"-35"-16,0 1-23 15,1-2-90-15,-3 2-13 0,1 0-15 0,-1-1-28 16,0-1 2-16,0 1-22 0,0 1 32 0,-2 2-38 16,-1-3 3-16,1 1 69 0,-1 0-44 15,1 2-12-15,-3-1 12 0,0 1-43 0,0 3-20 16,0 0 4-16,-3-5-35 0,3 5-24 16,0 0 14-16,0 0-26 0,-15 5-16 0,10-1-5 0,0 2 19 15,0 3-42-15,-3 0-18 0,3-3 3 16,0 3-18-16,2 0-25 0,1-2-1 15,-1 1 19-15,3 1-6 0,0-2-28 16,0 0 13-16,3-1 18 0,1-1-34 0,4-3 31 16,0 1-28-16,2 0 18 0,1-5 16 0,-1 1-29 0,3-2 18 15,2-4-10-15,3 4 28 0,-3-5-31 16,3-1 6-16,0-2 10 0,0-1 2 0,0-2-5 16,2-2 5-16,1-4-15 15,0-5 33-15,-1 0 16 0,0 0-11 0,1-3-7 0,-5-1-11 16,-1 6-2-16,-5 5 28 0,1 3 18 0,-4-1 2 15,-1 2 0-15,-2 4-17 0,2 1 17 16,-4 1-4-16,-2 3-47 0,-2 0 44 0,-1 4-29 16,3 1 14-16,-13 1-11 0,6 4-10 15,-4 1 10-15,-4 6-8 0,2 1-7 0,-3 1-5 16,2 3-1-16,-2 1-4 0,3 1 5 0,-3 7 2 16,4-1 16-16,4-6-29 0,3 0-5 0,0 2 26 15,2-5-23-15,3 3-3 0,0-6 8 16,1 4-38-1,1-4 10-15,0 0-11 0,2-1-22 0,3-2-26 0,-2-2-15 0,3-1-34 16,-1-3-12-16,4-2-37 0,-1-2-40 16,0 0-31-16,1 0-51 0,1-2-100 0,-4-2-143 0,5-1-456 15,-3-2 117-15,2 0 50 0,-3-5 56 16,3 1 102-16,-4 0 61 0</inkml:trace>
  <inkml:trace contextRef="#ctx0" brushRef="#br0" timeOffset="56233.58">9769 9239 1256 0,'0'0'410'0,"-5"1"-6"0,5-1-43 0,0 0-38 16,0 0 22-16,0 0-12 0,0 0-62 16,23 3-38-16,-12-3-5 0,4 0-28 0,3 0-8 15,0 0-8-15,0 1-12 0,2-1-39 0,-2-1-26 16,3 1-12-16,-3 0-49 0,0 0-36 15,0-1 18-15,-1-1-87 0,-1 2-33 0,-1 2-36 16,-1-2-35-16,0 0-117 0,-6 1-142 0,8 0-499 16,-1-1 53-16,-2 0 138 15,2 1 57-15,0 2 136 0</inkml:trace>
  <inkml:trace contextRef="#ctx0" brushRef="#br0" timeOffset="56926.65">10405 9472 1402 0,'0'9'504'0,"0"2"-43"0,-2 3-41 0,-1-1-51 16,1 2-26-16,-1 1-100 16,-5 2-8-16,3-1-33 0,-5 3-33 15,-3 0-30-15,-5 5-22 0,-5-1-60 0,2-1-50 0,4-6-71 16,-1 0-35-16,0-4-116 0,-13 5-221 15,15-5-480-15,4-3 117 0,4-6 116 0,0 0 25 16,1-4 64-16</inkml:trace>
  <inkml:trace contextRef="#ctx0" brushRef="#br0" timeOffset="57851.64">10738 9276 1197 0,'0'0'333'0,"4"-2"0"16,-4 2-31-16,0-5-15 0,0 5-36 0,0 0-21 15,0 0-25-15,0 0-18 0,-6-3-3 16,6 3-31-16,0 0-30 0,0 0 3 0,-15 7-9 16,9-6 4-16,4 1-44 0,-4 4 27 0,2 0-16 15,1-1-27-15,0 0-10 0,1 3-5 16,2-2-2-16,0 1 9 0,2 3-19 0,-1-1-1 15,4 3 21-15,-1 0-41 0,0 0 30 0,3-1-25 16,-2 1 8-16,0-2 12 16,3 2-25-16,-2-2 10 0,-2-1 20 0,-1-2-12 15,0 3 54-15,1-4-19 0,-6 1 13 0,2-2-20 16,-5 2 36-16,0-1-26 0,-3 1-10 16,-4-2 20-16,1-2-7 15,-4 3-18-15,-1-2-13 0,-2-3-8 0,0 3-7 0,-2-3-8 0,2 0-34 16,0 0-12-1,0-1-18-15,0 0-18 0,5 0-31 0,0 1-12 0,0-1-26 0,1 0-57 16,4 0-7-16,0 2-28 0,3-1-8 0,0 1-123 16,5-2-74-16,-5 1-443 0,5-1 67 15,0 0 123-15,0 0 37 0,0 0 63 0</inkml:trace>
  <inkml:trace contextRef="#ctx0" brushRef="#br0" timeOffset="58350.83">10726 9537 1013 0,'8'0'387'0,"2"-3"-19"0,0 0-12 16,-2 2-10-16,4-4-14 0,-3 0-117 0,1 1-28 16,2-2 3-16,-2 1-9 0,-2 0-12 15,0-1 108-15,-1 0-26 0,1-1-8 0,-2 1-31 16,-2 0-10-16,2-3-22 0,-1 0-24 16,0 2 15-16,-2 1 14 0,-3 0-47 0,5-1-67 15,-5 1-17-15,2 3-10 0,-2 0-1 0,0 3 8 16,0-6-35-16,0 6 9 0,0 0-2 15,0 0-28-15,0 0 18 0,-15 11-21 0,12-5 6 0,-2 1 12 16,2 0-38-16,1-1-3 16,-3 1-17-16,5 2 2 0,0-1-11 0,0-1-4 15,3-1 12-15,-1 1 3 0,3-2-20 0,3-1 7 16,0-1 13-16,2-2 17 0,0 1-12 16,0-2 24-16,3-2-14 0,0 0 23 15,2-3 26-15,1-1 0 0,-1-1-3 16,-2 1 24-16,2-5 2 0,-4-2 2 0,1 0 8 0,-2 0-17 15,1-6 12-15,-1 0 13 0,-2-1-6 0,2 0 1 16,-2-2 10-16,-3 4-18 0,0 2-2 16,0 0 15-16,0 4 20 0,-2 1-20 0,0 3-18 15,-3 0 23-15,0 3-31 16,0 3 16-16,0 2-11 0,0 0 0 0,0 0-17 0,-11 10 2 16,8 1-13-16,-1 2-10 0,-2 3-38 0,2 2-18 15,1-1 9-15,0 1-22 0,1 3-33 16,2-2 0-16,2-1-34 0,1-1-30 0,-1 1-39 15,1-2-15 1,2-1-67-16,2-2-135 0,-1-1-492 0,-1-4 20 0,2 2 111 0,-1-5 89 16,-1-2 57-16,0 1 64 15</inkml:trace>
  <inkml:trace contextRef="#ctx0" brushRef="#br0" timeOffset="58539.32">10983 9360 1008 0,'-6'-2'343'0,"6"2"-56"0,0 0 68 0,0 0-37 16,-3-2-19-16,3 2-25 0,0 0-43 15,0 0-1-15,13-6-20 0,-5 5-41 0,0-1-5 16,2-1-6-16,0 2-42 0,3-3-9 0,0 3-20 16,-3-1-28-16,6-2-18 15,-4 3-31-15,1 0-41 0,2-1-120 0,-2-1-117 16,1 3-656-16,1-5 125 0,0 4 46 0,0 0 142 0,-2-3 53 15</inkml:trace>
  <inkml:trace contextRef="#ctx0" brushRef="#br0" timeOffset="59282.01">11523 9292 898 0,'8'8'369'15,"-8"-3"-1"-15,0 0-58 0,0 0-41 16,-3 5-24-16,3-4-9 0,0 5-26 16,-2-2-16-16,0 3-20 0,1-2-18 0,1-2-17 0,0 4-11 15,-2-5-11-15,2 3-12 0,-3-1 8 0,1-3-26 16,1 2-5-16,1-3 20 15,-2 1-22-15,2 0 32 0,0-6-12 0,0 6-72 16,0-6 21-16,2 0-11 0,-2 0 8 0,0 0 8 16,0 0 13-16,0 0-21 0,11-9 33 15,-6 4 54-15,-2 1 31 0,4-2-36 0,-2-1-15 16,1 1-21-16,1 4 0 0,-2-2-36 0,0-2 26 16,3 5-15-16,-2-2-16 0,1 0 18 15,0 3-28-15,-1 0-67 0,-6 0 14 0,13 3-17 16,-6 0 9-16,-2-2-6 0,1 5 8 15,-2-5 13-15,2 4-2 0,-4 0-9 0,4-1 3 16,-2 1 21-16,-3 0 0 0,4-1-8 16,-3 1-3-1,0-1 6-15,1 0 12 0,0-2-10 0,-3 3 6 0,2-3 27 0,-2-2 8 0,3 5 0 16,-3-5 36-16,0 4-31 0,0-4 6 16,0 0 12-16,0 0-34 0,0 0 29 0,0 0-5 15,13-6-23-15,-10 3-13 0,1 1 26 0,-1-1-21 16,2 0 13-16,0 3 0 0,1-2-15 15,1-1-3-15,-7 3-23 16,11 3 10-16,-4-1-3 0,-2-2 1 0,3 4-13 0,-3-2 13 0,2 3-11 16,-1-3-66-16,-1 2-28 0,0-2-41 15,-2 3-37-15,2-4-45 0,-2 3-46 0,1-1-95 16,-1 0-166-16,2-1-474 0,-5-2 98 16,10 1 91-16,-4-1 93 0,-6 0 110 0,13-3 17 15</inkml:trace>
  <inkml:trace contextRef="#ctx0" brushRef="#br0" timeOffset="59406">12003 9363 924 0,'0'0'345'15,"2"-5"-25"-15,-2 5-36 0,0 0-12 0,0 0-24 0,0 0-18 16,-5 11-40-16,5-4-19 0,-3-2 1 16,-1 4-42-16,3 1-2 0,-4-4-38 0,1 5-65 0,0-4-43 15,-1 4-104-15,-2-2-193 0,4 1-479 16,-2-2 75-16,-2-1 66 0,3-1 113 15</inkml:trace>
  <inkml:trace contextRef="#ctx0" brushRef="#br0" timeOffset="59589.03">11987 9275 1310 0,'-2'-2'392'0,"2"2"-65"0,-3-4-35 0,3 4-87 15,-7-1-62-15,7 1-173 0,0 0-237 16,-9 3-498-16,9-3 97 0,-7 4 64 0</inkml:trace>
  <inkml:trace contextRef="#ctx0" brushRef="#br0" timeOffset="59880.23">12049 9329 1005 0,'3'6'369'0,"-3"3"-21"0,0-2-20 0,0 3-26 16,0-2-15-16,2 2-16 0,-2-3-15 15,0 1-41-15,0 2 8 0,0-4-67 16,2 1-8-16,-2-1 8 0,0-1 11 0,0-1-9 16,3 2-12-16,-3-1 10 0,0-1 13 0,0-4 100 15,0 4-46-15,3-1-29 0,-3-3 14 16,7 1-16-16,-7-1-36 0,8-1 13 0,-8 1-90 15,10-3 8-15,-10 3-41 0,13 0 18 0,-8 3-33 16,0-2 18-16,0 0-1 16,1-1-20-16,-1 4-30 0,0-2-8 0,0 1-49 0,0 1-41 15,-2 0-31-15,-1-2-50 0,1 3-68 0,2-1-91 16,-3 0-251-16,4 0-423 0,-1-2 105 16,2 2 67-16,1-3 97 0,-3-2 77 15,5 0 51-15</inkml:trace>
  <inkml:trace contextRef="#ctx0" brushRef="#br0" timeOffset="60654.78">12441 9351 806 0,'0'0'353'0,"0"0"39"0,0 0-19 0,0 0-35 0,0 0-28 15,0 0-16-15,-3-2-48 0,3 2-26 0,0 0 3 16,0 0-23-16,0 0-24 0,-4 12 1 16,3-7-26-16,-1 1-10 0,2-2 15 15,0 2-49-15,0-1 21 0,0 2-30 16,-3 2-17-16,6-3-1 0,-3 1-14 0,0 1-7 0,0-1 10 16,3 0-35-16,-3-1 19 15,2 0-25-15,0 0 13 16,1-2-20-16,0-2 12 0,-1 3-5 0,4-3-2 0,-2-2-3 0,2 1 5 0,-6-1 39 15,12-1-42-15,-7 1 3 0,3-1-15 16,0 0 15-16,0-2-15 0,-1 1 26 0,1 2-37 16,-1-2 6-16,-1 1-6 15,-6 1 9-15,13 0-19 0,-8 1-2 0,2 1 7 0,-1-2 1 16,1 3 12-16,-1 0-15 0,1-2 18 0,-2 0-3 16,3 1-8-16,-3 1 11 0,2-3 23 0,-1 0 0 15,-6 0 66-15,13 0-17 0,-5-2 12 16,-1-2 5-16,0 3 24 0,-1-3-14 0,-1 1-81 15,3-1 20-15,-3 1 8 0,0-2 5 16,0-1-13-16,0 1-20 0,0-2-23 16,-2 0 25-16,-1-1-7 0,1-1-11 0,0 2-5 15,-1 1-23-15,0 1-30 0,1 1-39 0,-3 0-33 16,3-1-16-16,-3 3-56 0,0 2-28 0,2-5-2 16,-2 5-37-1,0 0-86-15,3-6-154 0,0 6-497 0,-3 0 103 0,0 0 74 0,0 0 113 16,12 6 63-16,-12-6 83 0</inkml:trace>
  <inkml:trace contextRef="#ctx0" brushRef="#br0" timeOffset="61029.06">12926 9331 1302 0,'0'0'400'0,"0"0"-73"15,0 0-2-15,0 0-48 0,0 0-24 16,-16 7-7-16,9-6-18 0,4 4-26 0,-4-1-2 15,4 1-36-15,-3-1-19 0,1 2-14 0,0 0-1 16,0-1-9-16,0 1-32 0,3-1-14 16,-1-1-6-16,0 1-36 0,1 1 13 0,2-3 16 15,0-3 9-15,2 3-32 0,1 1-4 0,-3-4 6 16,7 1-2-16,-7-1 32 16,8-1 27-16,-3-3-16 0,1 3 33 0,-1-4 31 15,0 3-98-15,0-2 9 0,2 0 4 0,-1 0 21 16,-2 0-8-1,0 3 75-15,0-4 15 0,-1 4-8 0,-3 1-18 0,5-5-33 0,-5 5-10 16,5-1 22-16,-5 1-32 0,0 0-11 0,0 0-43 16,6 10-42-16,-6-8-12 0,0 3-30 0,0-1-19 15,-3 0-56-15,3 2 15 16,0 0-66-16,0-1-54 0,0 0-53 0,3 2-75 0,-3-4-254 16,2 3-352-16,4-1 68 0,-4-4 67 15,3 3 88-15,3-2 52 16,2-2 96-16</inkml:trace>
  <inkml:trace contextRef="#ctx0" brushRef="#br0" timeOffset="61771.83">13241 9329 941 0,'-7'-1'338'0,"7"1"-13"0,-13-3-38 15,5 3-21-15,0 0 49 0,0 0-20 0,1 4-19 16,-1-2-38-16,0-1-18 15,1 5-28-15,2-3 3 0,-3 0-19 0,2 2-14 0,2 3-22 16,-2-2 1-16,1 4-23 16,0-1 15-16,3 3-23 0,-1 0 13 0,-2 1-10 0,2 1-3 15,-2 3-18-15,2-2-13 0,-1 1 18 16,-2 2-10-16,2-4-2 0,-4 4-6 0,2-5 8 16,-1 3-33-1,-1-2-21-15,0-1 26 0,-2-2-10 0,2-2-24 0,-2 1-17 0,3-2 7 16,-1-2 29-16,0 1-11 0,0-2-33 0,4-1-25 15,-2-2-4-15,3-1-6 0,3-1 9 0,-5 1 13 16,5-1-30-16,0 0 30 16,0 0-20-16,0 0 12 0,0 0-17 0,11-12 35 15,-8 8-7-15,4 0 10 0,3-2-8 0,1 0-2 16,-1-1 0-16,3-1-3 0,2-2-10 0,-2-1 23 16,5 1-8-16,-3-3 11 0,5 0 12 15,-1-2-20-15,1 2 26 0,-2 0-16 0,3-1 13 16,-3 0-8-16,-3-2 31 0,1 5-18 15,-2-2 8-15,-3 4 38 0,2-1-26 16,-8 1 34-16,3-1 5 0,-4 4 2 0,2-1-15 0,-4 1 16 16,1 1-85-16,0 1-18 0,-3 0 5 15,0 4-12-15,0-5 22 0,0 5 3 0,0 0-31 16,-11 0 13-16,11 0 36 0,-10 5-5 0,5-1-8 16,0 0-15-16,0 1 7 0,-1 1 16 15,1 1-5-15,0 2-34 0,0-2 16 16,0 1 10-16,2-1-8 0,3 0-38 0,-4 2 16 15,4-3-16-15,0 1 2 0,0-2-2 0,0 0 20 16,4 0-9-16,-1-2 22 0,0 0-8 16,2 0 3-16,2-2 3 0,1 0 10 0,0-1-13 15,2-1 44-15,-2-3-6 0,5 2-7 0,0-1 7 16,-1 1 11-16,1-1-3 0,-3 0 23 16,3 2 18-16,-3-1-30 0,1-1-1 0,-4 3-2 15,4 0 5-15,-1 0 23 0,-3 0-18 0,1 0-18 16,-2 4 3-16,1-2 30 0,-2-2-15 15,0 5-2-15,0-3 5 0,-4 4-11 0,3-3 18 16,-4 0-17-16,0 2 7 0,0 0 8 0,-2-2-16 16,-1 3 0-16,-4 0-25 0,4 0-46 0,-5-1-21 15,0 0-33-15,1-1-43 16,0 1-60-16,1 0-43 16,-1-2-53-16,1 0-209 0,1-1-533 0,2-2 98 0,3 0 47 0,-7 1 105 15,7-1 123-15,0 0 40 0,0 0 86 16</inkml:trace>
  <inkml:trace contextRef="#ctx0" brushRef="#br0" timeOffset="62427.97">13893 9523 1200 0,'0'0'389'0,"7"6"-28"0,-2-3-5 0,-3 4-29 16,1 2-19-16,0-1-32 0,-6 5-5 0,3 0-45 0,-5 3-19 16,-3 3 3-16,-4 0 23 15,-7 6-46-15,-3 1-59 0,-1-2-59 0,-1-3-49 16,1 1-45-16,3-7-111 0,-9 4-258 0,14-3-528 15,8-4 124-15,-1-5 83 0,3-4 37 0,2 0 74 16</inkml:trace>
  <inkml:trace contextRef="#ctx0" brushRef="#br0" timeOffset="63310.09">14305 9569 652 0,'0'3'356'0,"0"-3"-3"0,0 0-35 0,0 0-1 0,0 0-33 0,15-9 3 0,-9 2-111 16,2 1 24-16,1-2-13 16,-1-2-26-16,-1 3 31 0,1-6-18 0,2 1-46 0,-2 0 8 15,-3-1 28-15,3-1 48 0,-2 2-33 0,-2 0 3 16,2 0 0-1,-4 0-23-15,1 3 4 0,-1-1-6 0,1 3-12 0,-1 1-9 16,-1 0-41-16,1 1 17 0,-2 2-101 0,0 3 1 16,0 0-17-16,0 0 26 0,0 0-13 0,-13 7-1 15,8 0 1-15,0-1-26 16,0 5-5-16,0 1-15 0,-3 2 4 0,5-1-40 0,-2-1-8 16,0 1 0-16,3 0 16 0,-1 0-9 0,1-1 14 15,1-1 2-15,2-2-36 16,1 2-2-16,3-5-5 0,-2 2 15 0,5 1-26 15,-1-6-15-15,3 3-18 0,-2-3-13 0,5-2-35 16,0 0-24-16,2-2 34 0,0-2 7 16,1 0 37-16,-1-2 22 0,3-1 46 0,-2 0 1 15,1-3 48-15,-1 0 23 0,-3-1 35 0,2 1 11 16,-2-1 16-16,-3 1 10 0,1-4 2 0,-1 6 41 16,-2-4-15-16,-1 5 12 0,-2-2 16 15,-3 2-18-15,4-1-10 0,-4 1 26 16,1 1-14-16,0 0-35 0,-3 1 3 0,2 0-4 0,-2 4-22 15,0-3-5-15,0 3 12 16,0 0-7-16,0 0-16 0,0 0-4 0,0 0-9 0,0 0 3 16,-2 15-2-16,-1-9-1 0,3 2 4 15,0 1 14-15,-3 1-17 0,3 1 12 16,-2-1 1-16,2-1-11 0,0 3-13 0,-2-2-7 16,-1 0-6-16,2 3 3 0,-3-2 42 0,1-1-32 15,-2-1-23-15,2-2-25 0,-2 2-36 16,0-3-13-16,-2 1-36 0,1-4-56 0,1 2-100 15,0-5-128-15,-2 4-522 0,4-3 110 0,-2 1 54 16,5-2 143-16,0 0 16 0</inkml:trace>
  <inkml:trace contextRef="#ctx0" brushRef="#br0" timeOffset="63535.82">14815 9274 1005 0,'2'-1'407'0,"-2"1"-28"0,0 0-51 0,0 0-23 16,0 0 50-16,0 0-24 0,3 9-35 0,0-3-34 16,-3 3-37-16,0 0 5 0,2 4-15 15,-2-1-54-15,3 1-10 0,0 6 26 0,-1-3-77 16,0 0-23-16,-1 0-29 0,1-2-66 16,-2 3-20-16,3-3-31 0,-1 0-90 0,-1 1-153 0,-1-1-604 15,2-2 71-15,-2-1 69 0,0-2 106 16,0-3 45-16,0 2 111 0</inkml:trace>
  <inkml:trace contextRef="#ctx0" brushRef="#br0" timeOffset="63879.32">14782 9516 1187 0,'-3'-4'425'0,"3"4"-41"0,0 0-41 0,-3-4-28 15,3 4-36-15,0 0-21 0,6-4-25 16,-6 4-18-16,10-4-112 0,-2 3-21 0,-1 0-18 15,3-3-41-15,1 2-41 0,-1-1-28 0,3 2-21 16,0-5-51-16,0 4-38 0,3-3-31 16,-2 0 34-16,-1 3 30 0,3-4 23 0,-1 1 0 15,0-1 70-15,-2 2-9 0,0 0 60 16,-2-1 32-16,-1 3 32 0,0-2 2 16,-2 2 8-16,-1 0 7 0,-1 0 16 0,-2 1-3 15,-4 1 3-15,10 4-6 0,-9-1 4 0,4 0-24 16,-3 0 7-16,1 3 1 15,-3 1-18 1,0-2 5-16,3 4-5 0,-3 1-5 0,0-1-13 0,0 1-15 0,0 0-11 0,-3-1-53 16,3 2-34-16,0-3-51 0,0 4-128 0,-3-3-156 15,1-1-496-15,2 0 102 0,-2-2 107 16,2 1 21-16,2-3 54 0</inkml:trace>
  <inkml:trace contextRef="#ctx0" brushRef="#br0" timeOffset="64016.75">15203 9369 1103 0,'-1'-3'279'0,"-4"0"-51"0,3 0-90 0,0 0-189 16,2 3-620-16,-6-3 54 0</inkml:trace>
  <inkml:trace contextRef="#ctx0" brushRef="#br0" timeOffset="64714.85">15338 9410 1320 0,'0'0'405'0,"0"0"-88"0,0 0-20 15,6 12-10-15,-6-8-42 0,0 3 24 16,0 1-77-16,-1-1-7 0,1 1-27 0,-2 0 3 16,2 1-4-16,0-1-32 0,0-1-20 15,-3-1 15-15,3 0-38 0,0-1-2 16,0 1 7-16,0-1-3 0,0-2 29 0,0-3-26 0,0 6 13 16,0-6-29-16,5 1-2 0,-5-1 18 15,0 0-23-15,0 0-2 0,11-6-57 0,-9 4-3 0,4-4 11 16,-2 2 8-16,4 0 2 15,-3-1-18-15,1 0 0 0,1 3 3 0,-2-2-1 16,3 0 6-16,-3 1-3 0,0 3 39 16,-5 0-31-16,10 0 0 0,-10 0-5 0,8 4-8 15,-3-1 10-15,0-2-17 0,-2 4 25 0,-1-2 2 16,1-1-15-16,2 0-25 0,-3 3 33 16,2-3-8-16,-4-2 3 15,4 4-5-15,-1 0 40 0,-3-4 4 0,3 3 86 0,-3-3 20 0,2 4 22 16,-2-4-24-16,0 0-23 0,5 1-79 15,-5-1 7-15,0 0 21 0,0 0-8 16,0 0-5-16,8-5-2 0,-3 2-1 0,-2-1-17 16,2 2-16-16,-2-1 1 0,-3 3-1 0,7-6 97 15,-4 5-25-15,2 0 29 0,-5 1-24 0,9 0-18 16,-9 0 2-16,9 1-22 0,-4 0 7 16,0 2-45-16,0 0-11 0,2 0 2 0,-1-1-17 15,-1 2 25-15,0-1-69 0,0 0-63 0,1 1-27 16,-4-1-27-16,5-1-42 0,-4-1-33 15,3 3-28-15,1-3-33 0,-2 1-18 0,5 0-100 16,-2-2-156-16,3 0-484 0,-1-2 138 0,2 0 47 16,1 2 81-16,3-2 105 0,-1-1 77 0,0 1 64 15</inkml:trace>
  <inkml:trace contextRef="#ctx0" brushRef="#br0" timeOffset="65386.01">15884 9481 1031 0,'3'-2'389'15,"-1"-2"-105"-15,1 1 11 0,-1 0-29 16,-2 3-10-16,0-7-10 0,0 7-44 0,0-3 36 15,0 3-28-15,-5-3-31 0,5 3-23 16,-4-5-13-16,4 5-2 0,-6 0-33 0,6 0-11 16,-10 0-13-16,10 0-4 0,-11 0 4 0,4 4 8 15,0-3-30-15,1-1-1 0,-1 4-4 0,3-2 7 16,-3-2-31-16,2 3 5 0,0 1 3 16,2-4-5-16,-1 3-5 0,1 0-1 15,0 0-9-15,3-3-3 0,-5 3 0 0,5-3-3 0,-3 5 3 16,3-5-5-16,3 5 15 15,-3-5-15-15,5 6-6 0,-2-4 27 0,0 2-16 16,1-1-23-16,-1 1-8 0,4-2 2 0,-1 2 22 16,-1-2-14-16,3 0 11 0,0 2-11 15,-1-3 3-15,4 0-23 0,-4-1 39 16,3-1-16-16,3-1-11 0,-2-2 4 0,1 1 17 0,1-1 8 16,0-1 2-1,0-3 16-15,-1-2 125 0,4 1-20 0,-4-2 3 0,1-2-68 0,0-2-24 16,0-1 45-16,0-2-10 0,-1 0-18 0,-1-1 3 15,2-1 2-15,-1 1 10 0,-1-2-22 16,1-1 27-16,-2 1 1 16,-1-1-21-1,1 3 13-15,-2 6 2 0,-1-1-4 0,-2 3-11 0,-2-2 0 0,2 7-13 0,-3 1 8 0,-2 2-5 16,0 3-61-16,0 0 53 0,0 0 10 16,-14 11-4-16,8-2-22 0,-4 4 4 0,0 1 7 15,-1 7-23-15,-1 0-51 0,1-2 5 0,1 4-3 16,0-1-12-16,2-1-6 0,3-2-25 15,2-1 20-15,1-1-15 0,0-1 6 16,2-3-6-16,2 0-3 0,0-2 13 0,1-2 18 16,0-3 1-16,1-1-1 0,2 2-3 0,1-6-12 0,1 2-3 15,0-3 19-15,2-3 14 16,0 1-5-16,1-4 6 0,-1 1 7 0,2 2-7 16,-2-2 20-16,-1 0-10 0,-2 2 2 15,1 0 8-15,0 3-3 0,-3 0 3 0,-5 0-7 16,10 3-4-16,-8 0-1 0,1 2 19 0,0 0-40 15,-1 2 18-15,1-1-34 0,0 0-5 0,1 1-48 16,-1-1-34-16,2 0-35 0,-2 0-14 0,2-1-45 16,0-1-69-16,1 0-142 0,-2-2-526 15,4 1 73-15,-3-3 85 16,-5 0 57-16,13-4 135 0,-8 3 13 0</inkml:trace>
  <inkml:trace contextRef="#ctx0" brushRef="#br0" timeOffset="65595.84">15889 9263 993 0,'0'0'371'0,"0"0"-26"0,0 0-50 0,0 0-24 15,31 0 0-15,-16 0-50 0,4 0 9 16,4-2-48-16,0 1 33 0,5-2-18 0,2 2-74 15,1 1-54-15,3-2-56 0,-3-2-175 16,-1 1-173-16,13-1-497 0,-12-2 79 0,-2 4 50 16,-1-2 157-16</inkml:trace>
  <inkml:trace contextRef="#ctx0" brushRef="#br0" timeOffset="66706.61">16766 9310 995 0,'0'-4'361'0,"0"4"56"0,2-2-15 0,-2 2-56 15,0 0-36-15,-6-3-34 0,6 3-25 16,0 0-26-16,-19 5-18 0,9 0-25 0,0-1-10 16,-3 1-34-16,0 0 8 0,0 4-26 15,-2 0-5-15,0-1-20 0,2 3 2 0,0-4-25 16,0 4-6-16,5-4-12 0,-2 1-8 0,5 1 11 15,-1-2-14-15,2 0 13 0,1-1-10 16,3-1-5-16,3-1-10 0,2 1 13 0,2-1-34 16,1-2 26-16,0 2-8 0,2-3 0 15,3-1-7-15,0 0-6 0,2-2-10 0,-2-1-5 0,2 0 20 16,-1 0 39-16,0-3-38 0,-3 3 7 16,2-1-8-16,-3 2-12 0,0-2 2 15,-3 3 6-15,1-3-6 0,-2 3 3 0,-1 1 20 16,-5 0-7-16,8 3-26 0,-6 0 20 0,0 0 3 15,2 0-10-15,-2 2 10 0,-2 0-5 16,2-2-18-16,1 3-15 0,0-1 2 0,-1 2 0 16,0-2-5-16,1-1 5 0,2 0-2 0,0 2 5 15,1-6 12-15,-1 4-2 16,2-2 0-16,1-2 10 0,0 0-15 16,0 0 31-16,2-2-3 0,-3-2 5 0,3 4-36 0,-2-6 52 0,0 2-18 15,0 0 12-15,-1-3 3 0,-2 0-8 16,-2-2-79-16,2 3 8 0,-3-1 2 15,-2 1-5-15,0 0 28 0,-1 0-18 0,0 4-10 16,-4-3 13-16,3 2 5 16,-4 0-5-16,3 2 26 0,-4 0-11 0,7 1-3 0,-13 0 11 15,9 0-18-15,4 0 3 0,-11 2-1 16,5-2 6-16,-1 3-18 0,5 0 7 0,2-3 3 0,-5 3 10 16,5-3 6-16,-3 3-9 0,3-3-9 15,0 0 19-15,10 4-11 0,-3-3 11 16,1-1-1-16,0-1-16 0,3 0 12 0,-1-2 9 15,3 2 25-15,-1-1 5 0,4-1-15 16,-1-3 2-16,-2 6 19 0,2-5-14 0,-2 3 6 16,2-1 12-16,-4 1 21 0,-1 1-16 0,0 0-2 0,-2 1 0 15,0 0 0-15,-1 0 23 0,-1 1-28 16,1-1 10-16,-2 5-20 0,1-2 2 16,-2 2 8-16,-1 1-3 0,0 0-2 0,-1 1-13 15,-2-1-39-15,0-1-22 0,0 1 9 0,-2 2-40 16,-1-3 10-16,3 2-25 0,-5-1-34 15,3 0-18-15,-1-1-82 0,0-2-61 0,1-1-215 16,2 1-469-16,0-3 129 16,-2 6 61-16,2-6 76 0,0 0 65 0,0 0 135 0</inkml:trace>
  <inkml:trace contextRef="#ctx0" brushRef="#br0" timeOffset="66949.3">17410 9162 1192 0,'2'-4'443'16,"-1"2"-23"-16,-1-3-59 0,0 5-34 0,0 0-30 16,0 0-12-16,0 0-53 0,0 0-11 0,-8 11-17 15,2-3-24-15,4 1-6 16,-3 0-18-16,-1 3-15 0,2 0 48 0,-2 2-12 16,-1-3-19-16,4 6-12 0,-2-2-54 0,2-1-35 0,1 1-52 15,0-1-5-15,1-1 20 16,-1 0-61-16,2-1-20 0,-3 1-34 0,3-1-46 15,-2-3-58-15,4 1-162 0,-2-4-538 0,0 0 42 16,0 1 38-16,0-2 123 0,-2-1 66 16,2-4 67-1</inkml:trace>
  <inkml:trace contextRef="#ctx0" brushRef="#br0" timeOffset="67179.98">17274 9341 1203 0,'0'0'465'0,"-2"-5"-19"0,2 5-34 0,-3-5-28 16,3 5-33-16,0-2-37 0,0 2-32 0,7-6-24 16,-4 3-22-16,5 2-8 0,2-1-64 15,0 0 12-15,3-1 1 0,0 3-18 0,2-2-24 16,1-1-14-16,2 2-52 0,-1 0-31 0,1 0-18 16,1-2-50-16,1 3-24 0,-2-1-41 0,2-1-25 15,-4 1-103-15,1 1-130 16,-3-2-622-16,-1 2 97 0,-1 0 41 0,1-1 141 0,0 2 22 15,-3 1 75-15</inkml:trace>
  <inkml:trace contextRef="#ctx0" brushRef="#br0" timeOffset="67537.78">18048 9475 1371 0,'0'5'423'0,"3"3"-21"0,-3 2 38 15,2 2-56-15,-4 1 23 0,-1 1-41 0,0 4-56 16,-4 0-3-16,-1 2-51 0,-2-1-23 0,-3 0-52 16,0 0-45-16,-7 7-57 0,0-7-91 0,3-1-73 15,-7 2-94-15,-3 1-205 0,5-6-624 16,3-2 160-16,-1-1 88 0,0 1 41 15,1-3 107-15,-1-1 46 0</inkml:trace>
  <inkml:trace contextRef="#ctx0" brushRef="#br0" timeOffset="69469.55">7557 10172 760 0,'-5'-5'425'16,"5"5"-59"-16,-8-4-34 0,0 4-14 16,0-3-42-16,-2 0-25 0,-2 2-21 0,-4 1-27 15,1 1-11-15,-6 2-5 0,-1 0-6 16,-7 2-22-16,-10 2 5 0,-1 4-18 0,-1 0-95 15,2 1 21-15,3-2-19 0,8 1 1 16,7-3 20-16,4 1-30 0,1-1-16 0,4-1 0 16,3 0 8-16,1 3 5 0,4-3 0 15,4 0 54-15,2 0 7 0,0-1-30 0,6 4-3 16,1-1 10-16,3 0-23 0,1 0-12 0,5-1 2 16,-3 0-5-16,6 1-26 0,-3-2 19 15,-1 3-4-15,1-3 1 0,-2 0-21 16,-1-1 16-16,-4 1-6 0,2-1 6 0,-6-2-11 15,1 0 44-15,0 1-38 0,-4-1 20 0,-1 2-11 16,-2-3 6-16,-1 3-18 0,-4 0-8 0,0 0-10 16,-4 0 31-16,-2 0-21 0,-1-1 3 15,-1 2 2-15,-4-2 11 0,3-2-21 0,-5 4-7 16,3-4-6-16,-1-1 5 16,1 1-4-1,0 0-19-15,2-3 0 0,-2 2-27 0,4 0-19 0,-1-1 21 0,1-1-54 0,1 0-15 16,2-1-16-16,0 1-46 0,1-4-33 0,2 4-56 15,5 0-24-15,-5-3-63 0,2 0-105 0,3 3-343 16,3-5 84-16,0 1-5 0,1 0 71 16</inkml:trace>
  <inkml:trace contextRef="#ctx0" brushRef="#br0" timeOffset="70472.57">7616 10407 1249 0,'-5'-3'345'15,"5"3"-33"-15,0 0 3 0,-8 1-31 16,8-1-12-16,-8 5-50 0,6-3-32 16,-4 4-31-16,4 0 10 0,-3 1-6 0,2-1-14 0,-2 1-8 15,3 3-1-15,-1-3-27 16,1 1-18-16,1 1-21 0,0-1 13 0,1-1-5 15,0 1-13-15,2-2-18 0,0 1-5 16,1-2 13-16,-1 1-31 0,3-3-2 0,-2 0 15 16,4-3 2-16,-1 1-7 0,2-1-20 15,-1-1-75-15,3 1 31 0,0-6-8 0,1 0 31 16,-3-1 79-16,2 1-26 0,3-5 14 16,-3 1 20-1,-2-1-11-15,-1 2 34 0,1 0-23 0,0-1-20 0,-3 1 17 0,0 3-5 0,0 1-20 16,0-2 7-16,-2 4 6 0,-1-1-31 0,1 4 36 15,-3 0-26-15,0 0 5 0,0 0-15 16,0 0-18-16,7 7 12 0,-6-2-2 0,1 2-25 16,-2-1 7-16,3 1-53 0,-3 0-19 15,2-1 19-15,-1 3-44 0,3-2-26 0,-1-1-20 16,2 0-15-16,0 0-9 0,3-3-9 0,-1 0 0 16,3-1-3-16,1 0 20 15,2-2 11-15,2-2 13 0,1 1-9 0,-1-3 40 0,-2 3 20 16,2-5 4-16,-2 1 70 0,0-1 16 0,-3 0 17 15,-2-1 3-15,-1 1 61 0,-1 0-25 16,-3-1 20-16,1 0-10 16,-4 4-18-16,0-2 13 0,0 0-24 0,0 5-9 0,-5-5-1 15,3 4 14-15,2 1-3 0,-10-2-16 16,10 2-5-16,-10 0 6 0,10 0 4 0,-8 4-17 16,2 0 25-16,4 1-28 0,-1-2 13 0,-2 2-23 15,3 4 25-15,1-2 6 0,1 0-21 0,0 2 28 31,0-2 5-31,1 4-7 0,4 1-16 0,-3 0 31 0,3 2-21 0,-2-3 27 0,2 2-14 16,-3 0 0-16,1 1-2 0,0 1 10 16,-3-2-13-16,0 0 18 0,-3 0-18 0,0 0-7 15,-1 0-6-15,-2-2 8 0,1 0 1 0,-3-1-14 16,0 0-8-16,-1-3 11 0,1 0-23 16,0 0-5-16,1-2 22 0,-1 0-32 15,0 0-24-15,3-2-38 0,0 0-33 0,0-2-34 16,-1 0-9-16,6-1-14 0,0 0-10 0,-7-5-15 15,7 5-38-15,3-6-65 0,4 1-38 16,-2-2-110-16,5-1-392 0,3-3-2 0,1 1 100 16,3-2 33-16,1-4 81 0</inkml:trace>
  <inkml:trace contextRef="#ctx0" brushRef="#br0" timeOffset="71318.92">8144 10437 854 0,'2'-8'287'0,"1"2"-16"15,-3 1 88-15,3-1-32 0,-6 4-22 16,3 2-26-16,-2-5-15 0,2 5-34 0,0 0-33 15,-8 0-2-15,8 0-21 0,-8 5-21 0,3-3 1 16,0 4-8-16,0-1-26 16,0 3 23-16,0 0-15 0,2 3-33 0,-2 0 20 15,4 2-2-15,-3 0-29 0,1-1 9 0,1 1-27 16,1 3 19-16,1-2-14 16,-2 1 16-16,0 0-33 0,-1 0 2 0,-2 4 21 0,0-2-28 15,-1-3 10-15,-1 1-6 0,-3 1-17 16,2-4 3-16,-3 1 4 0,1-3-40 0,-2-1 12 15,1 0 11-15,1-3-65 0,0 1-14 16,2-4 1-16,0 1 9 0,3-2-8 0,-2-2 5 16,7 0-3-16,-8-1-7 0,8 1 27 15,-8-5-1-15,5 2-9 0,3-2 27 16,0 5-27-16,4-10 44 0,3 4-25 0,-2 0-3 0,5-2 23 16,0-1-8-16,3 0-18 0,0-3 37 15,2 0-9-15,4-1-15 0,-1 1 3 0,-1-1 13 16,4-2-1-16,-4-2-12 15,7-1-3-15,-3 0 31 0,-6 3-31 0,0 1 19 0,-2 2 4 16,-3 0 0-16,1 1 115 0,-3 2-30 16,-1 0 20-16,0 1 24 0,-1 3-34 0,-4-1-34 0,1 0 9 15,0 5 7-15,-3 1-16 0,0-4 9 16,0 4-11-16,0 0-33 0,0 0-6 16,-10 11 6-16,6-5 5 0,-1 0-8 0,0 1 13 15,0 2-7-15,0 0-3 0,2 1 20 16,-1-1-38-16,0 2 20 0,2-3-38 0,0 2 3 15,-1-1-26-15,3 0-3 0,0 0-20 0,0-2-8 16,0 1-7-16,3-1 10 16,-1 0 5-16,0-4-3 0,2 1-12 0,0-1 9 0,2 0 32 15,-3-2-1-15,4-1 9 0,-7 0 9 0,15-4-12 16,-7 3 10-16,0-5 10 0,-1 3 5 16,1-3-15-16,2 0 18 0,-2 0 12 15,2-1-4-15,0 2 25 0,-2-1-15 0,0 1-8 0,-1 2 7 16,-1-2-12-16,-1 1-2 15,2 2 9-15,-4 1-15 0,2-3 36 0,-5 4-20 16,10 0 10-16,-10 0-5 0,6 4-1 16,-4-1-14-16,3 1 14 0,-2-1-9 0,-3 2-8 0,3 0 7 15,-1 1-10-15,-2 1 3 0,2-1 20 16,-2 1-20-16,1-1-15 0,1-1 12 0,-2 0 26 16,0-1-31-16,3 1 38 0,-3-1 3 0,0-1-15 15,2 1 5-15,-2-4-46 0,2 5-16 16,-2-5 1-16,6 2 17 15,-6-2 0-15,0 0 6 0,11-4 7 0,-4 2-8 0,0 0 11 0,1-1-3 16,0 2 0-16,0-1-5 16,-3-2 3-16,2 4-6 0,-7 0 3 0,13 0-15 0,-7 1 5 15,-2 2-1-15,2-1-7 0,-2 1-28 16,0 0-41-16,0 1-28 0,-1-1-41 16,0 0-5-16,0-1-29 0,1 3-30 0,-1-3-72 15,-1 2-58-15,-2-4-149 0,8 3-497 0,-5-3 110 16,-3 0 98-16,8 1 99 0,-8-1 54 0,10-1 83 15</inkml:trace>
  <inkml:trace contextRef="#ctx0" brushRef="#br0" timeOffset="72401.27">8493 10600 834 0,'8'-3'287'0,"-8"3"-1"0,4-1 39 0,-4 1-20 0,0 0-52 15,0 0-25-15,0 0-8 0,0 0-2 0,0 0-26 16,-15 8-31-16,12-6-5 0,-4-1-76 0,0 3 14 15,1 0-22-15,-2-1 5 16,3-1-5-16,-2 2-14 16,4-3-9-16,-2 3-3 0,2-3 3 0,-1 3 7 0,3-1-20 0,1-3 5 15,-3 6 13-15,3-6-24 0,3 6 21 16,-2-4-22-16,3 3 6 0,-1 1-6 0,4-1-11 16,-1 0 7-16,-1 1 8 0,2 1 11 0,-1-1-3 15,-1 0 23-15,0 0-10 0,0 0 2 16,0-3-5-16,-2 4 8 0,-1-2-8 15,0 0 16-15,-2 0-8 0,0-2 2 0,0 3-17 0,-2 1 2 16,0-4 18-16,-1 0-34 0,-2 3 6 16,0-1-3-16,-2-2-12 0,-1 2-8 0,0-1-16 15,0-1-25-15,1 1-26 16,-3-3-35-16,2 3-39 0,0-2-28 0,3-2-70 16,-1 1-135-16,-1-1-79 0,7 0-456 0,-8-1 93 15,8 1 91-15,-3-6 80 0,1 1 48 0</inkml:trace>
  <inkml:trace contextRef="#ctx0" brushRef="#br0" timeOffset="72629.02">8670 10381 1162 0,'5'-2'422'0,"-3"-2"-28"0,-2 4-36 15,6 0-7-15,-6 0-85 0,7 7-45 0,-2-1-1 0,-2 4-16 16,2-1-24-16,0 2-22 0,0 2-12 15,-2-1-13-15,2 5-7 0,0-2-16 16,-3 4-13-16,4-1-10 0,-4 1-38 0,1 1-21 16,0 1-51-16,-1 0-23 0,0-1-21 15,-1-1-51-15,1 0-40 0,-2-2-93 0,0-3-110 16,0 3-466-16,0-4 29 0,0-1 137 0,0-1-4 16,0-2 55-1</inkml:trace>
  <inkml:trace contextRef="#ctx0" brushRef="#br0" timeOffset="72948.45">8698 10688 934 0,'-1'-3'338'0,"1"3"-16"0,1-9-48 0,2 8-8 16,1-5 47-16,-1 1-19 0,5 0-51 0,0-2 28 15,2 2-61-15,2-1 16 0,-1-1-22 16,4-2-30-16,0 3 16 0,1-3-37 15,-1 3-60-15,-2 2 14 0,0-2-17 0,-1 3 20 16,1-1-31-16,-2 2 18 0,-1-1-15 0,-3 2 3 16,2 1 91-16,-2 1 11 0,1 1-31 0,-1 0-35 15,1-1-6-15,-2 5 20 0,-1-2-32 16,0 0-11-16,-1 1-5 0,2 2 0 16,-4 0 5-16,1-1-30 0,-1 3 4 0,-2-1-17 15,0 0-31-15,0 1-3 0,3-1-38 16,-6 0-23-16,3 2-44 0,-2-2-58 15,2 1-36-15,-3-1-29 0,1-1-143 0,2-2-232 0,-3-2-388 16,6 0 24-16,-3-3 136 0,0 0 86 0,0 0 70 16,0 0 63-16</inkml:trace>
  <inkml:trace contextRef="#ctx0" brushRef="#br0" timeOffset="73085.97">8990 10497 1016 0,'0'-3'189'0,"0"3"-179"0,-5-3-593 16,5 3 32-16</inkml:trace>
  <inkml:trace contextRef="#ctx0" brushRef="#br0" timeOffset="73749.08">9069 10484 1116 0,'3'7'376'0,"-2"1"-92"16,1 0-28-16,-2 3-26 0,2-3-15 16,1 2-28-16,-3-1-13 0,3 1 18 0,-1-3-36 15,-2 4-10-15,0-3 18 0,2 0-3 16,-2 0-22-16,0-1 12 0,0-1 20 0,3-1-17 16,-3-1 79-16,0 1 17 0,0-1 4 0,0-4-21 15,5 2-34-15,-5-2 24 16,0 0-23-16,10-1-16 0,-10 1-28 0,9-5-7 0,-2 4-24 15,-2-3-10-15,1 1 8 0,0 0-26 16,2 0-20-16,-2 0 13 0,-1 2-6 0,2 1-17 16,-2-1-6-16,-5 1 13 0,14 1-27 15,-7-1-17-15,-2 0-43 0,3 0-33 0,0 4-23 16,-3-3-56-16,2 1-24 0,1 1-20 16,-1-2-2-16,1 1-47 0,2-2-20 15,-2 0-38-15,3 0-65 0,-1 0-63 0,0-2-93 0,1 0-416 0,4-1 24 16,-2 1 142-16,-1-2 2 0,-2 4 105 15,1-6 599-15,-1 2 123 0,0 0 67 16,-2-1 50-16,-3-1 11 0,3 1 33 16,-3-2-79-16,0 1 31 0,0 2 61 0,-2-2 12 15,2 2 1-15,-5-1-31 0,3 2 28 0,-1 0-104 16,-2 3-1-16,2-7-13 0,-2 7 19 0,0-1-34 16,0 1-3-16,0 0 4 0,0 0-9 15,0 0 13-15,-4 13 3 0,1-7-10 16,3 2-9-16,-5 3 29 0,3 2 21 0,1 2-44 0,-4 2 28 15,2 0-28-15,-1 4 87 0,-2 3-15 16,-1 0-11-16,2-1-23 0,-3 1-4 16,0-1-88-16,-5 9-2 15,-2-2-3-15,2-7-10 0,1-3-13 0,1-1 10 0,-2-2-20 0,3-3 0 16,0-2 5-16,2-4 2 16,0 2 11-16,0-4-13 0,-1-1 28 0,4-3-10 0,1-2-31 15,4 0-2-15,0 0 4 0,-4-11-27 16,6 1-16-16,6-4-33 0,2-5 2 0,5-8-17 15,6-2-34-15,0-3-22 16,2 1 4-16,0 0-53 0,5 2-11 0,-2 0-2 0,1 0 0 0,2 2-39 16,-1 1-23-16,3 0-94 0,-1 2-156 0,-3-1-505 15,1 0 85 1,-3 3 112-16,1-1 80 0,2 1 33 0,5 1 64 0</inkml:trace>
  <inkml:trace contextRef="#ctx0" brushRef="#br0" timeOffset="74268.33">10787 10319 1167 0,'-12'-1'409'0,"6"0"-50"0,6 1-24 0,-15 2-33 15,7-2-18-15,-2 3-20 0,0-1-21 16,2-1-20-16,1 2-34 0,-1 1 6 0,2-1-37 15,-1-1 11-15,4 4-64 0,-2 0 15 16,5-3-94-16,-2 2-18 0,2 0 15 0,0 2 13 16,2 2-11-16,-1-1 19 0,3 0-29 15,-1 3 16-15,4 0-8 0,-4-3-21 0,4 3 4 16,-3-2 27-16,0 3-20 0,2-2-8 0,-4-1 28 16,1 1 3-16,-1-2 33 15,-2 0-28-15,0 0 15 0,0 0-7 0,-4 0 23 0,1-2-16 16,-3 1 10-16,-1 2-14 0,-1-2-1 0,-2 1-13 15,-3-2-10-15,0 0 6 16,-2 1-22 0,0-1 9-16,-4 0-24 0,4-2 3 0,0 0-2 0,2 0-37 0,-3-2-25 0,4 2 5 0,-1-2-56 15,5 0-20 1,-2-1-19-16,2 0-17 0,8-1-73 0,-10-1-42 0,10 1-19 16,-5-4-76-16,5 4-438 0,3-6 35 0,1 3 134 15,4-2 46-15,0-1 33 16</inkml:trace>
  <inkml:trace contextRef="#ctx0" brushRef="#br0" timeOffset="75467.62">10856 10382 1062 0,'0'0'371'0,"0"0"-41"0,0 0-25 0,0 0-6 16,3 11-40-16,-3-6-39 16,-3 1 13-16,1 2-57 0,0-1 9 0,-1 1-37 0,-2 4 3 15,3-1-25-15,-2 0-11 0,2 1-10 16,2-3-28-16,-2 2-8 0,2-3 18 15,0 1-34-15,0-1-1 0,2-1-17 0,0 0 4 16,2 1-6-16,3-3 16 0,-2-1-34 0,3-2 16 16,-1 1-3-16,1-3-5 0,2 0 26 15,0-3-88-15,0 1 26 0,-1-3 26 16,1-1 62-16,0-1 50 0,0 1-20 0,0-7-5 16,1 0-8-16,-1-4-3 0,0 1 14 15,-2-3 2-15,0-2 2 0,0-1-9 0,-1-1-6 16,1 1-10-16,-1-1 5 0,-2 0 0 0,3 3-5 0,-5 3 5 15,2 3 5-15,-2 1-15 16,-1 2-13-16,1 3 15 0,-1 3-28 0,-2-1 16 16,2 5-6-16,-2 1 13 0,0 0-38 0,0 0-3 15,-7 10 16-15,4-3-8 0,1 1-3 16,-3 2-17-16,0 0 33 0,2 3-44 0,-4 2 8 16,4 0 2-16,-4 1 6 0,1-1-98 0,1 2 21 15,3-3-5-15,-2-1-6 0,0 0 9 16,1-2 1-16,0 2 16 0,1-5 13 0,0 0-2 15,-1 1-8-15,3-4 25 0,-3 1-23 16,3-3 47-16,0 2-6 0,0-5-18 0,3 5-2 0,-3-5 18 16,5 2-3-16,-5-2-28 0,10 0 2 15,-4 1 34-15,-6-1-11 0,7 2-2 16,-1-1 0-16,-2 0 13 0,2 0 8 0,-2 0-29 16,4 3 0-16,-2-2-15 0,-1 2 5 15,2-2-5-15,1 3-15 0,0-4-16 0,-1 3-2 16,1-1 20-16,2 0 16 0,0-3-21 0,-1 0 36 15,3 0-13-15,0 0-18 16,-1-3 26-16,4 1-1 0,-2-2-7 0,0 0-5 16,0 0 8-16,-2-1 12 0,-1-2 9 0,2 1-17 0,-4-1 22 15,2 0 1-15,-5-1-17 0,3-2 8 16,0 2 10-16,-3-1-31 0,0 2 43 16,0 1-27-16,0-1 15 0,-3 1 10 0,2 3-29 0,-2-1 1 15,-2 4-2-15,0-6-4 16,0 6 4-16,0 0 27 0,0 0-10 0,0 0 1 15,-8 11-29-15,3-6 25 0,2 2-4 16,-1 0-8-16,1 0-10 0,-2 1 4 0,2 0-19 0,1 1 4 16,-1-2-10-16,3-1 11 0,0 1-14 15,-2-1 11-15,2 0-16 0,0 1 16 0,2-2 18 16,-2-1-3-16,3-1 31 0,-1 1-31 0,3-3 26 16,-2 1-15-16,4-1-3 0,-7-1 25 15,11-1-5-15,-4-1 11 0,1 0 10 0,0-1-8 16,-1 2-2-16,-1-4 9 0,2 4-4 15,-1-2-5-15,-2 1 2 0,3-1-10 0,-3 2 5 16,0-1-21-16,-5 2 34 0,8 0 28 16,-8 0-41-16,10 4 8 0,-7 0-3 0,-1-1 3 15,0 1-8-15,2 0 0 0,-2 2-15 0,-2-1-6 16,2 1 29-16,-1-1-29 0,-1 0-12 16,2 2 38-16,-2-4-25 15,0 3 28-15,0-2-19 0,3-1 6 0,-3 1 41 0,0-4-33 0,2 6 20 16,-2-2-8-16,0-4 3 15,0 0 21-15,3 3-6 0,-3-3-15 0,0 0-31 0,0 0 36 16,12-5 0-16,-12 5 3 0,8-2-3 0,-5-2-15 16,2 3 5-16,-5 1-26 0,8-1 26 15,-6-1-24-15,-2 2 19 16,5-2-18-16,-5 2 0 0,0 0 23 0,0 0-16 0,10 2-12 16,-10-2 10-16,3 2 0 0,-3-2 0 0,0 0-8 15,5 2 13-15,-2 1 10 0,-3-3-25 16,0 0 38-16,5 3 23 0,-5-3-5 0,2 2 10 15,-2-2-30-15,0 0 32 0,0 0-42 0,11-4 55 16,-11 4 27-16,10-4-116 16,-4 3 0-16,-2 0 0 0,2-1 0 0,1 0 0 0,-4 1 0 15,-3 1 0-15,10-1 0 0,-10 1 0 0,8-1 0 16,-8 1 0 0,10 1 0-16,-10-1 0 0,7 1 0 15,-7-1 0-15,8 1 0 0,-5 1 0 0,-3-2 0 0,7 2 0 0,-7-2 0 16,6 1 0-16,-4 2 0 0,-2-3-36 0,3 4-302 15,-1-1-46-15,1-1-151 0,-1 4-205 0,1-5-378 16,-3 4 114-16,3-2 85 16,-1 1 77-1,-2-4 69-15,5 4 125 0,0-2 49 0</inkml:trace>
  <inkml:trace contextRef="#ctx0" brushRef="#br0" timeOffset="75883.85">11759 10547 1167 0,'8'-9'448'0,"-1"2"-16"0,1 1-40 0,-3-1-11 0,1 1-30 0,-2 3-44 0,2 0-38 16,-1-2-11-16,0 3-91 0,-2-3 12 15,2 4-33-15,-5 1-8 0,3-2-18 0,-3 2 37 16,0 0-19-16,0 0-46 0,0 0 38 16,-1 8-27-16,-4-1 9 0,2-2-7 0,-2 1-10 15,2 0 5-15,-1 0-18 0,1 0-21 0,3 0 6 16,-3-2-11-16,1 1-15 0,2 0-15 0,0-1 12 15,2-1-15-15,-2-3 3 0,3 6 7 16,2-6-5-16,-5 0 8 0,8 1 13 0,-3-1-31 16,5-1-8-16,-2-4 0 0,2 3 23 0,0-4-5 15,1 2 24-15,-1 0-16 0,3 0 2 16,-3-1-2-16,-3 3 0 0,2-3 22 16,0 4 29-16,-1-3-12 0,-3 3-6 0,1-1 2 15,-1 0 14-15,-5 2-13 0,10 2 2 0,-5 0 31 16,-5-2-34-16,5 6-7 0,-2-2 8 15,-3-1 7-15,2 3-15 0,-2 0-25 0,-2 1 17 16,2-2 1-16,-5 5-19 0,2-1-18 16,-2-1-58-16,-2 3 12 0,-1-4-63 0,-2 3-29 15,-1-2-94-15,-2 1-44 0,3-2-59 16,3-1-105-16,-4-1-199 0,4-1-495 0,4-1 144 16,0-2 87-16,3-1 82 0,0 0 74 0,0 0 54 0,0 0 107 15</inkml:trace>
  <inkml:trace contextRef="#ctx0" brushRef="#br0" timeOffset="75998.57">12041 10601 1251 0,'0'-1'484'16,"0"1"-46"-16,5-7-26 0,-5 5-51 15,0 2-36-15,2-5-69 0,-2 0-77 0,0 5-74 0,-2-5-85 16,2 5-204-16,-5-6-661 0,0 5 44 16,-3 0 113-16,-2-4 55 0,-5 4 83 0</inkml:trace>
  <inkml:trace contextRef="#ctx0" brushRef="#br0" timeOffset="81267.64">17897 6673 1085 0,'-2'-3'325'0,"2"3"-33"0,-3-6-29 0,3 6-19 16,0 0-12-16,7-7-19 0,1 6-13 0,5-4-26 16,4 4-11-16,4-4-4 0,7 2 87 15,3 0-36-15,18 0-44 0,0-1 18 0,2-1-48 16,-2 2 13-16,2 0-14 0,0 1-38 0,0 0 3 16,-4-2-8-16,-8 3-2 15,-7-2-21-15,-1 2 28 0,-5-1-27 16,-3 2-17-16,0 2-2 0,-5-2 1 0,0 3 7 0,-5-2-16 0,2 1 13 15,-2 3 3-15,0 0-23 0,-5 3 13 0,2-1 10 16,-2 5-11-16,-1 5-9 16,-4 1 14-16,2 4-17 0,-2 4 13 15,-1 3-11-15,-2 10 16 0,0 7-31 0,-2 1 13 0,-1 2-23 16,0 1 17-16,-1 12 11 0,1 2-23 16,-2 3 21-16,-1-3 17 0,1 3-15 0,-2 1-23 15,4 0 2-15,-2 1 6 0,2 2 17 0,-1 3-4 16,3 0-1-1,0-1-15-15,-3 1-2 0,4 2 17 0,0 3-10 0,0-1-5 0,2 0 34 16,0 2-19-16,0-4 0 0,-2 0-30 0,2 3 20 16,0-2-10-16,1 1-2 0,-3 0 30 15,3-3-46-15,-1 0 33 0,1-1-20 16,2-3 10-16,-1 3-13 0,-1-5-5 0,2 3 3 0,-2-1 12 16,3-6-17-16,-4 1 2 0,3 1-5 15,-2-3 8-15,1-4-1 0,-1-9-4 16,-3-1-13-16,3 0-3 0,-1 0 0 0,1-1 5 15,0-2-7-15,-1 2 30 0,0-5-12 0,1-1-3 16,0-3 2-16,-1 0-2 0,-1-1 3 31,3-8-18-31,-1-5-8 0,-1-1 10 0,-1 0-5 0,3-1 41 0,0-3-26 0,-2-3-17 16,2 1 15-16,0-2-21 0,-2 0-17 16,3-4 15-16,-2 0-8 0,1-1 2 0,-1-3 27 15,0 1-14-15,0-2 24 0,-1-1-26 0,3 0-5 16,-2-1 7-16,-1-1 16 0,1 1-10 15,0 1-14-15,-1-4 45 0,2 0-26 0,-3 1-21 16,2-1 39-16,-1 1-14 0,-2-4-9 0,3 5 10 16,0-3 0-16,-3-2-5 0,2 4 15 0,-2-4 13 15,2 2-18-15,-2-2 25 16,1 4 6-16,-1-4 0 0,0 0 7 0,0 0 13 0,0 0-12 16,0 0 7-16,0 0 18 0,-9 3-46 0,2-3 23 15,-3 1-6-15,0 2 4 0,-6 0 7 16,-6 1-10-16,-7 2 12 15,-15 1-19-15,1 1-40 0,-6 1 16 0,-13 3 11 0,-4 1-9 0,0 0-63 16,-1 2 2-16,0-2-30 0,-2 3-34 16,4-1-15-16,-1 1-44 0,2-1-55 0,7 1-165 15,9-3-699-15,4 0 106 0,3-4 81 0,10 0 90 16,6-6 92-16,9 1 74 16,-1-3 36-16</inkml:trace>
  <inkml:trace contextRef="#ctx0" brushRef="#br0" timeOffset="84418.9">19823 6372 409 0,'0'-4'151'0,"0"4"-5"0,-1-5-18 0,1 5 26 0,1-6 20 15,-1 2 12-15,0 4 6 0,2-7-2 16,-2 4 10-16,2-3 4 0,0 2-99 0,-1 1 16 15,-1-3 22-15,3 1-20 0,-1-1 107 0,1-1 0 16,-3 1 19-16,2-1-16 0,-2 2 2 16,3-2-81-16,-3 2 25 0,2 0-31 0,-2 1 6 15,0-1 10-15,0 1-36 16,0 4 2-16,-2-5 9 0,2 5-50 0,0 0 29 0,0 0-29 16,0 0 4-16,-5 17-27 0,4-6-7 0,-1 3-13 15,2-1 8-15,-2 4-13 0,2-2-18 16,2 5 15-16,-2-1 95 0,3 2-17 0,-1-2-19 15,4 1-31 1,-1-1-14-16,2 0-19 0,-1-2-20 0,1-1 12 0,1-1-43 0,2-2 26 16,-2-1-11-16,2-4-2 0,0-1-23 0,0-1 23 15,0-2-3-15,-1-3-15 0,1-1 36 16,2-1-13-16,-1-5-15 0,2 0 38 16,-1-1-36-1,-1-5 3-15,1-1 23 0,-2 0-1 0,1-4 17 0,-1-3 1 0,-2-3-12 0,0 0 38 16,0 0-40-16,-2-1 27 0,-2 0-2 15,0 2-13-15,-1 0 3 0,0 3-3 16,0-1 1-16,-3 4-9 0,2 1-23 0,-2 2 34 31,2 2-31-31,-2 0-23 0,0 2-38 0,-2 2-37 0,2 0-22 0,0 2-26 0,0 1-36 0,0 4-56 16,0 0-69-16,0 0-110 0,0 0-571 16,0 0 84-16,0 0 121 0,2 13 54 0,-2-8 94 15,4-1 100-15</inkml:trace>
  <inkml:trace contextRef="#ctx0" brushRef="#br0" timeOffset="85019.02">20158 6343 1046 0,'0'0'336'0,"0"0"-37"0,0 0-10 16,0 0-45-16,5 14-24 0,-4-7 5 0,-1 3-53 16,2-1-4-16,-2 2-24 0,2 2-98 0,-2-1 23 15,3 0-36-15,-3 2 21 0,0-3-8 16,0 1-23-16,0-3 10 0,3 1 3 31,-3-2-8-31,0 1 8 0,2-3 23 0,-2-1 72 0,2 0 2 0,-1-1 25 0,2-2-22 16,-3-2 0-16,4 1 7 0,-4-1 0 0,0 0 1 0,10-4-26 15,-7 1-1-15,3-3-4 0,-2-1 30 0,4 1-25 16,-2-1-16-16,1-1 11 16,0-1-18-16,1 2-3 0,0 1-13 0,0 1-12 15,-3 1 25-15,5 0-15 0,-2 2-11 0,2 1-15 16,0-2-15-16,-1 6 5 0,0-1 18 15,-1-1-38-15,2 4-3 0,-2 2 20 0,2-1-18 16,-2 0 3-16,0 2-2 0,-2-2-39 0,-2 1-23 16,1 2-2-16,-2-2-60 0,1 1-25 15,-1-3 10-15,0 1-25 0,-1 1-51 16,-1-2-65-16,1-2-140 0,0 1-65 0,3-3-498 0,1 1 138 16,-6-2 10-16,10-2 133 0,-3 1 72 15,1-1 43-15</inkml:trace>
  <inkml:trace contextRef="#ctx0" brushRef="#br0" timeOffset="85749.04">20674 6356 806 0,'2'-6'425'0,"0"1"-11"15,-2 2 1-15,2-2-41 0,-2 5-18 16,-4-5-47-16,4 5-19 0,-2-4-32 0,2 4-35 16,-8 0-11-16,8 0-7 0,-10 4-36 0,5-2-8 15,1 3 3-15,-5 2-46 0,1 0 15 16,0 3-28-16,0 1-16 0,-1 1-4 0,1 0 17 15,0 2-107-15,3 0 10 0,2-2-7 0,-2 0 14 16,5 1-9-16,0-3-3 16,2 3 3-16,2-4-29 0,3 2 34 0,0-3-31 0,2-2 7 15,1 0 6-15,2-2-5 0,1-1 20 16,2-2 90-16,-2-1-34 0,1-1-25 0,1-3 30 16,1 1-25-16,-4-3 26 0,3 0-19 15,0-2-4 1,-4-2 30-16,1 0-25 0,-1-2 23 0,-3 1 2 0,0-2-20 0,-4 2 35 0,2 0-38 15,-1 2 18-15,-3-1 8 0,-1 3 0 16,1 1 2-16,-2 1-45 0,0 2 12 0,0 3-21 16,-2-5 16-16,2 5 0 15,0 0-8-15,0 0-25 16,-8 10 18-16,6-4-1 0,-2 0 3 0,2 1-15 0,0 0-5 0,2 0-16 16,0 4 6-16,0-3-42 0,0 2-7 0,2-1-36 15,-2 1 3-15,2-2-14 0,4 3-37 0,-4-3-11 16,4 0-10-16,-2 0-26 0,-1-1 15 15,4-4-2-15,-1 3 34 0,-1-3-1 16,1-1 11-16,-2-1 27 0,2-1 22 0,-6 0 30 16,10-1 5-16,-3-3 30 0,0 1 57 0,-3-3-12 15,3-1 27-15,-1 2 13 0,1-4 13 0,-2 1 0 16,1 4 1-16,-2-2 22 0,2 0-31 0,-2 1 31 16,-3 0-23-16,4 3 3 15,-1-2 2-15,0 3-36 0,-4 1-7 0,5-2 20 0,-5 2-10 16,0 0-18-16,10 6 20 0,-8-4-43 0,1 2 18 15,0 0-13-15,-1 1 5 16,2 0-18-16,-3 2 21 0,0 0-8 0,-1-3-2 16,0 3-6-16,2-2-10 0,-2-2 13 0,0 3 10 15,0-1 16-15,2-2 7 0,0 1 28 16,-2-4-56-16,1 5-15 0,-1-5 23 0,0 0-1 16,0 0 1-16,0 0 30 0,0 0-12 0,3-14 25 15,-1 10-20-15,0-3 7 0,-1 1-37 16,1-1 9-16,1 1 0 15,0 0-10-15,-1 0-8 0,0 1 32 0,1 1-12 0,-2 1-12 16,1-2-23-16,-2 5-48 0,2-6-39 0,2 5-23 16,-2-3-39-16,-2 4-20 0,0 0-56 15,7-3-54-15,-7 3-100 0,3 0-187 0,1 0-478 16,-4 0 158 0,10-5 29-16,-3 4 94 0,2-4 70 0,-1 0 40 0</inkml:trace>
  <inkml:trace contextRef="#ctx0" brushRef="#br0" timeOffset="85994.2">21394 6145 1049 0,'0'0'433'0,"0"0"-42"16,0 0-30-16,0 0 5 0,0 0-43 0,-5 13-24 16,4-2 8-16,-1 1-51 0,0 1-23 0,0 2-10 15,2 2-21-15,-1 3-38 0,-2 1 13 16,1 0-42-16,0-1-9 0,2 3 50 0,-2-3-58 15,1-1-18-15,-2 0-49 0,3-1-66 0,0 0-54 16,-2-5-80-16,2 1-125 0,-3-2-176 16,4-1-508-16,-1 0 86 0,2-5 109 0,-2-2 90 15,0 1 43-15,2-1 74 0</inkml:trace>
  <inkml:trace contextRef="#ctx0" brushRef="#br0" timeOffset="86213.5">21230 6424 1098 0,'0'-4'481'0,"0"4"-28"0,-5-3-49 16,5 3-33-16,-2-5-81 0,2 5-50 15,0 0 21-15,4-5-48 0,2 1-11 0,0 2-20 16,0 0 5-16,2-2-21 0,0 3-10 0,5-4-30 16,-1 4 20-16,-1-3-21 0,4 1-33 15,-2 1-7-15,2-2 86 0,-1-1-51 0,0 5-27 16,2-5-9-16,-1 3-56 0,-1-1-36 15,0 0-66-15,-1 2-31 0,3-3-53 0,-1 3-88 16,-2 0-151-16,0 1-529 0,-1-1 19 16,2 2 124-16,0-2 130 0,-3 1 19 0,4 0 47 15</inkml:trace>
  <inkml:trace contextRef="#ctx0" brushRef="#br0" timeOffset="86847.58">21858 6318 1236 0,'0'0'386'0,"-2"-5"62"0,2 5-13 0,-6-5-66 16,6 5-69-16,-7 0-4 0,7 0-34 15,-13 3-12-15,6-1-35 0,-1 3-2 16,-1-2-26-16,-3 3-11 0,2 1-14 0,0 1-37 15,0 1 18-15,1-3-25 0,1 5-13 0,-4-2-82 16,2 2-2-16,2-1-21 0,0-1-8 16,5 1-7-16,-4-1 7 0,5-3-15 0,-1 1-5 15,3-1 7-15,0 0-4 0,0-2 14 0,3-1-12 16,2 1-2-16,-5-4 30 0,7 1-21 16,1-1 37-16,-8 0 2 0,13-5 15 15,-3 1-12-15,-2-1 10 0,2-2 5 0,0-3-8 16,0 4 21-16,0-3-3 0,-1 0-18 0,0 0 31 15,-1 1 3-15,-3 0-21 0,1 0 23 16,-1 3 31-16,0-2-36 0,0 1 7 0,-2 2-9 16,1 2 2-16,-3-3-23 0,1 3 0 0,-2 2 0 15,3-4 15-15,-3 4-2 0,0 0-21 16,0 0 11-16,0 0-1 0,0 0-10 0,0 11 21 16,0-6-49-16,0-1 18 0,0 0-35 0,0 2 4 15,0-1-38-15,0 1-8 16,3 1-13-16,-1-1-14 0,1 0 11 0,-1 0 9 0,1-1 15 15,3-1 0-15,0 0-3 0,0-2 31 16,2 1-2-16,-1-1-6 0,1-2 52 0,2-1-13 16,-2 0 10-16,0-2-8 0,2 0 16 15,-3-1 7-15,1 1 3 0,0 0 15 0,0 0 1 16,0-2-19-16,-2 3-5 16,0-2 16-16,-3 4 41 0,2-1-39 0,-5 1-28 0,10 0 25 15,-10 0-4-15,7 3-31 0,-3 1 18 0,-2-1-26 31,0 2-3-31,4-1-30 0,-4 2-18 0,0-3-36 0,1 3-5 0,-3-1-28 0,0 1-26 16,3-1-56 0,-3 0-8-16,0-2-84 0,0 2-126 0,0 0-560 0,0-5 61 0,-3 7 110 15,3-6 67-15,0-1 79 0,-1 4 75 16,1-4 56-16</inkml:trace>
  <inkml:trace contextRef="#ctx0" brushRef="#br0" timeOffset="86991.97">22050 6282 872 0,'0'0'213'0,"0"0"-88"0,-3-5-145 0,3 5-556 0,0 0-5 16</inkml:trace>
  <inkml:trace contextRef="#ctx0" brushRef="#br0" timeOffset="87353.85">22163 6363 1197 0,'3'7'423'0,"3"2"-106"0,-4-1-22 0,4-1-37 16,-5-2-17-16,2 1-11 15,1 0-2-15,0 0-36 0,-2 1-3 0,0-5-12 0,1 3 2 16,-3-1-23-16,3 0 87 0,1 2-43 15,-3-6 48-15,1 4-5 0,-2-4-12 0,6 2-8 0,-2-2 20 16,-4 0-31-16,0 0 16 16,13-1-18-16,-8-1-51 0,-5 2 45 0,8-3-35 0,-5 1 8 15,2-2-47-15,-5 4 11 0,8-1-15 16,-4 0-14-16,-4 1 3 0,9-3-22 0,-9 3-1 16,7 3-28-16,-7-3 25 15,8 2-22-15,-3 1 5 0,0 0-54 0,-2 1-18 0,1-2-21 16,-1 2-43-16,1-1-13 0,-2 2-69 15,0 0-23-15,0-3-28 0,1 3-43 0,-2-3-62 16,1 2-113-16,-2-4-176 0,0 5-451 0,5-4 46 16,-5-1 113-16,5 0 74 0,-5 0 90 0,12-4 66 15,-9 2 144-15</inkml:trace>
  <inkml:trace contextRef="#ctx0" brushRef="#br0" timeOffset="87550.01">22492 6346 1387 0,'0'-1'466'0,"0"1"-13"0,2-3-110 15,-2 3-18-15,0 0-36 0,0 0-25 0,0 0 40 16,0 0-45-16,0 0-34 0,4 14 6 16,-4-7-40-16,0 0 9 0,0 0-5 15,-2 4-26-15,0-3-36 0,2 4-26 0,-5 0-53 0,2 0-69 16,1 1-34-16,-2-2-46 0,-2 2-58 16,0-1-103-16,1 1-243 0,-2-3-413 15,4-1 14-15,0-2 138 0,1-2 112 0,1 0 31 16,-1-2 82-16</inkml:trace>
  <inkml:trace contextRef="#ctx0" brushRef="#br0" timeOffset="87688.52">22517 6321 1512 0,'-2'-2'458'0,"1"-3"-20"0,1 5-77 15,-5-3-31-15,3 0-74 0,2 3-82 0,-8-4-84 16,7 2-72-16,1 2-154 0,-6-2-706 15,6 2 100-15,-6-5 33 0,6 5 59 0,0-6 115 16</inkml:trace>
  <inkml:trace contextRef="#ctx0" brushRef="#br0" timeOffset="87914.47">22674 6107 1574 0,'2'-2'427'0,"-2"2"-22"0,0 0-57 0,0 0 20 16,0 0-50-16,0 0 7 0,0 13-28 0,0-5-18 15,-2 4-28-15,2 1 12 0,-1 4-35 16,0 1-10-16,0 1-24 0,-4 1-15 16,4 0-30-16,-1 5 30 0,-3 0-46 0,2-1 0 0,1-5-10 15,-3 0-38-15,4 0-50 16,-3 0-32-16,1-1-29 0,2-3-25 16,-3 0-54-16,4-3-41 0,-2-3-48 0,2 2-42 0,0-4-43 0,2-1-118 15,-2 0-501-15,4-4-8 16,-3 3 79-16,4-2 85 0,-5-3 97 0,5 1 36 15</inkml:trace>
  <inkml:trace contextRef="#ctx0" brushRef="#br0" timeOffset="88516.83">22596 6396 1400 0,'-2'-2'458'0,"2"2"-20"0,0 0-57 0,-2-5-2 16,2 5-46-16,0 0 17 0,10-1-150 0,-10 1-18 16,11 0 15-16,-5-1-33 0,5 0-31 15,-1-1-18-15,0 2-10 0,3-1-28 0,0-1-57 16,3 1 24-16,-2 0-21 0,-1-2-11 0,3 2-22 16,-1-2 36-16,-1 1-31 15,-2-1-3-15,1 0 8 0,0-1 10 0,-3 1 6 0,0 2 4 16,-2-2-23-16,-3 1 37 0,0 2-11 15,2-1-3-15,-7 1 11 0,8 0-3 16,-8 0-13-16,0 0 6 0,3 3-6 0,-3-3-10 16,0 7 1-16,-2-3-9 0,2 2 18 0,0-6-12 15,-3 6 28-15,0-2-16 0,3-1-12 16,0 2-9-16,0-5 9 0,0 6 23 0,0-6-11 16,3 6 11-16,-3-6 20 0,3 2 46 0,-3-2-59 15,7 1 13-15,-7-1 16 0,9 0-1 16,-9 0 29-16,9 2-19 0,-4 0 29 0,1 0 15 15,1 7 29-15,1-1-24 0,0 4 85 0,-1 2 30 16,-4 5-109-16,3 5-19 16,-4 1-20-16,0 1-5 0,0 4 10 0,-4 0 3 0,-2 7-34 15,-2 0 19-15,0-9-32 0,1-2 19 16,-3-2 7-16,0-1-5 0,-4-3-33 16,2-3-3-16,2-4 21 0,1 0-5 0,-1-4-16 0,3-1 13 15,0-5-20-15,2 0-19 0,3-3-30 16,0 0-5-16,0 0 10 0,13-24-30 15,0 5 14-15,7-11-27 0,11-9-26 0,5-4 0 16,2-1-28-16,3-5-13 0,1 1 12 0,1 2-29 16,3-1-12-16,-2 4-1 0,-1 3-29 0,1 4 0 15,-3 3-18-15,-2 2-12 0,-6 7-47 0,-1 3-18 16,-3 1-130-16,-5 5-46 0,-2 5-484 16,7-8 115-16,-6 7 59 0,-5 3 75 15,0-2 94-15,-3 3 31 0</inkml:trace>
  <inkml:trace contextRef="#ctx0" brushRef="#br0" timeOffset="93430.57">19363 6490 1341 0,'-10'0'358'0,"10"0"-28"0,-7-1-25 15,7 1-39-15,0 0-15 0,-8 0-41 0,8 0-10 16,0 0-19-16,0 0-12 0,0 0 0 0,0 0-31 16,0 0-2-16,0 0-34 0,26 0-15 15,-19 1-10-15,-2 1-61 0,3-1-42 0,-3 0-20 16,3 0-28-16,-3 0-67 0,0 2-43 15,1-1-113-15,-6-2-39 0,7 1-462 0,-4 3 45 16,-3 0 95-16,0 0 59 0</inkml:trace>
  <inkml:trace contextRef="#ctx0" brushRef="#br0" timeOffset="93613.11">19348 6581 1131 0,'0'0'351'0,"0"0"-37"0,0 0-17 0,0 0-15 16,0 0-31-16,0 0-18 0,0 0-18 15,0 0-87-15,0 0-46 16,20-5 33-16,-12 5-28 0,0-2-18 0,2-1-8 0,0 2-30 16,-1-1-8-16,1-1-64 0,0 1-66 15,3 1-167-15,-8 0-36 0,8-2-481 0,-3 2 74 16,0 0 60-16,0-3 81 0</inkml:trace>
  <inkml:trace contextRef="#ctx0" brushRef="#br0" timeOffset="93931.19">19499 6403 1003 0,'14'6'379'0,"-10"0"-100"15,4 0-36-15,2 4-8 0,-2-2-20 0,4 4-2 16,-3 0-21-16,-2 1-21 0,4 3 3 16,-4-1-17-1,0 3-17-15,-1-1-7 0,-4-2-10 0,-1 3-18 0,-1-4 8 0,-3 5-44 16,0-1 21-16,-4 0-14 0,3 1-45 0,-5-2 5 16,1 2-44-16,-2-1-20 0,2-3-28 15,-2 3-36-15,0 1-29 0,2-5-58 0,0 5-85 16,0-1-38-16,3-1-476 0,-3 3 49 0,1-1 112 15,2 0 41-15</inkml:trace>
  <inkml:trace contextRef="#ctx0" brushRef="#br0" timeOffset="94255.14">19389 7306 1174 0,'-5'-1'397'0,"5"1"-49"0,0 0-23 0,0 0-25 0,0 0-42 0,0 0-35 16,13-5-8-16,-3 4-10 0,3-2-31 15,2 2 38-15,1 0 8 0,5-1-22 0,-1-1-68 16,3 2-35-16,-1-2-39 0,-1 1-53 0,0 0-19 16,-3 1-50-16,0 1-47 0,-3-3-84 15,0 2-128-15,-4 1-527 0,-3 4 45 16,-1-3 134-16,-4 1 97 0,-1 2-18 16</inkml:trace>
  <inkml:trace contextRef="#ctx0" brushRef="#br0" timeOffset="94423.79">19497 7370 1162 0,'-5'1'432'0,"5"-1"-20"16,-6 3-69-16,6-3-107 0,-4 2-6 15,4-2-15-15,-3 4-5 0,3-4-18 0,0 0-26 0,10 2-15 16,-2-1-28-16,2-1 0 16,3 0-15-16,0-1-8 0,2 1-39 0,1-1-43 15,-1-3-21-15,2 1-43 0,-1-2-18 0,-3 3-82 16,2-2-56-16,0-1-97 0,-4-2-47 15,2 4-440-15,-3-3 18 0,0 1 98 0,-4 0 99 16</inkml:trace>
  <inkml:trace contextRef="#ctx0" brushRef="#br0" timeOffset="94676.74">19722 7120 1233 0,'0'0'325'16,"0"0"-30"-16,0 0-14 0,0 0-9 0,0 0-4 15,18 10-32-15,-12-4-24 0,2 2 3 16,0-2-18-16,1 5-23 0,-1-1 24 0,2 3 27 16,-3-2-43-16,1 5-8 0,-3-2-28 0,-1 1-16 15,-2 2-4-15,0 0-19 0,-4 2-10 16,0-1-15-16,-4 3-13 0,-4-1-28 0,2 2-56 16,-2-2-36-16,-1-1-26 0,1-1-74 0,0-3-100 15,2 0-156-15,1-4-527 0,-1-1 48 16,5-4 144-16,-2 1 76 0,3-7 113 0</inkml:trace>
  <inkml:trace contextRef="#ctx0" brushRef="#br0" timeOffset="95417.65">20217 7375 1200 0,'-8'11'353'0,"3"-3"-28"0,-2-1 3 16,2 1-16-16,2-1-17 0,-2-3-52 0,3 2-10 16,-1 0-31-16,0-1 5 15,1-3-112-15,2 3 10 0,0-5 33 0,0 5-30 0,0-5 9 16,0 0-7-16,0 0-5 0,0 0-7 16,18-10 1-16,-11 3 9 0,6-5 5 0,-3 1 17 15,1-4-15-15,2-2 67 0,4-9-10 0,-4 1-9 16,3-5-29-1,-3-2-1-15,2-1-23 0,-2-3-23 0,-1-2-3 0,-1 4 11 16,-1 0-3-16,-5 8 44 0,0 5-47 16,1 5 78-16,-4 1-6 0,0 3-10 0,1 1-13 15,-3 3-61-15,0 1 18 0,0 4-6 0,0 3 11 16,0 0-28-16,-9 11 22 0,0 2-37 16,2 10-62-16,-6 9-3 0,-1 5-15 0,2 3 18 15,-4 15 7 1,3 0-4-16,1 3 4 0,2-1 4 0,-3-1-1 0,3 0-8 0,4-8-30 0,-1-3 0 15,2-1-8-15,-1-2-46 0,4-3 33 16,2-7 5-16,-2-7-28 0,2-2-35 0,-1-4-3 16,1-4-29-16,0 1-2 0,0-3 3 15,0-4-36-15,1 1-21 0,-1-2-2 16,0-3-23-16,0-4-19 0,0 4-9 0,0-5-54 0,0 0-77 16,0 0-54-16,0 0-71 0,0 0-387 15,-3-11 113-15,-2 7 43 16,3-3 92-16,-4 0 65 0</inkml:trace>
  <inkml:trace contextRef="#ctx0" brushRef="#br0" timeOffset="96137.43">20099 7707 885 0,'-2'-2'351'15,"2"2"-34"-15,-3-6-7 0,1 3-26 0,2 3-20 16,0-8-29-16,2 2-2 0,1 1-10 0,2-3-52 16,5 0-2-16,1-4 77 0,6-1-39 0,1-2-12 15,13-6-29-15,-3-2-12 0,3 1-3 16,0-2-3-1,7-7-17-15,-4 7-11 0,-4 2 24 0,-4 0-45 0,-3 7 60 16,-5 3-21-16,-5 1 8 0,-3 3 13 0,1 2-18 16,-4 0-31-16,-2 1-8 0,0 4 0 0,0 0 3 15,-5 1-18-15,0 0-2 0,1 9-3 0,-1-2 5 16,-3 4-8-16,-2 2-20 16,2 0 3-16,-2-1 7 0,4 1-36 0,-3 3 10 0,2-3-4 15,1 1-62-15,1-1 18 0,1-1-16 0,1-4 19 16,3 3-37-16,0-1 21 0,3-3 11 15,2-2 14-15,-1-2-58 0,0 1 43 16,1-3 8-16,3-2-12 0,-2-3 32 0,1 2-12 0,0-4 33 16,-3 0 13-16,-1-4-1 0,1 2-19 15,-3-3 7-15,-3-2 7 0,-1 0 8 16,0 1 1-16,-2-1-14 0,0 0-9 0,-4 0-17 0,2 2-14 16,-4-2 5-16,0 2-13 15,1 3-3-15,-2 0-2 0,-1-1-24 0,-1 2-9 16,0 1-31-16,1 3-21 0,0-2-25 0,0 4 17 15,1-3-61-15,2 4 8 0,0 0 8 0,5 0-6 16,0 0 13-16,-9 0 29 16,9 0-37-16,0 0 44 0,0 0-2 0,0 0 22 0,0 0-4 15,14 7 38-15,-6-5-13 0,2 1 18 0,0-2 17 16,1 4 4-16,1 0 27 16,-1 1 37-16,1 0-14 0,2 2 21 0,-2-1-35 0,0 4 22 15,2-3 8-15,-4 3-26 16,1 2 24-16,1-2 12 0,-2 1-20 0,-5 1-19 0,3-2 19 15,-3-1-13-15,-2 3 13 0,-1-2-8 16,1 2 0-16,0-4-3 0,-1 1 29 0,-2-3 2 16,0 2 26-16,2-5 33 0,-2 4 8 15,1-4-11-15,-1 1 11 0,0-5 7 0,0 5-25 16,0-5 21-16,0 0-27 0,0 0 32 0,0 0-47 16,0 0 21-16,7-17-23 0,-5 9-18 15,2-4 2-15,1-6-12 0,0-1-6 16,0 0-4-16,5-1-6 0,-2-3 0 0,0 4-51 0,2 1 16 15,0 1-55-15,0 2-30 0,-2 3-13 16,0-1-58-16,1 5-4 0,-2-2-17 16,0 4-74-16,0-1-26 0,3 1-128 0,-4 3-131 15,6 0-491-15,-1-2 85 0,-1 3 122 0,3 2 59 16,-3-1 90-16,4 2 54 0,-2-1 161 16</inkml:trace>
  <inkml:trace contextRef="#ctx0" brushRef="#br0" timeOffset="97547.38">21120 7549 1300 0,'5'-10'394'0,"0"3"-28"0,2-2-31 0,-4-1 1 0,4 2-55 0,-6-2 14 16,4-3-47-16,-2 0-25 0,2 2 10 0,-3 1 22 16,1-1-47-16,-1 1-11 0,1 3 5 0,-2 0-102 15,0 1-8-15,-1 4-5 0,-1-2-23 16,1 4 28-16,0 0-7 0,0 0-11 0,-14 6-23 15,10 0 5-15,-3 4 3 0,0-1-18 0,2 3 11 16,-3 1-17-16,3 2 6 0,0-3-23 16,1-1 33-16,0 4-25 0,2-5 2 15,2 3-33-15,0-2 28 0,0 1 64 0,2-1-8 0,3-2-22 16,-2 3-44-16,3-5-34 0,1 0-4 16,3-2-37-16,1 1-22 0,2-6 9 0,-1 1-37 15,4-2-1-15,1-1-10 0,4-2-28 0,3-4 26 16,0-2-16-16,10-3 16 0,-7 3 4 0,2-7 45 15,0-1-37 17,-1-1 49-32,-2-1 8 0,-6 4 38 0,-5 1 13 0,1-2 22 0,-3 4 40 0,-3 2 9 0,0-2 34 0,-5 3 15 15,2 1 6-15,-6 1 9 0,4-1 8 16,-3 2 8-16,-2 3-38 0,-1-1-6 0,0 1 1 16,-4 2-24-16,2-2 21 0,3 4-11 0,0 0-22 15,-18 6 25-15,8-1-18 16,2 2-15-16,-2 4-8 0,0 1 11 0,1 1-11 0,-3 2-2 15,2 1 9-15,0-1-6 0,2 4-32 16,1-2 31-16,1-3-43 0,2 4-13 0,3-6 36 16,-1 5 4-16,2-4-4 0,1-1-46 15,1 1 15-15,0-4-33 0,3 0-3 0,0 0-21 16,3-3-19-16,0 0 14 0,2-3-9 0,0-1-9 16,3-2 3-16,0-2 13 0,3-1 0 15,-2 1 0-15,6-4 18 0,-3 0-5 0,5-4-21 16,-2 1 39-16,-1-1 5 0,3-3-10 0,-3-1 2 15,-1-2 33-15,2 2-2 0,-5-3 5 16,3 3-2-16,-5 2 12 0,0-1 36 16,-2 2 8-16,-3 3-6 15,-1-3 14-15,0 4 38 0,-4 1-13 0,2-1-36 0,-3 1 26 16,-1 3-1-16,-1 3-19 0,0 0 7 0,-5-3-16 0,5 3 11 16,0 0-3-16,-16 5 3 0,10-2-31 0,-1 1 13 15,-2 3-12-15,1 3-9 16,0-2 8-16,0 2 0 0,1-1-15 0,-1 2-21 15,0-2 8-15,4 2-5 0,-2-4 10 0,1 3-22 16,2-2-12-16,1-2 14 0,-1 0-8 0,3 0 26 16,0-1-26-16,2-3 23 0,1 0-13 15,-3-2 33-15,8 3-45 0,-1-3 30 16,-7 0 10-16,11-5-5 0,-3 0-5 0,2 3 16 0,-3-5 5 16,4 1 20-16,-4-2-23 15,1 0 2-15,2 1 19 0,-4 1-11 0,1 1 13 0,0 0 18 16,-4 0 8-16,2 0-47 0,-2 4 37 15,2-3-39-15,-5 4 36 0,3-3-36 16,-3 3 13-16,0 0-8 0,0 0 28 0,0 0-51 16,0 0 18-16,2 8 13 0,-2-8-33 0,-2 7-26 15,2-3 17-15,0-4-6 0,0 8 7 16,0-5-19-16,0 1 24 0,2-1-25 0,-2-3 12 16,3 3 21-16,0-2-1 0,3 2-12 0,-6-3 23 15,9 0-5-15,-1-4 23 0,0 4-8 16,2-6 5-16,2 3 13 0,-1-1 3 15,1-2-16-15,2 3 42 0,-2 0-9 0,0-4-4 16,-1 6 7-16,-1-3-21 0,-2 3 27 0,2 1-75 0,-2 0 0 16,0 0 0-16,-1 0 0 0,-1 2 0 15,2 2 0-15,0-1 0 0,-4 1 0 16,1 2 0-16,-2 0 0 0,1 1 0 0,-4-1 0 16,0 0 0-16,0 4 0 0,-4-3 0 15,0 1 0-15,-2 2 0 0,-2-1 0 0,2-3 0 16,0 3 0-16,0-5-11 0,1 3-145 0,-1-2-54 15,2 1-30-15,-2-5-47 16,2 3-15-16,4-4-18 0,0 0 0 0,0 0-10 0,0 0-39 16,-2-10-12-16,4 3 81 15,2 1 19-15,4-5 43 0,0-4 20 0,-1 0 41 0,3-4 57 0,4-2 43 16,-4 1 83-16,3-10 50 0,2 7 36 16,-5 1 41-16,-2 2 18 0,2 1 28 15,-3 2-7-15,1 3 33 0,-3-3-19 0,1 6 58 16,1 1-104-16,-4 0 29 0,2 4-18 0,-2-1-5 15,-1 1-25-15,0 5 9 16,-2 1-33-16,3-1 39 0,-3 1-8 0,0 0-31 0,8 11-23 16,-8-2 42-1,3 2-4-15,-1 2-63 0,-1 2 20 0,0 2-18 0,-2 0 6 0,1 2-24 16,-1 0 3-16,-1 1-31 0,-1-1-28 16,1 0-57-16,1 0-50 0,-1-6-26 0,-1 3-57 15,1-3-12-15,2-1-41 0,-1-4-85 0,2 3-130 16,-1-5-461-16,2-1-15 0,1-1 143 0,-1-3 64 15,-2-1 33-15,6 2 67 0</inkml:trace>
  <inkml:trace contextRef="#ctx0" brushRef="#br0" timeOffset="97864.7">22135 7420 1090 0,'-3'-6'453'0,"3"6"-51"16,-2-1-26-16,2 1-33 0,0 0-33 15,1-7-44-15,1 3-102 0,5 1-8 0,0-2-15 32,2 0-13-32,1 2 2 0,0-3-12 0,2 0 15 0,2 1 13 0,1 0 0 0,0 1 20 15,0-1 1-15,-1 0-3 0,1 0 30 16,-3 5-22-16,-1-3-14 0,-1 2 4 0,0 1-17 16,1 1 32-16,-1 2-16 0,-2 0-2 15,0 0-13-15,-1 2 10 0,-2 3-13 0,1 1-22 16,0 0-14-16,-5 1-12 0,4-1 20 0,-5 1-23 15,2-1-20-15,-2 2 0 0,0 0-83 0,-2-3-4 16,2 5-75-16,-2-7-20 0,-1 5-84 16,3-3-19-16,-3-1-78 0,1 0-86 15,-2-1-242-15,3-1-423 0,-2-1 98 0,3-4 101 0,0 0 86 16,0 0 86-16,0 0 59 0,0 0 42 16</inkml:trace>
  <inkml:trace contextRef="#ctx0" brushRef="#br0" timeOffset="97994.17">22447 7264 1338 0,'0'0'384'0,"-4"-2"-69"0,4 2-56 15,-8-1-149-15,8 1-272 0,-10 1-575 16,10-1 113-16,-8 2 76 0</inkml:trace>
  <inkml:trace contextRef="#ctx0" brushRef="#br0" timeOffset="98382.34">22581 7285 1185 0,'-3'9'476'0,"-1"1"-5"0,-2-1-31 0,4 2-36 0,-3 2-17 0,0-2-29 0,2 1-135 16,-2-2 15-16,0 2-33 15,2-2 25-15,-2-1-48 0,3 1 5 0,-1-3-18 0,-2 1 20 16,3-3 11-16,2 2-16 0,-1-2 26 16,-2-3-33-16,6 3 7 0,-3-5-23 0,5 0 95 15,-5 0-31-15,10-4-33 0,0 2 57 0,-2-4-63 16,3-1-17-16,3 2 29 0,-2-1-104 0,2 0 34 16,-3 4-94-16,4-3-34 0,-2 4 0 15,-2-1 0-15,1 0 0 31,0 2 0-31,-3 2 0 0,1 0 0 0,-2-1 0 0,2 4 0 0,-2-3 0 0,-1 2 0 0,0 1 0 16,-3-2-95-16,1 2-66 0,0-3-24 0,-2 3-71 0,-1-1-46 16,3-2-13-16,-3 0-43 0,-1 2-95 0,-1-4-118 15,8 0-437-15,-4 0 68 0,-4 0 83 16,0 0 112-16,14-1 74 0,-7-3 72 16,0 2 41-16</inkml:trace>
  <inkml:trace contextRef="#ctx0" brushRef="#br0" timeOffset="98720.69">22912 7314 1346 0,'0'0'412'0,"0"0"-28"0,-5-7-36 16,5 7-18-16,0 0-17 0,0 0-34 0,0 0 10 15,-8 12-20-15,7-5 104 0,-3 6-27 16,2 3 43-16,1 0-67 0,-2 7-9 0,1 3-34 16,-3 11-95-16,0 1 23 0,0-1-20 0,-3 5-33 15,-2-3-49-15,-3-1 28 0,-2 3-10 0,-3-3-52 16,-8 4 27-16,6-8-19 0,-1-4-5 15,-2-3-5-15,5-9 8 0,3-2-21 16,5-6-25-16,1-1 20 0,2-6-10 16,4-1-7-16,3-2-34 0,0 0-13 0,6-21 15 0,4 7-14 15,8-15-55-15,10-10 6 0,5-3-57 16,3-3-2-16,5-3 25 0,5-3-5 16,3 2-8-1,3 2-12-15,-1-1-10 0,0 4-1 0,-2 5 24 0,-2 3-21 0,-2 3 7 0,-1 2-48 16,0 3-7-16,-9 10-19 0,3 2-28 0,-2-1-32 15,-3 4-71-15,1 0-160 0,-8 2-481 0,-1 2 122 16,-4 0 67-16,0 1 110 0,-1-1 53 0,-2 3 57 16</inkml:trace>
  <inkml:trace contextRef="#ctx0" brushRef="#br0" timeOffset="106079.9">20284 8382 1000 0,'0'0'400'0,"0"0"-47"15,0-6-33-15,0 6-49 0,0 0-12 0,0 0-26 16,0 0-26-16,-2 20-7 0,2-6-14 16,0 1-24-16,0 4-27 0,-3 0-17 0,3 4-3 0,-3 1 16 15,1 1-72-15,2 1-36 16,-3-2-8-16,3-2-51 0,-3-3-23 0,1 5-63 0,0-5-101 15,2 0-107-15,0-6-80 0,-1 4-327 0,-1-3 28 16,2-2 82 15,-3-2 48-31</inkml:trace>
  <inkml:trace contextRef="#ctx0" brushRef="#br0" timeOffset="106422.39">20199 8463 921 0,'6'-12'397'0,"1"3"-95"0,2 0-31 15,0 5-12-15,-1 0 4 0,2 1-7 16,0 1-7-16,3 4-17 0,4 0-24 16,-3 3-29-16,5 1-13 0,0 3 3 0,2 3-18 15,-1 2-33-15,-2-2 13 0,-2 3-19 0,-1 1-7 16,-2 1 15-16,-2 1-20 0,-4-2-2 15,-4 2 17-15,-3-4-18 0,0 3-10 16,-3 1 5-16,-2 1 67 0,-3 0-34 0,-2 0-30 0,-3 0 13 16,2-1-11-16,-4-1-2 0,0-2-31 0,2-3-16 15,3 0-2-15,-3-3-20 0,0-1-26 16,1-1-18-16,2-3-41 0,1 0-20 0,-1-1-19 16,4-1-40-16,-3-1-26 15,4-1-33-15,5 0-13 0,-8 0-53 0,8 0-73 0,0 0-48 16,-8 0-529-16,8 0 94 0,0 0 81 0,0 0 81 15,0 0 63-15</inkml:trace>
  <inkml:trace contextRef="#ctx0" brushRef="#br0" timeOffset="106749.43">20597 8781 867 0,'8'-5'364'0,"-4"-1"-21"16,1 2-21-16,-2-1 3 0,2-1-28 0,-2 0-8 16,-1-2-27-16,1 1-30 0,0 0-4 15,-1 0-8-15,0 2 13 0,-1 0-23 0,1 1-95 16,-2-1 36-16,0 2-28 0,0 3-28 0,0-5 13 16,0 5-24-16,0 0-2 0,0 0-23 15,0 0-16-15,0 0 32 0,-10 12-24 16,10-7-21-16,-3 0 22 0,1 0 1 0,2 4-30 0,-2-3 13 15,2 1-18-15,2 2-15 0,-2-3-21 16,2 0-5-16,1 1-13 0,0-1-46 16,-1 1-8-1,3-1-43-15,0-1-15 0,1 1-59 0,-2-6-101 0,2 5-91 0,-1-3-430 16,0 0-1-16,2-1 129 16,-7-1 41-16,11-1 94 0</inkml:trace>
  <inkml:trace contextRef="#ctx0" brushRef="#br0" timeOffset="107002.53">20812 8444 1203 0,'0'-2'435'0,"0"2"-10"0,0 0-57 0,0 0-109 16,0 0-19-16,0 0-4 0,-5 19-29 0,5-6 13 15,-2 1-17-15,2 2-27 0,0 4-27 0,0 1-21 16,-1 2 7-16,-1 3 1 0,-1 2 17 16,1 0-12-16,1-2-33 0,-1 2-44 0,0-5-28 15,-1 1-62-15,3-6-10 0,-3 2-56 0,1-2-69 16,2-2-108-16,-2-3-130 0,1-1-492 0,1-3 108 16,1-1 56-16,-1-3 69 0,0 0 67 15</inkml:trace>
  <inkml:trace contextRef="#ctx0" brushRef="#br0" timeOffset="107247.27">20933 8463 1338 0,'0'0'438'16,"0"0"-44"-16,0 0-25 0,-3 17-42 15,3-8-50-15,0 4-83 0,-3 3-9 0,1 3-34 16,0 0-11-16,0 5-19 0,-2 2-11 0,0-1 87 15,-2 1-46-15,4 3-18 0,-1-2-20 16,-2-1-44-16,2 2-23 16,1-2-28-16,-1-2-28 0,2-2-26 0,-1-1-54 0,-2-2-74 0,4-5-168 15,2 0-580-15,-2-3 98 0,0-3 36 16,4 1 131-16,-3-5 63 0</inkml:trace>
  <inkml:trace contextRef="#ctx0" brushRef="#br0" timeOffset="108729.99">21392 8545 829 0,'0'0'325'0,"7"-6"-20"0,-2 6-29 0,-5 0 62 16,11 6-46-16,-3-3-3 15,-1 0-43-15,2 4-16 0,-1 3-48 0,0-3 5 16,-2 4-42-16,-3 2 7 0,-1-1-109 0,-2 3-10 15,-2-1 1-15,1 3-37 0,-6 2 0 16,2-4-7-16,1 1 0 0,-4 0 7 0,-1-1 1 16,2-2 2-16,1-1-5 0,1-1 35 0,0-3-4 15,-3 2 18-15,5-4-9 0,-1 1 19 16,0-3 13-16,2 0 4 0,0-1-2 0,0 0-17 16,2-3-1-16,0 0 18 0,0 4-13 0,0-4 6 15,0 0 2-15,0 0-3 0,0 0-5 16,14-4-20-16,-14 4 28 0,11-1-46 15,-1-1 13-15,-2 0-23 0,2 1 81 0,2-3-32 0,-1 2-63 16,2-1-45-16,-2-1-49 0,3 4-71 16,-1-6-203-16,1 2-527 0,-2 2 62 15,1-3 73-15,-3 3 98 0,4-3 54 0,-4-1 66 0</inkml:trace>
  <inkml:trace contextRef="#ctx0" brushRef="#br0" timeOffset="109079.46">21706 8629 924 0,'0'0'289'0,"0"0"-31"0,-10 6-22 15,8-3 2-15,0 3-46 0,-1 0-23 0,2 1 66 16,1 3-25-16,-2-1-31 0,2 0-5 16,2 1-15-16,-1-1-44 0,2 0 11 15,1-2-26-15,-1 2 12 0,4 0-9 0,0-3-29 16,-1-1 3-16,2 0 2 0,4-2 31 0,-3-3-3 15,1 4 27-15,-2-4 17 0,2-1-5 16,0-2-67-16,-2 1 21 16,0-2-13-16,-3 1 20 0,3-4 11 0,-6 1-8 0,0 0-10 0,2-3 28 15,-4 2-36-15,-1 0-2 0,-2-1 9 16,-1-1-29-16,1 2-6 0,-2-1-18 0,-3 1 7 16,3 1-45-1,-1 0-3-15,-1 1-13 0,-1-1-15 0,-1 4-35 0,1-2-22 16,0 3-38-16,0 0-38 0,-2 0-20 0,2 2-50 15,0 1-132-15,0-2-138 0,-1 4-431 0,4-2 69 16,-1 1 85-16,2 0 121 0,2-3 58 16,2 0 72-16</inkml:trace>
  <inkml:trace contextRef="#ctx0" brushRef="#br0" timeOffset="109358.81">21922 8561 1113 0,'13'-4'269'0,"0"3"-6"0,-3 1 4 0,0 1-50 15,2 2 19-15,-6-1-29 0,2 1 80 16,-3 1-34-16,3 2-38 0,-1-2 0 0,-4 2-5 16,2 2-36-16,-2 0 10 0,-3-2-40 0,2 5 4 15,-2-3-25-15,0 2 5 0,0-1-49 16,-2 2 21-16,2-3-18 0,-2 2-5 16,2-2 7-16,0-2-22 0,0 4-67 0,0-4-18 15,0 0 30-15,0-1 14 0,2-1-19 0,0 2 14 16,2-2-16-16,-2-1 18 0,4-3-21 15,-2 4-12-15,1-2-11 0,2-2-7 0,-7 0-47 16,11 0-7-16,-3 0-41 0,-1 0-43 0,-2-3 12 16,1 2-84-16,1-1-36 0,0 1-200 15,-4-3-335-15,1 2 36 0,-2-3 120 0,2 3 44 16,-1-3 61 0</inkml:trace>
  <inkml:trace contextRef="#ctx0" brushRef="#br0" timeOffset="109637.62">22164 8589 837 0,'2'-5'358'0,"3"1"0"0,-2-1-15 16,-1 2-36-16,2 0-7 0,0 3-19 0,-4 0-25 16,8 0-20-16,-8 0-8 0,7 1-29 0,-4 4-14 15,2-1 4-15,-3 1-40 0,1 2 14 16,-2 0-30-16,-1 0-5 0,0 1-74 0,-4 3-18 16,2 1-3-16,-1-1 1 0,-2 2-19 0,2 0 3 15,-1-1 5-15,1 0-5 16,0-1 25-16,1 0-35 0,-1-3 25 0,3 1-30 0,-3-1 25 15,1-1 0-15,4 2-28 0,-4-3 0 16,4-2 5-16,0 2-7 0,-1-2 2 0,2-2-23 16,-1 2 2-16,4-3-17 0,1 0-8 15,-2-1-39-15,-5 0-9 0,13-2 14 16,-3-1-68-16,-2 1-62 0,5-3-110 0,0 1-125 16,0-1-416-16,2-1 83 0,2-1 85 0,0-1 32 15</inkml:trace>
  <inkml:trace contextRef="#ctx0" brushRef="#br0" timeOffset="109936.78">22592 8507 1205 0,'0'0'346'0,"0"0"-1"16,10-7-53-16,-5 7-10 0,3 0-32 15,2-2-9-15,0 1-31 0,2-2 69 16,-1 3-18-16,3-1-46 0,0 0-31 0,-1-1-28 0,1 2-12 16,-2-1-62-16,3 1-31 0,-5 1-54 0,3 1-4 15,-3-1-96-15,-2 0-160 16,0 0-510-16,1 3-69 0,-5-1 109 0,0 1 68 15,-4 0 61-15,0-1 79 0</inkml:trace>
  <inkml:trace contextRef="#ctx0" brushRef="#br0" timeOffset="110142.68">22568 8660 967 0,'0'0'404'0,"0"0"-40"0,0 0-1 0,0 0 11 0,0 0-23 0,30-4-21 0,-19 3-28 0,-1-2-41 16,6 1-92-16,-1 0-20 0,7-2-1 16,-2 3-17-16,-3-4-9 0,4 3-27 0,-3-3-46 15,2 0-31-15,0 3-18 0,-2-2-46 0,-1-2-44 16,0 3-89-16,-4-1-116 0,0-2-94 16,1 1-481-16,-3 0 110 0,-3-1 66 0,2 0 52 15,-4 0 58-15</inkml:trace>
  <inkml:trace contextRef="#ctx0" brushRef="#br0" timeOffset="110423.17">22833 8326 1075 0,'-3'-2'407'0,"3"2"-49"16,-5-4-23-16,5 4-17 15,0 0-47-15,0 0-13 0,0 0 14 16,0 0-16-16,15 6-23 0,-7-1-31 0,2 2-8 0,3 2 6 15,0 1-36-15,2 2 2 0,1 1-15 16,1 0-23-16,-2 2-2 0,-1 0-3 0,-2 1-8 16,-1-2 5-16,-3 1-20 0,-1 1-5 15,-4 0-21-15,-1-1-2 0,-2 0 9 0,-5 4-42 16,0-1-24-16,-8 1 6 31,3 0-65-31,-3 0-25 0,0-1-36 0,0-1-64 0,-2-2-97 0,0 4-249 0,5-8-490 0,-1 1 121 16,4-5 106-16,-2 2 59 0,2-4 84 0,2-2 77 15</inkml:trace>
  <inkml:trace contextRef="#ctx0" brushRef="#br0" timeOffset="111181.95">23673 8281 965 0,'0'-6'450'16,"0"3"-25"-16,-1-2-28 0,-3 0-49 0,2-1-36 16,1 5-28-16,-3-3-15 0,4 4-3 15,-13 0-135-15,5 4-11 0,-5-2 3 16,1 4-18-16,-1 1-21 0,-3 2 16 0,4 0-26 15,-1 1-12-15,-1-1 9 0,2 2-27 0,0 1 5 16,4-4-1-16,-2 4-9 0,4-4 14 16,1 2-14-16,1-2 7 0,0-2-28 0,2 0 5 15,2-1 0-15,2 0 13 0,2-2-18 0,0 1 2 16,1-3 24-16,2-1-19 0,2 0-7 0,1-1 28 16,0-3-5-16,0-1-2 0,2 0 9 15,-1 0 1-15,-1-2 5 0,0 1 10 16,1-1 7-16,-3-1-17 0,2 5 23 0,-3-2-18 15,1 0 0-15,-3 3-1 0,-2-1-19 16,4 2-1-16,-7 1 13 0,8 5 8 0,-6-1-8 16,2 2-15-16,-4 3 39 0,2 1-22 0,-1-1 6 15,-2 5-5-15,1 1-29 0,0-1-4 16,-2 3 17-16,-1-2-20 0,3 3 16 0,-1-3-34 16,-1 1-11-16,0-3-25 0,-3 3-12 15,4-3-16-15,-1-3-46 0,0 2-18 0,2-1-39 0,-3-4-40 16,3 1-90-16,0-1-110 0,0-3-92 15,3 2-463-15,-1-5 104 0,1 2 80 0,2 0 71 16,-5-3 52-16</inkml:trace>
  <inkml:trace contextRef="#ctx0" brushRef="#br0" timeOffset="111543.9">23884 8363 1103 0,'0'0'391'16,"-6"-2"-22"-16,6 2-67 0,0 0-13 0,-10 7-40 0,6-1-17 16,-2 0 9-16,1 3-41 0,2 2-19 15,-2 0-17-15,0 1-10 0,5 0-18 16,-3 1-21-16,1 0 8 0,2-4-16 0,2 3-20 16,1 0 3-16,0 1-24 0,4-3-12 15,0-1 18-15,2-3-34 0,1 1 16 0,0-1 2 16,2-1 23-16,-1-1-7 0,-1-3 36 0,1 0 107 15,-1-2-34-15,0-3-9 0,-3 2 22 0,0-2-14 16,0-3-22-16,-2-1-22 16,-3-1 0-16,2 1-16 0,-3-5-7 0,-1 3 9 0,-2-4-52 15,-1 1-22-15,-1 1 9 0,-2-1-52 16,1 2 13-16,-1 1-47 0,-1-1-32 16,-3 3-16-16,3-1-46 0,-2 5-12 0,-3-2-42 0,2 3-69 15,-1 1-79-15,-6-9-148 16,4 11-559-16,-3 4 126 0,3-2 69 0,-7 0 72 15,2 3 71-15,0 1 49 0</inkml:trace>
  <inkml:trace contextRef="#ctx0" brushRef="#br0" timeOffset="112057.73">23332 8311 842 0,'-10'0'350'0,"10"0"-43"0,-13 3-15 0,9 0-46 15,-2 0 2-15,1 1-20 0,-1-2-33 16,-1 4-21-16,4 0-23 0,-1 0 2 0,1-1-17 16,0 2-23-16,1 0-16 0,2 1 13 0,0 2-36 15,0-2 21-15,5 4 2 0,-2 0-18 16,1 0 9-16,2 2 27 0,-2 2-21 15,2-1 4-15,2-2 12 0,-3 2 51 0,0-2 21 0,-2 0-31 16,4-1 13-16,-5-2-31 0,1 2-3 16,-3-1 8-16,3-3-102 0,-3 3 21 0,-3-3-11 15,1 2 10-15,-1-3 0 0,-2 4-45 0,0-3 19 16,-2 0-4-16,0 2-41 0,-3-3-44 16,0-1-13-16,0 0-20 0,0-1-54 15,0 0-44-15,2-2-73 0,1-4-203 0,-1 2-471 0,0-1 59 16,8 0 144-16,-11-3 4 0,7 0 116 15,1-2 15-15</inkml:trace>
  <inkml:trace contextRef="#ctx0" brushRef="#br0" timeOffset="112316.97">23340 8138 1254 0,'0'0'409'0,"0"0"11"0,-7 6-36 0,6 2-18 0,-1 4-54 16,-1 4 21-16,3 2-56 0,-2 7-24 0,1 2 8 16,0 2-46-16,0 12-15 0,-4 0-16 15,3 3-12-15,-1 0-34 0,0 0-3 0,0 1-19 16,-1-2-11-16,1-2-16 16,0 0-10-16,-1-3-30 0,3-5-46 0,0-5-19 0,1-7-27 15,0 3-26-15,1-6-16 0,0 1-30 0,-1-2-82 16,4-3-85-16,-1-8-107 0,2 5-517 0,0-7 72 15,3 0 40-15,0-3 113 0,4-2 23 16,-1 0 72-16</inkml:trace>
  <inkml:trace contextRef="#ctx0" brushRef="#br0" timeOffset="112951.32">24186 8162 1377 0,'0'0'455'0,"0"-5"-61"0,0 5-35 16,0 0-26-16,0 0-11 0,0 0-25 15,-10 17-3-15,8-8-86 0,1 6-24 0,-4 0-30 0,2 4-19 16,-1 0-14-16,-2 5 7 0,1 0-21 15,-2 2-15-15,1-1 0 0,0-1-10 0,-2 2-8 16,1-4-2-16,0 0-16 0,2-3-15 16,0-2 11-16,0-4-24 0,3 0 18 15,-2-2-3-15,0-1 16 0,3 0 0 0,0-2-10 16,0-3 45-16,-2 0-35 0,3-3 8 0,0-2-3 16,4 5-3-16,-4-5 8 0,0 0-15 0,12-6 5 15,-4 1-10-15,-1 3 7 0,3-4-15 16,2 1-15-16,-3-1-1 0,4 1 8 0,-1 2-10 15,-1-2 0-15,-1 5 13 0,2-1-13 16,-3 1 13-16,1 0 31 0,0 1-39 0,-2-1-5 16,0 4 23-16,-1-3 0 0,-2 2-13 15,-2 2 24-15,0-1 2 0,0-2-19 0,-2 5 7 0,-1-4 1 16,0-3-17-16,-4 8-3 16,0-3-18-16,-3-1 11 0,2 1-16 15,-3 0-15-15,-2 1 2 0,-1 1-53 0,-1-3-39 0,0 0-15 0,1 1-39 16,-2-1-41-16,3-2-48 15,2 2-49 1,-2-2-68-16,3-2-201 0,-1 1-455 0,8-1 130 0,-8-1 31 0,8 1 146 0,-5-2 77 16,5 2 92-16</inkml:trace>
  <inkml:trace contextRef="#ctx0" brushRef="#br0" timeOffset="113316.39">24319 8419 1121 0,'0'0'417'0,"0"0"8"0,12 6-123 0,-10-2-13 0,0-1-46 16,0 3 8-16,1 0-38 0,0 1-1 0,-3 2-30 0,2-1-16 16,-2 0-15-16,4 1-13 15,-4 0 13-15,0-1-23 0,0 1-7 0,0-1-9 16,0-1-7-16,0-1-2 0,0 1 109 0,1-1-22 16,-1 0-11-16,0-1 59 0,3-1-31 15,-1-1-18-15,0-1-4 0,4 0-32 0,-6-2 4 16,11-2-40-16,-1 1-7 0,0 0 13 15,2-1-28-15,1-2 7 0,1 3-4 0,-2-1-34 16,0-1 23-16,-1 3 7 0,-1 0 4 0,0 0-32 16,0 4 24-16,-2-3-14 0,-2 3-1 0,1 0-24 15,-1 1-8-15,-4 1-30 16,4 1-18-16,-4 0-18 0,-2 2-26 0,2-2-22 16,-2 0-16-16,0 1-54 0,-2-2-69 15,2 3-18-15,-2-1-43 0,2-1-46 0,-1 0-252 16,0-1-529-16,-3 2 182 0,4-3 2 0,-2 1 90 15,1 0 81-15,0-1 83 0,0-1 64 0</inkml:trace>
  <inkml:trace contextRef="#ctx0" brushRef="#br0" timeOffset="114955.74">19958 9619 1484 0,'0'0'446'16,"0"0"-45"-16,0 0 29 0,0 0-105 0,-2 12-15 0,0-2-36 15,1-1-26-15,-1 4-12 0,-1 3-44 0,1-1-13 16,-1 4 13-16,0 0-133 0,1 0 0 15,1 0-29-15,-1 0-24 0,0-1-14 0,2-1 0 16,-3-4-12 0,3 3-1-16,0-3-7 0,0-1 26 0,0-3-6 0,0 2 5 15,0-3-4-15,0-3-9 0,0 0 3 0,0-3 8 0,0-2 8 16,0 0 30-16,0 0-10 0,0 0 16 16,10-12 4-16,-7 5 13 0,0-5-9 15,2 0-9-15,-2-6 13 0,1 0 11 0,0-5 4 16,0-4 1-1,4-8-16-15,-3-2 23 0,2 1 8 0,-1 5-15 0,-1 6 14 16,0 4 30-16,-2 0-55 0,1 5 36 0,0 2-28 0,0 3 18 16,1 3-31-16,-2 5 23 15,2 2-2-15,-5 1-11 0,7 7-22 0,-4 0 17 0,0 4 0 16,0 3-30-16,-1 3-3 0,1 2 3 16,0-1-34-16,-2 2-18 0,0-1-25 0,1 5-10 15,1-4-6-15,-2 0-27 0,1 4 1 0,-2-5-27 16,0 0-5-16,0 0-47 0,2-2 21 0,-4-2-38 15,2 1-34-15,0-2-51 16,0-1-120-16,-8 3-39 0,6-5-470 0,-1-1 119 0,0-1 111 16,1-2 21-16,-1 0 65 0</inkml:trace>
  <inkml:trace contextRef="#ctx0" brushRef="#br0" timeOffset="115157.77">19843 9920 1054 0,'-5'-2'435'0,"2"-2"-64"16,1 2-28-16,2-3-41 0,0 5 0 0,0-6-30 16,4 2-24-16,-1 0-23 0,3-1-20 15,2 2-10-15,0 0-16 0,1-3 3 0,2 3-44 16,1-2 0-16,-1 0-23 0,1-1-35 0,1 4-16 16,2-3-36-16,-2-1-49 0,0 3-61 15,2-2-56-15,-2 0-64 0,3-1-200 0,-1 1-489 16,0 2 70-16,-2-2 145 0,0 4 23 15,0-4 67-15</inkml:trace>
  <inkml:trace contextRef="#ctx0" brushRef="#br0" timeOffset="115762.05">20227 9700 998 0,'0'0'417'0,"0"0"-20"0,0 0-18 15,-4 11-70-15,4-5-32 0,0 1-88 0,-1 0-7 0,-1 3-29 16,-1 0-22-16,1-1-6 16,0 3 3-16,1 1-10 0,-2-4-23 0,3 3-13 15,0-1-16-15,0-2 6 0,0 2-3 0,0-3-18 16,0 2 3-16,-2-2-26 0,2-2 36 15,0 0-15-15,2-1 12 0,-2-2 8 0,0-3 65 16,0 5-17-16,0-5-7 0,0 0 31 0,0 0-38 16,0 0 9-16,0 0-17 0,14-13 12 0,-10 7-9 15,-1 0-11-15,2-1-8 0,0 1-25 16,1 3 10-16,-1-1-5 0,0-2 5 0,2 3 5 16,-4 0-21-16,2 3 1 0,0 0-11 15,-5 0 16-15,10 1-5 0,-7 3-1 16,2-3-17-16,0 5 18 0,0-4-34 0,-2 3 47 0,3 0-32 15,-2-3-17-15,0 4 15 0,-2-3 29 16,0 0-40-16,0 1 12 0,1-2 9 16,-3-2 31-16,5 6 13 0,-3-5 8 0,-2-1 30 15,3 3-5-15,-3-3-84 0,0 0 5 0,0 0-21 16,8-6 62-16,-3 2-26 0,-3 3 13 16,1-4-33-16,2 3 15 0,-2-2 0 15,-1 2 8-15,4 1 2 0,0-3-18 0,-2 4-4 0,4-1-6 16,-8 1-10-16,13 0 2 0,-6 0-33 15,-2 1-12-15,3-1-32 0,-3 4-27 16,2-1-47-16,-1-2-50 0,2 4-52 0,-3-2-5 0,0-1-54 16,0-1-72-16,0 3-124 0,0-2-32 15,3-1-468-15,0-1 43 0,2 0 149 16,0-3 64-16,0-1 59 0,1 1 89 0</inkml:trace>
  <inkml:trace contextRef="#ctx0" brushRef="#br0" timeOffset="116079.4">20694 9737 965 0,'0'-4'325'0,"0"1"94"15,2-1-60-15,-2 4-27 0,0 0-12 0,0 0-48 16,0 0-9-16,0 0-42 0,-18 10-1 16,11-5-16-16,2-2-24 0,0 4-14 15,0-2-23-15,2 1-7 0,-2 1-3 0,4-1-33 0,-1 1 7 16,0-1 4-16,2 0-37 16,0 0-67-16,0-1-19 0,2-2 12 0,0 1 20 15,2 0 21-15,-1-3 0 0,-3-1 18 0,7 0 79 16,-7 0 62-16,10-1 15 0,-5-3 13 15,-1 2-24-15,0-1 37 0,0 0-41 0,-3-1 10 16,2 2-36-16,1-2 35 0,-1 2-37 0,0-2-16 16,-3 4-20-16,3-3 23 0,-3 3-62 15,4-4-20-15,-4 4-19 0,0 0 1 0,0 0-7 16,0 0-52-16,8 8 0 0,-5-3 0 0,-1 0 0 16,-1-1 0-16,1 0 0 0,0 1 0 0,1 2 0 15,-3-1 0-15,5 0 0 16,-2-1-177-16,-1 1 3 0,3-3 0 15,-2 2-49-15,2 1-28 0,-2-6-66 0,4 4-57 0,-2-1-94 16,1-3-600-16,-6 0 111 0,12 0 23 16,-6 0 94-16,1-3 85 0,1-1 95 15,2 2 99-15</inkml:trace>
  <inkml:trace contextRef="#ctx0" brushRef="#br0" timeOffset="116390.3">20933 9662 1318 0,'2'-4'353'0,"-2"4"-5"0,8-1-54 0,-8 1 6 15,0 0-42-15,13 5-2 0,-6-1-15 16,-4-1-26-16,2 4-5 0,-2-2-36 0,1 1-10 16,-1 1-18-16,-3 4 30 0,-1 0-27 15,-3 1-6-15,-1 2 72 0,0 0-28 16,2 2-18-16,-2 0-31 0,2 1 3 0,-1-2-8 0,0-1-18 15,0 2-12-15,-1-3-11 0,2-2-18 16,3 1-13-16,-2-3 9 0,2 0-14 0,0-1-36 16,0-1-12-16,2-1-44 0,0 1 5 0,-1-1-30 15,4-5-44-15,0 3-25 0,0-3-24 16,0-1-28-16,1 0-40 0,-6 0-83 16,10 0-105-16,-3-3-468 0,0 0 16 15,-3-4 91-15,1 1 44 0,-3 3 126 0,3-2 40 0</inkml:trace>
  <inkml:trace contextRef="#ctx0" brushRef="#br0" timeOffset="117034.68">20951 9826 660 0,'0'0'353'16,"2"-6"-46"-16,-2 6-15 0,5-4-13 0,-2 0-5 15,2 4-36-15,0-4-13 0,0 3-5 0,1-2 26 16,-2 0-54-16,2 2 33 0,-6 1-10 15,7-2-20-15,-1 1-11 0,-6 1-12 16,9 0-83-16,-9 0-17 16,8 1 2-16,-5 1 6 0,-3-2-32 0,5 6 6 0,-2-2 23 15,1-1 10-15,-3 3-31 0,4 0-25 0,-3-2 12 16,0-1-7-16,2 2-5 0,1 2-6 0,0-3 1 16,-2 2 5-16,4-3-8 0,-2 3 0 15,3-3 0-15,0 0 0 0,-1-3 3 0,1 0-9 16,0 0 14-16,2 0-21 0,-2-1-15 15,-1 0 13-15,1-3 10 0,0 1-10 0,-1-1 2 16,-2-2 31-16,1 1-13 0,-2 1 10 16,0-3 14-16,-4 2-17 0,2-1-4 0,-2 0-5 15,0 1-3-15,-2 0 7 0,2 1-22 0,-2 0 10 0,-2-1 5 16,1 2-15-16,-2 0 2 16,3 0 8-16,2 3-13 0,-8-3 21 0,8 3-24 15,-7-1 11-15,7 1-34 0,-8 0 14 0,8 0 9 16,-5 4 11-16,5-4-5 0,0 0-18 15,-5 3-8-15,5-3 2 0,0 4 1 0,0-4-3 16,0 0-10-16,0 0 15 0,10 5-2 16,-6-3 12-16,0-1 8 0,1 0-7 15,2 2-1-15,-2-1 13 0,1 0-7 0,0 2 0 0,2-4-1 16,-2 4-2-16,-1-1 5 0,2 1 8 16,0-1-26-16,-3 2-7 0,2-2 7 15,-2 0 0-15,-1-1 8 0,2 2 2 0,-1-3 6 16,-3 3-3-16,4-2 3 0,-3 1-16 0,-2-3 26 15,6 3 7-15,-4-2 6 0,-2-1-3 16,0 0 5-16,6 3 15 0,-6-3-12 0,0 0-16 16,0 0 24-16,7 0-8 0,-7 0 12 15,0 0-7-15,0 0 0 0,0 0-3 0,8-3-10 16,-8 3-5-16,6-1-41 0,-6 1 13 0,6-3-59 16,-6 3-24-16,6-3-63 15,-1 0-15-15,2 0-70 0,2 1-176 0,1-3-551 0,5 0 85 16,1 2 87-16,2-4 74 0,5-2 100 0,3 1 52 15</inkml:trace>
  <inkml:trace contextRef="#ctx0" brushRef="#br0" timeOffset="117873.48">21678 9662 1295 0,'8'-6'445'0,"2"1"16"16,-2 4-64-16,1 0-52 0,0 1-20 15,-1 1-43-15,1 0-6 0,-1 4-38 0,-2-1-28 16,-1-1-2-16,-2 3-27 0,-3 1-32 16,0 1 15-16,0 2-8 0,-5 1-31 0,-3-2-5 15,0 6-20-15,1-1-87 0,-3-1 8 0,1 0-27 16,-3 0 42-16,4-1-41 0,-2 1 33 16,0-3-35-16,2-1 7 0,0 0 7 0,3 0-4 15,-1-3 12-15,-1 0-7 0,6-1 5 16,-3 1-8-16,2-4-5 0,2 3 15 0,0-5-17 0,2 5 9 15,-2-5-25-15,8 1-10 16,-3-1-3-16,-5 0-22 0,18-2-11 0,-4-1-26 16,0 1-30-16,4-4-21 0,0 0-25 0,0 0-19 15,6-4-22-15,-4 1-8 0,2-1 10 16,-3 0 16-16,1-1 7 0,-7 3 23 0,3-1 31 16,-6 2 36-16,0 1 26 0,0 0 25 0,-5 3 33 15,1-1 16 1,-2-1 5-16,-1 4-13 0,-3 1 7 0,3-2 24 0,-3 2-3 0,0 0-18 15,0 0 11-15,0 0-16 0,0 0 3 0,-3 10-11 16,3-10 8-16,-3 8 3 0,6-5-3 16,-3 3-8-16,3-2 3 0,-1-1 6 15,2 0 9-15,0 0-5 0,1 0 5 0,3-1 3 16,-1-2 5-16,2 0 29 0,0-1 30 0,-1-3-1 16,2 3 30-16,-2-4 4 0,0 2 28 15,0-1 0-15,-1 1-4 0,-2-3 17 0,0 1-8 16,-2-1 11-16,-1 1-21 0,0-1-2 0,-2 0-41 15,0-1 4-15,0 3-9 16,-2-1-21-16,-3 1-15 0,4-1-8 0,-5 3-15 0,-2-2-34 16,0 2-17-16,0 1-29 0,1-2-51 15,-1 3-20-15,0-1-47 0,2 1-63 16,-2 1-108-16,-8 2-87 0,10-3-489 0,6 0 113 16,-10 1 49-16,10-1 71 0,0 0 95 0</inkml:trace>
  <inkml:trace contextRef="#ctx0" brushRef="#br0" timeOffset="118085.9">22022 9663 875 0,'11'-1'340'0,"-1"-3"-102"0,2 3-17 0,-1 0-6 16,-3 1-34-16,2 1 80 0,0 0-10 0,2 2 10 15,-4-1-12-15,1 3-32 0,0 0-4 16,-1 2 9-16,-1-1-42 0,1 2-19 0,-2-2-18 16,-3 1-15-16,-1 4-82 0,0-3-23 15,-2 2 18-15,3-2-33 0,-3 2-44 0,1-2-25 0,-1 0 25 16,0 0-23-16,1-1-28 15,0-3-18-15,-1 1-23 0,2 0-62 0,0-1-68 16,1-1-11-16,-3-3-84 0,3 5-402 0,-3-5 18 16,5 1 148-16,-5-1 21 0</inkml:trace>
  <inkml:trace contextRef="#ctx0" brushRef="#br0" timeOffset="118426.55">22289 9635 1146 0,'3'-4'461'0,"3"1"-41"0,-5 0-52 16,6 3-20-16,-7 0-20 0,9-2-3 15,-1 4-53-15,-1-2-45 0,-2 4 17 0,3-2-65 16,-3 3 10-16,2 1 1 0,-4 1-24 16,2 0 11-16,-3-1-24 0,-2 5-30 0,-1 0-18 15,-2 0-5-15,-2 4-90 0,-1-1 13 0,-1 0-3 16,1 2-2-16,0-1-2 0,0-4-3 0,0 1 102 15,2-1-38-15,1-2-13 0,-2 3 20 16,4-5-30-16,-3 1-16 0,4 0 21 16,-3-5-18-16,3 3 23 0,0 1-21 0,0-4-32 15,3 0 7-15,1-3-31 0,-1 4-15 0,-3-4-31 16,10 0-10-16,-2 0-16 0,2-4-33 0,0 3-53 16,4-3-62-16,-1 1-97 0,-1-2-128 15,4 2-510-15,1-3 82 0,1 1 154 16,0-2-10-16,1 1 69 0,-1 0 89 0</inkml:trace>
  <inkml:trace contextRef="#ctx0" brushRef="#br0" timeOffset="118796.03">22750 9679 1080 0,'0'0'455'0,"3"-6"-22"0,-1 2-57 15,1 2-30-15,3-2-31 0,-2 2-24 16,6-2-14-16,-2 1-52 0,2-1-30 16,1 3-11-16,1-4-46 0,0 3-25 0,0-1-65 0,-2 2-25 15,2-1-104-15,-4 2-122 0,-8 0-204 16,11 0-483-16,-4 0 173 0,-4 2-5 0,2-1 59 15,-2 3 54-15</inkml:trace>
  <inkml:trace contextRef="#ctx0" brushRef="#br0" timeOffset="118997.28">22686 9778 1016 0,'-2'2'332'0,"2"-2"-1"0,0 0-60 0,0 0-20 0,0 0-23 0,15 1-1 0,-15-1 52 0,16-2-28 16,-6 1-43-16,5-2 9 0,1 0-43 16,0 0-48-16,1-2-39 0,1 2-39 0,0-2-37 15,0 0-132-15,-3 2-114 0,-1-1-139 16,0 1-458-16,-1-1 90 0,0-1 43 16,-2 2 149-16</inkml:trace>
  <inkml:trace contextRef="#ctx0" brushRef="#br0" timeOffset="119334.52">22886 9443 1290 0,'0'0'430'0,"10"1"-54"0,-10-1 0 0,13 3-20 0,-3-1-28 16,3 0-16-16,-2 3-38 0,7 1 0 15,-3 1-52-15,3-1-4 0,-3 3-34 16,1 0 1-16,4 1-24 0,-4-1-23 0,-1 5 8 16,-1-3-8-16,-2 6-28 0,-1-2 3 0,-5 1-13 15,0 0-16-15,-1 2 6 0,-5 1-37 16,-3 1-9-16,-5 3 17 0,-4 9-99 0,-3-1-49 15,-3 0-8-15,-3 1-33 0,-5-2-53 16,1 0-32-16,-1-3-184 0,-2-2-591 0,5 0 74 16,-3-2 116-16,3-3 112 0,3-2 59 15,4-5 51-15</inkml:trace>
  <inkml:trace contextRef="#ctx0" brushRef="#br0" timeOffset="120186.79">23540 9616 1087 0,'0'0'374'15,"-8"-2"-74"-15,1 2-16 0,7 0-23 0,-16 4-18 16,9-3-8-16,-1 3-55 0,2-2 1 0,-1 2-30 16,0-2-10-16,-1 5-23 0,5-3 12 15,-2-2-27-15,2 4-8 0,1 0-6 16,2-1-12-16,2 0-26 0,1 1 41 0,3 1-30 0,-2-1-19 15,6 2 11-15,-2-1-5 16,0-1-14-16,3 2 1 0,-1 2 23 0,-1-2-15 16,0 1 22-16,-2 0-12 0,1-3-3 0,-3 2 82 15,3 3-2-15,-5-1-6 0,-1-2-15 32,-2-1-2-32,-2 4-29 0,-4-2-66 0,1 2 5 0,-3 0-3 0,-2 0-5 0,-1-1 8 0,-1 0-28 15,-2-1-26-15,-3 0-30 16,2 0-37-16,-1-3-12 0,-1 0-44 0,3 0-86 0,0-4-178 15,0 3-498-15,1-5 86 0,1 0 91 16,-1 0 45-16,3 0 97 0</inkml:trace>
  <inkml:trace contextRef="#ctx0" brushRef="#br0" timeOffset="120430.37">23463 9432 1156 0,'2'0'461'0,"-2"0"-21"0,0 0-30 16,6 12-36-16,-4-2-34 0,-1 3 1 0,-1 1-44 16,2 4-65-16,-2 3 35 15,0 3-37-15,0 5-35 0,0-1-80 0,-2 9-26 16,1 5 6-16,-1-3-21 0,-1 1-2 0,-1-1-23 0,1-8-6 16,-1 6-38-16,0-8-18 15,-1-2-58-15,2-2-34 0,1-5-77 0,-1 0-79 0,0-7-161 16,1 6-520-16,0-3 123 0,2-3 69 15,0-4 66-15,0 1 65 0</inkml:trace>
  <inkml:trace contextRef="#ctx0" brushRef="#br0" timeOffset="120914.32">23850 9639 1290 0,'0'0'471'0,"0"0"-67"0,0 0 3 0,-1 10-59 0,-3-4-82 0,-1 1-28 16,-2 0-25-16,-1 3-29 0,-1-2 8 16,-3 5-36-1,0 0-28-15,1-2 18 0,-4 3-8 0,-1 2-30 0,1-1 76 0,5-3-38 16,-1 0-21-16,1 0-4 0,0-1-24 0,0-3 16 16,4-1 2-16,1-1-33 0,0 1-31 15,1-1 46-15,1-2-12 0,3-2-29 0,0 3 13 16,0-5 0-16,7 3-18 0,-1-3-12 0,1 2 4 15,2-1 16-15,0-2-13 0,1-2-28 16,6 3 15-16,-1-2-12 0,2 1-11 0,-2-3 13 16,-1 3-10-1,4-1-46-15,-3-1-13 0,1 1-13 0,-1-2-31 0,-1 3-38 16,-2-3-25-16,2 1-52 0,-5-1-189 16,-1 3-374-16,1-4-118 0,-1 1-5 0,-1 0 131 0,-3-2 87 0,1 2 66 15,-2-3 88-15</inkml:trace>
  <inkml:trace contextRef="#ctx0" brushRef="#br0" timeOffset="121124.3">23905 9607 1023 0,'-7'5'428'0,"3"0"-31"0,1 0-36 0,-2 3 2 0,1 1-46 16,-2 3 29-16,3 4-77 0,-4-1-31 0,2 3-85 15,-1 5-7-15,1-1-23 0,-2 2-15 16,-1-1-24-16,3 1 24 0,-2-3-26 16,0 2-26-16,0-2-20 0,3-2-31 0,-2-1 2 15,1-1-63-15,2-3-51 0,0-1-52 0,-1 0-59 16,3-3-155-16,-1-1-380 0,2-3-51 16,0 0 141-16,0-2 59 0,2-1 51 0</inkml:trace>
  <inkml:trace contextRef="#ctx0" brushRef="#br0" timeOffset="122061.82">24083 9706 982 0,'0'-6'410'0,"0"6"-18"0,1-5-67 16,-1 5-3-16,0 0-40 0,0 0 27 15,0 0-70-15,0 0-19 0,0 0-31 16,-10 15-79-16,9-9-2 0,-4 1-29 0,3 1-5 0,-1 2-7 15,1 3-16-15,-2-1 0 0,0 0 11 16,1-2 50-16,2 2-2 0,-3 0-12 16,4-1-19-16,-2-3 3 0,2 3-23 0,0-3-13 15,2-1 0-15,0 3 0 0,1-4 18 0,0-1-38 16,1-1 4-16,2 1 6 0,-3-1-13 0,4-4 10 16,-2 1-17-16,3-1-1 0,0-1 6 15,0-3 2-15,2 3 5 0,-3-3 38 16,1-2-20-16,0-1 26 0,2 1 0 15,-5-1-6-15,3 1-4 0,-2-1 2 0,-2-2-3 0,2 1 13 16,-4 1-10-16,0-1 23 0,1 0-23 16,-6-1-2-1,3 1-24-15,-2 1 1 0,0-2-1 0,1 1 11 0,-6 2-31 0,4 1 10 0,-2-2-67 16,-3 1 3-16,3 1-7 0,0 2-31 16,-2-2-11-16,-1 4-17 0,0-4-39 0,3 5-61 15,-2 0-85-15,0 0-104 0,1 0-582 0,6 0 108 16,-14 0 20-16,10 0 177 15,4 0 79-15,-8 4 70 0</inkml:trace>
  <inkml:trace contextRef="#ctx0" brushRef="#br0" timeOffset="122440.37">24257 9670 1290 0,'0'0'376'0,"-2"9"-28"16,0-6-2-16,-1 4-75 0,3 1-110 0,-3 1-7 16,-1-2-16-16,1 4 5 0,2 1-28 15,-3-1-20-15,2-1-8 0,0 2 8 0,0 0-3 0,0-2 39 16,2-1 4-16,2-1 9 0,0 1-50 16,0-1-2-16,0-2-2 0,3 0-8 15,-2 1 5-15,4-3-15 0,0-2 2 0,1 2 28 16,1-3-17-16,0 0 7 0,0-1 23 0,1-2 13 15,0-2 15-15,1 4-15 0,-2-5-7 16,-1 1 14-16,2-1 6 0,-3-2 10 31,0-2-10-31,-3 1-16 0,2 1-7 0,-4-1 8 0,0-1-37 0,2 0-7 0,-4-1-5 0,0 3-26 16,-1-1-15-16,-2-1 18 16,1 1-34-16,-2 3-53 0,-2-1-16 0,0 3 1 0,-1-1-57 15,1-1-3-15,-1 2-22 0,-2 2-52 16,1-3-49-16,-1 4-204 0,1 0-640 15,0 0 120-15,1 0 85 0,-1 0 123 0,8 0 89 0,-15 0 61 16,10 0 50-16</inkml:trace>
  <inkml:trace contextRef="#ctx0" brushRef="#br0" timeOffset="122913.78">24557 9451 921 0,'-4'6'369'0,"1"6"-21"0,-4-1-28 16,3 1-54-16,-3 3-18 0,0 0-17 0,-1 0-14 15,0 2-33-15,3-2-10 0,-3 3-28 0,3-4-20 16,-2 4-8-16,-1-6-6 15,5 1-48-15,-2 1 10 0,2-3 24 0,-2 1-32 0,3-6 21 16,1 2 10-16,-1 1 24 0,0-3-85 16,4-2-11-16,0 1 32 0,-2-2 1 0,3-1 9 15,-3-2 48-15,8 1-30 0,-8-1-6 16,13-1-23-16,-8 0 42 0,3-3 7 0,0 4-6 16,2-2-22-16,-3-1 28 0,1 2-20 15,0 1 2-15,2-2-6 0,-5 1-24 0,3 1 7 16,0 0 7-16,-1 1-19 0,-2 1 12 15,0-1-16-15,0 3 6 0,-1-3 23 0,-2 4-6 16,2-3 4-16,-4 4-27 0,0-1 83 16,0-1-34-16,-2 0 16 0,-2 2-11 0,-2 2-25 0,-2-1-8 15,2 0 28-15,-6 0-30 0,2 1-31 16,0-3-6-16,-1 1-76 0,-1 1-25 16,2-1-29-16,1-2-41 0,-1-2-23 0,0 2-64 15,4-1-38-15,0-4-218 0,0 3-580 16,1-2 122-16,5 0 64 0,0 0 120 0,0 0 62 15,0 0 69-15,-5-7 74 0</inkml:trace>
  <inkml:trace contextRef="#ctx0" brushRef="#br0" timeOffset="123276.39">24671 9619 1192 0,'0'0'415'16,"0"0"-113"-16,4 6 5 0,-3-1-33 15,-1 0-26-15,0 1-30 0,-1 1-8 0,0-1 13 16,0 2-52-16,-1-1-20 0,-1 3-5 16,3-2-23-16,-2-1 12 0,1 2-19 0,0-1-4 15,0-1 9-15,-2-1-22 0,3 2-4 0,0-3 77 16,0 1-6-16,0-4-2 0,0 4 28 16,0-6-28-16,3 3 12 0,0-1-14 0,-3-2-27 15,8 0 6-15,-8 0-8 0,12-2-18 0,-4-1 6 16,2 2-9-16,0-1 8 0,0-1-9 15,-1 2-104 1,1 1 6-16,0 0 46 0,1 1-54 0,-2-1 33 0,0 2-22 0,0 0 2 0,-1 0 5 16,1 1 2-16,-1-1 3 0,-2 2-40 15,1-2-40-15,-1 3-14 0,2-3-54 16,-2 2-29-16,-2-2-43 0,1 1-20 0,2 0-29 31,-4-3-43-31,3 4-167 0,-2-3-217 0,2 1-291 0,-6-2 104 0,10 0 41 0,-6 0 92 16,-4 0 77-16,8 1 84 0</inkml:trace>
  <inkml:trace contextRef="#ctx0" brushRef="#br0" timeOffset="125829.92">24005 9600 1215 0,'-1'-6'346'0,"1"6"-13"0,0-7-47 0,2 5-2 16,-1-1-10-16,4 0-43 0,-1-1-19 16,-1 3-4-16,5 0-32 15,0-3-12-15,0 4 77 0,-1 0-32 0,4 0-4 0,0 0-36 0,0 3-8 16,0-1-12-16,-3 0-3 0,2 3-21 16,1 1-12-16,-5-1 10 0,2 2 5 0,-2 0-26 15,-2-1-28-15,-1 1 11 0,0 3-6 16,-3-1-10-16,0 0-23 0,-3-1 6 0,0 0-68 15,-4 3 16-15,2-3-18 0,-3 3 0 16,0-4 11-16,1 3-14 0,-1-1 31 0,0-2-12 16,0 2-6-16,1-2-10 0,0-1 13 15,1 0 8-15,2-1-3 0,-2-2 10 0,3 3-15 16,-2-4-16-16,5 3 21 0,-3-5-5 0,3 0 18 16,2 6-31-16,-2-6 18 0,4 1 5 15,1 2-7-15,-5-3-1 0,13 3 18 0,-8-3-15 16,3 0-7-16,0 3 12 0,-1-1-13 15,1-1 6-15,2 3 9 0,0-1-12 16,2 3 10-16,-2-1-15 0,-1 1 18 0,-1 1-8 0,2-1 2 16,0 0 6-16,-4 4 10 0,1-1 0 15,-2-2 0-15,-2-1 10 0,-3 3 26 0,0 0-11 16,-1-2-17-16,-1 0 20 0,-4 4-15 16,-1-1 15-16,-2-1-18 0,-1 2-5 0,-4-2-33 15,1 2-24-15,-1 0-55 0,-1-2-16 16,-2 1-67-16,4-2-32 0,-1 2-32 0,0-1-153 15,-4-3-151-15,9 0-420 0,-3 0 136 0,2-2 23 16,3 0 130-16,-1 2 80 16,0-3 132-16</inkml:trace>
  <inkml:trace contextRef="#ctx0" brushRef="#br0" timeOffset="140982.13">19807 10968 1192 0,'0'-3'464'0,"-2"-1"-14"0,2 4-120 0,0-5-20 0,0 5-34 15,-1-3-7-15,1 3-38 0,0 0-14 16,0 0-40-16,0 0 2 0,-5 13-18 0,5-4-25 16,0 1-6-16,-2 3-12 0,2 1-3 15,-1 3-12-15,-1 1-26 0,-3 2 2 16,4 0-5-16,-3-1-56 0,2 3-38 0,-2-2-34 15,0 0-20-15,1-2-34 0,-2 1-40 0,3-1-37 16,-4-3-99-16,3 3-72 0,-6-5-71 0,6-1-400 16,0-1 52-16,1-3 101 0,-1-1 34 15</inkml:trace>
  <inkml:trace contextRef="#ctx0" brushRef="#br0" timeOffset="141269.87">19712 10999 1208 0,'9'-13'399'0,"0"2"-33"0,1 3-8 15,4 1-27-15,-2 1-6 0,1 1-41 0,5 2-5 16,0 0-46-16,0 4-8 0,2 2-105 0,-2 3 1 16,0 2-24-16,-2 4-2 0,0 3 12 15,-7 0 3-15,-2 1-23 0,-4 2 10 0,0 5-17 16,-6-3 7-16,0 6-8 0,-4 9 8 0,-8-2-38 15,2-1 15-15,-5-1-10 0,0 0-1 16,-2-5-19-16,1 2 14 0,-3-4-4 16,6-5-14-16,-2-5-7 0,3 1-28 0,2-5-18 15,0-2-28-15,4-1-28 0,-3-1-49 16,5-2-28-16,1-3-64 0,-1-1-21 0,7 0-59 16,-7-4-107-16,-1 3 8 0,8-5-423 0,0 6 60 15,4-7 60-15,0 1 47 0,2-1 123 16</inkml:trace>
  <inkml:trace contextRef="#ctx0" brushRef="#br0" timeOffset="141996.34">20015 11285 796 0,'8'-7'360'0,"-1"0"-24"0,-2 2-19 16,-2-1 52-16,2 0-26 0,-2 1-16 0,-1 0-40 15,1-1-31-15,0 3 13 0,-2-2-23 0,0 0-24 16,-1 3-9-16,2-2-6 0,-2 4-2 16,0 0-34-16,-2-6-50 0,2 6 12 15,0 0-8-15,0 0-30 0,-10 11 15 0,7-5-26 0,0 2 16 16,-2 3-49-16,3 0 1 0,-1-2 7 16,-2 3-21-16,3 1-23 0,2-4-20 15,0 0 3-15,2 2-16 0,2-3-13 0,-3 1 31 16,4-3-21-16,0 1-14 0,1-4 12 0,1 2 2 15,1-3 21-15,-3-2-15 0,3 0 35 16,0-3-10-16,2-1 24 0,-3-2-62 0,3-1-16 16,2-5 34-16,-3 0 2 0,-1-2 21 15,0-3-8-15,4-2 5 0,-4-1 24 0,0-4-32 16,2-7 26 0,-2 5 82-16,-3 1-10 0,0 1-5 0,2 3 41 0,-3 3-49 0,0 1 0 0,0 4 15 15,-2 0-10 1,2 2-12-16,-4 3 7 0,3 2-23 0,-3 3 0 0,0 3 10 15,0 0-10-15,0 0-28 0,0 0 7 0,-7 14 6 0,5-3-13 16,-2 2 10-16,0 3-59 16,-2 3-10-16,4-2-8 0,-1 2-20 0,0 0 23 15,3-3-36-15,3-1-13 0,-1 2-8 0,1-2 4 16,3-2-9-16,-2 2 21 0,2-6-5 16,1 3 15-16,-4-5 8 0,4-1 2 0,-1-1 5 15,-1-3 24-15,2 0-11 0,-1-2 18 16,-6 0-4-16,12-5 14 0,-4-2 3 0,0-1-8 15,-1-3 29 1,1-4 9-16,0 1-6 0,0-3 22 0,-1-3-28 0,1 1 17 0,-3 2 19 0,0 0 5 16,0 3 23-16,-2 3 7 0,-1 0-9 15,1 1-11-15,0 4-20 0,-3 2-6 0,2 0 1 16,-2 4-21-16,0 0 2 0,0 0 14 16,0 0 9-16,-5 21-9 0,0-10-9 0,3 2-7 15,-1 0-20-15,-1 4 15 0,4-3-21 16,-4 2-40-16,4-1-19 0,2 1-4 0,-2-1-44 15,3-2-31-15,0 2-38 0,0-1-54 16,1-2-82-16,4 0-159 0,2-2-560 0,3-1 59 16,3-3 136-16,1-4 48 0,-1-2 89 0,7 0 57 15,-2-5 59-15</inkml:trace>
  <inkml:trace contextRef="#ctx0" brushRef="#br0" timeOffset="142586.15">21143 11060 1195 0,'4'-4'471'0,"0"1"-33"0,3 0-49 0,1 1-51 0,0 1-11 16,2 1-27-16,-2 0-32 0,-1 3-24 0,1-3-47 16,0 4 20-16,-1-2-38 0,-4 5-5 0,-1-1-7 15,-2 0-44-15,0 4 5 0,-4 1-5 0,-2-1-24 16,-4 5 9-16,0-1-44 0,-3 1 10 15,0 3-5-15,-2-4-20 0,-1 2-6 0,3-4 6 16,1-3-3-16,2 2-15 0,1-4 7 16,1 0 1-16,0 0 45 0,2-2-46 0,-2 1 14 15,5-2-91-15,-2-1 16 0,2 0 8 16,1 0 12-16,2-3-12 0,1 5 2 0,-1-5 23 16,4 1-25-16,4 3 7 0,0-4 29 15,2 1-19-15,0-1-4 0,3 0-3 0,1 1-23 0,0-2-49 16,2 0-20-16,-3 0-55 0,4-2-52 15,-4 3-75-15,2-3-190 0,-1 0-447 16,0 3 61-16,-3-6 64 0,4 4 72 0,-4-3 43 16,1 0 82-16</inkml:trace>
  <inkml:trace contextRef="#ctx0" brushRef="#br0" timeOffset="142930.5">21464 11041 1228 0,'-6'-4'415'16,"6"4"-29"-16,0 0-53 0,-11 7-21 0,4-1-30 16,2-1-24-16,0 2-19 0,2 0-17 0,-1 4-14 15,-2 0-14-15,4-1-43 0,-1 4-13 16,0-3-2-16,3 1-16 0,0-1-12 0,0 1-3 16,3-1 2-16,-1-1-40 0,1 1 20 15,3-1-28-15,1-3 15 0,0 1-20 0,1-3 22 16,3-3-1-16,-1 0-6 0,0-1-69 15,0-2 25-15,0-2 37 0,0 1 22 0,-1-3 29 16,-1 0-3-16,-1-1-10 0,-2 0 7 0,0-1-9 16,-2 0-9-16,1-1 29 0,-4-2 5 0,0 2-8 15,0-2 8-15,-2 2-11 0,0 0-12 16,-2-1 0-16,0 3-51 0,-1-1-13 16,-2 1-36-16,1 1-64 0,1 2-16 0,-1-1-4 0,-1 3-57 15,0-1-7-15,3 2-62 16,4 0-46-16,-14 0-154 0,6 3-222 0,3-1-348 15,-2 1 58-15,1-1 116 0,1 1 74 0,2-1 61 16,0 1 67-16</inkml:trace>
  <inkml:trace contextRef="#ctx0" brushRef="#br0" timeOffset="143257.91">21654 11012 1034 0,'12'-1'396'0,"0"-1"-9"16,-4 2-31-16,0 2-52 0,-3-1 24 15,2 0-21-15,-6 4-51 0,1-1-20 0,-2 0-6 16,0 2-33-16,-2 3-10 0,1 0-36 16,-6 1 23-16,2-1-28 0,0 2-21 0,0 2-15 15,-3-3-20-15,3-1-8 0,-2 1-21 16,4-1-2-16,-2 0 18 0,0-2-34 0,2-1-7 16,3 0 13-16,-1-3 51 0,-1 3-34 15,2-2-15-15,0-4 13 0,2 6 3 0,-1-5-21 16,4 1-2-16,-5-2 14 0,8 1-14 0,-3 1-3 15,3-2-5-15,-1 0 18 0,1-2 7 16,0 1-30-16,2 1-24 0,0 0-4 16,0-2-34-16,-2 2 16 0,4 0-98 0,-6-1-38 15,4-1-64-15,-2 2-166 0,-3 0-656 0,5-2 134 16,-4 2 55-16,-1-1 175 0,-5 1 8 16,10-2 66-16,-4 0 74 0</inkml:trace>
  <inkml:trace contextRef="#ctx0" brushRef="#br0" timeOffset="143661.79">22019 10985 1190 0,'12'1'422'0,"-10"1"13"16,2 2-76-16,-1-2-27 15,-3 3-27-15,0 1-29 0,0 0-43 0,-1 1 8 16,-3-1-31-16,0 2-3 0,-2 2-33 0,0-2-36 16,2 2 29-16,1-1-52 0,-2-3-10 15,2 3-3-15,-2-2-2 0,2 0-28 0,1-1 10 16,0 0-28-16,2 0 10 0,0-1-3 0,0-1-5 16,0 2 3-16,2-1 18 15,1 1-13-15,2 0-18 0,-1-1 13 0,-1 1 13 0,3-2-16 16,-2 2 21-16,2 1 10 0,-1-2-98 15,-2 0 22-15,1 1-9 0,-1-1-2 0,-3 1 41 16,5 1-2-16,-3-2-4 0,-2 2 11 16,-2-2-2-16,0 2-16 15,-1 0 3-15,0 1-6 0,-1-1 4 0,-4-1-22 0,0 3-40 16,0-1-16-16,-2-1-48 0,0 0 10 0,3-2-69 16,-3 0-59-16,1-1-56 0,2 0-167 15,-1-2-581-15,5 3 118 0,-2-5 59 16,5 0 138-16,-5 1 95 0,5-1 38 0</inkml:trace>
  <inkml:trace contextRef="#ctx0" brushRef="#br0" timeOffset="143893.81">22240 11069 1484 0,'0'0'371'0,"8"-4"-5"0,-3 2-56 16,3-1-16-16,-1 2-25 0,1-2-26 15,2 1-25-15,3-2-13 0,0 4-21 16,0-4-23-16,5 2-46 0,-3 1-25 0,1-1-46 0,4-2-88 16,-5 3-81-16,3-6-252 0,-5 7-485 15,0 0 48-15,-1 0 125 0,-3 0 72 16,-2 2 67-16</inkml:trace>
  <inkml:trace contextRef="#ctx0" brushRef="#br0" timeOffset="144124.03">22256 11131 1505 0,'0'0'401'0,"0"0"-37"0,0 0-16 16,0 0-31-16,0 0-20 0,0 0-18 0,0 0-48 15,25 0-14-15,-12-1-14 0,0 1-35 16,2-1-11-16,0 0 4 0,1-1-8 16,2 1-40-16,-3 1-21 0,-2 0-84 0,3 0-34 15,-1-3-73-15,-5 3-78 0,3-3-100 0,-8 3-145 16,10-1-479-16,-4 1 146 0,3-3 18 16,-3-1 53-16,2-1 70 15</inkml:trace>
  <inkml:trace contextRef="#ctx0" brushRef="#br0" timeOffset="144522.09">22358 10897 1013 0,'0'0'346'0,"0"0"-26"0,0 0 64 16,22 7-16-16,-13-5-63 0,6-2-19 0,-2 4-17 0,3-1-33 15,-1 2-14-15,3 0-7 0,0-1-2 16,-3 1-16-16,3 0-31 0,-2 1-17 16,-1 0-52-16,-2 1 18 0,-1-2-33 0,-1 2 10 15,-3 0 24-15,2-1-1 0,-5 4-18 0,3-1-2 16,-4 1 17-16,-1-1-7 0,-3 1-13 15,0 1-20-15,-3 2-16 0,-1-3 29 0,1 2-19 16,-3 4-27-16,-1-1 17 0,-3-2-10 16,2 2 0-16,1-1-18 0,-3-2-15 0,-1 2-56 15,3-3-19-15,0-2-35 0,1 2-46 16,0-3-34-16,1 1-28 0,1-3-81 0,0-2-190 16,2 1-510-16,1-2 164 0,2-3 19 15,-3 3 104-15,3-3 77 0,0 0 64 0</inkml:trace>
  <inkml:trace contextRef="#ctx0" brushRef="#br0" timeOffset="144889.24">23247 10818 1041 0,'6'-6'441'0,"-1"1"-42"0,2 2-43 0,1 0 56 16,0 3-10-16,3 0-44 0,-4 1 5 0,3 3-43 15,0 2-102-15,1 1-18 0,-4 3 4 16,1 1-12-16,0 2-5 0,-3 2-43 0,0 1-6 15,-4 0 8-15,-1 1-34 0,-3 3 1 0,-1 2-23 16,-5 0-19-16,0 10-30 0,-5 1-38 16,1-4-70-16,0 2-17 0,-2-2-60 0,-1-2-48 15,5-2-97-15,-1-2-149 0,2-3-555 16,0-1 182-16,0 0-11 0,4-3 152 0,1-3 89 16,0-1 5-16</inkml:trace>
  <inkml:trace contextRef="#ctx0" brushRef="#br0" timeOffset="145025.93">23240 11394 1011 0,'7'0'435'0,"-7"0"36"0,0 0 2 0,0 0-71 0,10 0-13 0,-10 0-64 0,0 0-5 15,0 0-25-15,6-1-70 0,-6 1-56 0,0 0-49 16,0 0-112-16,3-3-123 0,-3 3-295 16,0 0-522-16,0 0 170 0,0 0 19 15,0 0 55-15,0 0 71 0</inkml:trace>
  <inkml:trace contextRef="#ctx0" brushRef="#br0" timeOffset="145806.91">19630 12153 1213 0,'0'0'463'0,"0"0"-48"0,-5 15-47 16,3-5-12-16,0 2-33 0,-2 1-21 15,0 6-59-15,-2 0-2 0,1 4-24 16,0 0-30-16,0 1-21 0,1 0 6 0,-2-1-34 16,2-3-61-16,0-2-13 0,-2 1-16 15,4-2-40-15,0-2-21 0,0-1-38 0,-2-2-28 16,4 0-52-16,0-3-61 0,-2 0-89 0,4-5-121 15,-2 1-474-15,0 1 114 16,4-3 30-16,-2-1 79 0,-2-2 56 0</inkml:trace>
  <inkml:trace contextRef="#ctx0" brushRef="#br0" timeOffset="146410.03">19564 12221 1284 0,'2'-14'377'0,"3"-1"-21"16,0 3-16-16,3 0-23 0,0-2-12 16,-1 3-31-16,6-2-13 0,-4 0-23 0,0 2-3 15,-1 4-12-15,2 1-15 0,0-1-22 0,0 4 4 16,-2 1-44-16,2 3-11 0,0 3 19 15,-2 3-21-15,3 3-25 0,-3 3 2 0,2 5-18 16,-3 3-3-16,1 4-27 0,0 9-6 0,-2-4 16 16,-2-2-21-16,-2-2 13 15,4 0-41-15,-2-1-33 0,0 0-11 0,-2 0-30 0,2-5-41 16,-3 0-23-16,2-2-47 0,-1-3-24 16,0-1-24-16,-1-1-67 0,1-1-145 15,-2-5-108-15,3 2-402 0,-1-4 134 0,-1 0 38 16,1-1 86-16,-2-4 68 0</inkml:trace>
  <inkml:trace contextRef="#ctx0" brushRef="#br0" timeOffset="147467.66">19499 12452 1008 0,'-5'-3'412'0,"0"2"59"0,0-1-20 0,5 2-65 0,-5-2-40 0,5 2 7 0,0 0-64 0,0 0 3 15,0 0-16-15,0 0-45 0,13-4-11 16,-6 3-26-16,1-2-12 0,7 1-33 16,-4-2-39-16,4 1-64 0,1 0-54 0,-1 0-41 15,5-2-38-15,-2 0-61 0,0 0-36 16,2 1-42-16,-7-1-17 0,7 0-31 0,-6-2 41 16,1 1 34-16,1 0 25 0,-3-2 28 0,-1 3 56 15,-2 0 77-15,1-1 44 0,-1 1 43 16,-3 0 29-16,-1 2 40 0,1-2-2 0,-3 3 7 15,3-1-9-15,-4 1 1 0,3 0-4 16,-6 2 15-16,0 0-8 0,8 3-25 0,-5 1 18 16,0-2-8-16,-1 6-23 0,-1-2-3 0,4 2-12 15,-3 0 4-15,-1 0-14 0,1 2 4 16,0-1-20-16,1 0-7 0,-1 0-19 16,-1 0 16-16,1 0 2 0,0 1-10 15,1-3-13-15,-3 1-22 0,3-1 9 0,-1 0 8 0,1-2 16 16,-3 0-24-16,3 1 34 0,-1-4 30 15,-2 3-2-15,0-5 3 0,4 2-16 16,-4-2 3-16,0 0 10 0,0 0-26 0,0 0 26 0,11-8-18 16,-5 4-21-16,-2-1 29 0,0 0-8 15,3-1-21-15,-2 0 9 0,0 1-22 0,2 0 11 16,-1 2-15-16,-1 2 28 0,0-2-19 16,0 2-22-16,-5 1 18 15,10 0 2-15,-10 0 16 0,10 4-34 0,-6-1 1 0,0 0-9 16,-1 0-7-16,0 1 36 0,1-1-26 0,-1 1 29 15,0-1 15-15,-1 1-21 0,-1 0 0 16,-1-4 0-16,4 4-28 0,0-3-61 16,-2 2 41-16,-2-3-3 0,5 2 41 0,-5-2 5 0,0 0 18 15,5 0 23-15,-5 0 6 0,0 0-17 16,10-4-17-16,-5 1-5 0,0 0 3 0,-2 0 9 16,4 2-17-16,-4-1 12 0,3 0-40 0,-6 2 12 15,7-1 14-15,-7 1-29 0,11 1 0 0,-11-1 0 16,7 3 0-16,-2-2 0 15,-2 3 0-15,-1-1 0 0,1 0 0 0,0 0 0 16,1-2 0-16,-1 4-159 0,0-2-89 0,-1-1-26 16,4-1-28-16,-6-1-26 0,7 2-105 15,1-4-38-15,2 0 23 0,0-1-51 16,0-3 46-16,4 1 54 0,-2-3 92 0,3-1 125 16,-1-1 92-16,0-2 62 0,0 0 69 0,-2 1 41 15,-1-1 10-15,-1 0 36 0,0 1 16 0,-2 1 25 16,-1 2-26-16,-3 2 49 0,0 0-36 0,0 1-5 15,-3 2 18-15,-1 3-5 0,0 0-52 0,0 0 32 16,0 0-27-16,-17 4 9 16,11 1-70-16,-1 2 6 0,-1 0-26 0,2 0 4 15,-1 1 1-15,-3 1-5 0,4-1-10 0,-1 1 12 16,-1-1-28-16,5 0 1 0,-1 1 27 16,1-3-28-16,0 1-7 0,3-2-8 0,0 1 5 15,3-2 48-15,-3-1-37 0,5-1 1 16,-5-2-9-16,8 0-13 0,-8 0 20 0,13-2 0 15,-5-2-7-15,-1 1 20 0,1-3-10 0,1-1-3 16,-3 2 36-16,2-1 10 0,-3 0-17 0,1 1 30 16,1 0 31-16,-2 2-42 15,-3-2 35-15,1 4-11 0,0-2-21 0,-3 3 0 16,0 0-7-16,0 0 23 0,0 0-23 0,7 7-13 16,-7-4-36-16,0 2 33 0,0 0 8 0,0-2 0 0,0 4-18 15,0-2-15-15,0 1-31 16,3 0 8-16,-3-1-31 0,2 0-38 0,0-1-41 15,-1 1-72-15,2-1 0 0,-1-1-29 16,1-1-37-16,-3-2-72 0,10 2-82 0,-2-2-175 16,-1-2-401-16,1 0 118 0,0-1 64 0,2-1 99 15,-2 1 78-15,2-2 78 0</inkml:trace>
  <inkml:trace contextRef="#ctx0" brushRef="#br0" timeOffset="147751.91">20564 12256 918 0,'2'-3'390'0,"0"0"73"16,-2 3-49-16,6-4-55 15,-6 4-11-15,7-2-43 0,-7 2-14 0,0 0-4 16,11 5-26-16,-7-2-18 0,2 0-20 0,-3 2-18 16,1 0 17-16,0 2-22 0,-2 1-44 15,0 1-10-15,2 1-10 0,-3 0 23 0,-1 2-42 16,-1-2-27-16,-3 4 22 0,2 0-40 0,0 0-16 15,-2-2-9-15,0 2-42 16,3-2-16-16,-1 1-17 0,2-3-56 0,-3-1-3 0,3-2-44 16,0 1-43-16,0-1-36 15,0-1-43-15,0-2-139 0,3 0-563 0,-3-4 85 16,0 5 72-16,0-5 124 0,3 2 91 16,-3-2 20-16</inkml:trace>
  <inkml:trace contextRef="#ctx0" brushRef="#br0" timeOffset="148518.51">20523 12449 959 0,'-6'-1'333'0,"6"1"0"0,-10-2-28 0,7 0 4 16,3 2-14-16,-7-1-42 0,7 1-35 15,-5-3 4-15,5 3-27 0,0 0-39 16,4-6 8-16,-1 2-11 0,3 2-4 0,4-2-19 16,0-1-32-16,0-2 7 0,3 0-13 0,3-1 2 15,0-1-35-15,0 0 16 0,1 1-29 16,-3 1 105-16,2-2-49 0,-1 2-7 0,-2 1 10 15,-2 1-6-15,-1-1-35 16,-3 4 21-16,1-1-21 0,0 0 8 0,-2 2 4 0,-6 1-24 16,9 1 14-16,-9-1-2 0,5 5-28 0,-5-2 15 15,3 2-5-15,-3-2-5 0,2 3-2 0,-2-1 7 16,0 0 5-16,3 1-36 16,-3 1 11-1,2-2-16-15,0 1 3 0,-1-1-5 0,2-1 4 0,-1 1-1 0,1 0 19 0,-1-1-12 0,1-1-10 16,0-2 20-16,1 2-20 15,-4-3 25-15,12 1-94 0,-12-1 7 0,9-4 21 0,-4 3-16 16,0-3 36-16,1-1-20 0,-2 0-6 0,2-2 19 16,-1 1-3-1,-2-3 18-15,-1 1 10 0,-2 0 0 0,2 0-18 0,-2-1 6 16,0 3 1-16,-2-2-9 0,0 2 18 0,2 0-21 16,-3 0 13-16,0 1-18 0,0 3-11 15,-2-1-7-15,0 2-23 0,0-2-12 0,5 3-22 16,-11 0-2-16,11 0-48 0,-14 3-11 15,8-2-35-15,-1 1-24 0,2-1-5 16,5-1-81-16,-8 3 7 0,5 0-13 0,3-3 26 16,-5 1 33-16,5-1 26 0,0 0 33 0,0 0 23 15,0 0 54-15,0 0 53 0,0 0 29 0,0 0 56 16,0 0 39-16,23-4 20 16,-20 3 20-16,2 1 8 0,2-1 36 0,-7 1-13 0,11-1 21 15,-11 1-6-15,10 1 3 0,-5 0-8 0,0 2 39 16,1-1-28-16,-4-1-11 0,4 1-5 15,-4 2-20-15,3 0 2 0,-2-1 8 0,-1 1-15 16,0 1 12-16,-1-1-2 0,1 0-15 16,1-1-21-16,1 1 28 15,-4-1-13-15,1 1 14 0,-1-4-9 0,5 6-10 0,-4-4 31 0,-1-2-7 16,2 4 4-16,-2-4 70 0,8 0 9 0,-8 0-35 16,7 0 11-16,-7 0-22 15,11-3 1-15,-4 2-44 16,-2-1 11-16,-5 2-16 0,10 0-3 0,-5-2-2 0,1-1-3 0,-6 3-27 15,10 0 22-15,-5-1-28 0,0 1-36 16,-5 0-53-16,8-4-21 0,-3 4-72 0,2 0-17 16,-1-3-47-16,-1 3-53 0,3-3-70 0,2 1-168 15,0-1-234-15,1-1-419 0,1 0 156 0,4-1 90 16,4 2 63 0,3-3 57-16,6 1 100 0,1 2 112 0</inkml:trace>
  <inkml:trace contextRef="#ctx0" brushRef="#br0" timeOffset="149862.41">21919 12117 1423 0,'0'0'466'0,"0"-6"-62"0,0 6-18 0,4-5-30 0,0 2-20 16,2 1-47-16,0 0-13 0,0 2-17 15,2 0-6-15,0 2-112 0,2 0 5 16,-1 1-16-16,0 1-2 0,-1-1-23 0,1 3-5 16,-2 0-13-16,-3 1-5 0,2 0 0 15,-4 1-8-15,-2 0 3 0,0 3-18 0,-3 0 18 16,-2 1-26-16,-3-1 5 0,-2 3-25 0,0 0 28 16,-5 1 0-16,4-3-34 0,-2 0 9 15,3-2-4-15,-3 2-2 0,3-4 11 0,2-1-19 16,1 0 16-16,2-1 13 15,0-1-31-15,-1 0 15 0,2-1-5 0,2-1 36 0,2 0-28 16,0-3 15-16,1 5-15 0,-1-5 5 0,7 3-8 16,-1-1-5-16,2-1-12 0,3-1-3 15,-1 0 2-15,2-1-30 0,1-1-32 0,3-1 7 16,-2 0-63-16,2 0-9 0,3-2-55 16,0 0-58-16,-1-2-21 0,3 0-23 15,0-3-58-15,1-1-47 0,-3 0-5 0,1 1 64 0,0 1 65 16,-4-3 6-16,1 3 91 15,-4 1 58-15,-1 0 77 0,-3 2 18 0,-2 0 59 0,-1 1-8 16,-1-2 23-16,1 5-12 0,-4-1 17 0,0 0-5 16,-2 3 13-16,0 0 1 15,0 0-9-15,0 0-5 16,0 0 21-16,0 0-6 0,0 0-9 0,-15 10 2 0,10-3 0 0,0-2-29 0,2 0-7 16,0 3 16-16,1-2-6 15,0 2-17-15,1-2-6 0,0 2 0 0,1-2 0 16,0 0-15-16,2 1 33 0,0-1-7 0,3-1 5 15,-2-1-14-15,2 0 50 0,2-1-39 16,-1-2 33-16,1 0 8 0,-1 0 29 0,-6-1 6 16,12-2 6-16,-6-1-28 0,0 0 21 15,-2-1 7-15,0 0 7 0,-3-2-22 0,1 2-13 16,2-3-13-16,-3 2-16 0,-1-1 1 0,0 0-16 16,-1 0-7-16,-3 1 12 0,2 0-35 0,1 1-29 15,-3-1-35-15,0 0-18 16,-2 2-42-16,2-1-14 0,0 2-16 0,0 0-15 0,-2-1-16 15,6 3-18-15,-8-3-25 0,5 1 25 16,3 2-15-16,-7-2 13 0,7 2-3 0,-1-4 54 16,1 4 13-16,-2-4 38 0,2 4 11 15,3-5 33-15,-1 1 12 0,4 0 19 0,-2 0 17 16,4-1 31-16,0 3-18 0,0-2 16 16,4 1 12-16,-1-1 0 0,1 2-15 15,1-2 28-15,2 3-25 0,-4 0 25 0,4 1-18 0,-4 1 3 16,3 0 18-16,-5-1 7 0,1 4-5 15,0-3-10-15,-2 2-15 16,-3 2 5-16,0 0 15 0,-3-1-10 0,-2 2 7 0,-2 1 11 0,-1 1-21 16,1 0-10-16,-3 2 0 0,1-1 3 15,-2 1-23-15,0 2 25 0,1-2-3 16,0 0-1-16,0-1-22 0,0-1 8 0,2 0-2 16,-2-1-10-16,5-1 7 0,-3 1 28 0,1-1-33 15,2 0 10-15,0-3 3 0,2 2 10 16,1-1 0-16,0-3-12 0,2 4-6 15,2-4-26-15,-2 0 6 0,6-1-41 0,-2-1-21 0,0 0-20 16,4 1-26-16,0-5-33 0,-1 4-41 16,1-3-31-16,2 0-69 31,-6 1-125-31,3 0-402 0,0-1-95 0,-3-1 46 0,0 1 164 0,0-2 36 0,-2 0 41 0,1 1 63 16</inkml:trace>
  <inkml:trace contextRef="#ctx0" brushRef="#br0" timeOffset="150261.76">22698 12111 993 0,'1'-5'432'0,"4"5"16"0,-2-2-41 0,-3 2-33 0,10-1-36 15,-10 1-123-15,8 1 7 0,-2 1-12 0,-6-2-28 16,8 4-5-16,-7-2-3 0,-1 2-28 0,3 0 18 16,-3 0-29-16,-3 0 9 0,2 2-32 15,-3-1-25 1,2 0 8-16,0 0-34 0,-2-1 21 0,2 0-18 0,0 1 0 0,-2-1-2 15,4-2-19-15,0-2 13 0,-2 8-17 16,4-4 9-16,-2 0-17 0,0-4 5 0,4 6-3 16,-2-2 6-16,0 0-1 0,2-2 26 0,-2 3 15 15,0 0-9-15,2-1-1 0,-3 0 61 16,2 1-7-16,-1 1 20 0,0 0-43 16,-2 0 10-16,1-1-41 0,-2 2 31 15,1-1 21-15,-4 1-37 0,1 1-7 0,0-2-8 16,-1 1-28-16,-2 0 20 0,1 1-17 0,-3-1-19 15,1 0-45-15,-1-2-36 0,3 1-39 0,-3-2-23 16,3 1-74-16,-2 0-61 0,1-2-52 0,2-5-227 16,1 5-536-16,3-3 124 0,-5 3 43 15,5-3 146-15,0 0 71 0,0 0 62 0,10-13 72 16</inkml:trace>
  <inkml:trace contextRef="#ctx0" brushRef="#br0" timeOffset="150392.68">23186 12076 1118 0,'16'0'440'0,"-1"0"-30"15,-1 0-52-15,-2-2-33 0,-2 2-20 0,1 0-67 16,-1 0-3-16,-3 0-81 0,3 0-64 16,-2 0-60-16,-2 0-86 0,-6 0-174 15,10 2-597-15,-10 1 90 0,0-3 51 0,2 4 66 16</inkml:trace>
  <inkml:trace contextRef="#ctx0" brushRef="#br0" timeOffset="150647.94">23102 12171 1149 0,'-3'2'555'0,"3"-2"-27"0,-7 0-52 0,7 0-5 16,0 0-49-16,0 0-30 0,0 0-134 0,0 0 13 15,0 0 3-15,0 0-38 0,0 0-11 0,17 4-38 16,-7-4-8-16,2-1-23 0,0 1 8 0,2-2-23 15,1 1-23-15,-1-1-3 16,2 0-54-16,-1 1-35 0,1-2-34 16,-2 0-64-16,2 0-43 0,-3-1-23 0,3 2-56 0,-3-2-68 15,1-1-134-15,-10 2-96 0,8-2-368 0,0 1-41 16,-2-3 118-16,-2 4 74 0,-1-2 77 16,-3 0 58-16</inkml:trace>
  <inkml:trace contextRef="#ctx0" brushRef="#br0" timeOffset="150917.9">23381 12001 1489 0,'0'-5'510'0,"0"5"-42"15,0-6-23-15,0 6-50 0,0-4-4 0,0 4-25 16,7 0-41-16,-7 0 6 0,0 0-78 16,11 1-43-16,-5 1 25 0,-2 0-7 0,2 1-18 15,2 1 100-15,-4 1 10 0,4-1-85 0,-3 2-22 16,0 0-70-16,0 0 3 0,0 0-5 0,-2 3-18 15,-3 0-13-15,0-1 28 0,0 1-46 16,-3 1 0-16,-2 0 0 0,-2 1-15 0,-1 3-31 16,0-2-2-16,-2 0-31 0,0-1-13 15,2 1-3-15,-1-2-76 0,0 1-62 0,1-3-18 16,1 0-82-16,-1 0-30 0,5-2-51 16,-2-1-98-16,3-3-123 0,1 1-504 0,1-3 29 0,0 0 137 15,0 0 72-15,0 0 95 0,14-9 28 16,-9 2 90-16</inkml:trace>
  <inkml:trace contextRef="#ctx0" brushRef="#br0" timeOffset="151259.01">23750 11806 1579 0,'18'-7'630'0,"-2"4"-116"0,-2 1-23 16,-3 2-7-16,3 2-49 0,-4 0-43 0,2 3 5 16,0 2-16-16,-3 0-46 0,1 4 1 0,-2 0-93 15,0 3-18-15,-2 1-28 0,-2-2 6 16,-1 5-27-16,-3-3 3 0,-3 4-20 15,-3 4-59-15,-4-2 10 0,-2 8-41 0,-5 0-33 16,-1-2-54-16,-4 1-51 0,4-2-80 16,-3-1-61-16,8-4-51 0,-2-3-53 0,4 0-86 15,-1-5-140-15,4 1-489 0,-2 2 77 16,3-3 56-16,1-2 156 0,1-1 70 0,0 2 37 16,3-3 70-16</inkml:trace>
  <inkml:trace contextRef="#ctx0" brushRef="#br0" timeOffset="151407.23">23696 12379 1267 0,'0'0'453'0,"-2"4"-18"0,2-4 77 0,0 0-39 0,0 0-40 0,-2 3-13 0,2-3-29 16,0 0-40-16,0 0-49 15,0 0-33-15,0 0-85 0,0 0-74 0,-4 2-136 0,4-2-125 16,0 0-870-16,0 0 102 0,0 0 62 0,0 0 109 16,-7-6 52-16,7 6 82 15,-3-4 74-15</inkml:trace>
  <inkml:trace contextRef="#ctx0" brushRef="#br0" timeOffset="200409.06">19189 199 831 0,'0'-4'356'0,"-2"-1"-31"0,2 5-23 0,2-6-15 0,-4 1-34 16,2 5 1-16,0-4-19 0,0 4-35 16,0 0-16-16,-1-6 1 0,1 6-34 0,0 0 0 0,0 0-21 15,0 0-4-15,0 0-4 0,-2 15-22 16,2-7-5-16,0 2 23 0,0 4-18 15,2-1-36-15,-4 3 23 0,5 3-6 0,-3 2-83 16,2-1-8-16,1 4-3 0,-1 3 8 0,0-2 12 16,-1 2-19-16,4 1-4 0,-2-1 21 15,1 11-5-15,2-2 6 0,2 0 9 16,-2-6-23-16,0 5 6 0,-1-6 2 0,1-2 0 0,1 8 15 16,-2-4 3-16,1 4-18 0,-2-5 2 15,0-3 19-15,0 0-8 0,-2 1-3 0,-1 0 3 16,4 1-13-16,-3-1 2 0,-1 2-4 0,-1-3-8 15,0 3 7-15,0-2 29 16,0 0-21-16,0 1 0 0,0-2 5 0,0 1 3 0,0-1 12 16,0-1-4-16,-1 0-1 0,1-3 6 0,-2 3-3 15,2-3-10-15,0-1 7 16,0 0-9-16,-2 2-9 0,2-2 1 0,2 5-16 0,-2 0 5 16,0 0 3-16,-2-1 15 15,2-2 13-15,2 4-5 0,-2-3-20 0,0 2-6 0,0 1 0 0,-2 0 34 16,2-2-13-16,0 1 0 15,0 0-11-15,0 0 1 0,2-2-11 0,-2-1 5 16,0-2 9-16,2 1-9 0,-2 0-5 0,0-2 13 16,1 1-17-16,-1 0 9 0,2-2-7 15,-2 1 10-15,3 0 28 0,-3 0-13 0,2-1-15 16,0 0 16-16,-1 0-9 0,-1 0-19 0,2 1 4 16,1 0 18-16,-3-1 6 0,3 0-11 15,-3 1-3-15,2 0-15 0,0 4 13 0,2-3 11 16,-2 2-14-16,-2-2 1 0,2 1 4 15,1 2-10-15,0 0 11 0,-1 1-11 0,2 1 13 16,-3-2 16-16,-1 3-26 0,3-2 7 0,-1-1-4 16,0 0 7-16,-1-1-10 0,1 2 12 15,1-2-12-15,0 1 10 0,-3-3-7 0,2 3 4 16,3 0 16-16,-4-3 8 0,1 5-26 0,0-2 3 16,1 0-3-16,-1 0 10 0,-1 1 10 15,1 2-30-15,0-3 2 0,2 0 19 0,-4 0 6 16,2 0 47-16,0-3-2 0,-2 3-6 15,2 3 6-15,-1-3-6 0,2 0-13 0,-1 2-12 16,1-1 15-16,-3 2-7 0,2-1 2 16,1-1-16-16,-1 0-12 0,0 1 2 0,-1-1-4 15,1-1 30-15,1 0-34 0,0 1-2 0,-1-1 16 16,0-1-21-16,2 1 20 0,-2-5-27 16,0 2 22-16,-2-1-12 0,3 1 4 0,0-1-17 15,-1 4 15-15,0-5-5 0,1 1-2 0,-3 3-1 16,5 0 6-1,-3-1 7-15,-1-3 5 0,1 4-17 0,1-3 4 0,-1 2-2 0,-1-2-5 16,1 1 0-16,1-2 33 0,-1 0-31 0,-1 3 19 16,1-5-14-16,0 2-9 0,-2 0 27 15,4-2-17 1,-3 2-21-16,0 0 8 0,1-2-3 0,-2 1 20 0,2 1 14 0,1 1-21 0,-2-2-5 16,1 0-8-16,0 0 8 0,0 1 23 0,-1-1-28 15,-1-1 38-15,3 1-28 16,-3 0-18-16,2 0 23 0,0 0 15 0,0 0-22 15,-1 2 4-15,-1-1 16 0,3-1-13 16,-1-1 6-16,0 2-11 16,-1 0 0-16,1 0-16 0,1-1 47 0,-3 2-33 0,2-2-6 0,-1 1 18 15,1-1-20-15,-2 1 0 0,2 2 22 0,-2-3-9 16,3 0-16-16,-2 2-5 0,1-2 26 16,-2 0-16-16,2 2 1 0,-2-1 32 15,0-1-40-15,0 1 17 0,0-2 14 0,3 2-19 0,-3-1-7 16,1 1 18-16,-1 1 4 0,0-2-4 0,1-1-10 15,0 2-6-15,-1-1 13 0,0 0-10 0,0 2 25 16,0-1-17 0,0-1 7-16,0 1-18 0,0-1 16 0,0 0-23 0,0 2 7 15,0-5 44-15,0 0-21 0,0 1-12 0,0-1-3 16,2-2-10-16,-4 0-83 0,4-2 35 16,-2 2-12-16,0-2 32 0,2-1-18 0,-2 0 15 15,2-3-13-15,-2 3 26 0,1-4 15 0,-1 1-18 16,0-2 29-16,0 0-26 0,3 1 23 0,-3-2-21 15,0 1 49 1,0-4-36-16,0 2 34 0,0 1-9 0,0-5-24 0,2 7-1 16,-2-6 21-16,0-1 17 0,0 5-4 0,0-5-14 0,0 6 4 15,0-6-9-15,0 2 3 0,0-2-2 16,3 4 25-16,-3-4-5 0,2 2-15 16,-2-2 7-16,6 2-10 0,-6-2 10 15,7 3-12-15,-7-3 7 0,10 0-20 0,-5 2 31 0,1-2 9 16,-6 0-27-16,14 0-6 0,-6 0 1 0,0 0 14 15,1-1-9 1,1 1 2 0,0-1 23-16,2 1-25 0,1-3-6 0,0 3 8 0,2-2 8 0,1 1-13 0,-1 1-5 0,3-1 0 15,0 1 15-15,0-3-15 0,0 2 13 0,2 0 2 16,1-2-2-16,-3 3-11 0,2-1 6 16,1-1 2-16,-3 1-3 0,0 1 6 0,5-1-21 15,-3-1 26-15,4 1 2 0,-3-1-20 16,4 2-2-16,1-1-11 0,-1 1 25 0,6-3-4 15,-3 1 15-15,3 2-10 0,2-1 22 0,0-2 4 16,0 0-32-16,11-1-2 0,-8 2 26 0,-2-2-39 16,-1 3 10-16,-2 0 21 0,2-2-23 0,1 2 13 15,-1-1-3-15,0-1 8 16,-2 1-24-16,0 1 22 0,0 1-9 0,1-1-4 16,-1 0 27-16,-2-1-45 0,2 1-1 0,1-1 21 0,-3 2-12 15,2 0 4-15,2-4 0 16,-2 4 26-16,0-1-28 0,2 0 7 0,-2 1 19 0,1-3-6 15,-3 3-13-15,2-2 11 0,2 1 0 16,-2 1-44-16,-3-1 21 0,5 1 15 16,-2-3 7-16,0 2 9 0,0 1-4 15,0-1-30-15,-1-2 26 0,1 2-21 0,0 0 36 0,1-1-12 16,-2 2 4-16,1-3-43 0,2 2 18 0,-1 0 33 16,1 0-13-16,0 1-15 0,-1 0 10 0,-1-4 10 15,0 4-20-15,1 0 5 0,-7-1 5 0,3 0-7 16,-3 1-3-1,1-1-1-15,3 1 17 0,1-3-6 0,0 3-3 0,-4 0-14 16,4-2 22-16,1 1-23 0,0 1 16 0,-3 0 4 16,3 0-17-16,3 0 10 0,-1 0 5 0,-2 1-18 15,2-1 6-15,1 2 12 0,-1-2-10 16,-1 0 20 0,-3 1-12-16,-1 1 17 0,1-1-33 0,-1-1 21 0,0 1-26 0,0 0 23 0,3-1-13 15,-6 0 16-15,6 3 0 0,0-2-3 16,0-1 15-16,0 0-32 0,-1 1 4 0,1-1 10 15,0 1-12-15,0 0-5 0,0 1 12 16,0-1 14-16,1-1-1 0,-1 2-10 0,0-1 10 0,0-1-15 16,2 3 10-16,-4-2 3 15,4-1-19-15,-2 1 22 0,1 0-29 0,-1 2 36 0,0-3-31 16,0 1 13-16,0-1-26 31,3 1 16-31,-4 1 18 0,1 0-16 0,0-1 21 0,-1-1-11 0,1 2-9 0,0-1 14 0,1 2-9 16,-2-3 4-1,1 2-20-15,-6-2 29 0,1 1-9 0,-1 1 6 0,5 0-8 0,-4-1 5 0,-3-1 10 16,2 0-22-16,-3 2-3 0,1 0 7 0,-3-1 3 16,1-1-15-16,3 0 12 15,-2 2-2-15,-1-2 10 0,-3 0-10 0,4 3 15 0,-4-2 8 16,1 0-46-16,-2 0 23 0,3-1 10 16,-2 0-3-16,-1 4-7 0,3-3 13 0,-2 0-28 0,2 0 27 15,-2-1-20-15,0 3 11 0,0-3 17 16,2 1 1-16,-1 1-45 0,1-1 32 15,0 2-16-15,-2-2 6 0,-2 0-4 0,2-1 6 0,0 3 5 16,0-2-8-16,1-1-2 0,-5 0 23 0,5 1-28 16,-2 0 25-16,-4 0-13 0,2 1 16 15,1-1-10-15,1-1 7 0,-2 1-23 16,-1 0 3-16,-1 1 25 0,-1-2-22 16,1 2-4-16,3-1 19 0,0-1-5 15,-4 0-3-15,3 1-18 0,1-1 15 0,-1 1 3 0,0 1 5 0,-2-2-10 16,3 1 10-1,-2 0 0-15,-3-1-12 0,3 1 7 0,-2-1 12 0,3 2-4 16,-2-2-5-16,-1 2-3 0,-1-1 10 0,5-1-7 16,-4 0-3-16,-1 1-18 0,4 0 43 15,-5-1-20-15,4 0-7 0,-2 0 9 16,2 1-4-16,-2-1-11 0,0 0 3 0,1 0 0 0,0 3 26 16,0-3-27-16,-2 0 19 0,1 0-5 0,0 0-21 15,-2 0 5-15,1 0 14 0,-1 0-19 0,2 0 0 16,-2 0 31-16,-1 0-21 15,1 0 21-15,3 0-31 0,-3-3 26 0,-2 3-5 0,3 0-11 16,-1 0-9-16,1 0 6 0,-2 0-11 0,1-1 14 16,-2 1 3-16,0 0 3 0,2 0-21 0,0-1 30 15,-2 1-19-15,4 0 14 0,-1 0-12 16,-1 0 5-16,2 0 5 0,-2 0-23 0,-1-1 18 16,-1 2-12-16,2-1 27 0,0-1-7 15,0 1-11-15,-4 0 13 0</inkml:trace>
  <inkml:trace contextRef="#ctx0" brushRef="#br0" timeOffset="209250.07">20046 329 1156 0,'0'-2'407'0,"0"2"-23"0,0 0-41 0,0 0-56 0,0 0 2 15,0 0-30-15,0 0-19 16,0 0-17-16,-3 13-13 0,0-5-36 0,1 2-10 0,1 3-5 16,-1 1-3-16,-3 5-15 0,5 3-21 15,-5 1-18-15,2 3-35 16,-2 1 17-16,1 0-27 0,0 1-6 0,2-1-18 0,0-1-20 15,-1-2 5-15,0-2-13 0,1-3 18 0,1 0-36 16,-1-1 0-16,2-4-12 0,-2 1 25 16,2-4-8-16,0-1-7 0,0-2 20 0,0 0-18 15,0-2 10-15,0-2 1 0,0-4 2 16,0 0 5-16,0 0 23 0,0 0 3 0,4-13 10 16,-3 2 5-16,1-3 15 0,1-5 1 15,0-4-21-15,1-4 10 0,0-10 3 0,0 0-88 0,1-2 17 16,2 0-14-16,-1-1 15 0,-1 3 34 15,6 1 11-15,-6 9-6 0,2 4 2 16,-2-1 3-16,1 7-7 0,-1 0 9 0,5 3-14 16,-3 3-16-16,-1 2-8 15,1 4 3-15,-1 2 10 0,2 3 105 0,-1 3-41 16,3 2 8-16,-4 5 2 0,2 3-15 0,-1 4 13 0,-2 1-18 16,0 4-69-16,-2 3-8 0,-3 3 8 0,2-1-18 15,-2 2 2-15,0 0 13 0,0 1 18 16,0-1-25-16,-2-1 15 0,-1 0-8 0,3-2-28 15,0-1 5-15,-3 0-7 16,1-5-44-16,0 0-21 0,2-2-15 0,-2-2 11 0,1-2-37 0,-2-1-17 16,3-3-31-16,0-2-11 15,0 0-40-15,3-2-64 0,-3-1 5 0,0-2-77 16,1 0-474-16,0-1 139 0,-1-2 10 0,0 0 87 16,0 0 82-16</inkml:trace>
  <inkml:trace contextRef="#ctx0" brushRef="#br0" timeOffset="209502.28">19956 635 1144 0,'6'-6'294'0,"-4"5"-20"0,5-2-13 0,0 1-20 0,3-1 58 0,-1 2-56 0,3-3 0 0,2 1-25 0,0 1 2 15,0-1-28-15,3 0-18 0,-1-1-112 0,-1 1-19 16,1 2-20-16,-1-2-56 0,3 1-49 16,-2 1-43-16,-1-2-78 0,0 2-78 0,-2 1-208 15,1 0-315-15,-2 0 113 0,-2 0 36 0,2-1 94 16</inkml:trace>
  <inkml:trace contextRef="#ctx0" brushRef="#br0" timeOffset="209992.79">20409 537 980 0,'0'0'312'0,"0"0"54"0,0 0-25 0,0 0-32 16,0 0-30-16,-10 14-18 0,8-7-17 0,-1 0-27 15,1 1-2-15,-1 2-54 16,0 1-12-16,1 0-3 0,0 0 0 0,0 0-31 0,2-1-8 16,-2 0-2-16,4 0 8 0,-1-1-18 0,0 0-26 15,1-2 10-15,3 1-23 16,-2-2 1-16,2-1-9 0,0-2 4 0,0 1 1 16,2-3 11-16,0-1-10 0,-7 0-5 0,14-3-26 15,-4 1 7-15,-1 0 24 0,-2-1-33 16,0 2-3-16,-1-1 25 0,2 1-27 15,-2 0-24-15,0 1 23 0,-6 0-5 0,10 1 6 0,-7 2 2 16,2-2-13-16,-2 3 23 0,3-1-5 16,-2 0-5-16,1 0-16 0,-2 0 6 0,2 0-5 15,4 0 17-15,-5-1-4 0,3-2 14 16,-1 0 24-16,-6 0 5 0,12 0 2 16,-4-2 8-16,0-1 3 0,-1-2-57 0,1 1 6 15,-1-1 15-15,0-3 12 0,-1-1-17 0,2 1-21 16,0-1 11-16,-3-1 10 0,2 2-6 0,-1-1 14 15,-1 0-14-15,0 2-20 0,-2-1-15 16,1 1-16-16,0 0-58 0,-2 2-16 0,2 0-59 16,-3 1-48-1,-1 0-31-15,3 1-92 0,-3 3-113 0,5-5-128 0,-3 3-340 16,3 1 112-16,-2-2 52 0,2 1 35 16,-5 2 83-16</inkml:trace>
  <inkml:trace contextRef="#ctx0" brushRef="#br0" timeOffset="210224.02">20782 538 941 0,'0'0'369'0,"0"0"-39"0,0 0-17 0,0 0-22 0,0 0-24 0,0 0-22 15,7 10-30-15,-7-5-12 0,5 1-37 0,-2 1 0 16,2 0-15-16,-2 2 11 16,1 0-34-16,2-1 5 0,-1 1 5 0,-2-1 8 0,-1 1-3 15,0 0-20-15,1-1-23 0,-3 1-5 0,0 0 17 16,3-3-2-16,-6 3-10 0,3-2-39 15,-3 1 11-15,1-2-16 0,0 1-27 0,-4-1-40 16,3-1-14-16,-4 1-16 0,2-3-46 0,-3 0-67 16,2-1-66-16,-1-1-174 15,-3 0-520-15,2 1 39 0,-1-3 130 0,0-1 38 16,1 1 57-16</inkml:trace>
  <inkml:trace contextRef="#ctx0" brushRef="#br0" timeOffset="210670.39">21592 392 1346 0,'-16'6'394'0,"3"-4"-48"0,1 2-16 0,1 1-36 0,1-1-22 15,5 0-32-15,-3 2-12 0,5-1-5 0,-2 1-3 16,3 1-120-16,1-1 33 0,1 3-31 0,0 0-20 16,3-1-15-16,3 3 4 0,2 1 16 15,2 0-20-15,0 0 17 0,0 0-9 16,1 0-6-16,-1 1 33 0,0-2 3 0,0-2-13 0,-2 0 5 16,-3 1 3-16,2-2 10 0,-2-2-10 15,-1 3 5-15,-2-1-5 0,-2-1 2 0,-2 0-17 16,0 0-11-16,-4 0 18 0,-2 0-18 15,-2 0-10-15,-3-1 16 0,1 0-50 0,-4-2 16 0,3 2-40 16,-3-3-4-16,1-2-10 16,0 0-20-16,0 1-38 0,1-2-19 15,2-2-20-15,3 1-35 0,-3 0-11 0,2 1-47 0,2-3-32 16,0 2-51-16,5-2-29 0,-1 1-56 16,4 2-5-16,-5-4-123 0,5 2-369 0,0 2 54 15,9-8 128-15,-2 4 44 0,1-1 76 16</inkml:trace>
  <inkml:trace contextRef="#ctx0" brushRef="#br0" timeOffset="211274.06">21953 497 1013 0,'0'0'330'0,"0"0"67"0,0 0-5 0,5-3-60 0,-5 3-4 15,0 0 10-15,0 0-41 0,0 0-18 16,0 0 8-16,0 0-65 0,0 0-17 16,-13-3 18-16,13 3-18 0,-12 4-16 0,4-2-25 0,0 2-29 15,0-2 6-15,1 3-8 0,-3 1-7 16,0-1-26-16,2 1-13 0,0 1-8 16,0 1-18-16,3-2-2 0,-1 2-23 0,2-2 3 15,0 1-37-15,-2-1-12 0,3-1 38 16,0 1 3-16,3-1-3 0,0-2-38 0,0-3 22 15,3 5-1-15,-3-5-11 0,5 3 5 0,0-3 5 16,-5 0 10-16,13-3-4 0,-8 3-11 16,1-1 23-16,2-1-36 15,-8 2 14-15,12-1-1 0,-7 1-16 0,-5 0 6 0,10 2-10 0,-3-1 28 16,-4 0-26-16,3 2 18 0,-2 0-5 16,2-1-26-16,-1 1 14 0,-2-1-14 0,4 1 13 15,-4-1 3-15,2 0-16 0,0 0 19 0,-5-2 17 16,11 0-23-16,-11 0 8 15,12-4 36-15,-4 1-13 0,-3-2 20 0,3 0 21 16,1-2-21-16,-2-2 57 0,-1-1-87 0,2-5-11 16,0 0 16-16,0-4 13 0,2-2 9 0,-2-2-29 15,5-10 17-15,-1 3-3 0,1-2 36 16,-3 10 90-16,-2 4-51 0,0 2-77 0,-1 0-8 16,-4 5 29-16,2 2 7 0,-5 2 30 0,5 1-65 15,-3 3 32-15,-2 3-10 0,0 0-4 0,0 0-4 16,-7 16 21-16,2-6-18 0,2 4 31 15,-4 3-33 1,-1 4-11-16,0 0 19 0,1 2-4 0,-1 1-43 0,0-1-4 0,3 1-55 0,-2-1 0 16,4-1-30-16,-2-2-42 0,3-1-19 0,-1 0-24 15,0-2-26-15,3-2-40 0,0 0-29 16,3-5 57-16,-3 0-62 16,3-1-132-16,-1-1 35 0,0-1-74 0,4-2-472 0,0-2 114 15,0 1 71-15,0-1 51 0,1-2 62 16</inkml:trace>
  <inkml:trace contextRef="#ctx0" brushRef="#br0" timeOffset="211806.3">22217 670 1075 0,'2'-3'371'0,"4"1"-31"0,-1-2 6 0,-2 2-29 0,3-3-17 0,0-1-83 16,-1 1 24-16,1-1-29 0,2-2 6 31,0 2 5-31,-2-1 71 0,0 1 16 0,-1-4-47 0,0 1-96 0,0 2 25 0,-2 1-36 0,1 0 13 16,-3-1 76-16,-1 2-22 15,2 1-13-15,-2 0-3 0,0 0-40 0,0 4-14 16,-3-4 32-16,3 4-29 0,-7-2-41 0,7 2-15 16,-10 4-8-16,5 0-5 0,-3 0-23 0,3 2-5 15,-2 1 5-15,-1 0-26 0,2 1 24 16,3 0-24-16,-4 1-20 0,4-2-31 16,-1 2-7-16,3-1-37 0,0 1 16 0,1-2-43 15,1 2 7-15,2-3-12 0,2 0-11 0,2 0-3 16,2-1 6-16,3-1 7 0,1-1 1 0,0-2-6 15,5 1 16-15,-3-2 33 0,3-1-21 0,0 0 24 16,3-3-19-16,-3 1 14 0,3-3 22 16,-4 1 16-16,-1-1-3 15,2-1 26-15,-4-1-18 0,-3 2 20 0,-1-1 18 0,0 0-17 16,-2 1 37-16,0 2 4 0,-3-2 27 0,-2-1-7 16,2 3 5-16,-3 1-23 0,1-1-3 15,-1 1 0-15,-2 3-7 0,3-4-5 0,-3 4 7 16,0 0-13-16,0 0-7 15,0 0 17-15,0 0 14 0,-2 12-24 0,2-7 29 0,2 3-34 16,-2 0 6-16,0 1 30 0,3 2 20 0,-3-2-25 16,2 1-18-16,-2 0 39 0,1 0-24 0,-2 0-2 15,1 0-28-15,-2 0 25 0,-1-1-10 16,0 2-10-16,-4-3-10 0,2 2-34 16,-1-2-18-16,-4-1-25 0,2 1-64 0,-2-1-34 15,3-1-66-15,-3-2-23 0,-1 2-30 0,-2-1-19 16,3 0-169-16,0-6-153 0,-3 5-481 15,3 0 122-15,-3 0 75 0,0 1 179 0,-5 0 17 16,5-2 55-16,-5 3 69 0</inkml:trace>
  <inkml:trace contextRef="#ctx0" brushRef="#br0" timeOffset="-214529.57">21774 1160 793 0,'0'0'284'0,"0"0"-38"0,7-2-13 0,-7 2 15 15,0 0-46-15,0 0-20 0,0 0-13 16,5 5 5-16,-5 1-5 0,2-1-36 0,-2 4 3 15,-2 0-19-15,2 4 9 0,-2 1-24 0,-1 2 77 16,-2 2-30-16,1 1-1 0,-4 3 6 16,0-2-39-16,2-1-18 0,3-1-12 15,-4 0-1-15,4-2 11 0,-4 1-21 0,4-2-7 0,-1-1 7 16,0-1 5-16,4-3-30 16,-2 0-3-16,2-2-82 0,-2 1 6 0,2-3 9 0,0 0 3 15,2 0-15-15,-2-2 20 0,2-1-10 16,2 1-13-16,-4-4 21 0,4 3-3 15,-1-1-2-15,-3-2-11 0,5 1-5 0,-5-1-20 16,0 0-31-16,10 0-26 0,-10 0-35 0,0 0-42 16,8-4-79-16,-5 2-94 0,-1-2-264 15,-2 4-151-15,6-4 92 0,-2-1 23 0</inkml:trace>
  <inkml:trace contextRef="#ctx0" brushRef="#br0" timeOffset="-214130.42">21909 1200 1149 0,'0'0'256'0,"0"0"-3"0,0 0-22 0,0 0-1 15,5 10-38-15,-5-4 18 0,-1 3-46 16,0 0-6-16,-2 1-22 0,1 0 10 0,-1 2-16 0,-2 0-20 16,3 1-15-16,-3-1 10 15,1 0 69-15,0-1-15 0,2 0-31 0,0 1-3 0,-2-1-2 16,2-2-31-16,1-1 8 0,1-1-18 16,0 0-33-16,0-1 15 0,0 0-18 15,1 0 13-15,1-1-16 0,0-2 24 16,2 1-31-16,0-3-1 0,2 3-9 0,1-2-8 0,0-1 2 15,1-1 11-15,0 2-18 16,0-2-18-16,2 1-11 0,-2-1-14 0,0 0-1 0,0-1-23 16,0 1-17-16,0 0-50 0,-8 0-25 0,9 0-33 15,-2-2-108-15,-7 2-158 16,10 0-328-16,-10 0 10 0,3-1 64 0,-3 1 34 0,0 0 56 16</inkml:trace>
  <inkml:trace contextRef="#ctx0" brushRef="#br0" timeOffset="-213901.98">21948 1409 1067 0,'0'0'315'16,"0"0"-26"-16,0 0-13 0,0 0-9 15,0 0-42-15,15-4-28 0,-10 3-13 0,-5 1-89 16,12-1-11-16,-6 0-7 0,2 0-3 0,0-1-17 15,-1 0-29-15,1 2-13 16,0-1-38-16,-1 0-56 0,-7 1-72 0,11 0-77 16,-6-1-38-16,-5 1-446 0,10 1 42 0,-10-1 17 15</inkml:trace>
  <inkml:trace contextRef="#ctx0" brushRef="#br0" timeOffset="-213587.29">21704 1557 880 0,'23'-2'292'0,"-17"2"-18"0,4-1-21 0,0 0-7 16,3 1 38-16,1-2-36 0,0 0-7 0,1 0-18 15,3 2-42-15,0 0-12 0,-2-2-23 16,3 1 5-16,-2-2-2 0,0 2-67 0,-1 0-6 16,-1 0-17-16,-2 0-51 0,1 0-31 15,-2 0-56-15,-2 1-108 0,0-1-72 16,-1 0-363-16,-3 1-179 0,2-1 107 0,-2-2 49 15,0 2 74-15</inkml:trace>
  <inkml:trace contextRef="#ctx0" brushRef="#br0" timeOffset="-213185.41">22039 1320 1046 0,'0'0'351'0,"0"0"-126"0,0 0 3 0,0 0-21 0,11 10-9 15,-6-5-29-15,-2-1-8 0,4 1-8 0,0 1-17 16,-1 1 69-16,2 0-11 0,2 2-35 15,0-2-3-15,-1 1-2 0,1 1-19 0,0 0-17 16,3 1-8-16,-3 1 5 0,3-1 1 16,-3 1-4-16,-2 0 1 0,2 2-13 15,-2-4-24-15,0 2-42 0,-4 1-11 0,0-1-18 0,-4-1 21 16,0 1 2-16,-1 1-3 0,-4 1-2 16,-3 2-33-16,-2-1 2 0,-1-1-12 15,-3 3-6-15,-2-1-33 0,1-2-51 0,-3 0-10 16,0 2-46-16,0-2-108 0,1-5-77 0,-2 3-542 15,3-1 99-15,2 0 49 0,-2-2 80 16,5-3 58-16</inkml:trace>
  <inkml:trace contextRef="#ctx0" brushRef="#br0" timeOffset="-211386.98">22707 1254 1151 0,'0'-3'354'0,"0"3"-14"0,0-5-43 0,0 5-28 0,0-4-39 16,0 4-35-16,0 0 30 0,0 0-43 0,0 0-3 15,0 0-20-15,7 15 71 0,-6-6-25 0,-1 1-6 16,2 2-25-16,-2 1-17 16,2 1-17-16,-2 1 6 0,0 0-51 0,0 0-26 0,0 1-15 15,3-1-21-15,-6 0 0 0,3 0-10 16,0-1-48-16,-2 1-32 0,2-3 14 15,-2 0-44-15,2 1-3 0,0-3-10 0,0-1-22 16,-1 0-22-16,2-3-27 0,-1 0-21 16,0 1-46-16,0-3-21 0,0-1-79 0,-3 0-184 15,3-3-238-15,-3 5 105 0,3-5 12 0,0 0 29 16</inkml:trace>
  <inkml:trace contextRef="#ctx0" brushRef="#br0" timeOffset="-211144.36">22674 1232 1213 0,'-1'-6'340'0,"-1"1"-66"0,-1 1-18 0,3 4-18 16,0-3-7-16,0 3-22 0,0 0-29 16,0 0-11-16,4-4-18 0,-4 4 2 0,0 0-7 15,0 0-21-15,14 7 16 0,-8-4 44 16,1 2-32-16,0 0-15 0,0 0 3 15,2 2-10-15,-1 0-19 0,-1 0-35 0,3 1-31 16,-2 0-2-16,0-1-47 0,1 2-38 0,-3-1-15 16,0 0-64-16,2 0-98 0,-1-1-163 0,-2 0-528 15,3-2 90-15,-3 0 56 0,1 0 85 16,2-1 66-16</inkml:trace>
  <inkml:trace contextRef="#ctx0" brushRef="#br0" timeOffset="-210903.79">23009 1201 872 0,'-3'-2'364'0,"-1"0"-29"0,4 2-23 0,0 0-45 0,-14 3-11 0,7 1-6 0,0 0-37 0,-1 3 53 15,0 1-18-15,0-1-30 0,-2 5-13 0,1 0-24 16,-3 0-14-16,0 2-8 0,3 1-67 15,-5 0-13-15,4-1-38 0,1 1-31 16,0-1-28-16,0-1-58 0,1 0-45 0,0 0-86 16,2-2-113-16,-2 0-576 0,6-3 146 15,-1 1 21-15,-2-1 37 0,4-2 93 16</inkml:trace>
  <inkml:trace contextRef="#ctx0" brushRef="#br0" timeOffset="-210607.2">22999 1223 944 0,'0'0'351'16,"3"-6"-26"-16,-3 6-49 0,2-2-27 0,-2 2-6 0,0 0 2 16,0 0-27-16,8 6-39 0,-5 0-12 0,-3 1 14 15,4 1-7-15,-1 3-43 0,-1 2-1 16,-1-1 1-16,1 1-49 0,-2 3 2 0,0-1 9 15,0 0-32 1,-2 4-2-16,0 0-16 0,1 1-40 0,-4-1 2 0,2 0-41 0,-2-1 3 16,3 0-36-16,-3 0-34 15,2-3-27-15,0 0-93 0,1-2-61 0,0 2-54 0,2-3-412 0,0-3 3 16,2 1 99-16,-2-3 82 16</inkml:trace>
  <inkml:trace contextRef="#ctx0" brushRef="#br0" timeOffset="-209736.92">23250 1416 1284 0,'0'0'395'0,"-2"-5"-37"0,2 5-99 16,-8 0-34-16,8 0-26 0,-9 3-1 16,2-1-6-16,-2 0-57 0,1 2 11 0,0 1-8 15,0 0-28-15,-2 2 3 0,2 0-16 0,-1 1-15 16,0-2 5-16,1 3-23 0,1 0-5 15,0-2 3-15,4 0-32 0,-2 0 6 16,2 0 5-16,0 0-36 0,1-1 0 0,2 0-2 16,0-2-6-1,0 1 13-15,2-2-12 0,3-1 2 0,1 0 0 0,-1-1-15 0,-5-1 15 0,13-2-3 16,-6 0-20-16,2-1 20 0,-1 0 6 16,-2-2-6-16,2-2-12 15,0 2 12-15,-3-2 3 0,2 1 21 0,-4-2 7 0,3 1-25 16,-4 0 15-16,4 0 28 0,-4 1-23 15,0-1 20-15,2 1-17 0,-3 2-8 0,0-1 25 16,1 1-17-16,-2 0-16 0,2 2 5 0,-2 2-2 16,2-6 18-16,-2 6-34 0,0 0 3 15,0 0 11-15,0 0-14 16,0 0-17-16,0 0-11 0,0 0 8 0,0 0 13 0,0 12-3 16,1-8 0-16,-1 2-2 0,5 0 15 15,-2 0-11-15,-1 2-30 0,5-1 1 0,-3 1 4 0,0 0 18 16,2 2 0-16,-1-1-10 0,0 1-3 15,-2-1 13-15,1-1-13 0,-1 0 11 16,-2 0-3-16,1 0-21 0,-2-1 6 0,0-1 7 16,-2-1-2-16,1 1 23 15,0 0 15-15,-3-2-5 0,4 0 0 0,-2-1 18 0,2-3 20 16,0 0-10-16,0 0 6 0,0 0 30 0,0 0-29 16,0 0-14-16,0 0 48 0,0-14-33 15,2 8 41-15,2-1-3 0,0-1-23 16,1-1 8-16,1 1-21 0,1-1 11 0,-2-1-6 0,2 3-2 15,0 0-20-15,1-1 17 0,-2 2-27 16,2 0 14-16,-3 0-33 0,2 1-17 0,-1 1-60 16,-1-1-12-16,0 1-64 0,0 0-159 0,0 2-110 15,-2-2-451-15,1 1 95 16,-3-1 21-16,2 0 74 0,-1 2 100 0</inkml:trace>
  <inkml:trace contextRef="#ctx0" brushRef="#br0" timeOffset="-209511.49">23540 1261 1180 0,'0'-7'345'0,"0"7"-38"16,0 0-25-16,0 0 2 0,0 0-36 0,0 0 11 16,0 0-42-16,-1 18 65 0,-1-9-36 0,0 1-1 15,0 3-53-15,0 0-10 0,-4 3 23 0,-2 2-70 16,3 1-14-16,-3 2-11 0,-2-1-77 15,2 0 8-15,-2-1-38 0,0 0-29 0,2-3-28 16,0 0-53-16,3-1-103 0,-1-2-84 0,-6 2-200 16,8-6-407-16,0 2 135 0,2-3 49 15,2-1 60-15,0-1 50 0</inkml:trace>
  <inkml:trace contextRef="#ctx0" brushRef="#br0" timeOffset="-209181.82">23809 1351 1018 0,'0'0'384'0,"-5"-4"-28"0,5 4-10 16,-14 3-37-16,2-1-43 0,0 0-20 16,-1 4-3-16,-3-1-30 0,1 0-90 0,-1 2-23 15,0 1-3-15,0 1-13 0,0-1 6 16,1 1-13-16,2-1 61 0,-2 2-15 0,4-1 12 15,1-2-17-15,0 2 2 0,2 0-7 0,-2-1-3 16,5-1-28-16,-3 1 8 0,5 0-3 0,0-1-28 16,1 0-72-16,2-1 10 15,-2 1 16-15,2-1-18 0,2-1 25 0,1-1-25 16,2 0 18-16,0 1-8 0,1-3 11 0,2 2-40 16,-2-2-4-16,2-1-13 0,2 0-12 15,-1-1-40-15,0 1-17 0,1-1-23 0,-1-1-23 16,1 1-154-16,0 1-48 0,0-1-505 15,-1 1 75-15,0-1 43 0,0 0 49 0,-3 1 112 16</inkml:trace>
  <inkml:trace contextRef="#ctx0" brushRef="#br0" timeOffset="-208625.53">23898 1608 854 0,'0'0'359'0,"9"-5"-29"0,-4 2 3 0,0-1-95 16,1 0-3-16,1-1-20 0,-2-1-18 0,0 1 8 16,0-2-26-16,0 0 26 0,2 0-46 0,-3 1-6 15,0 1 9-15,-1-2-39 0,1 2-19 16,-2 1 1-16,0 1 5 15,-2-1-17-15,0 4-9 0,0 0-15 0,0 0-10 0,0 0 3 0,0 0 9 16,0 0 55-16,-15 13-9 0,11-8 6 16,-3 3-33-16,4-2-1 0,-1 2-40 15,1-1-5-15,-2 1-3 0,5-2-21 0,-2 2-15 16,2-2-2 0,2 1 7-16,3-3 8 0,-2-1-18 0,4 0-21 0,1 0 34 0,0 0-5 15,2-3 5-15,0-2-31 0,2-1 18 0,-1-1 23 16,3-2-26-16,-2 0 31 0,2-2 13 15,-2-3 10-15,1-1-7 0,-1 0-11 16,1-4 11-16,0-3 22 0,0-1-20 0,2-8-2 16,2 0 30-16,-6 5-30 0,-1 3 43 15,-2 4 0-15,-2 1 0 0,0 0 13 0,-2 3-75 16,0 2 19-16,-3 1-6 0,-1 4-7 0,0 2-39 16,0 3 44-16,0 0-18 0,0 0-8 15,-15 8 39-15,9 0-42 0,-2 1 27 0,4 4-24 16,-4 0-18-16,0 3 16 0,5-1-16 0,-2 3-12 15,0-1-11-15,3 1-35 16,-1 0-1-16,6-2-12 0,-3-1-34 0,2-1-28 0,2 0-25 16,-3 0-18-16,6-3-11 15,-3 0-33-15,1-1-51 0,0-3-69 0,0 0-95 0,0-1-440 16,-2-2 46-16,3-2 90 16,-4-1 33-16,-2-1 63 0</inkml:trace>
  <inkml:trace contextRef="#ctx0" brushRef="#br0" timeOffset="-208388.3">24092 1455 1213 0,'0'0'333'0,"-1"-4"-26"0,1 4-28 0,0 0 10 16,7-5-46-16,0 3 69 0,0-1-17 0,3 1-29 16,3-2 3-16,2 2-52 15,3-2-17-15,6 0-11 0,3-2-32 0,3 3-17 0,-1-2-17 16,0 0-8-16,-1 0-17 15,-3 2-34-15,-3 0-3 0,-2-1 6 0,0 1-65 0,-7 1-35 0,1 1-11 16,-5 1-58-16,1 1-31 16,-2 1-64-16,-2 2-69 0,-4 0-141 0,0 1-487 15,-2 0 52-15,-2 1 118 0,-4 4 117 0,-4 3 41 16</inkml:trace>
  <inkml:trace contextRef="#ctx0" brushRef="#br0" timeOffset="-208018.94">23739 1874 1341 0,'0'0'340'0,"0"0"-10"0,0 0-33 0,0 0 18 16,0 0-38-16,-2 16-42 16,2-8 6-16,0 2-52 0,0 1 3 0,-2 3-23 15,2 0-13-15,-2 0-23 0,2 2-25 0,0 1 112 16,-2-2-49-16,-2 5-53 15,4-2-26-15,-2 0-43 0,2 0-6 0,0-4-43 0,0 1-43 16,0-2-29-16,0-1-15 0,0-1-13 0,2-1-43 16,-2-2-57-16,0 1-68 0,0-5-19 15,3-1-56-15,-3 2-525 0,1-1 116 0,0 0 71 16,-1-4 84-16,0 0 47 0</inkml:trace>
  <inkml:trace contextRef="#ctx0" brushRef="#br0" timeOffset="-207526">23658 2161 1072 0,'-5'-2'297'0,"0"0"15"0,2-1-35 0,3 3-44 16,-5-3 2-16,5 3-38 0,0-4 11 15,0 4-19-15,0 0-43 0,7-7-21 0,-1 5 26 16,-1-1-28-16,3 1-15 0,2-2 2 0,2 0-13 16,-1 0-28-16,2 0 41 0,0 1-43 15,1-1 2-15,-3 0-26 0,3 0 21 0,-2-1-38 16,3-1-6-16,-4 2 6 0,3-1 20 15,-3-1-25-15,2 2 14 0,-3 1-22 0,1-3 13 16,-1 3 15-16,-3 1-18 0,1-1-5 0,0 1-6 16,0 0 6-16,-3 1-2 0,2 1 7 15,-7 0-16-15,11 1-4 0,-5 1 28 0,-2 0 5 16,1 2-36-16,-2 0 0 0,-1 0 2 16,3 1 16-16,-5 3-10 0,3-1 7 0,-3-1-12 15,2 3 7-15,-2-1 110 0,-2-2-25 16,-1 3-11-16,3-4-30 0,0 3 10 0,-1-2 8 15,1-1 23-15,-4 0-21 0,4 0 3 0,0 0 20 16,0-5-8 0,0 5 14-16,0-5-88 0,4 3 3 0,-4-3 5 0,0 0 28 0,0 0-17 15,8-6 7-15,-2 1-24 0,-1 0-11 0,3-4 58 16,0 2-34-16,0-1-9 0,2-1-11 16,0 1-18-16,0-1-7 0,0 2-16 15,-2-1-15-15,2 1 8 0,-2 2-3 0,0 0-31 0,0 1-5 16,-1 1-20-16,-2 0-16 15,3 0-25-15,-3 2-13 0,1 0-46 0,-6 1-41 16,11 2-61-16,-8 1-96 0,3 2-127 0,-4-2-256 16,4 1-38-16,-4-1 119 15,3 2 24-15,-2 0 79 0</inkml:trace>
  <inkml:trace contextRef="#ctx0" brushRef="#br0" timeOffset="-206971.87">24209 2128 880 0,'3'-2'361'0,"1"1"-18"0,-4 1-28 15,3-6-41-15,2 2-13 0,-4 0 8 0,1 1-11 16,2-2-33-16,-3 2-97 0,0 0-5 0,-1 3 5 16,2-5-15-16,-2 5 30 0,0-3-15 15,0 3-23-15,0 0-10 0,0 0-16 0,0 0 90 16,0 0-20-16,-18 6-19 0,13-4-5 16,0 3-22-16,0-1-29 0,1 0 3 0,0 2 7 15,0-1 14-15,-2 1-57 0,5-1-8 0,-1 0-8 16,-1 0-2-16,1 0 3 0,2 1 5 0,0-3 0 15,0-3 7-15,0 8-30 0,2-6-3 16,1 1-3-16,-3-3 21 0,3 3 3 0,-3-3-29 16,8 0 11-16,-8 0 12 0,10 0 14 15,-10 0-16-15,10-3 12 0,-5 1 16 16,3-1-10-16,0 1 3 0,-1-1-1 0,-2 1 11 0,0 1-8 16,2-2 7-16,-1 1-17 0,-1 0 23 15,-5 2 5-15,8-1-13 0,-8 1-13 16,10 0 18-16,-10 0-2 0,8 3-8 0,-8-3-10 15,5 2-1-15,0 1-2 16,-3-1 1-16,-2-2-4 0,3 6 1 0,0-4-13 0,-1 1 2 16,-2-3 5-16,2 6 11 0,-2-3 15 15,0-3-28-15,1 4 20 0,-1-4-71 0,2 5 26 0,-2-5 22 16,0 3-2-16,0-3 10 0,0 0 5 16,8 1 15-16,-8-1 78 15,8 0 4-15,-8 0-2 0,15-5-10 0,-7 2-3 0,0 1-10 16,2-1-13-16,-2 1 20 0,2 1-10 15,0-2 6-15,-2 2-50 0,-1-1-9 0,1 1-13 16,-8 1 15-16,13 2-3 0,-8-1 44 0,0 0-76 16,0 3 9-16,-2-2 1 0,-1 1-21 15,1 1-3-15,-3-1-82 0,0-3-4 0,-3 7-49 16,1-2-67-16,1-1-13 0,-1-1-84 0,-3 0-107 16,5-3-154-16,-3 3-559 15,3-3 96-15,-2 2 128 0,2-2 53 0,0 0 105 0,0 0 64 16,0 0 57-16</inkml:trace>
  <inkml:trace contextRef="#ctx0" brushRef="#br0" timeOffset="-206617.41">24706 2042 1302 0,'3'-3'354'0,"2"1"65"0,-2 1-27 0,-3 1-13 0,0 0-16 16,0 0-9-16,0 9-11 0,-1-3-29 0,-3 0-24 0,1 1-106 15,-2 1-15-15,0 2 2 0,0-1-20 16,1 1-2-16,0-1-19 0,0 0-30 0,-2-2-28 15,4 1 20-15,-4 0-15 0,3-3 7 16,-2 2-17-16,3-2-13 0,1 0 15 16,-3-1-21-16,1-1-7 15,2 1 3-15,1-4-21 0,-6 3-13 0,3-2 21 0,3-1-18 0,-7 3-16 16,7-3 31-16,-8 4-10 0,5-2-2 16,-2 1-6-16,0 0 13 0,1-2 10 0,-2 4-5 15,2-3-15-15,0 1 23 0,0 1-5 0,0-1 2 16,2 0 13-16,-1 3-31 0,0-4 1 15,3 3 17-15,0-5 8 0,0 6-26 0,0-6-12 16,6 5-21-16,-2-3-3 0,0-2-22 16,2 1-44-16,-6-1-10 0,14 0-8 0,-7-1-46 15,-7 1-8-15,14 0-36 0,-6-2-55 16,-2 0-45-16,0 2-171 0,-1-1-524 0,-5 1 86 16,10-2 98-16,-7 1 79 0,-3 1 36 0,5-2 94 15</inkml:trace>
  <inkml:trace contextRef="#ctx0" brushRef="#br0" timeOffset="-205225.33">23273 2622 1013 0,'0'0'328'0,"0"0"-8"0,0 0-41 16,0 0-82-16,5 13-15 0,-2-3-11 15,-3 2-28-15,0 1 3 0,0 3-13 0,0 4-10 16,-5 4-20-16,2 2-6 0,-5 8-20 0,-2 1-18 16,-2 0-16-16,1-1-12 0,-2-1-26 0,1-2-46 15,1-5-41-15,1-4-41 16,0-2-71-16,2 0-57 0,1-3-33 0,-1-2-438 16,2-4 44-16,2 0 40 0</inkml:trace>
  <inkml:trace contextRef="#ctx0" brushRef="#br0" timeOffset="-204901.02">23361 2631 1064 0,'0'-4'320'0,"2"-1"-33"0,-2 5-41 0,2-2-1 0,-2 2-17 16,0 0 23-16,0 0 54 16,-2 16-39-16,2-6-25 0,-2 4-52 0,-1 4 8 0,2 0-2 15,-3 2-44-15,-2 4 10 0,-1 2-15 0,2-1-23 16,0 3-26-16,-6 6-5 0,6-5 0 16,-2-4-33-16,-1-1-13 0,1 2-2 0,-1-4-1 15,2 0-27-15,0-1-22 0,-1-3-37 16,0-2-19-16,2-1 6 0,0-2-46 15,2-1-34-15,-2 0-38 0,4-5-56 0,-3 3-93 16,1-4-71-16,1 1-484 0,-1-5 118 0,1 2 51 16,2-4 30-16</inkml:trace>
  <inkml:trace contextRef="#ctx0" brushRef="#br0" timeOffset="-204573.79">23140 2931 952 0,'0'0'368'16,"0"0"-32"-16,0 15-4 0,0-6-30 0,-1 1-17 15,1 1-29-15,-2 2-31 0,0 2-46 0,2 0 10 16,0 0-94-1,-2 1-21-15,2 0 6 0,0-1-29 0,0 0 21 0,0-2-24 16,2-1-7-16,2 1 102 0,-3-2-35 0,6-2 5 0,-4 0 2 16,4-2-31-16,1-2-4 15,0-3-19-15,3 1-23 0,-1-4-17 0,3-1-57 16,4 0-20-16,2-4-21 0,-1 0-31 0,-1-3-17 16,3 1-44-16,-1 0-25 0,3-2-50 15,-4 3-12-15,-7-1-166 0,5 2-397 0,-2-1 112 16,-5 1 45-16,3 0 60 0</inkml:trace>
  <inkml:trace contextRef="#ctx0" brushRef="#br0" timeOffset="-163728.79">20964 3808 1254 0,'2'-5'394'16,"-2"5"-43"-16,0-3-29 0,0 3-12 0,0 0-41 16,0 0-3-16,0 0-110 0,8 7-10 0,-8-2-26 15,2-1 16-15,-2 5 0 0,0-3-11 16,2 4-10-16,-2 3-20 0,0 1 10 0,-2 0-26 15,2 5 13-15,-2 1 0 0,-1-1-15 0,0 3-15 16,1 0-21-16,-1 0 10 0,-2-3-3 16,1 2-25-16,-2-3-20 0,3 0-18 0,-4-3-49 15,2 2-21-15,2 0-48 0,-4-4-46 16,4 0-54-16,-2-1-161 0,2-3-215 0,-2-3-185 16,3 1 31-16,-1-1 59 0,0-2 57 15</inkml:trace>
  <inkml:trace contextRef="#ctx0" brushRef="#br0" timeOffset="-163456.36">20976 3852 757 0,'18'-5'315'0,"0"2"-33"15,-3-2-9-15,3 1-32 0,-5 1-23 16,3-1-34-16,-1 3-38 0,1 0-26 0,-4 0-97 16,1 1-38-16,-3 0-62 0,1 2-94 0,-7 2-132 15,2-3-398-15,-1 5 20 16,-3-3 136-16</inkml:trace>
  <inkml:trace contextRef="#ctx0" brushRef="#br0" timeOffset="-163271.92">20937 4026 1374 0,'-4'2'410'0,"4"-2"-37"16,0 0 14-16,0 0-65 0,0 0-20 15,10 4-17-15,-10-4-60 0,15-1 26 0,-5 1-44 16,2-2-20-16,0 1-13 0,3-2-36 0,1 3 26 15,-1-4-31-15,1 3-51 0,1 0 20 16,-2-3-91-16,1 4-24 0,-1-2-61 0,1 1-37 16,-2-2-70-16,0 2-121 0,-2 0-366 15,-1 1-231-15,-1-1 126 0,0-1 15 16,0 0 103-16,-3 2 51 0</inkml:trace>
  <inkml:trace contextRef="#ctx0" brushRef="#br0" timeOffset="-162818.89">21294 3857 1366 0,'0'0'410'0,"0"0"-57"0,0 0-10 15,0 0-46-15,0 0-23 0,13 6-54 0,-8-4 5 16,-2 2-22-16,5-1-29 0,-1 1-31 15,-2 1-12-15,3-3-4 0,2 3-45 0,0-4-7 16,1 0-1-16,-1 0-41 0,3 1 0 16,-1-4-12-16,1 2 10 0,0-2 7 0,3 0-25 15,-3-3 20-15,1-1 0 0,0 1-17 0,0-1 27 16,-5 0 26-16,1-1-10 16,2 1 41-16,-2 1-92 0,-3 2 10 0,0 0 28 15,-2-1 82-15,1 4-13 0,-4-4 10 0,2 3-35 16,-4 1-1-16,0 0 24 0,0 0-21 0,6 7 0 15,-4-1-15-15,-4 1 3 0,2 4-14 16,-2 1 29-16,1 0-41 0,-2 3-1 0,-1 2 6 16,2 2-33-16,-2-1 25 0,0 1-48 15,1 0 20-15,-2 0-31 0,2-1 3 0,1-2-62 16,-2-1-17-16,4-2-19 0,-4 0 9 0,4-1-45 16,-3-3-22-16,3 1-21 15,0-3-66 1,0 0-62-16,0-6-114 0,3 4-518 0,-1 0 28 0,0-3 154 0,-2-2 63 0,4 4 65 15,-4-4 64-15</inkml:trace>
  <inkml:trace contextRef="#ctx0" brushRef="#br0" timeOffset="-162447.6">21825 3846 1118 0,'18'-2'469'0,"-3"2"-65"0,-1 0-30 0,-2 2 2 0,-2-1-25 16,0 3-26-16,-5 1-95 0,1-1-33 0,-2 5 8 15,-4-3-39-15,-2 3-10 0,-2 3-15 16,-5 4-20-16,-3-1-11 0,-2 4 0 16,-1-1-13-16,0-1-28 0,0 1 23 15,-1-4-30-15,5 2-9 0,-1-4 11 0,2 0-20 0,0-2 12 16,4-2-15-16,-1 0-2 0,2-2 4 15,-1-1-7-15,3 1 7 0,1-2 6 0,0 2-8 16,2-4 3-16,0-2-14 0,2 6 1 0,1-5 15 16,4 0-10-16,2 1-13 0,1-2 2 15,2-2-4-15,4 2-29 0,1-2 6 0,-1 1-39 16,2-3-10-16,1 1 7 16,-5 1-61-16,2-1-31 0,-1-1-53 0,1 1-44 15,-2-1-46-15,0-1-113 0,-1 2-549 0,-1-2 88 0,1 0 80 16,0-1 74-16,-2 2 98 15,-1-2 45-15</inkml:trace>
  <inkml:trace contextRef="#ctx0" brushRef="#br0" timeOffset="-161523.86">22276 3834 954 0,'5'-2'433'0,"2"2"-42"15,-7 0-22-15,11 1-21 16,-3 0-25-16,-2 0-24 0,-2 2-12 0,2-1-18 16,-2 2-3-16,2-1-2 0,-4 2-34 0,3 2-28 15,-2-1-48-15,-3 1 20 0,2 2-13 16,0-2-15-16,-2 0-21 31,1 0-4-31,-1 0-27 0,2 0-2 0,1 2 6 0,0-2-29 0,2 1 10 0,-1-2-12 0,2 4 2 16,1-2 10-16,1 0 1 0,0 1 19 0,0 0-22 0,3 0 5 15,-2 0-59-15,-4-2 31 0,3 3-5 0,-3-4-1 16,0 2 6-16,-2 0 23 16,-3 1-21-16,0-3-12 0,0 1 94 0,-3 0-31 15,-2 0 26-15,-2 0-35 0,-3-1-4 0,1 2-50 16,-1-3-8-16,-2 0-11 0,1 0-32 0,2-3-29 15,-2 2-67-15,3-2-32 0,-2-1-52 16,2 2-44-16,0-3-4 0,4 0-57 0,-4 0-107 16,2-4-123-16,6 4-535 0,-5 0 94 0,5 0 118 15,0 0 42-15,-2-4 89 0,2 4 92 16</inkml:trace>
  <inkml:trace contextRef="#ctx0" brushRef="#br0" timeOffset="-160258.18">22396 4581 1172 0,'0'0'394'0,"0"0"-89"0,0 0-37 0,0 0 9 0,3 11-37 15,-8-4 16-15,3 1-148 0,-2 4-6 16,-3 0-2-16,2 2-15 0,0 1-1 0,-2 0-20 16,1 0 3-16,1 2 12 0,0-5 44 0,0 2 2 15,1-1-30-15,-2-1-8 16,4-1-18-16,-2 0 13 0,2-2-21 0,-1-1 14 0,0 1-42 15,-1-2 10-15,4-1 1 0,-2 1 23 16,1-1-52-16,-2-1-2 0,3 1-29 16,-2-3-9-16,2 2-29 0,-1 0-48 0,1-1-78 0,0-4-70 15,0 5-65-15,0-5-558 0,1 5 123 16,-1-5 61-16,2 0 85 0,-2 0 33 16</inkml:trace>
  <inkml:trace contextRef="#ctx0" brushRef="#br0" timeOffset="-159874.55">22515 4625 1016 0,'2'9'381'0,"0"-5"-20"16,-4 1-67-16,2 1 6 0,-2 1-65 0,1 0-25 0,-4 1-18 15,3 2 16-15,-1-1-124 0,-2 3-20 0,0 0 18 16,0-1 13-16,0 2-31 0,1-2-8 16,-2-1-25-16,0 2 20 0,4-3-23 15,-1-1 80-15,1 1-19 0,-1 0 24 0,1-2 10 0,1 1-11 16,1-3-43-16,0 1 26 15,1-1-23-15,4-2-29 0,-1 1 26 0,3-2-38 0,1 2 13 16,0-3-11-16,2 0-2 0,-1 0-42 16,1-1-9-1,0 2-36-15,0-2-34 0,0 0-61 0,-2 1-64 0,1-1-90 0,-7 1-176 16,6-1-392-16,-1 0 136 0,-7 0 43 16,8 0 121-16,-8 0 18 0</inkml:trace>
  <inkml:trace contextRef="#ctx0" brushRef="#br0" timeOffset="-159350.85">22343 4856 895 0,'0'0'318'16,"0"0"-34"-16,7 6 8 0,-7-6-52 0,3 6 67 15,-3-4-35-15,0 4-37 0,0-1 24 16,0 1-62-16,0-2-5 0,-3 1-41 0,3 1 8 16,0 0 4-16,0-1-24 0,0 1-45 0,0 0 65 15,0 0-69-15,3-2-3 16,-3 0 13-16,3 1-31 0,-3 0 13 0,5-2-3 0,-2 1-25 15,-1-1-3-15,5 1 26 0,-2-3-47 16,1 4-17-16,2-5-3 0,-1 0-15 16,1 2-59-16,0-1 0 0,2-1-61 0,0-1-42 15,2 1-73 1,-3 0-85-16,1-2-569 0,-2 2 116 0,2-3 5 0,0 0 64 0,-2 2 90 16</inkml:trace>
  <inkml:trace contextRef="#ctx0" brushRef="#br0" timeOffset="-159084.78">22532 4795 1226 0,'0'0'345'0,"0"0"-48"0,0 0-13 0,0 0-33 0,21 11-10 0,-11-7-1 16,1 5 85-16,1-2-120 0,1 3-10 15,2 0-29-15,-2 0-10 0,0 3-2 0,-3-1 4 16,3-1-22-16,-3-1-10 0,-2 4-32 16,-3-2 24-1,-2 1-31-15,0 2 13 0,-1-2-8 0,-4 1-31 0,-1 0-4 0,2 1-39 0,-3-2-26 16,-4 0-23-16,4-1-10 0,-3-3-41 0,0 1-25 16,-1-2-90-16,5-1-28 15,-4-1-131-15,0-2-115 16,1-3-387-16,4 3 55 0,-4-3 99 0,6-1 59 0,0 0 43 0</inkml:trace>
  <inkml:trace contextRef="#ctx0" brushRef="#br0" timeOffset="-158706.87">23058 4700 1046 0,'0'0'402'0,"0"0"-2"16,0 0-68-16,0 0-1 0,8 9-40 0,-6 0-24 15,2-1 68-15,-2 1-51 0,4 5-38 0,-5-1-13 16,2 0-21-16,-3 3-30 0,2 1-57 16,-2-1-33-16,0-2-45 0,0 1-22 15,-5 2-25-15,4-2-13 0,-3 0-38 0,2-3-5 0,-1 1-36 16,-2 0-24-16,3-4-24 16,-1 0-32-16,0-1-61 15,-2 0-48-15,0-1-101 0,0-2-475 0,2 1 127 0,0-3 24 0,-1-1 71 16</inkml:trace>
  <inkml:trace contextRef="#ctx0" brushRef="#br0" timeOffset="-158013.05">23107 4650 1187 0,'0'0'438'0,"8"0"-39"0,-8 0-30 15,7 3-59-15,-4 2-31 0,3 0-103 0,-2 1 11 16,1 0-46-16,2 1 0 0,-4 1-13 0,5 2-26 16,-1-3 0-16,1 1-17 0,-3 2-21 15,3-2-31-15,0-2-28 0,0 2 3 0,-1-1-31 16,-1-2-10-16,3 1-52 0,0 0-22 0,-2-2-47 16,3-3-43-16,1 1-33 15,0 0 17-15,-2-2-35 0,4-2 51 0,-2 0-52 0,-1 1-14 16,5-4 68-16,-5 0 80 0,0-1-13 15,4-1 0 1,-2 2 49-16,-2-1 58 0,0-2 52 16,-1 2 20-16,-2 1 57 0,0 1 9 0,-1-1 24 0,0 0 13 0,-2 0-3 15,0 2 7-15,-3-1-14 0,-1 2 7 0,0 2-15 16,0 0-1-16,0 0-12 0,0 0 13 0,0 0-19 16,-15 6-9-16,7-4-1 15,0 3-17-15,1 2 2 0,-3-1-7 0,2 2-1 0,-3 3-20 16,-1 0 13-16,-1 0-44 0,2-1 13 15,-1 3-18-15,2-2 1 0,1 0-11 16,-1-1-39-16,2 0-17 0,1-2-39 16,2 2-26-16,1-4 4 0,0 1-14 0,2-1-15 0,2-5-20 15,0 4-3-15,0-5-6 0,7 3 22 16,-7-3-1-16,8-2 11 0,1 0 25 0,0-2 3 16,-1-2 12-16,4-2 24 0,2-1 2 0,0 0 36 15,0-4 33 1,1 0 36-16,1 0 36 0,-1-2 15 0,0 5 36 0,-2-1-2 0,-1 0 25 15,-2 3-18-15,-1 1 11 0,1 0 9 16,-5 1-7-16,4 1-33 0,-5 0-5 0,1 2-3 16,1-1 10-16,-2 3-17 0,-4 1 7 0,0 0-8 15,15 6 18-15,-12-3 36 0,2 3-5 16,-2 4-15-16,-1-2 2 16,0 3-25-16,-1-1-21 0,-2 4-97 0,1 0-21 0,-2-1-7 0,0 6-26 15,-2 0-23-15,0-2-30 0,2-2-24 16,0 1-5-16,1-3-10 0,-2 1-5 15,3-3-20-15,0-2-50 0,0 1-25 0,3-4-20 16,-1 1 7-16,-1 0-22 0,5-2 20 0,-2-4-19 16,4 2-360-16,-3-1-51 0,4-2 128 15</inkml:trace>
  <inkml:trace contextRef="#ctx0" brushRef="#br0" timeOffset="-157352.99">23666 4944 312 0,'10'-7'194'0,"0"0"32"16,-2-1 7-16,0 2 22 0,-3-1-24 15,2 0 32-15,-4 1-9 0,2-1 15 16,-2 1-3-1,-1 0-18-15,1-1-15 0,-1 1-5 0,-2 2 18 0,0-1-52 0,-2 0-15 0,-1 1-5 16,1 2-25-16,2 2-24 0,-9-4-66 16,5 2-15-16,-3 2 12 0,7 0-28 0,-14 2 5 15,4 2 1-15,3-3-21 0,-1 4 15 16,0-2 59-16,0 2-3 0,3 0 8 0,-1 0-25 16,0-1 2-16,3 1-20 0,-2-1-14 15,3-2-12-15,-2 3 16 0,4-2-11 0,0-3 13 16,0 5-10-16,0-5-1 0,6 1-9 0,-6-1-8 15,12 0 17-15,-4 0-7 0,4 0 34 0,-1 0-9 16,2 2-4-16,0-1 15 16,0 0-29-16,2 0 14 0,-4 1-13 0,1 1 25 15,0 2 3-15,-3-4 2 0,1 4-17 0,-2-2-1 16,0 2 24-16,-2 1-34 0,-2 0-5 16,-1-1 13-16,-2 1-15 0,0-3 20 0,-1 3-23 15,-1 0 8-15,-1-1 33 0,0 0-39 0,-1-2-12 16,2 2 26-16,-3-3 4 0,2 2-46 15,2-4 19-15,-4 5 45 0,4-5-17 0,0 0-11 16,-4 1 13-16,4-1-7 0,0 0 7 0,0 0-3 16,2-13-15-16,0 7-23 0,2 0 11 15,2 0-67-15,-2-1-24 0,1 1 9 0,0 0 12 16,0 0-20-16,3-4 10 0,-1 3-23 0,0 1-13 16,-1 0-25-16,-1 1-16 15,2 0 8 1,-1 0-64-16,-1-1-18 0,1-1-26 0,2 2-56 0,1-2-26 0,-2 2-2 0,0-2-5 0,0 0 54 15,0 1 112-15,4-1 10 16,-6-1 75-16,3 0 30 0,-1 1 49 0,1 1 62 16,0-2 40-16,-3 2 31 0,0 0 6 0,1 1 9 15,-2 0-2-15,0 2 41 0,-2-1-36 16,2 1 41-16,-2 0-41 0,-2 3-3 16,0 0 21-16,0 0-13 0,0 0 8 0,7 6-8 15,-8-1 13-15,1 2-28 0,0 0 13 0,-2 2-50 0,-1-2 4 16,2 6-13-16,-5-3-72 15,0 1 0-15,2 4-44 0,-4-2 14 0,0 0-42 16,3 0 3-16,-1 0-36 0,0-2 5 0,0-1-28 16,0 1-30-16,1 0-14 0,0-3-40 15,3 3-24-15,0-5-7 0,1 1-59 0,2-2-23 16,-1 1-3-16,2-3-25 0,0 1-51 16,3-2-433-16,0 1 87 0,1-2 31 0,1-1 102 15</inkml:trace>
  <inkml:trace contextRef="#ctx0" brushRef="#br0" timeOffset="-157052.85">24223 4850 601 0,'4'-6'399'0,"0"2"-28"0,-3 1 8 15,-1 3-43-15,-1-4-34 16,1 4-92-16,0 0-13 0,-14-1-16 0,14 1-14 16,-15 1 63-16,5 3-22 0,-4-1 19 0,2 1-37 15,-1-1-21-15,0 2 7 0,-4 2-20 16,3-1-10-1,-1 3-18-15,2-2-18 0,0 0-2 0,3-1-13 0,-1 1-3 0,1-1-10 0,0 0 7 16,2 0-30-16,3 0 18 0,-2-1-8 16,2-1 0-16,2 1-30 0,2 0-11 0,-1 0 8 15,2-2 4-15,0-3-6 0,2 6-34 16,2-2-10-16,1-3-29 0,0 2 3 16,0 0-20-16,2-3-31 0,0 0-26 0,-1 2-2 15,2-2-41-15,0 1-103 0,-3-1-68 0,3 2-190 16,2-1-438-16,-2-1 133 0,0 1 60 15,-1 0 63-15,1-1 105 0</inkml:trace>
  <inkml:trace contextRef="#ctx0" brushRef="#br0" timeOffset="-156098.92">24350 4947 939 0,'7'-9'386'0,"-6"2"-25"0,1 2-2 0,2 1-39 0,-4 1-103 0,1-1-9 0,-1 4-9 15,0 0-22-15,-1-7-11 0,1 7-20 16,-6 0-10-16,6 0-34 0,0 0-12 0,-9 5 7 16,0 0 3-16,4-2-13 0,1 1-13 0,-3 2-25 15,2 0 7-15,-2-2-18 16,2 2-15-16,0-1 24 0,2 1-50 0,0-1-10 0,1 1-2 15,2-3-24-15,0 1 32 0,0-4-3 0,4 7 4 16,-3-6 6-16,4 2-25 0,-5-3 17 16,12 0-12-16,-6 0 35 0,3-3-15 15,0 2-3-15,1-1-7 0,-3-3 23 0,4-2 23 16,-1 1-5-16,4-4 7 0,-2 0 16 16,0-1-29-16,-1-2 24 0,2 1 25 0,-3-1 18 15,0 0-15-15,-2 1 13 0,2-1-13 0,-2 3 2 16,-2 4-5-1,0-1 0-15,0 1-2 0,-3 4 12 0,-1-1-14 0,-2 3-1 0,0 0 69 16,0 0-23-16,0 0 8 0,-2 15-31 0,-1-8-15 16,-2 4 15-16,0-2-48 15,1 2-19-15,-2 1-56 0,0 0-38 0,2-3-25 16,-2 4-11-16,3-2-49 0,-2 1-28 0,2-4-51 16,-1 3-84-16,1-5-110 0,0 2-531 15,1-1 124-15,0-1 40 0,-1 0 157 0,3-2 23 16,0-1 53-16</inkml:trace>
  <inkml:trace contextRef="#ctx0" brushRef="#br0" timeOffset="-155917.72">24399 4959 1297 0,'0'0'425'0,"0"-7"-156"0,0 5-39 0,3-3-4 0,0 0-32 16,-1 3-22-16,3-3-1 0,0 0-40 0,2 2 9 15,1-2-24-15,0 0-9 0,2 1-15 16,3 0-5-16,-2-1-12 0,1 3-1 15,1-2-23-15,2 2-33 0,-2 2-8 0,0-2-64 16,0 2-35-16,-2 2-126 0,0-2-115 16,-2 2-318-16,-1 2-102 0,-2-2 49 0,-2 3 104 15</inkml:trace>
  <inkml:trace contextRef="#ctx0" brushRef="#br0" timeOffset="-155250.97">24284 5150 1220 0,'0'0'402'0,"0"0"-23"0,-10 7-31 15,9-1-30-15,-4 0-29 0,5 2 0 0,-2 2 36 16,0-1-30-16,-1 3-68 0,3 0 6 15,-4 1-46-15,2-1-64 0,0 1-8 0,-1 0 18 16,2-1-81-16,-3 0-47 0,4-2-44 16,-2-1 14-16,-1 2-65 0,3-3-33 0,-3 2 3 15,1-3-57-15,0 0-17 0,0-2-31 0,0 1-14 16,0-3 42-16,0 1 3 0,2-4 10 16,-6 2 12-16,6-2 13 0,0 0 52 0,0 0 20 15,-10-6 38-15,8 4 67 0,-1-4 10 16,-2 1 36-16,4 2 23 0,-1-5 36 0,-2 5 20 15,4-3 3-15,-1-1-20 0,0 1 17 0,-1 0 3 16,4 1 0-16,-2-2-41 0,2 1 25 16,0 1 16-16,2-1-41 0,0 0 21 0,1 3-21 15,2-3 18-15,-2 2-36 0,3 1 12 16,0-2 22-16,2 3-21 0,0 0-34 16,0 1 24-16,1 1-14 0,-1 0-27 15,2 0 20-15,-3 4-25 0,3-2 4 0,-4 3 16 0,0 0-41 16,2-2 6-16,-5 4-32 0,3-1 11 0,-2 0 12 15,-2 0-7-15,2 2-3 0,-4-1-2 16,3-2 12-16,-4 4 3 0,1-4-5 0,-2 0-7 16,0 0 14-16,2-1 6 0,-2 1-16 0,0-2 29 15,0 1 9-15,0-4-1 0,2 6 9 16,-2-6-5-16,0 0-12 0,4 1 17 0,-4-1-22 16,0 0 35-16,0 0 3 0,7-8-34 15,-2 4-2-15,0-3-36 0,2 1 3 0,0 0 0 16,1-4 15-16,1 4-36 0,0-2 10 15,-1 1-17-15,1 1-31 0,-1 1 15 0,1 0-26 16,-2 1-7-16,-1 0-30 0,0 2-14 0,-1-2-28 16,0 4-30-16,-5 0-50 0,10 3-60 15,-10-3-111-15,5 2-524 0,-1 0 64 16,-2 2 4-16,0 1 157 0,0-3 61 0,1 3 72 16</inkml:trace>
  <inkml:trace contextRef="#ctx0" brushRef="#br0" timeOffset="-154833.46">24578 5333 624 0,'0'0'266'0,"12"-5"-2"0,-10 3-31 0,2 0-16 0,-1-3-19 0,2 1-1 16,-1 2 53-16,0-3-19 0,0 3 20 0,-3-2-52 15,-1 4 14-15,5-2-3 0,-5 2-11 16,3-4-53-16,-3 4-8 0,0 0-2 0,0 0-26 16,0 0 23-16,0 0-15 0,0 0-44 15,0 0 16-15,-8 10-16 0,8-10-15 0,-5 7-5 16,2-6-1-16,3-1-9 0,0 5-8 15,0-5-11-15,-1 5-4 0,1-5 38 0,-3 3-23 16,3-3-16-16,0 0 8 0,3 6 13 16,-3-6-10-16,1 4-11 0,-1-4 44 0,5 2-30 15,-5-2-83-15,3 4 21 0,-1-3 5 0,-2-1 13 16,6 3-6-16,-4 0-7 0,-2-3 3 16,4 2 20-16,-4-2 20 0,4 6-4 0,-4-6-14 15,4 3-7-15,-2-2 15 0,-2-1-17 16,2 4 7-16,-2-4 0 0,2 3 15 15,-2-3-13-15,5 1 16 0,-5-1-5 16,0 0-10-16,0 0 7 0,0 0-2 0,13-1-6 0,-13 1-12 16,0 0 13-16,8 0-9 0,-8 0 4 15,5-3-47-15,-5 3 11 0,0 0-13 0,7-1-21 16,-7 1-36-16,3-3-45 0,-3 3-3 16,5-1-29-16,-5 1-30 0,8-3-79 0,-5 2-8 15,-3 1-20-15,4-5-52 0,-1 3-381 0,4-1 41 31,-4 0 71-31,5-2 54 0</inkml:trace>
  <inkml:trace contextRef="#ctx0" brushRef="#br0" timeOffset="-154462.96">24816 5269 437 0,'11'-11'218'0,"-1"3"53"16,2-2-23-16,-4 3 34 0,0-1 12 0,0 2-15 15,0-1 21-15,-3 1-8 0,0 0 7 16,2 2-112-16,-3-1 36 0,0 2-19 0,-1-1-1 0,0 3-9 16,-3 1 1-16,0 0-39 0,0 0 97 15,0 0-43-15,0 0 3 0,0 0-29 16,-10 13-13-16,6-7-4 0,0 0-6 0,-4 4-25 15,6-3-3-15,-4 0-10 0,3 0-36 0,-1 1 0 16,-1 1-8-16,3-3-30 0,-2 1 22 16,1-1-1-16,-1 0-104 0,1-3 4 15,2 3 17-15,-3-3-3 0,2-1 6 0,-1 3-13 0,-2-4 0 16,2 1 13-16,-2 1-11 0,0-1 11 16,0 2-5-16,0-3 10 0,-1 1 5 15,2 1 20-15,0-1-35 0,0 0 17 0,1 1 6 16,-2-1 23-16,5-2-16 0,-4 4-12 0,3-1 9 15,1-3 1-15,-3 4 20 16,3-4-25-16,0 0 13 0,5 6-24 0,-5-6 1 0,8 0-39 16,-8 0 12-16,7 2-29 0,-3-1-6 0,-4-1-23 15,10 0-24-15,-5 2 19 0,-5-2-61 16,10-2-3-16,-10 2-21 0,8-1-2 0,-8 1-67 16,8 0-82-16,-8 0-81 0,0 0-67 15,6-2-410-15,-6 2 52 0,0 0 117 0,8 0 46 16,-8 0 70-16</inkml:trace>
  <inkml:trace contextRef="#ctx0" brushRef="#br0" timeOffset="-150288.48">19433 1296 611 0,'7'-4'249'0,"1"2"-32"15,2-1 3-15,3-3-23 0,0 2 0 16,5-2-30-16,1 1 2 0,3-3 15 0,3-1-7 15,3 2-34-15,9-3 5 0,4-1-14 16,0 0-12-16,2 0 1 0,4-1-5 0,-1 1-10 0,0 1 45 16,5-1 14-16,14 1-124 15,-2-2 21-15,4 4-26 0,-1 0 3 16,-9 2 8-16,2 4-23 0,-3-2 15 0,0 2-13 0,-4 2 13 16,2 0-3-16,-5 3-28 0,-1 1 18 15,1 0 11-15,-8 1-14 0,0 0 11 0,-5 0-28 16,-6 1 25-16,-1 0-2 0,1 1-16 0,-3-1-2 15,1 1 23-15,1 0-10 16,-4 1-16-16,0 2 15 0,1 0-2 16,-2 1 26-16,-2 1-13 0,6 3-13 0,-7 0 18 0,-4 0-3 0,1 0-30 15,-2 1 25-15,-1 1 18 0,1 1 1 16,-2-1-27-16,-3 2-17 16,2 1 18-16,-2 1-6 0,-1 1 11 0,-3 2-6 0,1 1-9 15,2 7 14 1,0 2-4-16,-4 1-3 0,1 0 23 0,0 3-28 0,-3-2 5 0,3 1-10 15,-1-1 15-15,-2 0 3 0,1-4-11 0,-2-5-17 16,2-2 7-16,-2 1 18 16,1-2-18-16,0-1 8 0,0-4-15 0,-1-2 10 15,4 2-26-15,-6-1 21 0,5-4-8 0,-2 2-6 0,2-4 42 16,-2 0-38-16,2 0 32 0,1-2 73 16,0 0-21-16,-1-1-26 0,2-1 18 0,4 0-15 15,-1 0-18-15,2 0 23 0,3-1-31 16,1-1-15-16,1 2 23 0,8-2 18 15,2-2-28-15,13 2-8 0,5-1-3 16,2 1 8-16,3-1 1 0,1 0-17 0,4 0 29 0,12 0-7 16,1 1-19-16,5 0 29 0,5-1-6 15,1 2-25-15,1-1 10 0,-3 0 10 0,4 2-7 16,0-1 7-16,3-2-5 0,2 1-2 0,0 0 2 16,5 0 3-16,-2-1-26 15,-1 3-5-15,4 0 0 0,-1 1 18 0,2 1-18 16,0 0 5-16,0 1 18 0,-2 1-21 0,3 0 9 0,-3-1 19 15,0 1-37-15,-4 0 35 0,2 0-46 16,-6 0 33-16,-1-1-22 0,-3-1 12 16,-5 0-21-16,-5-3 21 0,1 1-40 0,-16-3-1 15,1 2 2-15,-7-2-1 0,2-1 4 0,-13-2-8 16,-7-2 1-16,0 3 7 16,-5-3 1-16,-3 0-27 0,-3 0 19 0,0 0-18 0,-4 0 2 15,-3 0 31-15,0 0-16 0,-3 0-17 0,0 0 2 16,1 0-56-16,-4-2 8 0,-1 1-8 15,-6 1-28-15,6-1-85 0,-6 1-77 16,0 0-222-16,-12-5-397 0,2 2 113 0,-3-2 0 16,-7 0 71-16,-6-3 108 0</inkml:trace>
  <inkml:trace contextRef="#ctx0" brushRef="#br0" timeOffset="-149158.75">19586 2091 1302 0,'0'0'356'0,"0"0"-21"15,3 9-4-15,-4-3-137 0,1 2 1 16,-2 1-34-16,2 2-20 0,-2 2 7 15,0-1-35-15,2 4-6 0,-3-2-20 0,0 2-17 16,3 0 17-16,-2-1-34 0,2-1-22 16,-3 0-5-16,3-1 9 0,-3-1-22 0,6 0-10 15,-3-4 22-15,0 2-30 0,0-1 36 0,0-2-23 16,0-1 10-16,0-1 10 0,0 0-13 16,0-5 29-16,0 3-14 0,0-3 9 0,0 0-1 15,0 0 3-15,0 0 28 0,5-17 3 0,-2 8-31 16,2-3 20-16,0-1-7 0,0-5-10 15,0 3 2-15,1-3 7 0,2-3-12 16,0 4 11-16,1-2 22 0,-4 2-8 0,3 1-17 16,0 2 10-16,-1 2 10 0,-1 2-20 0,1 1 20 15,-2 3-13-15,1 1-15 0,1 2 10 16,0 3-15-16,-1 0-18 0,-1 4 36 0,3 0-3 16,-1 1-10-16,0 4-16 15,-3 1-14-15,3 2-9 0,-1 2 8 0,1-3-38 0,-2 5-10 16,0-1 5-16,-2-3-13 0,2 4-29 0,-2-3-12 15,-1 3-28-15,1-3-15 0,0 1-42 16,-1 0-69-16,-2-3-89 0,0-1-51 0,0 1-474 16,0 1 46-16,-2-3 108 0,-1 0 66 0,0 0 72 15</inkml:trace>
  <inkml:trace contextRef="#ctx0" brushRef="#br0" timeOffset="-148904.75">19522 2347 1261 0,'3'-6'418'0,"1"5"-24"0,0-2-100 16,1 1-33-16,5-2 11 0,-2 1-47 0,4 0-18 16,2-1-33-16,0 1 3 15,-1-1-21-15,3 1-41 0,-1 0-28 0,3-1 11 16,0 1-70-16,-2-1-31 0,-1 2-20 0,1 1-84 15,-1-3-57-15,0 2-120 0,-2 1-175 0,3-2-370 16,-4 1 66-16,-1 0 100 0,-1 0 62 16</inkml:trace>
  <inkml:trace contextRef="#ctx0" brushRef="#br0" timeOffset="-148199.87">19933 2205 1533 0,'0'0'435'0,"0"-5"-38"0,0 5-29 16,0 0-25-16,0 0-25 0,0 0-14 0,0 0-112 15,0 0-33-15,0 0 15 0,-8 10-28 16,6-7-13-16,1 3-26 0,0-3-2 0,0 1-15 16,1 1 38-16,-3 0-61 0,3 0 12 15,0-1-15-15,3 2 2 0,-3-1-9 0,1-1-1 16,0 1-25-16,0-1-18 0,1-1-3 15,2 0-18-15,0-1 29 0,0 0-11 0,2-1 10 16,2-1 1-16,-8 0-16 0,13 0 21 0,-6-2-11 16,1 1-15-16,2 0 18 15,-10 1-31-15,13-1 16 0,-8 1 15 0,-5 0-16 0,10 0 3 16,-10 0-10-16,10 2-8 0,-7-1 16 16,2 1-8-16,0 0 18 0,0 0-8 15,-5-2-8-15,8 4 1 0,-5-2 4 0,2 0 11 16,-5-2-3-1,7 2-10-15,-4-1 3 0,-3-1 27 0,11 0-1 0,-11 0 17 0,7-1 2 16,-2-3 37-16,0 2-16 0,-2-1 84 0,2 0 6 16,0-2-41-16,-2 0 30 0,3-1-2 0,-4 1-33 15,2 0-8-15,-1 0-85 0,0-1-27 16,1 2 14-16,-3-1 19 0,4 2-49 16,-3-1-36-16,-2 4-33 0,3-6-26 0,0 4-28 0,-3 2-48 15,2-6 9-15,-2 6-30 0,3-2-33 0,-3 2-67 16,7-3-74-16,-4 2-15 15,2-1-3-15,2 0 41 0,1-1-13 0,-2 1 64 16,4-2 77-16,-3 2 69 0,1-3 92 16,0 1 52-16,0 0 86 0,-1 1 44 0,-1 0 38 15,1 0 21-15,-4 0 36 0,2 1-21 0,-2-1 10 16,-1 1 11-16,-2 2-34 0,0 0 8 0,0 0-17 16,0 0 14-1,0 0-30-15,0 0 2 0,0 0 3 0,0 0-15 0,0 0-26 0,0 0-13 16,-12 10 31-16,11-5-49 0,-1 0-8 0,2 1 6 15,0 0-18-15,2 0-18 0,-1 3 38 16,1-1-13-16,0-1 1 16,3 3-34-16,-4-3 18 0,1 2-23 0,3-2 0 0,-5 1 13 15,3-1-8-15,-1 1-18 0,-2-1 6 0,0 0-4 16,0-3 27-16,-2 2-26 0,-1-1-11 16,0 0-27-16,1-1-39 0,-1 0-39 0,-4 1-9 15,4-4-65-15,-2 2-89 16,0-2-144-16,-1 2-547 0,6-3 35 0,-10 0 124 0,10 0 71 15,-6-3 61-15,6 3 70 0</inkml:trace>
  <inkml:trace contextRef="#ctx0" brushRef="#br0" timeOffset="-147948.66">20538 2257 1008 0,'17'-1'248'0,"-17"1"-17"16,11 1-21-16,-11-1-80 0,15 0-61 15,-7 0-51-15,-3-1-100 0,3 1-61 0,-8 0-34 16,12 1-422-16,-6 0 11 0</inkml:trace>
  <inkml:trace contextRef="#ctx0" brushRef="#br0" timeOffset="-147784.15">20551 2309 959 0,'-6'3'379'15,"6"-3"-110"-15,-2 2-5 0,2-2-21 0,0 0-10 0,0 0-11 0,0 0-27 0,8 5-18 16,-3-4-34-16,0 0 0 15,2 0-5-15,1-1-17 0,4 0-42 0,-3 0-61 0,3 0-44 16,0-2-17-16,0 1-118 0,-2-1-95 16,3 1-167-16,-1-1-319 0,2-3 66 0,-4 4 47 0,2-1 94 15</inkml:trace>
  <inkml:trace contextRef="#ctx0" brushRef="#br0" timeOffset="-147506.36">20748 2195 1187 0,'0'0'428'0,"0"0"-85"0,0 0-21 0,0 0-35 15,0 0-8-15,0 0-13 0,18 8-23 0,-13-3-33 16,0 1-5-16,1 1 20 0,1 1-25 16,-2 2-24-16,3-2 1 0,-3 3-18 0,2 0-6 15,-4-1-14-15,2 1-34 0,-4 0 7 0,1 0-9 16,-2-1-37-16,-2 3 8 15,-1-3-25-15,-2 2-52 0,-1 0-20 0,2-3-25 16,-2 1-52-16,-1-1-23 0,4-2-33 0,-2 0-54 16,1-2-133-16,-5 2-123 0,6-3-443 15,-1-2 67-15,4-2 161 0,-3 1 21 16,3-1 84-16</inkml:trace>
  <inkml:trace contextRef="#ctx0" brushRef="#br0" timeOffset="-146298.28">21197 2299 990 0,'9'-1'381'0,"-1"2"-12"0,0 1-21 0,-3 0 23 0,1 1-23 15,0-2-30-15,-5 3-49 0,2 1-16 0,-1-2-7 16,-2 3-18-16,-2 0-26 0,-1-1-36 16,0 3-2-16,-1-2-21 0,-4-1 16 0,3 2-36 15,-1 0-26-15,-1-3 18 0,-1 2-46 0,5-2 31 16,-1 1-41-16,1-2 3 0,0 0-16 16,1 0 28-16,0 1-20 0,2-4 7 15,4 6 1-15,-1-3-24 0,0 0 8 0,2-1 10 0,2 2-25 16,-2-1 48-16,3 2-2 15,-2 0 13-15,1 0-6 0,0-2-84 0,-1 3 26 16,-1-1 5-16,0-2-21 0,-2 2 15 0,-1 0 4 16,-2 1-9-16,0-1 16 15,-2 1-11-15,2-2 24 0,-3 1-39 0,-2 0 1 0,0 1-6 16,-1 0-33-16,-1-3-19 0,0 1-14 16,1 1-41-16,-2-4 4 0,1 1-22 0,1 2-18 15,-1-4-46-15,4 2 9 0,3-2-32 0,-8 0-33 16,8 0-16-16,0 0-36 0,0 0-69 0,0 0 2 15,0 0-32-15,2-9-129 16,4 4-250 0,2 0 20-16,4-3 97 0,-3 1 49 0</inkml:trace>
  <inkml:trace contextRef="#ctx0" brushRef="#br0" timeOffset="-145989.62">21380 2397 844 0,'9'-6'336'0,"1"1"7"0,-2 1-90 0,-3 0 0 16,-2 2 93-16,-1-1-8 0,-2 3-49 0,4-3-13 15,-4 3-30 1,0 0-3-16,0 0-17 0,0 0-14 0,0 0-35 0,-19 2-29 0,14 0 1 15,0 0-9-15,1 0-24 0,-2 1-4 0,0-1 11 16,4 1-49-16,-4 0 1 16,4 0-9-16,2 1-2 0,-2 0 33 0,2 0-51 0,2 0-17 15,0 1 19-15,2 1 14 0,0-2 27 16,2 2-40-16,1 2-39 0,3-1 31 16,-2 0-84-16,2-2 7 0,-2 2 25 0,0-1 19 0,-1 0 2 15,1-2-7-15,-2 2 28 0,-2-2 25 16,1 2-25-16,-2-1 2 0,-1 2-13 15,-2-4 37-15,0 4-9 0,-2-2-7 0,-1 1-5 16,-4 0-33-16,-1 1-8 0,0-1 15 0,-2 0-36 16,1-1-35-16,-3 1-31 0,2-1-36 15,-1-1-31-15,1 1-66 0,0-1-44 0,3-2-138 16,0-1-159-16,0 1-378 0,3-1 81 0,4-1 154 16,-8 1 41-16,8-1 54 0</inkml:trace>
  <inkml:trace contextRef="#ctx0" brushRef="#br0" timeOffset="-145780.31">21715 2372 1131 0,'4'0'535'0,"-4"0"-44"0,6 4-12 0,-4-2-36 0,1 2-57 0,0 2-50 0,-3 0 2 15,2 0-34-15,-2 2-15 0,0 3-66 0,0-2 2 16,0 3-107-16,-2 2-18 0,-1-1-39 0,0 1-48 15,-2 0-33-15,-2 0-44 0,-1 0-64 16,3-1-39-16,-1 1-73 0,-2-1-114 0,-4-1-127 16,7-3-443-16,-2-1 72 0,1-3 89 0,3 1 74 15,-4-3 108-15</inkml:trace>
  <inkml:trace contextRef="#ctx0" brushRef="#br0" timeOffset="-145595.58">21633 2471 1579 0,'0'0'448'0,"0"-5"-64"0,0 5-23 15,0-3-95-15,0 3-43 0,0 0-80 0,0-6-74 16,0 6-92-16,0 0-169 0,0 0-625 16,0 0 70-16,14 7 53 0,-8-5 44 0</inkml:trace>
  <inkml:trace contextRef="#ctx0" brushRef="#br0" timeOffset="-145506.49">21833 2520 1011 0,'10'2'399'0,"-3"-1"-102"16,-1 2 0-16,-1-3-36 0,-5 0-21 16,5 2-12-16,-5-2-54 0,8 0-28 0,-8 0-49 15,6 1-61-15,-6-1-95 0,4 2-143 0,-4-2-161 16,0 0-390-16,0 0 57 0,0 0 53 16</inkml:trace>
  <inkml:trace contextRef="#ctx0" brushRef="#br0" timeOffset="-144273.06">19494 2899 819 0,'0'0'304'0,"0"0"-9"0,0 0-24 0,0 0-38 15,2 14-13-15,-2-6-13 0,0 2-17 0,0 0-32 16,-4 4 4-16,4 0-50 0,-3 1 24 15,2 2-29-15,-3-3 70 0,2 1-62 16,-1 2-5-16,0-3-41 0,3 0-33 0,-2-1-33 16,0 0-57-16,2-1-43 0,-1-1-116 15,-2-3-37-15,3 1-587 0,0 0 117 0,0-3 19 0,0 0 76 16</inkml:trace>
  <inkml:trace contextRef="#ctx0" brushRef="#br0" timeOffset="-143785.53">19530 2914 1180 0,'10'-6'409'0,"-2"-1"-20"0,0 3-56 16,0 1-16-16,-1-1-22 0,1 1-14 16,-1 1-30-16,-1 1-5 0,-1 1-39 15,-5 0-15-15,12 4-5 0,-4 2 2 0,-2 0-32 0,1 1-22 16,-2 2-4-16,0 2 22 0,1 1-55 16,-1 1 12-16,-2 0-23 0,-1 1-69 0,0 1-26 15,2-2-7-15,-3 1-34 0,0-1-10 0,-1 0-20 16,0 1-24-16,0-3 1 15,0-1-34-15,0 2-66 0,0-4-44 0,0 2-71 0,-1-2-18 16,0-2-548-16,1 1 89 0,0-1 98 16,0-1 74-16,-1-2 64 0</inkml:trace>
  <inkml:trace contextRef="#ctx0" brushRef="#br0" timeOffset="-143583.15">19525 3094 890 0,'-5'-3'418'0,"5"3"-32"0,-5-1-58 15,5 1-37-15,0 0 6 0,0 0-36 0,0 0-22 16,0 0-40-16,0 0-15 0,0 0-17 16,0 0-14-16,0 0-66 0,0 0-25 0,23 4-34 15,-18-4-59-15,3 0-120 0,-1-4-135 31,3 3-549-31,1 1 83 0,-1-1 53 0,3 1 87 0,-2-1 59 0</inkml:trace>
  <inkml:trace contextRef="#ctx0" brushRef="#br0" timeOffset="-143020.9">19796 2921 1036 0,'3'-1'330'16,"-3"1"-25"-16,14 1-11 0,-7 0-50 0,3-1-32 0,-2 4 8 0,0-2-7 0,0 1-11 0,0 1-15 15,-4-1-24-15,1 0-14 0,0 2 20 16,-2-1-21-16,-3 3-25 0,3-2-3 0,-6 0 65 15,2 3-27-15,-3 0-12 16,1 0-20-16,-2 1-1 0,1-1-7 0,-2 3-3 0,-2-3-12 16,3 2-27-16,-1-2 24 0,-1 0-23 0,4 0-31 15,-1-1 28-15,-2 0-5 16,4-1-12-16,-1 1-16 0,0-1-8 0,1-2 5 0,2 0 8 16,0 2-28-16,0-2-10 0,2 1 5 15,2-1-6-15,3 0 1 0,-2-1 38 16,3 1-41-16,-1-2 3 0,4-2-16 0,-1 4-33 15,0-4-28-15,3 0-5 0,-1 0-49 0,-1 0-23 16,3 0-122-16,-2-2-116 0,0 0-628 16,-1 2 155-16,1-3 76 0,-2 1 75 0,0 1 66 15,-1-2 59-15</inkml:trace>
  <inkml:trace contextRef="#ctx0" brushRef="#br0" timeOffset="-142243.42">19799 3044 1008 0,'0'0'335'0,"0"0"-35"0,-7 1-31 16,7-1 12-16,0 0-56 0,0 0-15 0,0 0-28 15,0 0-8-15,0 0-33 16,25 0-49-16,-13-1-20 0,-4-1-19 0,3 0-35 0,-1 2-38 15,3-2-54-15,-2-1 10 0,3 0-36 0,-1 0 10 16,0-1 21-16,-2 0 3 0,2-1-6 16,-1 2 0-16,-2-2 16 0,0 1 35 15,1 0 39-15,-3 1 31 0,0 0 46 0,-1 0 2 16,-2 0 34-16,1 1 12 0,-2 0-2 16,-1 0-11-16,-3 2-15 0,7-1 1 0,-7 1-9 15,0 0 1-15,0 0-9 0,3 7-4 0,-3-7-5 16,0 7-24-16,0-2 24 0,-2-1-29 15,2 4 8-15,0-4-2 0,0 3 66 0,0-1-31 16,0 0-4-16,0-1-34 0,2 2-3 16,-2-1-5-16,3-2 8 0,-1 2-20 0,-1-3-13 15,4 0 20-15,-3 0-26 0,-2-3 24 0,8 3-3 32,-3-3-13-32,-5 0-12 0,10-4 15 0,-7 2-13 0,7-1 13 0,-5 0-13 15,0-3 28-15,1 2-10 0,-2-3 10 0,0 1-71 0,3 0 17 16,-4 1-2-16,1 1-21 0,-1-2 19 15,0 2-1-15,1 2-2 0,-3-1 20 16,-1 3-13-16,5-4-7 0,-5 4 10 0,0 0 0 16,0 0-5-16,0 0 2 0,5 8-45 0,-2-6-14 15,-3 3-12-15,0-5-39 0,-3 7-7 16,3-3-15-16,0-1 12 0,0-3-3 0,3 5-38 16,-3-5 21-16,0 4-3 0,0-4 44 15,5 2-3-15,-5-2-21 0,0 0 52 16,0 0 20-16,10-2 34 0,-10 2 2 0,8-4 31 15,-3 4 0-15,-5 0 30 0,9-3-4 0,-5 3 12 16,-4 0 28-16,7 0-17 0,-7 0 12 16,8 3-8-16,-3-3 19 0,-2 4 9 0,2-1-1 15,-3 0-24-15,1 3 2 16,-1-3-1-16,1 2 1 0,-3 0-9 0,3 1-19 0,-1-3 16 16,-2 1 13-16,0 2-13 0,2-4 5 0,-1 2-8 15,-1-4 26-15,0 6 92 0,0-6-28 0,2 2-3 16,-2-2-15-1,0 0-8-15,0 0-25 0,0 0 18 0,0 0-34 0,14-11-15 0,-10 7-8 16,2-4-33-16,1 0-15 0,1 1-31 16,1-1-23-16,-1-1-10 0,1 2-54 15,3-1-34-15,1-1-43 0,-3 2-81 0,5-2-173 16,-4 4-565-16,3 0 54 0,-5 2 125 0,4-2 98 16,-3 4 48-16,0-3 69 0</inkml:trace>
  <inkml:trace contextRef="#ctx0" brushRef="#br0" timeOffset="-142062.95">20605 2972 898 0,'9'0'384'0,"-9"0"-92"0,8 0-21 0,-8 0-61 0,8 2-90 0,-3-1-86 0,-5-1-139 0,5 1-607 15,2 1 34 1,-6 1 76-16</inkml:trace>
  <inkml:trace contextRef="#ctx0" brushRef="#br0" timeOffset="-141892.68">20568 3066 1003 0,'-2'3'392'0,"2"-3"-55"16,0 0-88-16,0 0-50 0,0 0 4 15,5 3-29-15,-5-3-18 0,5 3-21 0,-5-3-9 16,8 1-21-16,-8-1-44 0,10-1-15 16,-10 1-25-16,11 0-39 0,-7-3-41 15,4 2-38-15,-2 0-116 0,1-3-48 0,0 1-476 16,3-1 38-16,-2 1 85 0</inkml:trace>
  <inkml:trace contextRef="#ctx0" brushRef="#br0" timeOffset="-141505.68">20733 2869 867 0,'0'0'384'0,"0"0"-48"0,0 0-42 0,0 0-15 15,14 7 2-15,-8-3-55 0,-1 1 9 16,3 0 21-16,2 4-51 0,0-2 38 16,1 3-53-16,1 0-29 0,0 1 5 0,-3-2-7 0,-4 0 33 15,3 1-54-15,-4 1-7 0,2 1-78 16,-4-4-14-16,-2 2 2 0,0-1 2 15,-2 1-2-15,0-1-5 0,-2-1-5 0,0 0-42 16,-1 0-22-16,2-2-38 0,-2 2-34 0,2-2-11 16,-1-1-86-16,4 0-164 0,-3-2-563 15,0 0 84-15,3-3 100 0,0 0 85 0,0 0 46 16</inkml:trace>
  <inkml:trace contextRef="#ctx0" brushRef="#br0" timeOffset="-140818.92">21268 2831 844 0,'0'0'251'0,"13"3"-8"0,-10 1 8 15,1-1-18-15,0 1-31 0,1 1-28 0,-3 1-10 16,1 1 18-16,-1 1-21 0,-2 0-25 16,0 0-3-16,-2 4 8 0,-3-2-13 0,0 1-36 15,1 0 10-15,-3 2-25 0,0-3-5 32,-1 1-11-32,0-1-5 0,4-1 11 0,-2 1-11 0,1-1 13 0,1-2-2 0,-2-1-16 15,3-1-23 1,0 0 0-16,3 1 16 0,0-4-8 0,0-2-16 0,3 3 3 0,-3-3-15 0,9 0-5 15,-9 0-32-15,12-3-12 0,-5 1 13 16,3-1-10-16,-2 1 2 0,4 0 21 0,-6 0-26 16,4 0 10-16,-2 1 3 0,-3 0 7 15,3 1-12-15,-8 0-8 0,12 0 0 0,-6 0 10 16,-1 2 6-16,3-2-8 0,-8 0 33 16,12 0-16-1,-4 0-9-15,-2-1 2 0,4 0 10 0,-3-2 33 0,1 3-2 0,0-3 33 0,0 0 11 16,2 0 102-16,-3-1-13 0,-4 2 25 15,2-2 19-15,2 1-29 0,-4-2-17 16,-3 0-55-16,3 2-30 0,-1-2 11 0,-2 1-22 16,-2-1 14-16,2 5-8 0,-3-8-3 0,0 6-10 15,-1-2-28-15,1 1-8 0,-2 1 6 16,1 0-19-16,4 2-7 0,-12-1-36 0,7 1-31 16,-2-1-23-16,7 1-36 0,-11 1-30 0,11-1-115 15,-10 2-75-15,5-1-120 0,5-1-356 16,-5 2 10-16,5-2 128 0,0 0 37 15,0 0 55-15</inkml:trace>
  <inkml:trace contextRef="#ctx0" brushRef="#br0" timeOffset="-140602.79">21755 2807 1095 0,'9'0'374'0,"-9"0"-29"16,4 3-2-16,0 1-53 0,-2 1 88 0,-2-1-60 15,2 4-37-15,-2-1 11 0,0 1-31 16,-2 0-15-16,1 3-41 0,-4 0-34 0,3 0-2 16,-3-1-46-16,-3 4-23 0,2-3-57 15,-1 2-27 1,-3-3-34-16,5 0-31 0,-3 0-48 0,0 0-39 0,3-1-107 0,-2-5-164 16,-1 2-548-16,3 1 149 0,3-2 66 0,-2 1 65 0,2-4 99 15</inkml:trace>
  <inkml:trace contextRef="#ctx0" brushRef="#br0" timeOffset="-140463.58">21666 2914 650 0,'0'0'135'0,"0"0"-89"0,2-3-486 16</inkml:trace>
  <inkml:trace contextRef="#ctx0" brushRef="#br0" timeOffset="-140337.4">21955 2984 993 0,'0'0'378'0,"0"0"-70"15,0 0-50-15,8 0-102 0,-8 0-158 16,0 0-216-16,0 0-470 0,0 0 81 0</inkml:trace>
  <inkml:trace contextRef="#ctx0" brushRef="#br0" timeOffset="-139251.3">19743 3396 1379 0,'-10'5'410'0,"0"2"-14"0,-1 0-47 0,-4 3-4 0,6 3-63 0,-3-4-8 0,0 2-52 16,4 2-14-16,-2-2-11 0,4-1-26 0,-1 1-89 0,3-1-13 15,0-2-18-15,1 0-4 0,2 1-22 16,2-3 21-16,0-2 21 0,5 0-44 0,0 1-3 15,-1-3 14-15,6-1-11 0,2-2 5 16,-1 0 0-16,4-3 8 0,-3 0-23 16,4 0 2-16,-2 2-5 0,-1-2 49 0,1 1-10 15,-2-1-26-15,0 2-3 0,-3 2 6 16,0 0 7-16,-1 2-7 0,0 2 12 0,-1 0 6 16,0 3-14-16,-1 2 14 0,-4-3-42 15,3 3 16-15,-2 2-15 0,-2-1 12 0,-2-1-20 0,0 2-26 16,0-3-17-16,0 3-9 0,-2-3-14 15,0-1-45-15,2 2-45 0,-1-2-67 16,1-1-117-16,0-3-57 0,0 2-473 0,0-5 71 16,3 4 126-16,-3-4 40 15,10-3 55-15</inkml:trace>
  <inkml:trace contextRef="#ctx0" brushRef="#br0" timeOffset="-138626.65">20066 3436 1121 0,'0'0'448'0,"0"0"-36"0,-8-2-44 0,8 2-32 16,-12 6-19-16,4 0-30 0,0 1-8 16,0 0-26-16,-2 4-61 15,0 0 3-15,0 1-37 0,-3 0 47 0,5 1-56 0,0-1-24 16,1-2-20-16,-1 1-5 0,3 2 0 0,0-3-13 16,2-1 10-16,1 1-33 0,2-1-23 0,0 1-21 15,2-3-12-15,0-1 5 0,1 1-11 16,3-3-48-16,1-1-18 0,-2 1-7 0,3-3-16 15,2 0-47-15,0-1-11 0,0-2-27 16,1-2-22-16,-1 1-9 0,3-1 4 0,0-2-34 16,0-1 28-16,2-3 36 0,-2 0 15 0,0-1 39 15,2 0 49-15,-4-2 45 0,-1 0 72 16,0 5 19-16,-2-3 40 0,-1 4 71 0,-1 0-27 16,-2 1 28-16,2 0-13 0,-2 2-8 0,-3-2 5 15,4 5-104-15,-5 1 25 0,0 0-11 16,0 0 12-16,0 0-4 0,0 0-2 15,-2 11-33-15,2-4 7 16,-3 0-2-16,0 3-1 0,1-1-9 0,-1 1 20 0,0 2-28 0,1 1 10 16,0 0-26-16,1-1 3 0,-1 1-5 15,-1-2-2-15,1 0-14 0,1-1-22 0,-1 1-3 16,0-2 0-16,2-1 15 0,0-3-25 0,-3 1 20 16,3-1 20-16,0 0-19 15,0-2 9-15,0-3-12 0,0 0 45 0,0 0 4 0,0 0-1 16,0 0 0-16,0 0 21 0,8-16 13 15,-6 7-26-15,3-1 23 0,-2-6 23 0,2-1 0 16,0 1 35-16,1-3 37 0,4 0-44 0,-3 3-7 16,1 2 2-16,0 0 5 0,4 2-25 15,-4 2 38-15,0 2-49 0,0 3-7 16,-1 1 5-16,-1 2-6 0,1 2 21 0,-7 0-33 16,11 4 18-16,-9-2-46 0,2 2 40 0,-4 0-25 15,0 1 16-15,-2 4-8 0,-2-2-13 16,-2 1-18-16,-2 0 23 0,-2 2-95 0,3-2 6 15,-4 2-19-15,1-1-45 0,0-3-19 0,-1 1-15 16,1 0-45-16,3-2 22 0,-1-1-31 16,0 1-35-16,3-3-34 0,2 0-25 15,-1 1-90-15,4-3-110 0,-6 1-530 0,6-1 131 0,0 0 59 16,0 0 122-16,0 0 62 0,0 0 62 16</inkml:trace>
  <inkml:trace contextRef="#ctx0" brushRef="#br0" timeOffset="-138303.15">20638 3488 1095 0,'0'0'415'0,"0"0"-57"0,10-6-30 0,-4 6-16 16,1-2-30-16,3-1-52 0,-1 2 16 0,0 0-57 15,4-2-10-15,0 0-17 0,2 0-55 16,-2 1-23-16,0 0-30 0,2-2-59 0,-2 2-23 15,-1-1-74-15,-1 1-83 0,-1 1-78 16,-2-3-50-16,0 3-508 0,-1 1 99 0,-7 0 56 16,11 2 60-16</inkml:trace>
  <inkml:trace contextRef="#ctx0" brushRef="#br0" timeOffset="-138078.95">20663 3541 975 0,'-7'3'348'0,"4"-2"-23"0,3-1-36 15,-6 1-28-15,6-1 8 0,-2 4-49 16,2-4 5-16,0 0 1 0,2 5 42 0,-2-5-19 16,8 4-9-16,-2-3-48 0,1 2-23 0,3-1 13 15,1-2-11-15,-1 2-50 0,4 0-11 0,0-2-82 16,2 0-7-16,2 0-45 0,-3-2-19 16,1 0-24-16,1 2-27 0,-1-3-19 0,-3 1-51 15,3 0-17-15,-2-2-86 0,0 1-96 16,-4-1-492-16,0 2 69 0,1-3 128 15,-2 0 44-15,-4 1 69 0</inkml:trace>
  <inkml:trace contextRef="#ctx0" brushRef="#br0" timeOffset="-137777.54">20838 3342 1013 0,'0'0'425'0,"9"-2"-128"16,-5 2-5-16,-4 0 12 0,15 0-35 16,-5 2-21-16,3 0 3 0,2 3-18 0,3-1-10 15,-2 2 5-15,4 1-11 0,2 2-7 16,-3 0 5-16,2 1-33 0,-6-2-13 0,-2 2-10 16,2-1-19-16,-7 3 22 0,1-1-19 0,-5-1-20 15,-4 2-21-15,0 1-7 0,-3 0-46 16,-4 1-1-16,-6 3-50 0,0 0-16 0,-2 0-41 15,-3-3-56-15,-5 9-36 0,2-8-46 16,3-2-106-16,0-1-127 0,-2 0-519 16,2-2 45-16,2-1 95 0,-1-1 126 0,0 0 30 15</inkml:trace>
  <inkml:trace contextRef="#ctx0" brushRef="#br0" timeOffset="-135824.65">21335 3283 1231 0,'0'0'422'16,"0"0"-25"-16,0 0-26 0,5 7-54 0,-5-3-9 16,0 2-27-16,0-2-33 0,0 5-33 15,0-1-28-15,0 3-10 0,0 1-26 16,-1 1 26-16,-3 0-47 0,2 1-45 0,-1 0-9 16,0 0-45-16,1-1-28 0,-1 0 2 0,1-1-51 15,-1-4-13-15,1 3-64 0,0-3-51 16,2 0-69-16,-1-1-82 0,1-3-200 0,0 0-325 15,2 0 90-15,-2-4 64 0,3 2 68 16</inkml:trace>
  <inkml:trace contextRef="#ctx0" brushRef="#br0" timeOffset="-135206.34">21535 3303 1026 0,'0'0'420'0,"0"0"-29"0,0 0-45 15,0 0-113-15,-5 13-23 0,2-8-23 16,1 1-16-16,0 1-10 0,0-1 13 0,-2 4-64 16,4-1 11-16,-2 1-19 0,1-1-35 0,0 1-26 15,2 0-16-15,-1 0 1 0,1-1-29 16,4-1-27-16,0 1-22 0,0 0 19 0,4-4 23 16,-1 0 0-16,-1-2-3 0,2-2-15 0,2 0 20 15,-1-2 0-15,0 0 13 0,0-1 29 16,0-2 2-16,1-1-1 0,-3-1 24 0,2 0-10 15,-2-1 17-15,-1 0-7 0,-1 0 36 16,-4-1-21-16,3 0 44 0,-3 0-80 0,-1-1 32 16,-2 1 9-16,-1 1-28 0,-3 0 18 0,3 0-15 15,-4 1 2 1,2-1-10-16,-3 3-20 0,0 0-6 0,0 0 24 0,-1 1-49 16,0 2-8-16,3 0-25 0,-3 0-16 0,-2 1 3 15,0 1-59-15,2 0-29 0,-2 1-109 0,2 0-90 16,3 2-87-16,0-1-414 0,0-2 55 15,5-1 124-15,-3 4 51 0</inkml:trace>
  <inkml:trace contextRef="#ctx0" brushRef="#br0" timeOffset="-134960.83">21943 3184 1146 0,'0'0'484'0,"0"0"-36"0,0 0-36 0,5 6-64 16,-5-2-2-16,2 1-13 0,-4 2-134 0,4-2-25 16,-2 3-30-16,-2 1-14 0,1 1 21 15,-1-2-38-15,0 3-1 0,-2 1-19 16,-2 0-9-16,3-2-33 0,-2 2-30 0,2 0-9 0,-4-1-19 16,4 0-52-16,-3 1-31 0,-1-2-33 15,2 0-40-15,0-1-109 0,2 1-99 0,-1-3-486 16,-2-1 30-16,4 0 131 0,0-3 69 0,-2 0 38 15</inkml:trace>
  <inkml:trace contextRef="#ctx0" brushRef="#br0" timeOffset="-134836.65">21825 3308 765 0,'0'0'136'0,"-2"-4"-144"0,2 4-596 15</inkml:trace>
  <inkml:trace contextRef="#ctx0" brushRef="#br0" timeOffset="-134647.06">22107 3346 1100 0,'0'0'410'0,"8"0"-49"0,-8 0-82 0,2 3-36 0,-2-3-97 0,0 0-95 16,6 1-153-16,-6-1-259 0,0 0-300 16,2 4 16-16,-2-4 64 0</inkml:trace>
  <inkml:trace contextRef="#ctx0" brushRef="#br0" timeOffset="-133666.47">21530 2309 501 0,'10'-2'154'0,"-2"-1"-39"15,-1 2-82-15,-1 1-15 0,-6 0-49 16,5-2-2-16,-5 2-64 0,0 0-116 0</inkml:trace>
  <inkml:trace contextRef="#ctx0" brushRef="#br0" timeOffset="-131474.28">22166 2353 437 0,'0'0'200'0,"-2"-3"-49"16,2 3-26-16,0 0 14 0,0 0-22 16,0 0-12-16,0 0 21 0,0 0-39 15,4-5 10-15,-4 5-15 0,8 0 25 0,0-1-4 16,-3 1 7-16,5-3-28 0,0 3-18 15,3-1 5-15,0-1 15 0,2 1-17 0,1-1-11 16,-1 2 13-16,3-2 8 0,0 1-33 16,0 0 22-16,0-1-4 0,0 1-24 0,-3 1 8 15,3 0 5-15,-3-1 0 0,-1 1 3 0,1 1-15 16,-2-1 2-16,-1 1-1 0,-4 1 12 16,5-2 9-16,-1 2-38 0,-3 1 23 0,-1 0-2 15,2 2 17-15,-3-2-22 0,0 4 2 16,-1 1 20-16,-1 1 3 0,2 2-3 0,-1 3-20 15,-3 0 11-15,-1-1 1 0,3 6-12 16,-2 0 5-16,1 1-15 0,-3 0-10 0,2 2 2 16,-3 2 15-16,2 4-33 15,-2 0 18-15,-2-2-8 16,4 3 19-16,-4 1-27 0,2-3 22 0,-3 2-17 0,3-1-9 0,0 0 40 16,0 0-17-16,0 0-23 0,0 0 12 0,3-1-15 15,-1 0 10-15,0 0-5 0,1-1 6 0,0-1-17 16,1 1 17-16,-1-2-6 15,1 1-13-15,-2-4 16 0,0-2-1 0,4 0-24 0,-4 1 14 16,-2-3 8-16,5 2 21 16,-2-3-14-16,-1 2-17 0,2-1 5 0,-3-2 21 0,2 1-19 15,1-1-7-15,-3 1 28 0,1-1-25 0,3-2 12 16,-4 3 16-16,1-3-19 0,1-1-14 16,0 0 1-16,-1 0-9 15,0-3 13-15,2-1 9 0,-2 1-25 0,2-2 16 0,-1 0-8 16,-3 0 15-16,3-1-23 0,1 0 2 15,-3-2 19-15,2 1-18 0,-1-1 9 0,2 0-14 16,-3 0 20-16,2-1 5 0,-1-1-7 0,0 1-14 16,-2-3 1-16,1 6 25 0,-1-6-23 15,2 3 13-15,-2-3 0 0,4 4 18 16,-4-4-13-16,1 2 3 0,-1-2 12 0,0 0 11 0,0 5-28 16,0-5 20-16,-5 3 13 0,5-3-26 15,-10 4 31-15,3 0-16 0,-4-2 21 31,-2 3-12-31,-5 1 4 0,-5 0 3 0,-2 2 15 0,-1-1-15 0,-2-1 18 0,2 1-38 16,-4 2 9-16,-6 0 55 0,-1 1-13 0,10-1 17 16,3-3-17-16,1 0-6 0,3 1-40 0,1-3-18 15,-1 2-13-15,5-1 5 0,0-1-70 16,2-1 14-16,2-1-62 0,1 2-71 16,2-3-77-16,0 0-75 0,-2-1-119 0,6 1-406 0,4-1 91 15,0 0 130-15,0 0 5 16,-6-6 84-16</inkml:trace>
  <inkml:trace contextRef="#ctx0" brushRef="#br0" timeOffset="-130099.72">22907 3300 975 0,'10'-3'292'16,"0"2"-26"-16,0 0-33 0,1 1-11 0,-1-1-27 16,0 1 5-16,2 0-19 0,-1 1 1 15,-3 1-13-15,0 1 10 0,0-2-5 0,0 2-15 16,-4 1-8-16,2 1-15 0,-2-2-11 0,-1 4 6 15,-3 2-16-15,3-1 5 0,-1 2-12 16,-2 3-21-16,0-1-5 0,0 2-13 16,-2-1-5-16,2 4-3 0,0-3-10 0,-3 1-38 0,3-1 5 15,-1-1-5-15,-3 0-59 0,4-1-34 16,-2 1-7-16,1-1-61 0,0-4-24 16,0 0-96-1,-2 2-127-15,1-4 42 0,2 0-451 0,0 0 95 0,0-1 5 0,0-1 88 16</inkml:trace>
  <inkml:trace contextRef="#ctx0" brushRef="#br0" timeOffset="-129654.1">22933 3515 854 0,'2'-2'328'0,"0"-3"-51"16,1 1-22-16,4 0-14 0,-4-1-26 0,8-2-25 0,-1 2-22 15,0-2-19-15,3 0-8 0,-1 1 15 16,1-1-3-16,1 1-17 0,-2 0-18 16,0 1 23-16,-4 2-19 0,0 0-11 0,0 1 19 15,-3 0 1-15,3 1-24 0,-8 1-2 16,10 3 3-16,-7-2-32 0,-1 3-9 0,2 0 46 16,-2 3-62-16,0 0 8 0,0 2 2 0,1-2-7 15,0 0-6-15,-1 0-30 16,2 1 0-16,0 0-23 0,1-2 8 0,0 1 12 0,0-1 3 15,3 0-5-15,0 0-34 0,0-3 29 16,2 1-8-16,0-1 5 0,0-3-18 16,0 3 49-16,-1-3-5 0,1 0-13 0,-3-3 7 0,3 2 11 15,-2-1-69-15,-1-2 23 0,-1 1-24 16,-3-3 32 0,1 1 17-16,-1 0-20 0,0-1 20 0,-1 3-17 0,-4-3 12 0,2 1-12 15,-3 0-6-15,0 0 8 16,-1 0-26-16,-2 0-20 0,1 1 13 0,-1 2-18 0,-3-3-29 15,4 4-4-15,-1-2-24 0,1 0-48 16,-2 2-69-16,5-2-62 0,2 3-61 0,-8-3 23 16,7 0-471-16,-1 0 49 0,2 3 73 15,3-6 81-15</inkml:trace>
  <inkml:trace contextRef="#ctx0" brushRef="#br0" timeOffset="-129452.93">23473 3276 1095 0,'3'-1'392'0,"2"0"7"0,-5 1-64 0,0 0-25 16,11 4 5-16,-9-1-21 0,2 0-45 16,-3 4 19-16,2 2-53 0,-1-2-20 0,0 2-13 15,-1 2-19-15,1 2-9 0,-2 1-21 16,0 1-28-16,-2-3-36 0,2 3-38 16,-2-1-13-16,-1 1-62 0,0-1-48 0,0 3-87 0,-1-3-138 15,-4 0-170-15,5-3-427 0,-2 0 118 0,0-1 128 16,0 0 77-16,2-3 18 15</inkml:trace>
  <inkml:trace contextRef="#ctx0" brushRef="#br0" timeOffset="-129308.55">23439 3454 1021 0,'1'-4'361'0,"-1"-1"-128"0,3 1-29 0,-1 1-60 0,1-1-60 0,2 1-97 15,-1 0-81-15,-4 3-98 0,7-3-469 0,-5 2 83 0</inkml:trace>
  <inkml:trace contextRef="#ctx0" brushRef="#br0" timeOffset="-129190.33">23531 3422 862 0,'0'0'358'0,"0"0"11"0,0 0-75 15,8-1-48-15,-8 1-36 0,0 0-49 0,0 0-53 16,6 4-141-16,-6-4-134 0,5 0-578 0,-2 3 105 15,1 0 57-15</inkml:trace>
  <inkml:trace contextRef="#ctx0" brushRef="#br0" timeOffset="-128702.83">23050 3769 952 0,'8'0'396'0,"0"0"-47"16,2 1-50-16,4-1-17 0,1 1-19 0,3-1-32 15,-1-1-24-15,7 0-43 0,0 1 12 0,5-3-30 0,2 1-30 16,-1 0 4-16,14-4-8 0,-2 0-7 15,-1-1-41-15,-1-2 8 0,1 0 2 16,0-3-33-16,-2 1 5 0,1 0-12 0,-3-2-4 16,-2-1 19-16,-1-1-13 0,-3-1-26 15,-2-1 36-15,-2-2-33 0,-7 3 10 0,-4 0 10 16,2-2-30-16,-5-1 7 0,-1-1 13 16,-2-1 5-16,0 0 18 0,-4-1-20 15,-3 3-3-15,-3-2 8 0,-1 0-11 0,-6-1 1 0,2-1 40 16,-13-5 6-16,-1 2-1 0,-7 1 3 15,-6 4-18-15,-1 2 49 0,-8 3-23 16,-6 3-21-16,0 2-12 0,-6 4-6 0,-1 4 24 16,-6 0-34-16,2 6 8 15,2-1-6-15,2 2-4 0,3 3 7 0,4 1-25 0,2 2-36 16,7 1 5-16,7-3-51 0,5 1-29 0,1 1-91 16,4-1-119-16,-15 4-176 0,17-2-468 0,2-1 164 15,4-3 48-15,3-4 69 0,2 1 72 16,1-2 41-16</inkml:trace>
  <inkml:trace contextRef="#ctx0" brushRef="#br0" timeOffset="-126909.63">24657 3115 1139 0,'0'0'337'0,"0"0"-60"0,0 0-3 0,9 13-44 0,-9-10-17 0,0 2 20 16,0 0-54-16,-1 1-8 0,-1 0-17 0,-3 3-13 15,4-5-29-15,-6 5 6 0,2 0-23 0,-1 1-1 16,-1-3-14-16,2 1 2 0,1-1-34 15,-2 2 11-15,3-3-10 0,-2 1-19 16,4 0 1-16,-3-1-31 0,-1 1 18 0,5-3-13 0,-1 1-10 16,-1-1-5-16,0 0 0 15,2-4-34-15,0 6-17 0,0-6-34 0,0 0-15 16,4 3-3-16,-4-3-30 0,4 2-23 0,-4-2-19 16,0 0-20-16,14-5 11 0,-11 2 15 0,5 0 5 15,0-1 30-15,-1 2 4 0,0-2 19 0,-1-1 34 16,-1 4 39-16,1-1 2 15,1-1 46-15,-4 1 30 0,4 2-14 0,-7 0 58 16,0 0-15-16,11 3-3 0,-7-1 16 0,-3 0-29 16,2 1 39-16,-1 0-23 0,-2-3 25 15,5 6-12-15,0-3-16 0,-3-1 24 16,1 1 15-16,1-1-3 0,-4-2 10 0,6 3 13 0,-6-3-23 16,8 0 18-16,-8 0 3 0,8-1-34 15,-8 1-56-15,5-5-12 0,0 2 2 16,-3-1-11-16,-1 0 13 0,-1-1-2 0,0 1-10 15,0-2 17-15,0 2-27 16,-1 0-11-16,1-2-41 0,-4 1-21 0,4 0-83 0,-3-1-50 16,3 3-30-16,-3-5-72 0,5 4-407 0,-1 1 49 15,-1 3 20-15</inkml:trace>
  <inkml:trace contextRef="#ctx0" brushRef="#br0" timeOffset="-126745.8">24896 3170 883 0,'-2'6'340'0,"-1"1"-30"16,3 0-31-16,-5 2-18 0,1-1-33 16,0-1-34-16,-1 4-43 0,-2-4-10 0,1 2-54 15,-1 0-97-15,-1 0-159 0,-2-1-461 16,0 0-107-16,1 0 92 0,-1-2 59 0</inkml:trace>
  <inkml:trace contextRef="#ctx0" brushRef="#br0" timeOffset="-126629.52">24791 3263 460 0,'0'0'141'0,"0"0"-97"0,0 0-400 0</inkml:trace>
  <inkml:trace contextRef="#ctx0" brushRef="#br0" timeOffset="-126285.21">24550 3616 977 0,'0'0'277'0,"0"-2"2"0,0 2-21 0,0 0-27 0,0 0-24 16,0 0-7-16,10 7-1 0,-10-3-53 0,3 0-25 15,-2 0 40-15,0 1-18 0,0 1-43 16,-1-1-36-16,0 2-97 0,2-1-75 0,-2 0-92 16,-2-2-89-16,4 2-509 0,1-1 127 15,-1 2 62-15,0-1 69 0</inkml:trace>
  <inkml:trace contextRef="#ctx0" brushRef="#br0" timeOffset="-126042.3">24702 3614 1241 0,'0'0'348'0,"0"0"-31"0,-4 13-22 16,0-6-37-16,1 2-38 0,3-1-22 15,-5 0-22-15,3 4-66 0,1-1-41 0,-1-2-102 0,-1 2-131 16,0-3-97-16,1 3-530 0,0 2 64 16,-1-2 80-16,3 0 48 0</inkml:trace>
  <inkml:trace contextRef="#ctx0" brushRef="#br0" timeOffset="-125757.73">24553 3731 947 0,'0'0'386'16,"-3"3"6"-16,3-3-60 0,0 7-47 16,0-7-24-16,5 6-3 0,-3-3-4 0,1-1-68 15,3 2 22-15,0-4-121 0,0 3-23 0,0-3 28 16,2 1-31-16,-1-1-20 0,3-1 0 15,-3 0-15-15,1-1 10 0,1-1-21 0,-1 0-20 16,1-2-36-16,-1 0-18 0,2 3-20 16,-2-4-18-16,0 2-39 0,-1-2 5 0,1-1-63 15,1 4-37-15,-3-1 6 0,-1 0-23 0,1 0 28 16,1 0-499-16,-2 2 79 16,0-2 33-16</inkml:trace>
  <inkml:trace contextRef="#ctx0" brushRef="#br0" timeOffset="-105100.77">5685 12191 1346 0,'-13'1'471'0,"6"2"5"16,-3 2-51-16,-3 3-41 0,0 2-26 0,-8 4-25 0,4 1-11 15,-11 8-32-15,1 1-22 16,2 3-1-16,-3-1-4 16,5 0-22-16,-3-2-36 0,3 0-18 0,7-5-16 0,4-2-40 0,2-2-11 15,4-1-56-15,-1 0 5 0,2-2-41 16,4 0 8-16,-1-1-3 0,4-2-25 0,1 2 33 15,2-3 15-15,3 1-17 0,0-1 22 16,2-4-43-16,3 2 5 0,0-2-20 16,-1-1-9-16,1-1-37 0,0-1-59 0,0-1-3 0,0 2-44 15,2-5-12-15,-2 2-49 0,2-3-31 16,-2 1-86-16,-1-2-114 0,-3 1-106 16,6-4-359-1,-2 3 30-15,-1-2 129 0,-2 1 58 0,3-3 77 0,-2-1 77 0</inkml:trace>
  <inkml:trace contextRef="#ctx0" brushRef="#br0" timeOffset="-104783.81">5724 12435 970 0,'0'5'363'0,"-3"3"-20"0,3 0-33 0,-3 2-39 0,3-1 59 16,-2 1-15-16,2 0-41 0,2 2-5 0,1 0-26 15,0 0-38-15,2-1-108 0,0 1-20 0,0-3-18 16,3 1 10-16,2-3-8 0,0-1-12 15,1-2 0-15,2 0 15 0,-3-2-21 16,2-4-2-16,1 1 3 0,0-2 14 0,0-2 17 16,0 0-6-16,-3-1 33 0,0-2 0 15,-4-2 21-15,-1 2-15 0,0 0-1 0,-5-2-12 16,0 1-23-16,-3-3 20 0,0 3-10 0,-1-1 2 16,-2 1-4-16,-2 1-39 15,-2 2 2-15,3-1 8 0,-4 3-12 0,1 2-1 0,0 1-46 16,-1 0-22-16,-1 2-6 0,1 0-38 0,-1 2-16 15,2 0-15-15,2 3-69 0,-3-1-33 16,3 0-67-16,1 0-120 0,2 0-536 16,0 0 50-16,2 0 112 0,1-3 105 0,-1 0 36 15,3-2 120-15</inkml:trace>
  <inkml:trace contextRef="#ctx0" brushRef="#br0" timeOffset="-104330.79">5911 12433 1159 0,'5'3'356'0,"1"1"-31"16,1 2-15-16,-2 1-29 0,3 0-35 16,-1 0-8-16,1 3-33 0,0 0 30 0,-3 0-66 0,2-2-112 15,1 1 6-15,0 0-6 0,0-2-1 16,-1 1 23-16,-1-2-43 0,2 1 3 0,-2-2 7 16,2 0 23-16,0-3 20 0,-3 1-14 15,3-2-9-15,-2-1 11 0,1 0 10 16,0-1 5-16,1-2 23 0,0 0-17 0,0-3-9 15,-1-1 9-15,-1 0-32 0,2-4 13 16,-2 1 3-16,0 0-20 0,-1-1-16 16,2 0 26-16,-4 1-21 0,2-1-8 0,-2 1-20 15,0 2-12-15,-1 0-11 0,1 0-18 0,-3 1-26 16,2 1-17-16,-2 0-24 0,0 2-40 16,0-2-21-16,0 1-21 0,0 0-9 0,0 2-24 0,3-2 18 15,-3 1 29-15,0 4 25 16,0-7 5-16,2 6 31 0,-2 1 25 0,3-5 49 0,-3 5 29 15,0 0 7-15,0 0 30 0,0 0 24 16,10 9 33-16,-8-5-21 0,2 2 1 16,0 1-14-16,-3 1 37 0,4 0-11 15,-3-1-30 1,0 1-13-16,1 2 22 0,0-1-22 0,-3 0 15 0,2 0-56 0,-2 0-28 0,1 0-16 16,-1 0-64-16,0 0-30 0,0-2-103 0,0 0-164 15,-1 0-463-15,1-2 36 0,-2 0 103 16,2-3 42-16,0-2 73 0</inkml:trace>
  <inkml:trace contextRef="#ctx0" brushRef="#br0" timeOffset="-104195.45">6196 12338 885 0,'-1'-4'369'0,"-1"1"-57"0,0-2-64 0,-1 1-48 15,2 0-62-15,1-1-102 0,0 1-151 16,-2-2-159-16,4 1-435 0,2 0 95 0</inkml:trace>
  <inkml:trace contextRef="#ctx0" brushRef="#br0" timeOffset="-103815.83">6337 12186 1003 0,'5'3'310'16,"-1"3"2"-16,2 1 64 16,-1 2-20-16,0 2-23 0,0 3 7 0,-2 1-10 15,4 1-56-15,-1 1-25 0,-1-2-27 0,2 3-25 16,-1-4-15-16,-2 4-46 0,2-3-3 15,-1-1-10-15,1-2-8 0,0 0 28 16,-2-1-28-16,-2-1-33 0,3-3 28 16,-5 0-53-16,3 0-19 0,-1-1 0 0,-2-1 24 0,0-1-19 15,0-4-9-15,-5 6-1 0,2-4-7 0,-1 0 20 16,-4 0-16-16,0 1-17 0,0 0 15 0,1-1 11 16,-3 0-16-16,2 3-3 15,-2-2 1-15,2 2 30 0,2 0-2 0,-1 1 20 16,1 0-26-16,2-1 8 0,-2 1 16 0,2 1 23 15,1-2-34-15,2 1-5 0,2 0 16 16,-1 0 7-16,3-2-107 0,-1 1 35 0,3-1-2 16,0-2-26-16,3 2 24 0,2-2-31 0,0-2 17 15,1 0-25-15,1-2-38 0,-1-3-11 16,4 1-9-16,-2 1-35 0,2-5-27 0,1 0-46 16,-1 1-39-16,1 0-79 0,2 0-138 0,2 0-65 15,3-3-406-15,0 0 107 0,13-4 80 16,-3 0 89-16,-5 4 69 0</inkml:trace>
  <inkml:trace contextRef="#ctx0" brushRef="#br0" timeOffset="-103312.9">6890 12243 1223 0,'0'0'366'0,"0"0"-33"0,0 0-18 15,0 0-3-15,0 0-56 0,3 19-13 16,-3-11-38-16,0 4 0 0,0 0-36 0,-3 2-13 16,3 0-13-16,0 1-23 0,-2 0-40 0,1 1-29 15,1-1-33-15,-2-1-36 0,0 1-51 16,2 0 0-16,-3-1-70 0,3 0-86 15,0-2-125-15,-3 1-454 0,3-4 49 0,0 0 38 0,3-2 87 16</inkml:trace>
  <inkml:trace contextRef="#ctx0" brushRef="#br0" timeOffset="-102857.7">7077 12269 895 0,'-10'4'423'16,"6"-3"-44"-16,-2 3 2 0,1 1-35 15,-1-2-50-15,-1 4-34 0,2-2 1 0,0 1-40 16,2 0-18-16,-2 0-29 0,2 0-7 0,-1 1-10 16,1-1-16-16,0-2-25 0,1 2-31 15,1-2 5-15,-1-1-23 0,2-3 21 0,0 6-24 16,0-6 19-16,0 0 2 0,5 2 69 16,-5-2-10-16,0 0-18 0,13-5-46 0,-8 3 38 15,-5 2-35-15,10-3 22 0,-4 2-12 0,-6 1-31 16,7 1 38-16,-2 1 11 0,0 1-59 15,1 3 38-15,1-1 5 0,-2 2-23 16,1 1-7-16,-2 2 4 0,2 0-4 0,-3 0-18 16,2 0-21-16,-3-1-31 0,0 4-12 15,-1-6-11-15,1 3-74 0,-2-2 21 0,3 1-59 16,-1-1-57-16,1-3-30 0,2 2-136 0,-2-5-256 16,1 2-399-16,2-2 133 0,2-2 113 15,-1 0 35-15,-7 0 72 0,14-2 100 0</inkml:trace>
  <inkml:trace contextRef="#ctx0" brushRef="#br0" timeOffset="-102617.2">7328 12361 1233 0,'0'0'451'0,"4"-3"-52"0,0 0-25 0,4 1-39 0,2-1-20 0,0 2-41 15,6-3-16-15,-1 1-7 0,3-1-23 16,3 1-54-16,-3-1-51 0,2 1-18 16,-5 0-23-16,1 0-46 0,-1 2-59 0,-2-3-72 15,0 2-43-15,-3 0-52 0,0 2-137 0,-4 0-42 16,1 0-455-16,-4 2 58 0,-3-2 57 0,3 4 90 16,-3 0 58-16</inkml:trace>
  <inkml:trace contextRef="#ctx0" brushRef="#br0" timeOffset="-102439.83">7396 12424 737 0,'-11'3'427'16,"1"0"-10"-16,2 0-22 0,0-1-29 0,4-1-49 16,1 2-33-16,3-3 28 0,-5 2-45 0,5-2-101 15,0 0-7-15,0 0 10 0,10 6-34 16,-2-6-12-16,2 0 23 0,2-1-41 0,2-1 8 16,1 1-29-16,0-2-25 0,1 0-10 0,2-1-21 15,2-1-26-15,-2 1-35 16,-3-3-44-16,3 1-94 0,-2-1-52 0,-3-3-181 0,-1 4-472 15,-1-2 60-15,-1 2 55 0,0-3 114 16,-4 2 53-16</inkml:trace>
  <inkml:trace contextRef="#ctx0" brushRef="#br0" timeOffset="-102177.92">7614 12166 1036 0,'7'2'481'0,"4"-1"-2"0,-1 2-34 0,2 2-45 0,4 2 2 16,-1 0-13-16,-2 1-34 0,5 2-45 15,-3 0-82-15,0 4 8 0,-2 2-1 0,0 1-33 16,-5-1-28-16,-3 1-12 0,-2 2-1 16,-4-1-41-16,-1 1-10 0,-10 13-7 0,-2-2-68 15,-3-1-45-15,-4-1-28 0,-3 0-36 0,2-1-42 16,-1-2-30-16,-1-1-38 0,1-2-79 15,5-5-203-15,1-3-512 0,2-3 125 0,-1 0 101 16,3-3 33-16,0-3 122 0,1-2 16 0</inkml:trace>
  <inkml:trace contextRef="#ctx0" brushRef="#br0" timeOffset="-100456.25">8475 12125 852 0,'0'0'330'0,"2"15"-28"0,1-6-43 16,-3 0-6-16,0 5-15 0,3 3-33 0,-1-1-16 16,-2 3-17-16,2 0-14 0,-2 1-12 15,3 0-28-15,-3-1-23 0,-3 0-23 0,3-4-42 0,-2 1-22 16,2 0-8-16,-2-4-46 16,-1 2-41-16,3-2-80 0,0-1-55 0,-3-1-300 0,1-2-195 15,2-2 28-15,-2 0 65 0</inkml:trace>
  <inkml:trace contextRef="#ctx0" brushRef="#br0" timeOffset="-100218.53">8446 12186 806 0,'0'-5'358'16,"3"4"-46"-16,-3 1-10 0,6-4-30 0,-2 3 2 15,-4 1-39-15,16 2-15 0,-6 1 3 16,0 1-26-16,3 0-25 0,2 3-21 0,0-2-16 16,1 4-17-16,0-3-28 0,-1 2-19 15,-2-1-35-15,3 1-33 0,-4-3-47 0,0 0-25 16,2 0-61-16,-2-2-37 0,-1 1-58 0,-1-3-64 16,0 0-11-16,0-1-391 0,1-1-21 15,-3 0 96-15,2-3 70 0</inkml:trace>
  <inkml:trace contextRef="#ctx0" brushRef="#br0" timeOffset="-100080.74">8798 12210 552 0,'0'0'256'0,"0"0"5"0,0 0-15 16,0 0-3-16,-15 8-33 0,9-2-8 0,1-1 1 15,-2 2-32-15,-1 1 1 0,0 0-37 16,1 1-14-16,-1-1-9 0,2 0 1 0,-1 1-34 16,-1-2-43-16,3-1-18 0,0 1-41 15,0-1-92-15,4-1-36 0,1-1-85 0,0-4-117 16,0 0-336-16,6 3 88 0,-6-3 25 15</inkml:trace>
  <inkml:trace contextRef="#ctx0" brushRef="#br0" timeOffset="-99862.36">8887 12140 872 0,'6'-8'372'0,"-2"1"-40"0,-3 4 78 0,4-2-31 0,-3 4-41 0,-2 1 25 16,0 0-30-16,0 0-31 0,0 0 2 0,3 9-27 15,-3-2-19-15,0 2-17 0,0 1-41 16,-2 2-13-16,1 1 2 0,-1 1-38 0,0 1-10 15,-1 3-8-15,0 0-13 0,3 0-43 16,-2-2-49-16,-1-1-7 0,3 0-21 0,-3 1-57 16,3-3-12-16,0 0-18 0,0 0-31 15,3-2-40-15,-3-1-62 0,0 0-111 0,5-3-94 16,-3 1-529-16,2-1 109 0,1-3 28 0,2 2 137 16,-2-4 22-16,1 0 61 0</inkml:trace>
  <inkml:trace contextRef="#ctx0" brushRef="#br0" timeOffset="-99412.14">9080 12252 1052 0,'-5'-3'319'0,"5"3"-14"16,-8 1-18-16,8-1-21 0,-11 5-25 15,7-4-6-15,-2 5-45 0,2-1-9 0,-4 1 1 16,5 1 0-16,-5-1-41 0,3 2-19 0,0 0-6 15,0 0 4-15,2-1-18 0,-1-1-25 16,1 1-5-16,0-1 2 0,3-1-2 0,2-1-1 16,-2 0-12-16,4-1-3 0,-4-3-9 0,7 3-19 15,-2-3 8-15,-5 0-19 16,13-2 9-16,-5 1 0 0,0-1-1 0,2 1-20 0,0 1 13 16,-3 0 10-16,4 0 3 0,-1 1-10 0,-2-1-9 15,2 3-6 1,-2-1 14-16,-1 1 3 0,-2 0-13 0,1 1-2 0,-2 0-3 15,-3 0 23-15,2 1 11 0,-1-1-11 0,-2 1 28 16,0-5 18-16,-2 6 1 16,2-3 83-16,0-3-9 0,-3 6 4 0,3-6 6 0,-3 3-16 15,3-3 6-15,0 0 2 0,0 0-23 16,0 0-36-16,0 0 0 0,0 0-18 0,0 0-17 16,0-13-14-16,2 8 26 0,2-2-48 15,-2 0-24-15,1-1 13 0,4 1-22 0,-4-1-24 16,4 3-13-16,-2-2-7 0,1 0-41 0,-1 2-24 15,5-2-12-15,-3 3-31 0,-1 0-53 16,2 0-129-16,-8 1-212 0,10-2-445 16,0 2 110-16,-2 1 89 0,2-3 64 0,0 2 57 15,0-1 63-15</inkml:trace>
  <inkml:trace contextRef="#ctx0" brushRef="#br0" timeOffset="-98336.95">9718 12119 1059 0,'0'0'410'0,"6"9"-39"0,-4-3-28 16,-2 3-38-16,0 0-39 0,0 2-23 0,0 2-18 16,2 2-5-16,-2-1-41 0,0 3-7 15,0-1-16-15,0 0-18 0,3 0 18 0,-3-1-66 16,0-1 18-16,0-1-37 0,0 1 3 15,3-4 19-15,-3-1-1 0,0 1-33 0,2-3 0 16,-2 0 7-16,0-2-17 0,0 0-8 0,0-1 5 16,0-4 2-16,2 5 16 0,-2-5 11 15,0 0-52-15,0 0 28 0,0 0-10 0,0-17 13 16,0 7 12-16,0-2-17 0,0-2 7 16,0-4-18-16,4-2-2 0,-2-2 3 15,3 0 9-15,0-1-25 0,3 2 11 0,-1-1 9 16,1 3-35-16,0 3 58 0,0 0-27 0,-1 4-11 15,1 1-3-15,0 3 1 0,2 1 12 16,-2 3-14-16,0 3-9 0,2 1 8 0,0 4-26 16,1 2 39-16,3 2-20 0,-4 3-27 0,4 1 9 15,-4 2-19-15,0 0-63 16,-2 0-3-16,2 2-16 0,-3 0-19 0,1 0-63 0,0-2-63 16,0 1-67-16,-3-1-74 15,0-1-110-15,-2-2-397 0,1 1 44 0,-1-2 171 16,-3-1 38-16,0 0 26 0</inkml:trace>
  <inkml:trace contextRef="#ctx0" brushRef="#br0" timeOffset="-97559.1">9813 12361 883 0,'0'0'373'0,"0"0"-22"16,0 0-44-16,0 0-15 0,-5-2-13 0,5 2-46 0,0 0-26 15,10-6-12-15,-2 3-19 0,0-2-4 16,2 0-29-16,0 0 1 0,0-3-14 0,3-1 26 16,3 1-25-16,-3-2 15 0,4 1-98 0,-4-2 9 15,0 1 14 17,2 0 4-32,-4 0-1 0,1 1 0 0,-2 0-25 0,-2 2 7 0,2 1 3 0,-4 2 10 0,1 0-8 0,-1 3 21 15,-2 0-43-15,-4 1 9 0,11 2-12 16,-4 3 10-16,-1 2 13 0,-3 0-21 0,1 5-12 15,0 0 33-15,0 1-28 0,1 4-8 16,0-1 20-16,-2 2-4 16,2-1-1-16,-3-2-33 0,-1 1-2 0,1-1 27 0,1 2 1 0,-1-3-18 15,1-1-28-15,0 2 35 16,-1-3-43-16,0-1 26 0,-2-1-9 0,1-2 4 0,1 2-6 16,1-2 6-16,-3-2-6 0,0 0 23 15,0-2-22-15,0-4-1 0,0 4 23 16,0-4-4-16,0 0 14 15,0 0-27-15,0 0-1 0,0 0 8 0,-6-11 8 0,4 2 15 0,2-1-10 16,0-3-10-16,0-3 2 0,0-4 0 16,2 1 18-16,-1-2-2 15,4-2-16 1,-3 3 23-16,3 3 14 0,1 0 50 0,-2 2-43 0,0 3 12 0,3 2-15 0,-2 2 13 0,-2 3-20 16,4-1 7-16,-4 3-25 15,2 2-1-15,-5 1 11 0,0 0 10 0,11 4-41 0,-7-1 5 0,-1 1-27 16,-3 0-42-16,3 2-16 0,-3-1-6 15,0 2-50-15,0 0-2 0,2-1 20 16,-4 0-35-16,2 0 38 0,0-2-16 0,0-4 26 16,2 6 21-16,-2-6-8 0,0 0 31 0,2 0-3 15,-2 0 23-15,0 0-13 0,10-6-7 16,-6 2 33-16,-2 1 15 0,3-2 11 16,0 2-26-16,0-1 36 0,-2 2 5 0,4 0-6 15,-3-1-14-15,-4 3 35 0,10 0-7 0,-10 0 17 16,5 0 24-16,-5 0-29 0,8 1 1 15,-6 3 14-15,-2-4-1 0,7 2 1 0,-6 0-25 16,-1-2 16-16,5 3-11 0,-5-3 16 0,5 1 2 16,-5-1-23-16,0 0 13 15,10-5-15-15,-5 2 28 0,2-2-11 0,-1 0-40 0,2-3 22 16,-3 0-15-16,3-1-15 0,-1 1-28 16,-2-1-5-16,3 0-21 0,-5 1-38 0,2 0-21 15,-2 0-43-15,-1 3-65 0,0 1-119 16,-6-1-113-16,4 5-484 0,-3-5 128 15,3 5 66-15,-10 0 57 0,10 0 141 0</inkml:trace>
  <inkml:trace contextRef="#ctx0" brushRef="#br0" timeOffset="-97169.99">9483 12403 941 0,'4'-1'287'0,"2"-1"-33"15,-1 0-27-15,2 1-19 0,-1 0-47 0,-6 1-56 16,12 0-56-16,-7 0-80 16,3-3-148-16,-8 3-477 0,10 0 60 0,-4 1 48 0</inkml:trace>
  <inkml:trace contextRef="#ctx0" brushRef="#br0" timeOffset="-95952.2">9023 12749 1144 0,'23'3'361'15,"3"-1"-41"-15,-1-3-34 0,4 2 6 0,4-1-49 0,16-1-33 16,2-2-18-16,1 1-2 0,1-3-19 16,1-1-81-16,15-4-42 0,3 0-2 15,0-2 3-15,5-1 5 0,0 0-31 0,0-1 5 16,-3-1 3-16,-2-1-8 0,2 0-5 0,-4 1-13 16,-4-2 5-16,-2 4 10 0,-2-1-7 15,-6-1-3-15,-7 2-7 0,-5 1-6 16,-1 2 1-16,-2-2 4 0,-3 1 6 0,1-2 0 15,-3 3 5-15,-10 1-16 0,0 1 3 0,-1-1 41 16,-2 2-46-16,0-2 36 0,-2-1-24 0,-1 2 21 16,-2-2-20-16,-5 2 20 0,2-3 8 15,0 2-3 1,-4-1 11-16,1 0 10 0,-4 0 66 0,-2-3 8 0,1 0-10 0,-1-2-6 0,1 1-17 16,-4-4-21-16,-1 0 11 15,-2-1-19-15,0 1 6 0,-2-3 10 0,-1 2 7 16,-2-4-17-16,0 1-3 0,-3 0 31 0,-2 0-21 15,0 1-35-15,-1 1-3 0,-1 1 20 16,-2-1-15-16,-1 2 0 0,-5-6-5 0,-4 3-2 16,2 0-1-16,3 4-5 0,-1 1-7 15,-5-3 25-15,-4 1-41 0,1-1 37 0,0 4-24 16,-3-2-8-16,0 2 5 0,-2-1 27 0,-1 3-40 16,-1 0-14-1,-3 1 22-15,1 0 18 0,-1 4-43 0,-3 0 18 0,-3-1-6 16,-4 6-4-16,-1-1 4 0,0 1-12 15,1 3 35-15,-4 0-7 0,4 0-12 0,-1 3 6 0,0-1-12 0,1 0 0 16,1 1 26-16,4 1-18 16,-4-1-16-16,2 2 16 0,-2-1 10 0,4-1 15 15,-1 3-13-15,-2 1-25 0,2 1 0 16,1 1 31-16,0-1 9 0,1 0-29 0,1 1 6 16,5 2 11-16,-2-2-2 0,7 2-8 0,-5 0-3 15,1-1-5-15,6-1 13 0,3-1-28 0,3-1 12 16,-2 3 14-16,1-1-27 0,-1 0 29 15,-1-1-15-15,3 0 17 0,0 1 9 16,-3 0-22-16,4-3 1 0,-4 3 0 0,3 1-1 16,0-2 19-16,0 1-44 0,2 0 10 0,0 0 16 31,-1-1-8-31,4 0 26 0,-1-1-24 0,1 1-17 0,1 1 12 0,1-2 19 0,-2 3-11 16,0-2 0-16,-2 2 2 0,5-2-1 15,2 0-17-15,-3 2 27 0,1-2-27 0,-1 0 17 16,1-1-1-16,5 1 18 0,-3-1-28 0,1 0 35 15,1-1-35-15,1-1 0 0,2 2 13 16,-4 0 15-16,4-1-8 0,-1 1-10 0,2-1-18 16,0 2 21-16,1 2-26 0,1-1 5 15,-2 3 29-15,4 0 25 0,-2 6-16 0,2-2 29 16,-2 3-28-16,5 2 33 0,-2 1-1 0,1 3-4 16,-1 2-8-16,2-1-18 0,0 1 29 15,3 2 4-15,-1-2-107 0,4 8 3 16,1 1 14-16,4-3-1 0,-1-8 9 0,2 6 14 15,4-4-9-15,2-2-17 0,-1-4 7 0,6 1 19 16,4-4-11-16,5-1 28 0,2-4-13 16,1-2-2-16,6-4 10 0,-7-4-23 0,-1-3-20 15,-2 0-31-15,0 0 15 0,0-2-51 0,2-3-7 16,8-2 7-16,-8 1-28 16,-7-1-11-16,2 1-20 0,-2-1-20 0,-1 0-26 0,-1-2-2 15,-4 4-60-15,-1-2-58 0,3-2-92 0,-4 1-228 16,0 0-251-16,0 1 133 15,0-1 61-15,-2-1 116 0,-1 0 2 0</inkml:trace>
  <inkml:trace contextRef="#ctx0" brushRef="#br0" timeOffset="-92278.78">11324 12093 965 0,'0'0'350'0,"0"0"-43"0,12-6-43 0,-4 4-29 16,2 0-9-16,2-1-19 0,1 1-7 0,1-2-31 15,4 2-21-15,-3-1-22 0,3-1-42 0,2 0-28 16,-5 3-7-16,1-2-46 16,2 1-57-16,-3-1-107 0,-1 1-101 0,-2 1-503 15,-2 1 13-15,0 0 130 0,-2 1 46 0</inkml:trace>
  <inkml:trace contextRef="#ctx0" brushRef="#br0" timeOffset="-92031.81">11128 12252 1108 0,'0'0'389'0,"0"0"-31"0,0 0-10 0,20 1-51 0,-6-4-5 16,1 2-28-16,8-2-24 0,0 0-35 0,6 0 2 15,-1-3-30-15,3 2-11 0,10-2-76 16,-8 0-36-16,-2 2 0 0,9-3-11 15,-9 0 62-15,-3 2-3 0,-2-1-50 0,-3-2-27 16,0 5-38-16,-5-3-53 0,0 0-52 0,-3 2-76 16,-1-1-129-16,-2 1-565 15,-2-1 102-15,-1 0 87 0,-2 1 64 0,0-1 47 0</inkml:trace>
  <inkml:trace contextRef="#ctx0" brushRef="#br0" timeOffset="-91704.22">11528 12013 1154 0,'0'0'394'16,"0"0"-56"-16,0 0 5 0,18 0-31 15,-10 0-135-15,2 2 2 0,1 1-7 0,4-2-11 16,-2 3-15-16,2 1-8 0,3 1 10 0,-2-2-32 15,-2 5-6-15,-3-3 92 0,2 2-15 16,-3 0-6-16,0 2-1 0,-2 1-19 16,-2 0-13-16,-4 1-27 0,0 0 14 0,-4 4-12 0,-1 1-20 15,-2 1 2-15,0 0-41 16,-3 3-52-16,-2-1-24 0,0 1-29 16,0 0-62-16,2 0-61 0,3-4-94 0,-8 4-162 0,8-7-586 15,2 0 161-15,-2-3 90 0,2 1 82 16,-2-5 5-16,3 0 74 0</inkml:trace>
  <inkml:trace contextRef="#ctx0" brushRef="#br0" timeOffset="-91286.28">12325 11817 1658 0,'0'0'481'0,"0"0"-30"0,0 0 20 0,0 0-62 15,3 15-53-15,0-7-18 0,-1 3-33 0,-1 0-52 16,1 5 6-16,-2 0-14 0,0 4-32 16,0-1-14-16,-2 2-17 0,1-1-31 0,-1 0-51 15,-1 3 18-15,1-4-39 0,-1 2-58 16,-2-2-16-16,2 1-26 0,1-3-30 0,-1 2-44 15,0-2-33-15,3-1-25 0,-4-4-44 0,1 0-18 16,3-1-118-16,-3-3-143 0,1-1-435 16,0 0 74-16,1 0 2 0,-1-4 70 15,2 1 115-15,0-4 48 0</inkml:trace>
  <inkml:trace contextRef="#ctx0" brushRef="#br0" timeOffset="-90982.73">12274 11905 1041 0,'9'-17'356'0,"1"3"-13"0,-3 2-20 0,3 3-14 0,3 2-27 15,-2 2-1-15,1 1-12 0,1 4-5 0,2 3-26 16,-2 1-23-16,0 1 0 0,2 4 0 0,1 1-23 16,-3 1 5-16,-3 2-18 0,2 0-2 15,-4 1 66-15,-3 0-20 16,1 1 15-16,-4-1-128 0,-2 1-15 0,-2-1-8 0,-4 3 5 15,1 0-3-15,-5 2-9 0,0-2-9 16,-3 2 11-16,0-3-46 0,-2 1 2 0,2-2-9 16,-2 0-55-16,2-4-33 0,0-2-28 0,2 0-38 15,-1-1-16-15,4-2-51 0,-2-2-15 16,2 0-57-16,3-3-41 0,0 2-137 16,-3-2-65-16,8-1-420 0,0 0 67 15,0 0 113-15,0 0 99 0,0 0 44 0</inkml:trace>
  <inkml:trace contextRef="#ctx0" brushRef="#br0" timeOffset="-90647.85">12469 12202 1075 0,'14'-7'424'0,"-4"0"-114"15,0 0-18-15,0 0-28 0,-2 0 10 16,-1-1-31-16,1 1-21 0,2-4-14 0,-4 2-1 15,1-3-12-15,-2 3-24 0,-2-3-12 16,2-1 0-16,-2 1-21 0,1 2 3 16,-1-2-8-16,-2 4 10 0,1 0 0 0,-2 1-2 0,2 2-13 15,-4 0-8-15,2 5-38 0,-2-3 39 16,2 3-9-16,0 0-30 0,0 0 8 16,-9 11 63-16,7-4-14 0,-3 1-1 0,2 0-46 15,1 4 5-15,-1 0-15 0,0 0-20 0,3 1 1 16,-2-1-39-16,2 1 27 0,0-3-51 15,0 0-26-15,2 1-20 0,1 1-38 0,-3-2-39 16,3-1-21-16,-1-3-42 0,0 2-40 16,1-3-63-16,0 1-182 0,0-3-514 0,1 1 53 15,2-3 156-15,-6-1 34 0,8-1 105 0,-8 1 56 16</inkml:trace>
  <inkml:trace contextRef="#ctx0" brushRef="#br0" timeOffset="-90394.13">12790 11748 1428 0,'0'-4'374'0,"2"1"-34"0,-2 3 13 0,0 0-17 0,0 0-42 16,1 18-13-16,-1-8-7 0,-3 2-46 0,3 4 15 16,-3 3-56-16,0 1 8 0,1 4-21 15,-3 2-16-15,2-1 50 0,-2 1-11 16,0 0-28-16,0 0-49 0,-2 0-15 0,3 0-59 0,0-3 0 15,1-3-74-15,0 0-13 16,1-2-28-16,2-4-5 0,0-2-44 0,2-3-20 16,1 1-23-16,0-4-80 0,1-1-102 0,0-6-85 15,3 2-485-15,-7-1 106 0,13-5 98 16,-6 0-5-16,1-4 77 0</inkml:trace>
  <inkml:trace contextRef="#ctx0" brushRef="#br0" timeOffset="-90183.1">12913 11800 1005 0,'2'-20'410'0,"1"4"-87"15,-3 7-16-15,3-2-21 16,-3 5-27-16,2 4-8 0,-2 2 10 0,0 0-10 16,0 0-11-16,0 0-25 0,-6 19-33 0,4-6-5 15,0 0-8-15,-1 6-6 0,0 0-42 16,1 3-1-16,-3 3-10 0,2 0 13 0,1-1 43 16,-1 2-50-16,1-1-32 0,-1 0-15 0,1 0-51 15,-1-4 3-15,3 1-39 0,0-2-31 16,0 1-33-16,-3-2-48 15,6-1-52-15,-1 0-148 0,-2-2-625 0,1-3 113 0,1-2 30 0,-2-4 85 16,5 0 123-16,-4-2 3 0</inkml:trace>
  <inkml:trace contextRef="#ctx0" brushRef="#br0" timeOffset="-89782.27">13290 12068 1182 0,'0'0'430'0,"18"1"-74"16,-9-1-16-16,0 2-20 0,1-2-53 0,2 0-12 16,2 0-45-16,-2 1-25 0,-1-1 2 15,1 0-57-15,1 0-25 0,0-1-31 0,-3 1-30 16,1 0-24-16,1 0-107 0,-4 1-69 0,0 0-133 15,-1 0-551-15,-1 3 116 0,-4-3 35 16,1 3 67-16,-3 0 54 0</inkml:trace>
  <inkml:trace contextRef="#ctx0" brushRef="#br0" timeOffset="-89590.88">13267 12185 975 0,'-3'0'361'0,"3"0"-8"0,-5 1-31 16,5-1-17-16,0 0-8 0,0 0-28 0,0 0-39 15,0 0-25-15,13 5-16 0,-6-5 1 16,4 0-47-16,-1 0-7 0,0 0 2 0,6 1-13 16,-1-1-30-16,3 0-5 0,-2 0 7 0,4 0-79 15,-2-1-36-15,0 0 5 16,-1 0 0-16,-1-1-33 0,2 1-46 0,-3-1-41 0,1-1-72 16,-1 0-87-16,-2-1-237 0,0 1-257 15,-1 0 46-15,-1-2 121 0,-1 3 17 16</inkml:trace>
  <inkml:trace contextRef="#ctx0" brushRef="#br0" timeOffset="-89268.05">13523 11936 1177 0,'0'0'366'0,"0"0"-26"0,18 2-35 16,-8 2-3 0,1 0-100-16,1 1-48 0,-1 0 20 0,4 4 8 0,3 0-6 15,0 2-20-15,2 1 6 0,-2 1 83 0,0 1-24 16,-3 0 6-16,1 3-47 0,-1-1 24 16,-1 1-25-16,-4 1-2 0,-3 1-5 15,-2 0-34-15,-5 0 3 0,0 3-24 0,-5 1-7 0,-2-1-12 16,-7 8-80-16,0-1-16 0,-2-2-2 31,3-4-79-31,1-3-29 0,1-1-76 0,-2-1-110 0,0-1-185 0,3-3-501 0,-2-1 94 16,3-4 77-16,-1 1 80 0,2-4 89 15,1-2 43-15</inkml:trace>
  <inkml:trace contextRef="#ctx0" brushRef="#br0" timeOffset="-87862.07">14325 11902 924 0,'0'0'304'0,"0"0"19"15,3 12-37-15,0-2-30 0,-1 3-28 0,1 3-18 16,-3 4-3-16,2 0-53 0,1 5 7 15,-1 1-35-15,-1 2-9 0,-1 0-1 0,0 2-14 16,0-2-20-16,0 0-16 0,-1 0-2 0,-1-4 6 16,2-1-17-16,0-2-19 0,-3-3-4 15,1-2-4-15,2-3-1 0,0-1 4 16,0-1 1-16,-2-2-2 0,2-2-2 0,0-1-11 31,2-2 8-31,-2-2 6 0,0-2-22 0,0 0 4 0,0 0 17 0,2-15-21 16,1 5 27-16,-1-4-14 0,-1-5 6 0,1-4-19 0,3-3 29 15,-2-3-28-15,1-10 10 0,2-1 2 16,-1-2 1-16,3-1-11 0,0-1 3 0,0 1 18 16,2 0-19-16,0 0 17 0,2 5 29 0,-1 1-32 15,4 5 35 1,-4 8-17-16,-1 5 5 0,-3 4-11 0,3 2 34 0,1 3-34 0,-1 7 21 16,-2 2-5-16,2 4 17 0,3 3-30 15,-3 6 16 1,-2 2 9-16,5 5-7 0,-3 3-10 0,3 7-3 0,-3-2-31 0,2 5 26 0,-4-6-3 15,-2 0 11-15,1-1-18 0,-1-1-21 16,-2 0-10-16,2 0 3 0,-4-3-29 16,1-2-28-1,0 1-5-15,1-2-20 0,-1 3-11 0,-3-4-25 0,3-1-46 0,-3-3-3 0,0 0-18 16,2-1-58-16,-2-2-101 0,-2 0-117 16,4-1-402-16,-4-3 105 0,2-1 56 0,-3 0 80 15,3-2 81-15</inkml:trace>
  <inkml:trace contextRef="#ctx0" brushRef="#br0" timeOffset="-87638.43">14310 12174 924 0,'-5'-1'353'0,"5"1"-33"0,-5-5-11 0,5 3-27 15,0 2-11-15,0 0-25 0,5-8-5 16,0 5 53-16,2 2-43 0,1-4-18 0,0 3-16 15,5-2-37-15,-1 0 6 0,4 0-29 0,2-1-6 16,0 0-46-16,0 2-8 0,0-3-49 31,2 1-45-31,-1 0-36 0,-1 2-65 0,-1 0-127 0,-4-1-241 0,5 1-453 0,0-2 108 16,-2 2 46-16,-4-2 66 0,1 1 131 0</inkml:trace>
  <inkml:trace contextRef="#ctx0" brushRef="#br0" timeOffset="-86838.27">14772 11980 1141 0,'0'0'371'0,"0"0"-30"0,0 0-14 0,0 0-7 16,7 10-38-16,-4-4-59 0,-1-1-19 16,1 3-22-16,-1-1-72 0,2 0-28 0,0 1 5 15,1 1 18-15,-2 0-44 0,2-1 6 16,-2 1-21-16,1-1 3 0,-1 1 7 15,0-2 13 1,0-1-28-16,2 0 3 0,-3-2 30 0,1 2-13 0,-1-1 24 0,1-3-6 0,-3 1-10 16,0-3 16-16,5 2 32 0,-5-2-37 15,0 0-6-15,8 0 41 0,-8 0 8 0,8-4-8 16,-4 1-5-16,-4 3-25 0,6-4-16 0,-2 3-10 16,-1 0 59-16,-3 1-49 0,8-2-23 15,-8 2 7-15,8 0-14 0,-8 0-14 0,8 0 1 16,-8 0-5-16,7 3 25 0,-4-2-41 0,-1 2 23 15,-2-3 23-15,5 4-20 0,-2-2 2 16,-1 0 8-16,-2-2 8 0,3 3-88 0,-3-3 11 16,5 3 26-16,-5-3 17 0,0 0 28 15,5 2-27-15,-5-2 43 0,0 0 0 16,0 0 2-16,5 2 8 0,-5-2 74 0,0 0-17 16,0 0-21-16,8-4 7 0,-5-1-32 0,1 4 2 31,-4 1-21-31,11-4-5 0,-4 1 11 0,-1 3-18 0,1-4-37 0,1 3-30 0,0 0-53 15,0-1-39-15,-1-1-21 0,4 2-48 0,-1-2 2 16,0 1-40-16,-2-1 9 0,5-1 1 16,0 2 0-16,-1-2-16 0,1-1 6 15,0 1 32-15,-1-1-9 0,-1 1 32 0,-1-1 11 16,0 1 8-16,1-1 48 16,-3 0 19-16,-1 3 55 0,-2-2-10 0,1 1 57 0,-2 0 30 15,-1 1-17-15,-3 2 27 0,0 0 21 0,0 0-18 0,0 0 1 16,0 0 19-16,0 0-15 0,0 0 24 15,0 0-6-15,-13 9-36 0,8-5 0 16,2-1-4-16,-1 0-14 0,3 1 3 16,-1-1 20-16,-3 0-38 0,4 1 18 0,-1-1 3 0,2-3-29 15,0 7 1-15,0-7 12 0,3 4 2 16,-3-4-7-16,7 1 1 0,-4 0 6 0,-3-1-25 16,13-4-7-16,-6 2 25 0,1-3-15 0,0 2 15 15,2 0-8-15,0-3 49 0,-2 3-41 16,-1-1-5-16,1-1 5 0,0 4-5 15,-3-3 18-15,1 3 17 0,-2-1-27 0,2 2-6 16,-6 0-7-16,10 0 15 0,-10 0-22 0,10 3 17 16,-7 0-3-16,2-1-30 0,0 3 20 15,0-3-36-15,-2 2-38 0,4 0-2 0,-4 0-26 16,2 1-36-16,0 0-46 0,1-1-16 0,1 0-86 31,0-3-134-31,-1 4-565 0,-1-5 123 0,3 1 58 0,0 2 88 0,-4-3 76 16,4 0 52-16</inkml:trace>
  <inkml:trace contextRef="#ctx0" brushRef="#br0" timeOffset="-86471.29">15541 11886 793 0,'3'-5'317'0,"-3"5"-43"0,7 0-5 16,-7 0-36-16,11 5 5 0,-7-3-31 0,2 2 3 16,-1 3 13-16,0-1 0 0,-2 0-26 0,1 2 23 15,1 1-36-15,-4-1 98 0,-1 0-49 16,0 4-21-16,0-2-15 0,-1-1-100 16,-1 2 8-16,2 0 16 0,-3-1-9 0,1 1-48 0,2-1-5 15,-2-1-8-15,2 2 26 0,2-2-20 16,-2 0-1-16,0-1-20 0,0 0-21 15,2 0 6-15,3-2 2 0,1 0-29 0,-1-2-35 16,0 2-12-16,3-3-27 0,1-1-14 16,0 0 4-16,1-1-2 0,0-1-36 0,0-1-59 15,0-1-59-15,-2-2-130 0,0 2-517 0,0-3 76 16,-1 2 113-16,-1-2 59 0,-2 0 54 31</inkml:trace>
  <inkml:trace contextRef="#ctx0" brushRef="#br0" timeOffset="-86303.39">15513 12026 982 0,'-8'1'305'0,"8"-1"-18"16,0 0-26-16,0 0-21 0,-5 1 1 0,5-1-21 0,0 0-36 0,0 0-15 0,0 0-7 16,0 0-16-1,28 0-21-15,-18-1 46 0,3 0-27 0,2-1-29 0,3-1-38 0,1 0-49 16,-2 0-49-16,6-1-86 0,-4-1-152 15,1 2-334-15,-2-2-201 0,0-2 100 0,0 2 29 16,0-1 61-16</inkml:trace>
  <inkml:trace contextRef="#ctx0" brushRef="#br0" timeOffset="-86072.02">15961 11862 962 0,'0'0'461'15,"0"0"-44"-15,-3 10-13 0,3-10-66 0,-2 9-23 16,0-2-51-16,2 0 4 0,-3 3-83 0,3-3-42 15,0 3-15-15,-3-1-13 0,3 1-10 16,-2 0-18-16,2 0-18 0,-2 1-30 0,2-3-16 16,-1 2-26-16,-1-1-53 0,2 1-36 15,-3-2-62-15,3 1-84 0,0-7-123 16,0 5-440-16,0-2 89 0,0 0 11 0,0-5 87 0,0 4 69 16</inkml:trace>
  <inkml:trace contextRef="#ctx0" brushRef="#br0" timeOffset="-85982.81">15918 11806 668 0,'-3'-2'115'0,"3"2"-141"0,-5-2-506 0</inkml:trace>
  <inkml:trace contextRef="#ctx0" brushRef="#br0" timeOffset="-85354.44">16061 11813 1272 0,'3'11'417'0,"2"0"-33"0,-2-2-26 16,-1 1-38-16,0-2-118 15,-1 1-10-15,-1 0-30 0,2-1 22 0,-2 1-2 0,0-1-8 16,0 1 7-16,0-1-35 0,0-1 31 0,0-2 92 15,0-1-36-15,0 1 5 0,0-1 10 16,0 0-15-16,3-1-97 0,-3-3-3 0,0 0 13 16,7 0-26-16,-7 0 0 0,11-8 6 15,-4 3-27-15,1-2-1 0,2 1-11 16,0 0-16-16,-1-1-27 0,3 3 17 0,-4-2-9 16,4 1 96-16,-1 2-17 0,-1 0-24 0,0 1-17 15,0 2-26-15,0-1 10 0,-1 2-38 16,-1 1 25-16,2-1-86 0,-2 2-19 15,-2-2-63-15,2 3-44 0,-2-2-16 0,1 0-38 0,-1 1-48 16,1-2-26-16,-2 2-82 0,1-3-115 0,1 2-136 16,0-2-381-16,-7 0 72 15,16-2 135-15,-8-1 51 0,-1-1 95 0,1 7 49 16,2-10 599-16,-4 1 140 0,1-3 47 0,-1 5 27 16,1-3 9-1,-2-1 30-15,1 1 7 0,-2 1-17 0,-1 1 13 0,0 1-13 0,1 0-3 0,0-2-20 16,-2 5-8-16,-2 1 8 15,0 0-98-15,0 0 50 0,8 7-27 0,-8-3 31 16,2 4 19-16,-2 2-14 0,-2-1 70 0,2 4-9 16,-5 0-22-16,2 5-8 0,-2-1-92 15,0 1 3-15,-3 3-1 0,0-1-25 0,-4-1 6 16,3 2-12-16,-3-5-27 0,2-1 12 16,2-1-14-16,0-2 24 0,1-3-4 0,2-3 58 15,0 0 3-15,2-2 21 0,3-3-29 0,0-1-56 16,0 0-18-16,0 0-23 0,13-14-35 15,-3 3-47-15,5-5-33 0,1 0 2 0,5-9-38 16,4 0 0-16,3-1-2 0,-2-2-39 16,2 4 0-16,-2-1-3 0,0-1-27 15,-2 3-26-15,-3-1-52 0,-1 5-137 0,-6 1-628 16,-1 0 141-16,-1 0 51 16,1 1 123-16,0-2 39 0,-3 2 53 0,-2-2 85 0</inkml:trace>
  <inkml:trace contextRef="#ctx0" brushRef="#br0" timeOffset="-60672.87">12446 12428 1080 0,'3'-4'315'0,"4"1"-6"15,1-1-30-15,2-2-41 0,3 1-25 0,3 0-11 16,2-2-28-16,2 4-36 0,-2-3-33 0,0 1-59 15,2 2-189-15,-2-2-95 0,0 2-320 16,-5 0-146-16,0 2 38 0,-5 0 160 0</inkml:trace>
  <inkml:trace contextRef="#ctx0" brushRef="#br0" timeOffset="-60482.32">12474 12524 742 0,'0'0'289'0,"0"0"-7"0,13-9-47 0,-3 5-15 0,1 0-28 0,4-1-5 15,3 1-15-15,0-2-14 0,2 3-48 16,-2-2-7-16,3 1-29 0,-1 0-48 0,1 1-34 16,2 1-77-16,-2 0-86 0,1 1-29 15,-1 2-483-15,2-1 43 0,1 2 54 16</inkml:trace>
  <inkml:trace contextRef="#ctx0" brushRef="#br0" timeOffset="-59789.48">15672 13167 988 0,'0'0'396'16,"7"-10"-17"-16,-4 4-33 0,-1 1-3 0,-1-3-26 15,1-1-35-15,0-2 17 0,-2-2 1 0,3-1-126 16,0-4 7-16,-3-2-19 0,2-5-16 0,1-2 7 16,0-1-2-16,-1 0-43 0,0-1 2 15,1-10 2-15,-3 8-27 0,3 4 4 16,1 0-7-16,-4 3-2 0,3 4-24 0,-3 0-2 16,3 1-24-16,-3 4 19 0,0 1-39 0,0 2-22 15,0 1-19-15,0 2-33 0,0 0-18 16,0 1-64-16,-3 6-23 0,3 2-25 15,-5-1-78-15,5 1-122 0,-8 12-497 0,4-3 44 16,-4 7 171-16,0 3 24 0,0 2 109 16</inkml:trace>
  <inkml:trace contextRef="#ctx0" brushRef="#br0" timeOffset="-59478.04">15782 13076 1231 0,'0'0'440'16,"0"0"-20"-16,0 0-8 0,7-5-33 15,-7 5-41-15,0-10-6 0,3 3-17 16,-3-1-43-16,2-2-17 0,-1-2-11 0,1-3-34 0,-2-5-6 16,3-1-24-16,0-5-83 0,4-11 0 15,-2-1-28-15,3 0-7 0,-3 0-14 16,3 0-15-16,0 1 31 0,-1 9-28 0,0 5-2 15,-1 4-4-15,-1 1-14 0,0 2-6 16,-2 3-20-16,2 0-65 0,-3 2-30 0,1 5-12 16,-1-2-32-1,1 3-17-15,-1 3-26 0,1 0-74 0,-3 2-95 0,0 0-190 0,0 0-286 16,0 0 11-16,6 9 137 0,-7-5 49 0,1-4 113 31</inkml:trace>
  <inkml:trace contextRef="#ctx0" brushRef="#br0" timeOffset="-59205.47">15510 12769 1205 0,'0'-8'417'0,"0"-1"-33"16,0-2-115-16,3-2-33 0,2-3-32 15,4-4-4-15,0 0-5 0,9-10-44 0,2 3 2 16,1 1-27-16,4 1 2 0,1 2 5 0,5 4-16 16,-3 2-12-16,0 4 5 0,-5 7-30 0,3 1-3 15,-3 3 12-15,0 1 6 16,0 2-21-16,3 4-30 0,-3-2 14 0,-3 2-6 16,4 3-19-16,-4 3-10 0,0-3-56 0,-4 2-26 15,1 2-5-15,-3-1-87 16,1 3-49-16,-3 0-168 0,-1-1-503 0,-1 0 37 0,-2-1 143 15,0-1 84-15,-3 0 57 0</inkml:trace>
  <inkml:trace contextRef="#ctx0" brushRef="#br0" timeOffset="-41303.21">6524 3313 934 0,'0'0'348'0,"0"0"-26"0,0 0-9 0,4 17-9 0,-3 0-17 15,4 9-21-15,0 16-2 0,0 6-36 0,0 17-1 16,3 9-17-16,-6 9-7 0,2 9-19 15,0 25-8-15,-6 8-35 0,-1 6-23 16,-7 3 10-16,2 8 33 0,-8 7 6 0,-1 3-1 16,-1 2-25-16,-3-2-23 0,1-2-11 0,0-2 6 15,1-9-29-15,-1-3-22 0,2-9-14 0,2-8 21 16,1-8-28-16,-1-6-2 0,6-24-9 16,0-4-17-16,-2-2-15 0,3-6 2 0,2-4 7 15,0-5-43-15,1-13-40 0,1-5-24 0,2-6 0 31,-1-5-59-31,1-9-71 0,0-6-159 0,-2-4-85 0,3-5-457 0,-1-3 55 0,0-4 136 16,3 0 72-16,-4-18 85 0,-2-6 20 16</inkml:trace>
  <inkml:trace contextRef="#ctx0" brushRef="#br0" timeOffset="-39842.89">6544 3316 1187 0,'-5'-1'343'0,"5"1"-18"15,0 0-51-15,-5-1-31 0,5 1-5 16,0 0-17-16,0 0-17 0,0 0-27 0,0 0-8 16,18-5-28-16,-8 4-8 0,3-1-8 0,5-1 6 15,2 1-24-15,1-2-7 0,2 3-21 16,5-2 8-16,3-1 23 0,15-2-28 0,-2 1-23 16,7-1-84-16,0-1 7 0,4 1 23 0,11-1-18 15,6 1 0-15,-3-2 11 0,0 1-9 16,3 1 11-16,0-1 21 0,0-2-1 0,4 1 3 15,4 1-38-15,2 0 13 0,-2-1-6 0,1 1 3 16,1 1 35-16,3 0-32 16,-1-1-6-16,4 1 13 0,4-1 6 0,0 5-19 0,-2-4 16 15,-1 2-24-15,1 1 39 0,2-1-20 0,-2 2-21 16,6 0 49-16,1 0-44 16,-5 2 8-16,0 0-3 0,0 0 39 0,1-2-36 15,2 2-16-15,3 0 34 0,-1 2-26 0,-2-2 13 16,-1 0 0-16,1 0-5 0,0 2-21 15,3 0 55-15,1-1-19 0,-1 0-18 0,0 0-5 16,-1-1 31-16,3 3-33 0,-3 0 12 16,1 1-15-16,-1-2 24 0,-4 3-12 0,-3 0 14 15,1-2 0-15,-3 2-18 0,-1 0-6 0,-5 1 6 16,-2-3-5-16,1 3 12 0,-4-1 8 16,-2 1-5-16,-4-1-10 0,-12-1 0 15,-2 0 22-15,-3 3-6 0,2-2-6 16,-5 1-8-16,-5 1-5 0,1-1 0 0,-1 0 18 0,-3 1-12 0,-10-1 22 15,-2-1-20-15,-5 1-3 16,2 0 11-16,-2 1 5 0,-6 1-31 0,1-2 30 16,-3 1-9-16,0 2 12 0,-2 0-18 0,-1 3 16 15,0 4 2-15,-2 0-15 0,-5 4 20 16,2 3 1-16,-5 0-3 0,0 1 10 16,0 2-34-16,-5 1 16 0,3 0 13 0,-3 1 0 0,0 3-13 15,-5 8-5-15,2-1 6 0,-2 2 24 16,0-1-17-16,-1-2-3 0,-1 1 0 15,2-1 1-15,0 1 4 0,-3-2-5 0,1-7 13 16,4-1-15-16,-3-5-5 0,2 2 7 16,1-4-15-16,0-2 7 0,1 0 6 0,0-1-13 0,-2-1-16 15,2-2 47-15,2-3-16 0,0 0-15 16,2-3 5-16,-2 1-8 16,1-2 8-16,4 0-5 0,0 1 0 0,0-5 10 0,3 1 6 15,-1 1-4-15,4-2-12 0,2 0 18 0,2-1-41 16,1-1 25-16,2-1-2 0,4 1 18 15,1-2-5-15,3 1-3 0,2-1 5 0,3-1-2 16,5 1-6 0,12-2-4-16,1 2-1 0,3-2 8 0,4 1 0 0,5-2-28 0,11 0 33 15,5 1 8-15,-3-1 0 0,4 3-7 0,1-2-27 16,3 2-2-16,5 2 3 0,1-2 15 0,-2 0 18 16,7 0-3-1,-4 3-7 1,7 0 0-16,1 2-11 0,0-3 3 0,3 1-8 0,3 0 13 0,0 1-17 0,4-1-1 0,24 3 5 15,-3-1 13-15,-25 0 5 16,22 1-2-16,-20-2 56 0,24 1-2 0,-1 1 2 0,-25-1 2 16,4 0-15-16,24-2 11 0,-26 0-29 0,28 4 3 15,-5-1 2-15,-25 0 3 0,20 3-5 16,-23-5-13-16,-2 3-33 0,4-2 12 16,21 3-2-16,-26-2 31 0,-2-1 0 0,0 1-3 15,0-1-28-15,-2-2 28 0,-4 2-10 0,3-1-5 16,-4 0 20-16,-1-1-30 0,-2 0 10 0,-3 1-8 15,-1-4-23-15,-3 5 10 0,-2-4 16 16,-1 2 7-16,-16 1-20 0,2-3 18 16,-4 0-16-16,-1-2 6 0,-5 2-1 15,-2 2-9-15,0-6 14 0,-3 1-9 0,-9 3-3 0,-10-2-36 16,-4 1-8-16,-6-1-23 0,0-2-30 16,-7 2-75-16,-2-1-109 0,-4-1-129 0,-4 1-540 15,0 2 105 1,0 0 90-16,-18-8 72 0,1 2 84 0</inkml:trace>
  <inkml:trace contextRef="#ctx0" brushRef="#br0" timeOffset="-38620.92">8942 4213 1371 0,'4'-6'438'0,"-1"2"-62"0,4 2-22 0,-1-1-39 15,-1 1-21-15,3 1-7 0,0 1-39 0,-1 1-15 16,4 1-46-16,-4 2-31 0,1 0-5 0,-3 3-13 16,0-1-7-16,-3 1 4 15,1 1-9-15,-3 2 20 0,-3 0-41 0,-2 5-21 16,-4-1-7-16,1 2-18 0,-1-2 20 0,-5 4 5 15,0-2-7-15,1 0-10 0,-1 0-13 16,3-5 10-16,-2 2-8 0,1-2 18 0,3-1-2 16,2-3-1-16,0 0-12 15,-1-1-10-15,2 0 7 0,2 0 1 0,1-3-27 0,-2 0 27 16,4 0-39-16,-1 1 20 0,2-4 5 0,0 3-17 16,0-3-5-16,5 3-21 0,-5-3 30 15,10 0-14-15,-4 0-42 0,-6 0-17 0,15 0-19 16,-7-4-30-16,2 2-46 0,0-2-57 15,0 1-30-15,4-1-67 0,-2-2-64 0,1 0-66 0,0 0-54 16,0-6-74-16,2 3-318 0,0-2 133 16,4-2 108-16,-2 0 317 0,-4 0 218 15,0 2 125-15,-1-1 39 0,-3 4 64 0,1-2 66 16,-2 2 41-16,0 1 23 0,-2 1 8 16,-2 0-5-16,0 1-23 0,-3 3-29 0,1-1 6 15,-2 3 5-15,0 0-21 0,0 0-17 0,0 0-39 16,0 0-11-16,-7 16-50 15,3-8-36 1,2 2 5-16,0 2-8 0,-1-2-28 0,0 3 46 0,1-2-41 0,2 1 13 0,0-1-26 16,0-2-12-1,5 2 38-15,0 1-15 0,1-3-6 0,-1 0-15 0,5-2 23 0,0 0-30 16,0-3 9-16,3 2 16 0,0-5 24 0,-2 1-40 16,1-3 9-16,1 0 32 0,0-3-17 15,-3 1 25-15,0-2 1 0,-2-2 7 0,-1 1 2 16,1-1-25-16,-5-3 5 0,-1 2 3 0,1 1 30 15,-3-2-28-15,0 0-17 0,-3 2 1 16,0-1-24-16,-4 0-14 0,2 2-2 0,-5-1-41 16,2 1-18-16,-3 1-28 15,-1 1-18-15,0 1-64 0,1 2-57 0,1 1-127 16,-1-1-47-16,1 1-480 0,0 0 58 0,3 0 95 16,1 1 10-16,6-1 100 0</inkml:trace>
  <inkml:trace contextRef="#ctx0" brushRef="#br0" timeOffset="-38098.36">9390 4240 798 0,'15'0'307'0,"1"0"-17"0,-6 3-40 0,3-2-1 15,-3 1 2-15,-2 2-29 0,-3 0 6 16,0 1 79-16,-4 0-7 16,1 1-19-16,-4 2-25 0,1 2-5 0,-6 1-41 0,-1 2-21 15,0 0-15-15,-2 0-5 0,2-1 0 0,0-3-13 16,1 1-10-16,-1 0-10 0,3-1-26 0,-1-1 21 15,2 1-42-15,1-2 8 0,-2-1 1 16,5 1-16-16,-2-4-18 0,2 2 0 0,0 0 0 16,4-2-26-16,-1 0 3 0,2-1-5 15,0-2-41-15,6 0-29 0,-1-2-7 0,0 2-28 16,3-5-2-16,0 0-27 0,2-2 9 16,3-1 7-1,-3 1-3-15,1-4-4 0,-1 3-6 0,1-1 34 0,-1 0-3 0,-2 3 7 0,-3 1 27 16,-2 1-16-16,0 2-3 0,-1 0 31 15,-2 2-5-15,-5 0 20 0,0 0 9 16,10 2 6-16,-7 3 6 0,-3-1 10 0,3 0-15 16,-3 2-2-16,2 1-32 0,0-1 18 15,2-1 9-15,-2 0 9 0,3 1-10 0,0 0 18 16,0-2 0-16,3 1-28 0,0-1 2 16,0-2 29-16,-1 2-18 0,3-4 38 0,-2 0 28 15,-1 0 8-15,2 0 8 0,-2-3-60 16,-2 1 29-16,1-2 3 0,-2-2 71 0,-1 2 5 15,0-2-33-15,-3 0-5 0,0 0 25 0,-3-2-35 16,3 1-1-16,-5-1-15 0,-1 1 3 0,-1-1-13 16,2 2-18-16,0 0-38 0,-3 1-39 15,0 0-63-15,0 2-34 0,1 0-23 16,0 3-54-16,1 0-79 0,-2-3-200 0,3 4-576 16,-3 3 141-16,4 0 31 0,-4 1 102 0,2 0 131 15,2 1 25-15</inkml:trace>
  <inkml:trace contextRef="#ctx0" brushRef="#br0" timeOffset="-37854.83">10028 4384 1238 0,'0'0'446'0,"0"0"-19"0,0 0-56 16,0 0-33-16,0 0-33 0,14-2-47 15,-4 1 9-15,-3 1-70 0,3-2-18 0,3 0-28 16,-2 1-33-16,1 0-62 0,-2-2-51 16,1 2-56-16,2-1-98 0,2 2-127 0,-4-3-592 15,-1 2 36-15,2-1 85 0,-4 2 51 0,0-1 99 16</inkml:trace>
  <inkml:trace contextRef="#ctx0" brushRef="#br0" timeOffset="-37607.06">9975 4437 1430 0,'2'5'438'0,"3"-3"-39"0,0 0-30 0,3-1-59 0,2 2-18 16,0-3-37-16,1 2-32 0,1-2-3 0,2 2-41 16,-2-2-51-16,4-2-84 0,-1 2-31 15,1-1-67-15,-1 0-151 0,-3 1-174 0,4-1-491 16,-3-2 77 15,2-1 81-31,-4 1 49 0,-1 1 51 0</inkml:trace>
  <inkml:trace contextRef="#ctx0" brushRef="#br0" timeOffset="-37384.33">10211 4227 1395 0,'7'0'486'0,"1"2"-10"16,2 1-107-16,3-1-52 0,0 4 85 0,2 0-39 15,1 4-40-15,-2-1 4 0,2 3-32 16,-3 3-32-16,0-1-9 0,-3 1-26 15,-2 2-3-15,-3-2-15 0,-5 1-39 16,-3 2 1-16,-1 2-67 0,-5 1-64 0,-1 2-72 16,-5 7-48-16,-3-3-47 0,2-3-58 0,-1 1-154 15,2-5-222-15,4-3-449 0,-2-2 75 16,3-3 125-16,0 0 59 0,2-5 79 0,0 0 90 16</inkml:trace>
  <inkml:trace contextRef="#ctx0" brushRef="#br0" timeOffset="-35899.49">10890 4301 1034 0,'0'0'407'0,"0"11"-29"0,0-4-47 0,-3 2-34 0,1 1-36 15,0 2-5-15,1 1-31 0,-1-1-23 0,2 3-25 16,-3-2-8-16,3 3-21 0,-2-2-10 15,1 2-28-15,-1 3-40 0,2-5-12 0,-3 1 1 16,1 0-5-16,2-3-3 0,0 1-23 16,0-3-12-16,0 0 2 0,0-2 10 15,0 2 10-15,0-4 11 0,0 0-24 0,-2-2 11 0,2-1 8 16,0-3 4-16,0 0-17 0,0 0 18 16,0 0-1-16,0 0 24 0,2-17 10 15,-2 8 10-15,0-4-28 16,2-2 8-16,1-6-42 0,-1 2 4 0,1-6 2 0,0 0 33 15,2 0-23-15,3 0 0 0,-1 1-21 16,1 1 34-16,0 3 0 0,2 2-5 0,0 3 13 0,0 2-24 16,0 1 1-16,-1 5-16 0,1 1 20 15,0 0 11-15,-2 3-13 0,-1 0-18 16,-2 3 21-16,-5 0 2 0,11 1-20 0,-6 4-3 0,-2-2 82 16,-1 2 0-16,-2 2 3 0,0-1-31 15,-3 5-128-15,-2-3-16 0,2 2-27 16,-5-1-42-16,1 2-22 0,-3 1-24 0,2 0-25 0,1-2-29 15,-1-1-40-15,0 3-92 0,5-6-75 16,-1 1-527-16,1-1 92 0,6-3 108 16,-3-3 150-16,4 2-17 0,-4-2 66 0</inkml:trace>
  <inkml:trace contextRef="#ctx0" brushRef="#br0" timeOffset="-35626.63">11249 4225 1039 0,'3'-1'363'0,"-3"1"-7"15,0 0 31-15,0 0-6 0,-8 11-38 16,2-3-13-16,1-1-23 0,-2 5-35 0,-4 2-111 16,3 0-23-16,-2 2-2 0,-2 0-8 0,4 1-16 15,0-3 14-15,1 2-6 0,2-3-7 16,2 0-39-16,-3-1 10 0,4 0 3 16,0 0-5-16,2-2-15 0,0 0 2 0,0 0-10 15,2-2-21-15,1-1 13 0,2 1-15 0,0-2-23 16,3-1-23-16,0 0-23 0,2-3-13 15,-2 2-11-15,4-4-20 0,-1 0-43 0,1 0-31 16,2-3-20-16,-2 2-80 0,3 0-62 0,-2 0-50 16,0 0-451-16,0-1-8 15,0 1 88-15,0 1 94 0,-1-1 69 16</inkml:trace>
  <inkml:trace contextRef="#ctx0" brushRef="#br0" timeOffset="-35024.32">11746 4384 965 0,'-2'-8'343'0,"2"4"-11"16,0 4-12-16,0-3-36 0,-2-1-12 15,2 4-14-15,-1-5-38 0,1 5 0 16,-3-4-25-16,3 4-8 0,-7 0-16 0,7 0-12 0,-10 3-18 15,2 1-5-15,0-2-21 0,-2 2-10 16,2 2-8-16,-2 1-13 0,0-3-17 16,2 0 12-16,-2 2 1 0,5-2-9 0,-1 2-27 15,-1-3-11-15,2 1 18 0,2-1-15 16,-2 0 0-16,2 2-10 0,1-3-19 0,-1 0 11 16,0 1 0-16,3-3 13 0,-4 7-11 0,4-5-9 15,0-2-4-15,-3 4 9 0,3-4-14 16,0 6 1-16,0-6-8 0,3 2 5 0,-3-2 5 15,2 5-18-15,-2-5 21 0,0 4-1 16,0-4-20-16,3 2 3 0,-3-2 20 0,0 0 3 16,2 2 5-16,-2-2-3 0,0 0-7 15,5 4 2-15,-5-4-17 0,0 0 22 0,0 0-12 16,0 3-3-16,0-3 5 0,0 0 0 16,0 0-5-16,0 0-5 0,1 4-8 0,-1-4 21 15,0 0-3-15,0 0 0 0,2 5-18 16,-2-5 11-16,5 2 7 0,-5-2 10 15,5 5-2-15,0-3-6 0,-2 1 40 0,2-1-53 0,-4 2 12 32,3-2 6-32,-2 0 14 0,2 1-13 0,-2 0 23 0,0 1 17 0,-2-4 19 0,1 6 0 15,-2-3-31-15,-1 1 10 0,0 2-8 0,-2-4 14 16,0 2 2-16,-4 1-8 0,3-2-13 16,-5 1-5-16,2-2 11 0,-2 2-42 15,2-1-19-15,-2 1-30 0,-1-3-22 0,1 3-25 16,2-3-24-16,0 0-20 0,2-1-34 0,0 2-63 0,6-2-85 15,-8 0-95-15,8 0-20 16,-2-4-420-16,2 4 8 0,0 0 133 0,0 0 63 16,12-5 91-16</inkml:trace>
  <inkml:trace contextRef="#ctx0" brushRef="#br0" timeOffset="-34195.4">11826 4419 1226 0,'0'0'399'0,"-21"6"-46"0,16-3-30 0,-5 2-19 0,5 0-17 16,-3 1-44-16,0 0-43 0,1 1 20 0,-3-2-31 15,2 2-30-15,0-1-21 0,3 0 0 0,0 0 3 16,2-3-23-16,1 2-46 0,-3 0-1 16,4-2-9-16,1 2-6 0,0-5-18 0,3 5 1 15,-3-5 4-15,8 1 14 0,-1-2-29 16,-7 1-15-16,11-3 15 0,-6 1 26 0,5 0-26 15,-2-2-8-15,0 2-7 0,0-1-10 0,-1 0 17 16,0 2-12-16,-1-1-6 16,-6 2 6-16,7 0 0 0,-7 0-3 0,8 3 8 0,-5-2-13 15,-1 3 15-15,-2-4 13 0,3 7-2 16,-1-5-31-16,1 2-16 0,-3-1-7 16,0-3-10-16,3 4-16 0,-1-1-13 0,-2-3 3 15,5 3 8-15,-5-3 0 0,8 0 10 16,2-3 10-16,-5 0-5 0,3 0 56 0,2-4 16 15,0 0 7-15,-2 0 16 0,5-4 10 0,-3 2 20 16,1-4 16-16,-1 1-66 0,0 0 37 0,0-4-12 16,-2 2 5-16,2 0 21 0,-2 1-4 15,-1 1 9-15,-1 1-6 0,-2 3 21 32,2-1 3-32,-3 2 5 0,2 3-21 0,-3-1-3 0,1 5 16 0,-3 0-7 0,0 0-37 15,0 0-10-15,7 7 26 0,-9-1 87 0,2 1-52 16,-3 1-9-16,3 2-29 0,-3 2 0 0,1-1-40 15,-3 3-50-15,2-1-81 0,-2 1-29 32,2 1-40-32,1 0-16 0,-3-3-5 0,5 0-35 0,0 1 7 0,0-4-103 0,0 1-66 0,3-1-140 15,-1 0-395-15,3-3 36 0,0 1 140 16,1-1-12-16,-1-3 100 0,3 0 450 0,-1 0 241 16,0-3 74-16,1 3 54 0,0-3 25 15,0-3 11-15,2 2 43 0,1-1 26 0,-4-2 2 16,6 2-92-16,-3-4 13 0,-2-1 64 15,2 2 8-15,-2-2 5 0,2-1 17 0,-2 1-99 0,0-1 8 16,-1 5 7 15,-2-3 11-31,0 1-9 0,0 0-30 0,-2 0 0 0,0 2-10 0,-3 0-43 0,0 3 14 0,0 0-30 0,0 0-13 16,0 0-5-16,0 0-5 0,0 0-15 16,0 0 17-16,-8 11-30 0,5-6-5 0,1-2 4 15,-1 2-22-15,1 0-13 0,2 0 0 0,0-2-10 16,2 1 2-16,1 0 26 15,0-2-29-15,1 1 1 0,2-1 13 0,-1-1 12 0,3 0-10 16,2 0-10-16,0-1 2 0,0 2 16 16,3 0 84-16,-3-1 3 0,0 0-1 15,1 2-24-15,-1-2 1 0,0 2 1 0,-2 1 7 16,0-2 3-16,-1 2-33 0,-4 1 5 0,2-1-11 16,-5 1 1-16,0 0-67 0,-3 2-8 15,-2 0-79-15,-2-1-51 0,-1 2-51 0,0-3-85 16,3 2-182-16,0-1-673 0,0-2 110 0,0-2 118 15,2-1 57-15,3-1 101 0,0 0 88 16,0 0 28-16</inkml:trace>
  <inkml:trace contextRef="#ctx0" brushRef="#br0" timeOffset="-34066.36">12487 4543 1169 0,'5'-3'425'15,"-5"3"-46"-15,5-3-51 0,-5 3-72 16,3-4-67-16,-3 4-71 0,0 0-98 0,-3-6-204 15,3 6-599-15,0 0 86 0,0 0 81 0,0 0 60 16</inkml:trace>
  <inkml:trace contextRef="#ctx0" brushRef="#br0" timeOffset="-30462.31">14720 4941 1192 0,'0'0'336'0,"-10"15"-22"0,10-5-37 15,-5 1-44-15,3 0-21 0,-1 3-2 0,-2 4-31 16,2 0-28-16,-2 2-61 0,3-1-18 16,-4 1-42-16,1 2-32 0,3-4-29 0,-1 1 11 15,-2-1-19-15,3-4 16 0,-1 0-8 0,2-1 16 16,1-3-21-16,0-2 16 0,-2 1 35 15,2-2 8-15,0-4 5 0,0 3-12 0,-2-3 22 16,2-3 24-16,0 0 7 0,0 0-3 0,0 0 26 16,0 0-5-16,2-12 8 15,0 2-8-15,-1-1 8 0,4-2 35 0,-3-3-37 0,6-6-22 16,-3-3 19 0,3 4-8-16,0-4 10 0,4-6-33 0,1 6 7 0,-2 6 16 15,1-2 5-15,-1 4 10 0,-3 1-73 0,-1 2-9 0,1 3 8 31,0 2-23-31,-4 1 0 0,2 1-3 0,-1 4 55 0,0 3-27 16,0 0-4-16,-5 0-9 0,10 6 4 0,-5 1-19 0,-2-1 21 16,4 6-13-16,-4-1-33 0,0 4-18 15,0-2-23-15,-1 5-16 0,0-3-9 16,1 3-29-16,0-3-3 16,-3-1-22-16,2 3-57 0,-2-3-71 0,0 1-75 0,0-3-494 0,-2 1 52 15,2-2 115-15,0-1 66 0</inkml:trace>
  <inkml:trace contextRef="#ctx0" brushRef="#br0" timeOffset="-29553.92">14651 5169 1167 0,'0'0'343'0,"-3"-5"-13"0,3 5-31 0,0-4-30 16,0 4-26-16,8-5 52 0,-2 1-6 15,4 2-48-15,2-3-39 0,1 1-15 0,3 0-47 0,4-2-30 16,3-3-30-16,3 1-14 16,10-3-37-16,0-2-40 0,-1 1-4 0,-1 0-16 0,-6 2 13 15,6-6 6-15,-6 4-4 0,-6 3 11 16,-3-1 2-16,-4 2-9 0,0-2 27 16,-2 2 23-16,-5 1 6 0,2 1 2 0,-5 0 10 15,0 1 11-15,-2 0 2 0,0 3 3 0,-3 2 22 16,-3-6-22-16,3 6-13 15,0 0 2-15,0 0 14 0,0 0-27 0,0 0-4 0,-13 8-14 16,13-3 17-16,-2 1 14 0,-1 1-18 16,3 3-7-16,0-3 10 0,0 1 11 15,0 3-14-15,0-1 16 0,0 0-23 0,3 1 2 16,-3-2 24-16,0 2-14 0,0 0-12 0,0 0 21 16,-3-2-24-16,3 1-64 15,-5-1 5-15,2 2-2 0,-4-3 16 0,-1 2-12 0,0-1-27 16,-2 1 5-16,-1-2-28 0,4-2-26 15,-3 1 3-15,0-1-8 0,2-1-38 0,0-1-34 16,3-2-23-16,2 0-30 0,3-2-44 0,0 0 0 16,0 0 13-16,0 0-13 0,0 0 5 15,8-15 3-15,0 9 38 0,0-5 26 0,2 2 56 16,0-2 26-16,1 0 51 0,1 0 38 16,-1 1 70-16,1 0 32 0,-2 2 24 0,-2 2 23 15,0 0 5-15,-3 0-21 0,2 5 11 16,-4-3 2-16,3 3-3 0,-6 1 9 0,0 0-29 15,10 4 18-15,-6-2-10 0,-3 3-23 0,2-2 4 16,1 2-24-16,-1 1 4 0,0 0-10 16,2-1-5-1,0 2 18-15,-2-1-12 0,4-3-1 0,-2 1 8 0,3 0-13 0,0-2 23 16,-1-1 8-16,1 0-3 0,0-1 8 0,0-1-5 16,-1 0 28-16,3-1-6 0,-2-2-17 0,0 0-15 15,-1-1 15-15,1 1 2 0,-3-1-20 16,3-1 16-16,-3 3-22 0,2-3-19 0,-1 1-31 15,-1 1-42-15,0 0-30 0,3-1-18 0,-3 1-10 16,0 1-49-16,2 0-56 0,-1-1-51 16,2 0-62-16,-3 2-38 0,3-3-2 15,2 1 14-15,-2 2 39 0,2-3 57 0,-3 2 37 16,4-2 83-16,-4 1 61 0,1 2 108 16,0-3 33-16,-4 3 33 0,2-2 54 0,-1 3-15 15,-2 0 17-15,-3 1-2 0,0 0-13 0,0 0-5 16,0 0 0-16,0 0 26 0,5 5-42 0,-5-2 9 15,0 2-11-15,-3 1 0 16,3 1 5-16,-2 1-35 0,2 1 9 0,-3-2-15 16,3 2-15-16,0 0 16 0,-3 0-11 15,3-1-11-15,-2 1 9 0,0-2 7 0,1 1-2 0,-2 1-24 16,-1-2 3-16,-2 0 21 0,2-1-59 16,-2 1-19-16,1-1-17 0,-1-1-5 0,-3-3-21 15,4 3-53-15,-3-2-44 0,0 0-41 16,0-1-77-16,1 1-79 0,-1-6-79 0,3 6-508 15,-2-2 68-15,1 0 127 0,1 0 93 0,-2 1 71 16</inkml:trace>
  <inkml:trace contextRef="#ctx0" brushRef="#br0" timeOffset="-27266.39">14946 5515 1087 0,'0'0'366'0,"-10"0"-38"0,5-2-18 16,5 2-31-16,-13 0-5 0,13 0-29 15,-11 2-32-15,7-1-31 0,1 2-8 16,-2-2 0-16,2 3-16 0,-2-3-7 0,5-1-20 0,-2 7-24 16,2-1 4-16,0-1-24 0,2 1 5 15,0 0-8-15,1 0-28 0,0 2 1 16,2-2 7-16,-2 1-3 0,-1-1 31 0,0 0-84 0,1 2 0 15,0-1 15-15,-1-1 5 16,0 1 21-16,-2-2 4 0,-2 4 4 0,0-2-1 16,-4-1-2-16,2 2 35 0,-4-2-40 0,-3 1 0 15,-1 0-11-15,-2 1 26 16,-1 0-33-16,-3-1-6 0,0-2 6 0,0-1 12 0,1 1-27 16,-4 2-16-16,1-3 2 0,-1 1-37 15,3-2-24-15,3 1-10 0,2-1-29 16,0-1 11-16,5 0-38 0,-2-2-34 0,2 2-25 0,3-2 2 15,0 3-10-15,5-3 8 0,0 0-34 16,0 0-25-16,0 0-3 0,0 0-22 0,0 0-17 16,20-6-22-16,-9 1 18 0,-1 1-394 15,3 2-6-15,5-4 95 0</inkml:trace>
  <inkml:trace contextRef="#ctx0" brushRef="#br0" timeOffset="-26160.47">15079 5569 1292 0,'3'-1'399'16,"-3"1"-33"-16,0 0-38 0,0 0-21 16,0 0-30-16,0 0-39 0,0 0 15 0,-13 7-104 15,8-5-19-15,-1 4-27 0,-1-1 7 0,2 1-5 16,0 0-29-16,0 1-1 0,0 0 7 16,-1 1-29-16,-1 1 1 31,4-2-13-31,-2 1 18 0,5-2-36 0,-3 1 3 0,-1 0-21 0,4-2 28 0,0 0-18 0,0 0 11 0,2-1-34 15,0 0 18-15,1-1-15 0,-3-3 0 16,7 2 13-16,-4-2 2 0,-3 0-25 0,13-2 22 16,-8-1 19-16,1-1-18 0,1 0-8 0,0-1 23 15,-1 0-21-15,2 3 11 0,-3-5 10 16,0 3 3-16,0-2-8 0,1 4 15 0,-2-2-20 16,1 2 15-16,-2-3 15 0,-1 3 3 15,1-2 1-15,-3 4-17 0,5-3 14 0,-3 0-19 16,-2 3 4-16,0 0-14 0,0 0 21 0,0 0-29 15,0 0-1-15,0 0 22 0,0 0-10 16,0 0-13-16,6 10 25 0,-6-10 11 16,0 7-30-16,0-5-17 0,2 2 32 0,-2-2-13 15,0 3-16-15,0-5 11 0,0 6 10 0,0-6-8 16,0 6 3-16,1-4-16 0,-1-2 21 16,2 4 5-16,-2-4-10 0,3 5-3 15,-3-5 3-15,0 0 36 0,0 0-21 0,5 1 3 0,-5-1-19 16,0 0 22-16,0 0-4 15,12-6-14-15,-9 5 30 0,-3 1-10 0,7-4-13 0,-3 3 8 16,-4 1 9-16,7-1 4 0,-7 1-21 16,5-2 13-16,-5 2 15 0,10 0-10 0,-10 0-10 15,5-1 10-15,-5 1 25 0,0 0-9 0,13 0-14 16,-13 0 29-16,8 0-3 0,-3 0-18 16,-5 0 28-16,10 0-20 15,-4 0-10-15,-6 0-24 0,10 0 22 0,-5 1-6 0,-5-1-3 16,8 0-18-16,-8 0 29 0,7 0-29 15,-7 0-9 1,0 0-34-16,8 0-23 0,-8 0-8 0,8 0-49 0,-8 0-32 0,8 0-32 0,-8 0-19 16,9-1-9-16,-3 1-28 0,-1-3-17 15,0 2-55-15,3-3-76 0,-1-1 10 0,1 2 3 16,2-2 23-16,-2-1 45 0,3 1 47 16,-1-1 5-16,-3-1 46 0,3 1 46 0,-2 2 72 15,-2 0 54-15,-2-1 58 0,2 4 23 16,-2-4 37-16,-1 3 2 0,0-1 7 0,-3 3 6 15,4-3-8 1,-4 3-18-16,0 0 5 0,0 0 13 0,0 0 23 0,0 0-23 0,0 0 0 16,1 12 20-16,-1-10-20 0,0 4-23 15,3 0 5-15,-1-1 0 0,1 2 13 0,-1-1 5 0,3 1 7 16,-2-1-9-16,-1 2-14 0,1-1 11 16,-3 0 3-16,3 1-27 0,-3-1-7 15,0 0-20-15,0-2 20 0,0 2-30 0,0-2-14 0,-3 1-2 16,0-3-20-16,1 2-34 0,0 0-12 15,1-2-19-15,-1 1-45 0,-1-2-39 0,3-2-21 16,0 0-63-16,-5 1-67 16,5-1-61-16,0 0 7 0,0 0-28 0,0 0 77 15,10-13-28-15,-7 6 43 0,2 2 36 0,0-1 93 16,3 2 55-16,-3-2 42 0,0 1 66 0,0 0 56 16,1 2 42-16,-2-1 20 0,1 3-3 15,-2-3 36-15,-3 4-13 0,6-2 3 0,-6 2 10 16,4-3-30-16,-4 3-13 0,0 0 7 0,0 0-13 15,11 3-22 1,-11-3 7-16,7 1-15 0,-7-1 5 0,3 4 5 0,2-3-28 0,-5-1 12 16,5 0 6-16,1 1-18 0,-6-1-3 0,10 2 21 15,-6 0-28-15,2-1 10 0,-1-1-6 16,-5 0-7-16,10 2-5 0,-5-2 16 16,-5 0-22-1,8 2 35-15,-8-2-47 0,8-1-5 0,-8 1 12 0,0 0-20 0,7 0-25 16,-7 0-31-16,0 0-41 0,6 1-26 0,-6-1-25 15,0 0-49-15,0 0-71 16,10-1-52-16,-10 1-18 0,5 1 52 0,-5-1-469 16,5 4 51-16,-5 0 62 0,0-2 59 0</inkml:trace>
  <inkml:trace contextRef="#ctx0" brushRef="#br0" timeOffset="-25934.13">15362 5912 1092 0,'0'0'290'0,"0"0"-24"0,0 0-41 0,0 0-69 0,0 0-87 16,0 0-104-16,0 0-142 0,-4 12-489 0,2-6 27 15</inkml:trace>
  <inkml:trace contextRef="#ctx0" brushRef="#br0" timeOffset="-25795.61">15392 6086 1233 0,'0'3'405'0,"0"-3"-47"15,-3 5-18-15,3-5-43 0,0 0-33 0,0 0-46 16,-2 6-42-16,2-6-53 0,-2 6-72 15,-1-4-79-15,-2 4-212 0,0 1-167 0,-3-1-361 16,0-1 38-16,-2 5 67 0,2-2 85 16</inkml:trace>
  <inkml:trace contextRef="#ctx0" brushRef="#br0" timeOffset="-25605.95">15338 6301 1180 0,'0'0'481'0,"0"0"-41"16,0 0-69-16,3 4-38 0,-3-4-52 0,0 0-37 0,2 3-42 0,-2-3-38 16,0 0-62-16,0 0-35 0,1 3-70 15,-1-3-76-15,0 0-77 0,2 5-118 0,-2-5-67 16,2 3-442-16,-2 1 23 0,0-4 153 16,3 4 47-16</inkml:trace>
  <inkml:trace contextRef="#ctx0" brushRef="#br0" timeOffset="-25506.11">15369 6363 189 0,'0'0'0'0,"0"0"23"0,0 0-61 0</inkml:trace>
  <inkml:trace contextRef="#ctx0" brushRef="#br0" timeOffset="-23314.99">10034 5038 1069 0,'0'0'471'0,"0"0"-48"15,0-5-19-15,0 5-35 0,0 0-6 0,0 0-50 16,0 0-32-16,0 0 16 0,0 0-18 0,0 0-23 15,-3 13-56-15,3-4-1 0,-3 1 4 16,1 5-35-16,0-1-16 0,-1 4-4 16,-2 1-30-1,2-1-1-15,-5 2-32 0,0 3-108 0,1-2-8 0,-1 1-17 0,1-1-16 16,1-2-34-16,1-1-25 0,0-5-5 0,0 0 0 16,3-1-25-16,-1 0-34 0,-2-4-18 15,3 0-79-15,2 1-51 0,-3-6-47 0,2 1-429 31,1-1 15-31,0-3 64 0,0 0 87 0,0 0 79 0</inkml:trace>
  <inkml:trace contextRef="#ctx0" brushRef="#br0" timeOffset="-22989.04">9949 5181 1011 0,'3'-17'353'0,"-1"4"-54"15,3 2-4-15,0 3-39 0,0-3-11 16,3 4-14-16,0-1 12 0,0 1-54 0,2 0 72 15,2 3-20-15,-1 1-8 0,1 2 0 0,-1 2-5 16,4 3-24-16,-2 1-24 16,3 3-9-16,-3 2-2 0,2-1 0 0,-5 3-3 15,3 1-114-15,-5 1 6 0,-4 1 9 0,-1 1 7 0,-3-1-7 16,0-1 10-16,-3 4 2 16,-4-3-5-16,-3 7-15 0,2-3-3 15,-7 0-7-15,-4 5 35 0,-1-6 55 0,5-4-45 0,-5-1 11 16,2-1-69-16,2-3 20 0,3 1-15 15,0-4-58-15,0-3-45 0,1 0-30 0,4-2-5 16,-3 0-42-16,4-1-42 0,7 0-32 0,-8-2-45 16,6-1-67-16,2 3-52 0,0-8-58 15,0 8-491-15,5-6 45 16,0 0 131-16,3 4 85 0,2-4 50 0,-3 2 42 0</inkml:trace>
  <inkml:trace contextRef="#ctx0" brushRef="#br0" timeOffset="-22273.25">10295 5295 1146 0,'2'-8'430'0,"1"2"-5"16,0-1-28-16,-3 2-49 0,0-2-110 0,2 1 18 15,-2 1-38-15,0-1 7 16,-2 1 5-16,-1 3-35 0,0-2-11 0,3 4-12 15,-4-3-16-15,4 3-23 0,0 0-15 0,0 0-16 16,-13 7-5-16,8-5-5 0,2 5 1 16,-2-1-24-16,2 3 5 0,1-2-28 0,-3 0 3 0,4 1-19 15,-1 2-4-15,2-3 10 16,0 2-11-16,0-1-17 0,2-1-21 0,1-1 13 16,2 2-15-16,-2-1-3 0,5-3 10 0,-3 2-17 15,2-4-11-15,3 1-3 0,-2-2-2 16,2 2-7-1,-2-6 12-15,0 3 16 0,3-4-9 0,1 1 11 0,-2-6-12 0,1 2 14 0,-1-1 4 16,2-5 4-16,-1 1 3 0,-1-3-23 16,0-4 30-16,0 0 11 0,1-1-3 0,-6-2 31 15,3 0-28-15,2 2 5 0,-5 0 2 0,1 2 32 16,1 1-19-16,-4 4 21 0,1 1 25 16,-1 1-5-16,0 1-30 0,-1 0 43 15,1 4-39-15,0 0-12 0,-3 4 10 0,0 2-5 16,0 0 23-16,0 0-33 0,0 0 0 0,0 0 12 15,-3 21-25-15,2-10 18 0,-1 5 5 16,0 1-16-16,-1 1-9 0,0 5 9 0,1-4-12 16,0 3-31-16,-1-1 0 15,3-2-20-15,0-3 10 0,0 3-46 0,3-2-1 0,-1-1-1 16,1-5 9-16,4-1 8 0,-1 1-10 0,-1-1 5 16,2-4 13-16,1-1-11 0,-1-1 14 15,1-4 7-15,0-1-8 0,2-4 3 16,1-1 23-16,-3 0-13 0,4-1 13 0,-2-6 0 0,0 0 10 15,-2-4 42-15,3-2-27 16,-4 0 24-16,1-3 30 0,-3 3-12 0,0 4 17 16,0-1-5-16,-2 5-2 0,2 0 18 0,-2 1-11 15,-3 4-5-15,2 2 8 0,-2 2-10 0,0 2-10 16,0 0 22-16,-5 16-12 0,0-6-10 16,0 5 2-16,-1 2-18 0,-1 2-10 15,2 3-3-15,3-3-10 0,-2 3-2 0,2-5-29 0,0 4-15 16,4-6-41-16,0 4-5 0,-2-3-31 15,4-3-33-15,0 1-17 0,-1-1-32 0,0-1-51 16,-1-2-72-16,1-4-109 0,2 1-464 0,-3 0 39 16,-1-1 124-16,1-1 47 15,-2-1 95-15</inkml:trace>
  <inkml:trace contextRef="#ctx0" brushRef="#br0" timeOffset="-21658.34">10205 5614 1300 0,'0'0'427'0,"0"0"-63"0,-8 10-37 16,6-6-25-16,0 5-25 0,2-2-24 0,-3 1-12 15,3 3-16-15,-3 1-43 0,1 1-13 0,2 0 38 16,-2 0-79-16,2 0-25 0,-1 3-6 15,-1-3-26-15,2 1 27 0,0-5-34 16,0 1 7-16,0-1-27 0,0 0 12 0,0-1 6 16,0-2-37-16,2-1-2 0,-2 0 5 15,1-4 24-15,-1-1-4 0,4 3-20 0,-4-3 1 16,0 0 9-16,8-9-5 0,-5 2 21 16,2 0 0-16,0 1-8 0,0-6 23 15,0 4 0-15,1-2-20 0,1 2 17 0,0-2-73 0,-1 2 17 16,-1 1 3-16,2 0-8 0,-1 2 18 15,-1-1-13-15,2 2-2 0,-1 1 2 0,-1-2 46 16,0 3-30-16,0 0-1 0,-5 2-2 0,12 0 21 16,-6 4 2-16,-1-3-8 15,1 6 3-15,1-2 16 0,-2 2-19 16,0 3 103-16,-2-1-21 0,2 3-10 0,-2 1-18 0,-1-1-10 16,0 1-25-16,-1 3 19 0,-2-3-124 0,1 1 2 15,0 2 0-15,-2-3-29 0,2-1-6 16,-2 1-17-16,-1-5-50 0,3 0-24 15,-3 2-50-15,3-4-50 0,-2 1-101 0,4-2-96 0,-2-4-463 16,0-1 3-16,0 0 141 0,0 0 51 16,0 0 99-16,0 0 44 0</inkml:trace>
  <inkml:trace contextRef="#ctx0" brushRef="#br0" timeOffset="-21231.17">10521 5668 1366 0,'0'0'430'16,"0"0"-10"-16,0 0-44 0,0 0-48 0,0 0-34 16,0 17-7-16,-3-9-10 0,3 1-50 0,0 2-32 15,0-1 5-15,0 0-21 0,-3 2-10 0,3 1-23 16,0-1-24-16,0 1-19 0,0-2 12 16,-2 0-120-16,2-1-10 0,0 1 2 0,0-3 23 15,0-2 11-15,0 4-1 0,0-4-17 16,0 0 4-16,0 0-2 0,2-3 49 15,-2-3-51-15,0 4 17 0,0-4 34 0,0 0-16 16,0 0 1-16,0 0 30 0,8-17-10 0,-5 6 17 16,2-1 4-16,0-4-26 0,3-5-1 15,2-2-7-15,-2 1 11 16,4 2-16-16,-1 0-3 0,1 1 49 0,-1 2-20 0,4 3 2 0,-4 3 5 16,1 2 3-16,-1 2 17 0,-1 2 1 15,-2 1-18-15,2 3 89 0,-2 1 34 0,-1 1-144 16,-2 0 29-16,1 4-3 0,-2 0-23 0,-3 1 43 15,1-1-25-15,-4 3 10 0,-1 0-39 16,-2 2-50-16,-3 0 20 0,1-1-59 0,-4 3-28 16,-2 0-67-16,1-3-61 0,1 0-44 15,1-1-63-15,0-1-73 0,0-1-193 0,2 0-523 16,0-4 125-16,1 3 82 0,1-5 88 16,-1 5 68-16,2-4 65 15,-1 0 109-15</inkml:trace>
  <inkml:trace contextRef="#ctx0" brushRef="#br0" timeOffset="-20703.79">10226 6023 1246 0,'0'0'417'0,"0"0"-33"0,0 0-10 16,0 0 59-16,0 0-39 0,0 19-28 0,-2-10-26 15,1 2-22-15,-1 2-29 0,-1 1-36 16,0-1-22-16,-1 6-47 0,0-1 5 16,0 1-25-16,-2-1 26 0,2 0-50 0,1 1-24 0,-4-2-37 15,4 1-46-15,-2-1-51 16,-1 0-20-16,4-4-52 0,-1 3-25 0,1-4-72 16,-1 1-94-16,3 1-134 0,0-7-320 0,0 3-189 15,3-2 49-15,-1-2 143 0,1 1 115 16,2-2 49-16</inkml:trace>
  <inkml:trace contextRef="#ctx0" brushRef="#br0" timeOffset="-19647.13">10405 6311 901 0,'3'-10'409'0,"2"4"-38"0,-3 0-15 0,-1-1-33 0,1 1-19 0,1-1 3 16,-1 0-92-16,-2 2-7 0,0 0-55 15,-2 1 14-15,2 0-6 0,0 4-28 0,-3-6-8 16,3 6-27-16,-5-2 1 0,5 2 12 16,-8 1-1-16,8-1-39 0,-8 7 11 0,4-3-25 15,-2 1-1-15,2 0 23 0,1 4-17 0,0-1-16 16,-2-2-26-16,2 2 16 0,1 0 8 16,0 1-27-16,2-2 6 0,-1 0-5 15,1 3-25-15,1-3-14 0,1-1-2 0,-2 1 36 0,5-2-13 16,-2-1-15-16,-1 1-1 0,1-4 3 15,0 4-2-15,1-5 7 0,2 0-9 16,-6 0-9-16,10 0 13 0,-10 0 0 0,12-3-5 16,-6 0 26-16,-1-2 15 0,0 1-23 0,2 0 23 15,1-3 8-15,-2 1-16 0,-1 1 13 16,2-2 26-16,-2 0-23 0,1 2 0 16,-1-1-3-16,-2 0 18 0,1 3-10 0,2-1-8 15,-2-1-31-15,-1 3 31 0,2-2-15 16,-2 1 5-16,0-1 13 0,-3 4 2 0,4-2 13 0,-4 2-30 15,6-4 1-15,-6 4-1 0,0 0-21 16,10 5 35-16,-7-3-14 31,-1 1 38-31,3 1-39 0,-2 0-2 0,2 2 12 0,-2-2-12 0,-1-1-10 0,1 3 38 0,2-1-8 0,-3 0-10 16,-1-2 3-16,3 2-6 0,-4 1 18 16,3-2-12-16,0-1 25 0,-3 2-10 0,2-3-8 15,-2 3-7-15,0-5 25 0,5 5-20 0,-5-4 33 31,0-1-26-31,3 6-2 0,-3-6 10 0,2 1 26 0,-2-1-36 0,0 0 5 0,0 0-8 16,0 0 0-16,0 0 6 0,10-5 2 0,-10 5-6 16,6-4 4-16,-2 1-14 0,0 2 16 15,-4 1-28-15,7-6-5 0,-2 4 15 0,0-1-13 16,1 0-5-16,-2 0 21 0,0 2-6 16,0 0-4-16,-4 1-16 0,8-2 2 15,-8 2 8-15,8-2-12 0,-8 2 2 0,0 0 23 16,10 4-36-16,-7-3 16 0,-3-1 27 0,7 4-1 15,-6-1-40-15,3 1 22 0,-1-2-6 16,-3 2 13-16,3-2-36 0,-1 1 13 0,1-1-1 16,-3-2 24-16,5 5-7 0,-5-5 12 0,5 1-31 15,-5-1-23-15,10 0 26 0,-10 0 8 16,13-6 2-16,-6 2 5 0,1 2-15 0,3-5-16 16,-1 0 16-16,0-2 21 0,3 0-27 0,-5 2 17 15,2-3-27-15,0 3 44 16,0 0-5-16,-2 0-8 0,-2 2-7 0,1 0 7 0,-2 1 18 15,0-1-10-15,0 1-8 0,-2 3 3 16,2 0 28-16,-5 1-33 0,0 0 2 16,0 0 41-16,8 2-30 0,-6 2-29 0,-2-4 31 15,0 8 5-15,0-2-25 0,0-1 4 16,1 1-1-16,-1 0 12 0,2 1 2 0,-2 1-23 16,0-2-7-16,2 3 28 0,1-1 85 0,-3-2-50 15,5 1 11-15,-3 0 0 0,1-2-20 16,2-2-14-16,-2 1 11 0,4-3-38 0,-1 2 30 15,-1-2-15 1,3-1-10-16,0-3 10 0,-1 1 13 0,3-2-6 0,0-2-7 0,-2 3 31 16,-3-3-8-16,3-1 28 0,-3 0-74 0,0 0 25 15,-2 0 39-15,-1 0-31 0,-2 0-20 16,0 2-65-16,0 1 14 0,-2-1 15 0,-4-1-5 16,2 2-8-16,-4 2-3 0,3-3-33 0,-3 3 0 15,-2-2-48-15,2 1-13 0,-2 3-31 16,2-3-44-16,-2 2-43 0,2 1-25 0,-2 0-67 15,5 0-69-15,5 0-111 0,-13 0-503 0,8-1 122 16,5 1 59-16,-5-1 121 0,5 1 58 16,0 0 131-16,-3-6 0 0</inkml:trace>
  <inkml:trace contextRef="#ctx0" brushRef="#br0" timeOffset="-19178.38">10931 6218 811 0,'5'-1'412'16,"1"-1"3"-16,-6 2-111 0,10-1 1 15,-3 2-21-15,-2 2 16 0,3-1-27 0,0 2-35 16,-3-2-20-16,3 3 10 15,-3 1-31-15,2-2-49 0,1 3 3 0,0 0-12 0,-3-1 4 16,2 0-30-16,-2-2 20 0,1 2-28 0,-1-1 2 16,0 2 6-16,-2-3 12 0,2-2 90 15,-1 3-10-15,-1-4 43 0,0 2 1 0,2-2-4 16,-5-1-58-16,8 1-107 0,-8-1 9 0,10-5 16 16,-5 4-31-16,2-4-25 0,-3 0 0 15,1 0-16-15,2-2-15 0,-2 0-23 16,3 0-21-16,0-1-25 0,-3-2-31 0,2 3-10 15,-1-2-34-15,-1 1-22 0,2 1-29 0,-4 1-2 16,5 0-10-16,-3 2 22 0,2-1 16 16,1-1 5-16,-2 2 6 0,-2 3 27 0,2 0-5 15,-1 0 18-15,-5 1 29 0,8-1 12 0,-8 1 13 16,7 3 25-16,-4 1 6 16,-1-1 43-16,0 1-7 0,-1 2-4 0,4 0-17 0,-3 0 34 15,4 0-14-15,-2 1 14 0,-1-1-6 16,2 1-16-16,3-1 29 0,-3-1-5 15,1 1 3-15,1-3 9 0,0 1 29 0,1-2 18 0,0 1-18 16,3-3 7 0,-3 0 31-16,2-3 21 0,-3 1-13 0,1-2 25 0,-1 3-10 0,1-5-15 15,-5 0-7-15,2 0 24 16,-2 0-40-16,-3-1-33 0,0 1 40 0,0-4-43 0,-3 2 5 16,-2 1-51-16,-1-1-25 0,-1 1-24 0,-3-3-61 15,2 3-29-15,-2-1-37 16,0-2-70-16,-3 3-67 0,-1-4-96 0,2-1-165 0,0 2-480 15,1-2 119-15,-2-2 65 0,6 0 89 16,-3-5 72-16,2-1 95 0</inkml:trace>
  <inkml:trace contextRef="#ctx0" brushRef="#br0" timeOffset="-18592.19">11649 4945 885 0,'5'-1'325'0,"3"-3"-38"15,-1 3-31-15,3 0-18 0,1 1 0 0,2-1-20 16,-1 1-44-16,4 1-13 0,-3 0-5 16,2 3-15-16,0-3-11 0,1 5-9 0,-1 0-16 15,1 1 15-15,-3 1-7 0,-1 3 7 0,-2 2-2 16,1 5 2-16,-1 2-18 0,-2 2-7 16,-1 3 7-16,-2 11-7 0,1 3-3 15,-4 0-7-15,0 4 32 0,-1-3-35 16,1 3 16-16,3 3-9 0,-2 2 8 0,2 1 19 0,0 0-29 15,5 8 13-15,0 1-13 0,1-1 0 0,-1-1-6 16,4 2-22-16,0-2 62 0,2-2-22 16,-1 0 9-16,-2-3-34 0,2-9 0 15,-4-3-7 1,1 1 5-16,-4 1-11 0,2-4-17 0,0-1 9 0,-4-2 17 0,-1-4-27 0,-2-9-15 16,-1 1 26-16,1-2-34 15,-1-2-17-15,-2-4 17 0,0-1-4 0,0-2 20 0,0-2 35 16,0 1-9-16,-2-4 20 0,-3 1 10 15,-1-2-18-15,-4 0-23 0,0-2 23 0,-3 1 8 16,-3-2-25-16,-2-1 4 0,-2 2-33 0,-5-2 11 16,-4 0-42-16,-4-1-5 0,-1-1-12 0,-11 0-113 15,-4-4-49-15,2-1-5 0,-1 0-46 16,2-2-41-16,0-2-10 0,-1-2-82 16,2-1-120-16,-7-6-169 0,11 1-323 0,-10-3 85 15,13 2 130-15,-3-11 36 0,10 6 54 16,0-2 86-16</inkml:trace>
  <inkml:trace contextRef="#ctx0" brushRef="#br0" timeOffset="-18153.07">11156 5219 1389 0,'0'0'443'0,"0"0"-69"15,-2-4-26-15,2 4-36 0,0 0-4 0,12-2-60 16,-3 1-2-16,3-2-19 0,6 2-22 0,3-1-26 16,7-3 11-16,1 3-52 0,3-1-20 15,10-2-3-15,4 2 10 0,-1-4-33 0,2 1-76 16,-4 0-32-16,1 1-14 0,-3-1-6 0,-5 3-26 15,-8-1-42-15,3 2 6 16,-3-3-48-16,-7 5-43 0,2-4-64 0,-6 4-11 0,-1-2-51 16,-5 4-23-16,-3-2-184 0,-2 1-215 0,-5 2 25 15,-1-3 77-15,0 5 62 0</inkml:trace>
  <inkml:trace contextRef="#ctx0" brushRef="#br0" timeOffset="-17958.51">11342 5271 918 0,'-14'3'295'0,"4"-2"2"0,5 0-34 0,-1 0-22 0,6-1 2 0,0 0-41 16,0 0-12-16,0 0 2 0,19 4-36 0,-7-4 10 15,2-1-28-15,3 1 6 0,1-3-39 16,6 2 87-16,3-1-8 0,4-3-43 0,0 2-13 16,0-1-39-16,-3 0-35 0,3-1-10 0,-5 1-93 15,2-2-71-15,-6 2-70 0,-3 0-112 16,-1 0-560-16,-5 0 78 0,-1 2 91 0,-2-2 60 15,-2 2 58-15</inkml:trace>
  <inkml:trace contextRef="#ctx0" brushRef="#br0" timeOffset="-17700.43">11724 5088 1077 0,'7'-1'389'16,"-2"-1"-10"-16,3 2-31 0,2 3-30 15,3-2-29-15,-1 4-10 0,4 2-16 0,-1 0-14 0,1 4-24 16,-1-3-5-16,3 5 8 16,-3 3-21-16,-2-2-10 0,-3 0-2 0,0 1-39 15,-2-1 18-15,-5 1-33 0,2 1-3 0,-2-1-89 0,-4 1-34 16,-1 0 13-16,-3 1-30 16,2 0-19-16,-4 1-27 0,2-3-29 15,2 1-26-15,-2-3-66 0,2-3-48 0,-2 1-111 16,3-3-92-16,2-2-440 0,0-1 8 0,0 0 76 15,0-5 85-15,5 2 41 0</inkml:trace>
  <inkml:trace contextRef="#ctx0" brushRef="#br0" timeOffset="-17415.34">12497 5108 865 0,'0'9'320'0,"-2"1"-36"0,0 3-26 15,2-1-45-15,-1 1-39 0,-1 0-44 16,-1 3-78-16,3-3-139 0,0 1-93 16,-2-1-73-16,2-2-420 0,-2 2 94 0</inkml:trace>
  <inkml:trace contextRef="#ctx0" brushRef="#br0" timeOffset="9.27">12213 5071 1627 0,'-3'-6'451'0,"3"6"-39"15,5-4-33-15,-2 1-8 0,2 2-118 0,3 0-38 0,-5-3-28 0,-3 4 5 0,12 0 3 16,-4 3-42-16,-3-2-9 0,3 1-9 16,-3 2 14-16,-2 0-19 0,1 1-22 0,-1 1-21 15,-3 0 26-15,0 3-21 0,-3-1-28 0,1 0-3 16,-1 1 36-16,-2 0-45 0,3 1 30 15,-3-1-52-15,2-1 24 0,0 1-28 0,1-2-3 16,0-1 10-16,-1 2-38 0,2-2 10 16,2 2-8-16,2 1 16 0,-1-2-10 0,3 1 10 15,0 2 4-15,0-2-17 0,0 3 13 16,3-3-23-16,-3 2 25 0,0-3-7 0,-2 1 7 16,2 0 11-16,-2 0 107 15,-1-1 0-15,0-1 11 0,-4 0 9 0,2 1-97 0,-2-1 6 16,-1 1-31-16,-4-1 7 0,1 0 6 0,-2-1-29 0,-2-2 21 15,0 2 7-15,0 0-50 16,-1-2-11-16,-1 0-16 16,-1-2-14-16,0 1-24 0,5-1-35 0,-5 1-37 0,3-1 11 0,0-1-54 15,3 0-12-15,-1 0-29 0,8 0-36 16,-10 0-99-16,4-1-113 0,6 1 48 16,-5-4-470-16,5 4 55 0,-2-2 101 0,2 2 92 0,0 0 61 15</inkml:trace>
  <inkml:trace contextRef="#ctx0" brushRef="#br0" timeOffset="1561.52">12444 5155 980 0,'0'0'445'0,"0"0"-61"0,0-5-25 0,0 5-6 16,0 0-43-16,0 0-29 15,0 0-28-15,0 0-2 0,0 0-7 0,0 0-50 16,2 14 1-16,-2-10-3 0,0 2-6 0,0-2-24 15,0 2-39-15,-2 2-1 0,2 0-19 16,0-1 20-16,0 1-11 0,-3 2-40 0,3-3 28 16,0 0-41-16,0 1 5 0,0-2-13 15,-3 3 13-15,3-3-13 0,0-3-5 0,0 2-2 16,0 1 9-16,0-2-53 0,0 0-12 16,3 0 35-16,-3-4 30 0,0 0-9 0,0 5-19 15,0-5 24-15,0 0-8 0,0 0 13 0,0 0-18 16,0 0 25-16,0 0-10 0,3-17-5 15,-1 12 6-15,1 0-22 0,2 1 1 16,0-1 18-16,-2-2-31 0,1 3 15 0,2-1 5 0,-3 1-48 16,1 0 23-16,2 3-16 0,-1-2-7 15,-5 3 13-15,10-2 12 0,-5 1 16 16,0 1-37-16,-5 0 27 16,11 2-6-16,-6 2-12 0,2-4 15 0,-2 2-3 0,1 2-7 15,-2 1-6-15,2-3-2 0,-1 0 16 0,-2 3-14 16,2-1-14-16,0-3 9 0,-3 4 23 0,1-4-12 15,-1 1-21-15,2 2 21 0,-4-4 33 0,4 5-21 16,1-4 24-16,-5-1 2 0,3 1 15 16,-3-1 103-16,0 0-33 0,5 1 7 15,-5-1-18-15,0 0-12 0,8-6-1 0,-3 4-27 16,-2-2-4-16,2 2 14 0,0-1-44 0,0 0-7 16,0 1 2-16,0-1-41 0,0 1 0 15,-2-1 0-15,4 2 0 0,-7 1 0 16,10-1 0-16,-4 1 0 0,-6 0 0 0,10 1 0 0,-5 0 0 15,1 2 0-15,1-1 0 0,-2-1 0 16,0 2 0-16,0-2 0 0,3 0 0 0,-3-1 0 16,0 4 0-16,0-3 0 0,-5-1 0 0,10 0 0 15,-4 0 0-15,-6 0 0 16,8 0 0-16,-8 0 0 0,10 0 0 0,-10 0 0 0,5 0 0 16,-5 0 0-16,8 0 0 0,-8 0 0 15,5 2 0-15,-5-2 0 0,7 3 0 16,-4-2 0-16,-3-1 0 0,7 6 0 0,-1-4 0 15,-2 2 0-15,2-1 0 0,-3 0 0 0,2-1 0 16,2 2 0-16,-1-3 0 0,-2 1 0 0,2-1 0 16,2 1 0-16,-4-2 0 0,-4 0 0 15,16-3 0-15,-13 1 0 0,5-2 0 16,-4 2 0-16,-1-2 0 0,2 1 0 0,-3-2 0 0,1 0-3 16,0-1-43-16,-3 1 31 0,0 1 4 15,0-2-14-15,0 1 35 16,0-1-15-16,0 6-8 0,-3-6-20 0,3 2-8 0,0 4-3 15,-3-5 34-15,3 5-10 16,-2-5-39-16,2 5 46 0,0 0-41 0,-2-4 41 0,2 4-43 16,0 0 28-16,0 0-13 0,0 0 10 0,0 0 8 15,0 0-13-15,0 0 23 0,0 0-12 0,0 0 10 16,10 10-8-16,-10-10 12 0,8 3 4 16,-4 1 12-16,-1-3-18 0,2 2 8 0,-2 0-8 15,2 1-10-15,0-2 41 0,0 0-31 0,-2 1-7 16,2 2 30-16,-2-3-41 0,1 1 46 15,-1 0-15-15,0-1-5 0,-3-2-18 16,7 4 0-16,-4-3 28 0,0 0-20 0,-3-1 38 0,7 5-31 16,-7-5 49-16,5 1-36 0,-5-1-10 15,6 4 13-15,-4-3-18 0,1 1-11 0,-3-2 9 16,7 3 12-16,-4-2-21 0,-3-1 6 16,8 1-34-16,-8-1 13 0,5 1-71 0,-5-1-37 15,5 3-9-15,-5-3-39 16,0 0-33-16,10-3-21 0,-10 3-36 0,8 0-48 0,-8 0-64 15,8-2-87-15,-6-2-47 0,3 2-398 16,1-2 119-16,1 2 70 0,-2-4 161 16,3 1 300-16,-3-2 237 0,3-1 55 0,-1 2 96 0,1-5 68 15,0 2 22-15,-1-2 33 0,1-1 19 16,-2-1 2-16,-2 2 12 0,4-2-12 16,-5 1 95-16,4 3-33 0,-2-3-1 0,1 2-82 15,-4 2-17-15,4 2-16 0,-2-1 11 0,-1 1-52 16,0 0 26-16,-1 2-36 0,0 2-31 15,1-2 29-15,-3 4-4 0,7-2-24 0,-7 2-6 16,0 0 31-16,9 7-36 0,-4-1-38 0,-3 0 27 16,1 1 14-16,2 1-44 15,0 1-10-15,1 2-3 0,-2-2-17 0,2 2-1 0,-2-3-33 16,-1 2-12-16,0-3-6 0,0 3-64 0,1-1-25 16,-1-1-16-16,-1 0-28 15,-1 1-41-15,1-2-28 0,1 1-28 0,-1 1-100 0,-1-2-69 16,1-2-146-16,-2-2-307 0,2 2 10 15,1 1 128-15,-3-4 100 0,3 3 35 0</inkml:trace>
  <inkml:trace contextRef="#ctx0" brushRef="#br0" timeOffset="1969.1">13248 5249 711 0,'4'-7'271'0,"-2"4"-17"0,-2 3-37 0,8-4-30 0,-4 1-43 15,2 1-47-15,1-3-23 0,1 1-48 16,0 1-19-16,2-3-25 0,0 1 29 0,1-2 9 16,-1 1-12-16,0-2-3 0,3-2 28 0,-3 2 44 15,0-3 33-15,3 0 16 0,-5 5 7 16,2-2 41-16,-2-2 0 0,0 2 15 0,-1 3 95 15,-2-1-30-15,1 2-21 0,1-1-21 16,-4 1 1-16,-1 2 17 0,4-1-79 0,-4 1 8 16,-2 2 10-16,8-1-36 0,-8 1 25 0,0 0-48 15,5 7 18-15,-3-2 13 16,1 0-56-16,-1 2-19 0,-1-2 1 0,-1 1 4 0,0 2-4 16,2 0-34-16,-2 2-30 0,0-3 5 15,-2 2-67-15,2 1-13 0,-1-2-18 16,-1 1-22-16,-1-1-32 0,1-1-68 0,2 0-70 15,-2 1-122-15,2-3-571 0,0 2 209 0,2-1-7 16,-2-1 59-16,0-1 82 0,0 0 61 16</inkml:trace>
  <inkml:trace contextRef="#ctx0" brushRef="#br0" timeOffset="2285.29">13585 5189 1100 0,'0'0'461'15,"0"-3"-54"-15,0 3-31 0,0 0-38 0,2-5-33 16,-2 5-11-16,0 0-25 15,0 0-34-15,0 0 42 16,0 0-139-16,8 11 0 0,-6-9-20 0,1 1 15 0,-3-3-31 0,0 8 24 0,3-5-24 16,-3 1 21-16,0 3-18 15,0-5-13-15,-3 3-10 0,3 1 5 0,-5 0-23 16,2 0-43-16,-4 0-24 0,1 0-58 0,-1 0-26 16,-3 0-31-16,0-2-8 0,-1 1-83 15,-2 2-91-15,0-3-140 0,1 2-474 0,1-1 87 16,1-4 108-16,-5 5 35 15,4-3 88-15</inkml:trace>
  <inkml:trace contextRef="#ctx0" brushRef="#br0" timeOffset="2814.64">12566 5535 729 0,'8'-2'307'0,"0"0"-35"0,5 1-19 15,2-2-10-15,1 1-30 0,4-2-21 16,3 2-11-16,5-2-12 0,-4 1 49 0,3-1-42 16,0 1 16-16,3-2-38 0,-2 2-116 15,1-1-10-15,-1 0-51 0,0 2-5 0,-5-2-48 16,0 2-76-1,-2-2-75-15,-1 2-29 0,-2 2-341 0,-3-5-86 0,-2 5 20 0,-5-1 79 16</inkml:trace>
  <inkml:trace contextRef="#ctx0" brushRef="#br0" timeOffset="3065.76">12533 5582 931 0,'-5'1'310'0,"5"-1"-26"0,0 0-31 0,0 0-20 16,0 0 5-16,0 0-38 0,28 0-5 16,-12 0-32-16,2-1-9 0,5-1-16 0,5-2 8 15,0 2-20-15,3-3 37 0,0 2 11 16,10-5-71-16,-6 5-26 0,-6-2-52 16,1 0-9-16,-1-1-32 0,-6 5-25 0,0-2-69 0,-2 0-41 15,-1 1-36-15,-5 0-81 0,-5 0-50 16,6 1-434-16,-6 1 37 0,1-1 53 15,-3-2 60-15</inkml:trace>
  <inkml:trace contextRef="#ctx0" brushRef="#br0" timeOffset="23539.03">12764 5533 634 0,'5'-2'228'0,"3"-1"2"0,5 0-14 0,0-2-35 16,7 0-17-16,1-3-13 0,4 1-23 15,11-5 3-15,0-1-24 0,0 1-25 0,4-1-26 16,-3 0-25-16,-1 1-49 0,-8 3-13 16,-2 1 39-16,-6 2-85 0,-2 1-87 0,-3 1-43 15,-5 0-233-15,1 3-182 0,-1 0 20 16</inkml:trace>
  <inkml:trace contextRef="#ctx0" brushRef="#br0" timeOffset="23758.09">12746 5561 793 0,'0'0'266'0,"0"0"-15"0,20-3-31 0,-7 1-23 15,3 1-10-15,-1-3-20 0,6 0 42 0,2-3-17 16,2 1-15 0,3-1-23-16,-1 0-3 0,1 2-21 0,0-2-17 0,-1 1-24 0,0 0-35 0,-2-1-21 0,1 1-17 15,-3 0-39-15,-3 4-52 16,-2-3-40-16,3 3-15 0,-5-1-55 0,-4 2-47 16,1-3-42-16,-3 3-453 0,0 1 115 0,-4 0 8 15</inkml:trace>
  <inkml:trace contextRef="#ctx0" brushRef="#br0" timeOffset="24964.6">11638 5756 1057 0,'-7'-1'386'0,"7"1"-48"0,-5-3-28 0,5 3-47 15,0 0-19-15,0 0 9 0,0 0-43 16,0 0-39-16,0 0 3 0,0 0-38 0,0 0 0 16,10 12-3-16,-2-6-23 0,2 1-5 0,3 2 0 15,3-1-16-15,1 3 16 16,1 2-15-16,12 4-11 0,-1 2 3 0,2 2-18 0,5-1-2 15,-3 5 12-15,8 3 0 0,0 0-2 0,3 0-11 16,-1 0-4-16,-10-7-4 0,3 2-19 16,-2 0 30-16,2 2-29 0,0-4-12 0,-1-2-2 15,-1 3-19-15,1-3 27 16,-4 0-4-16,3 0 24 0,-1-5-36 0,-2 0 12 0,-6-3-7 16,-1 2 8-16,-2-7-16 0,-3 2-5 15,-4 1-7-15,1-4-1 0,-1-1-17 0,-5 1-9 16,0-1 11-16,-2-2-48 15,-1 2-26-15,-1-2-39 0,-3-1-33 0,-3-1-71 0,2 4-100 16,-2-4-72-16,0 0-512 0,0 0 117 0,0 0 91 16,0 0 61-16,-18-6 76 0</inkml:trace>
  <inkml:trace contextRef="#ctx0" brushRef="#br0" timeOffset="25263.49">11569 6313 709 0,'0'0'307'0,"0"0"-31"0,0 0-12 0,0 0-3 0,0 0-31 0,16 6-7 16,-1-2 59-16,6 0-24 0,7 2-2 15,16 1-46-15,1 4-10 0,7-5-16 16,7 7-15-16,5-2-8 0,-11-4-41 0,-1 1-15 15,-3 1 3-15,2-1-101 16,-5-1 24-16,-2 0-36 0,0 1-13 0,-9-4 3 0,-7 2-31 0,-2-1 15 16,-3-3-33-16,-2 2-28 0,-6-2 13 15,0 3-55-15,1-4-83 0,-3 2-44 16,-3-6-80-16,3 6-398 0,-3-6-27 16,0 2 134-16,0 1 46 0</inkml:trace>
  <inkml:trace contextRef="#ctx0" brushRef="#br0" timeOffset="25587.8">12507 6149 913 0,'8'0'297'0,"3"1"-38"0,1 0-24 15,6 4-20-15,0 2-5 0,5 0-15 0,-2 3-29 16,2-1 6-16,0 3-27 0,-2 1 19 16,-3-1-13-16,0 1 5 0,-3 3-10 0,0-1-10 15,-4-1 23-15,-4-1-16 0,-1 4-10 0,-2-4-7 16,-1 4 14-16,-8 1-19 0,0 0-37 16,-5 3 16-16,-8 6-21 0,-3 0 3 0,-2-1 10 15,0-2-53-15,-2-2-24 0,1 1-23 0,1-3-15 16,3-3-33-16,2-5-5 0,5-3-37 15,-3 2-12-15,3-4-38 16,1 0-70-16,2-2-91 0,2-3-27 0,0 1-483 0,3-2 13 16,5-1 140-16,-8-2 3 0</inkml:trace>
  <inkml:trace contextRef="#ctx0" brushRef="#br0" timeOffset="26129.36">13290 5989 1236 0,'0'0'353'0,"-6"11"3"0,1-2-39 15,1 3 6-15,-2 4-42 0,1 6-25 0,0 2-48 16,-6 10 2-16,7-6-24 0,-2-3-9 0,2 4-44 15,1-4 10-15,0-1-9 0,1-1-27 16,2-2-12-16,0 0-18 0,2-3-1 16,3-3 17-16,-2 2-24 0,2-5-3 0,5-1-7 0,-2-3-5 15,-1-1 25-15,1-1-43 0,2-4 15 16,-1 1 6-16,-2-4 12 0,1-1 7 0,2 0 19 16,-5-3-21-16,0-1 3 0,-2-1-15 0,-1 1 7 15,-2-2 18 1,0 1-23-16,-2-1 10 0,-3-1-33 0,2 0 13 0,-3 0 5 15,-1 1-21-15,-3 2 3 0,2-2-5 0,-2 1-31 16,-3 2-13-16,0 1-48 16,1-1-16-16,-1 3-15 0,0 1-46 0,2-1-31 0,-1 4-58 15,2-1-42-15,-1 0-92 0,1-1-74 0,2 6-497 16,0-6 98-16,4 4 74 0,1-3 66 16,3-1 70-16,0 0 61 0</inkml:trace>
  <inkml:trace contextRef="#ctx0" brushRef="#br0" timeOffset="27789.5">13433 6173 783 0,'0'0'315'0,"8"2"-16"0,-3 0-12 0,0 2-6 0,-2-2-40 16,-1 3 2-16,1 1-36 0,-3 1-20 0,3-2 0 15,-1 3-15-15,-2-2-21 0,2 3-31 16,-2 0-5-16,0-3 3 0,0 0-5 0,0 1-21 15,0-2 0-15,-2 2 90 0,2-1-1 0,-2-3-17 16,-1 3-3-16,3-2-7 0,0 0-21 0,0-4 39 16,0 7-14-16,0-7-2 15,0 2-99-15,0-2 2 0,0 0-36 0,0 0 33 0,0 0-10 16,0 0-8-16,0 0 9 0,7-12-12 16,-6 10 4-16,4-4-26 0,-3 2 35 0,1 2-12 15,-1-2-3-15,3 1-5 0,-2-1 6 16,0 2 9-16,-3 2 3 0,7-1-15 0,-7 1 20 15,10 0-20-15,-10 0-8 0,8 4 20 16,-5-1 4-16,2-1 1 0,-2-1-35 16,-1 4 25-16,3-3 3 0,-2 2-7 0,-1-1-1 0,1 0 5 15,2 1-25-15,-3-1 2 0,2 2 16 16,-2-4-13-16,0 2 82 0,1-1 38 16,-3-2-51-16,3 5 13 0,-3-5-10 0,4 2 20 0,-4-2-95 15,0 0-20-15,0 0 20 0,0 0-12 16,11-5 15-16,-6 2 2 15,0 0-12-15,1 1-16 0,-2-3 18 0,4 3-12 0,-3-2-16 0,2 2 64 16,1-3-59-16,-2 4 23 16,1 0-4-16,1-3-17 0,0 4 14 0,0-2-16 15,-1-1 28-15,1 2-20 0,-1 0 8 0,-1 1 10 16,-1-1-36-16,-5 1 28 0,10 1-8 16,-10-1-17-16,10 0 7 0,-4 2 8 0,-2-2 18 15,-1 5 15-15,2-4-61 0,0 3 30 0,0-3 16 16,-2 4-21-16,3-3 26 0,-2 1-36 15,-1 0 3-15,4-1 20 0,-4 1-31 16,4-2 21-16,-1 2-8 0,-1-2 8 0,3 0-28 0,0-1 35 16,-8 0-7-16,14-4-13 0,-5 3-15 15,1-1 33-15,-2-2 21 0,0-2-42 16,-1 4 39-16,0-4-15 0,-1 1-16 0,-1 0 28 16,2 2-2-16,-4-3-13 0,0 2 20 0,0-1 6 15,-3 2-28-15,0-2 27 0,0 1-27 16,0 4 25-16,-3-4-16 0,0 0-12 15,3 4 23-15,-8-3-8 0,6 0-5 16,2 3 24-16,0 0-42 0,-10 0 31 0,10 0-18 0,0 0-13 0,-8 4 23 16,8-4-10-16,-3 3 8 0,1 1-18 15,2-4 30-15,-2 6-28 0,2-2 16 16,0-4-36-16,0 8 46 0,2-6-31 16,0 2 26-16,0 1-8 0,-1-3-26 0,2 3 45 0,-1-3-32 15,0 3-15-15,1-4 10 0,2 4 13 16,-3-3-13-16,1-1-5 0,2 2-2 0,-5-3 25 15,9 2-59-15,-5-2 36 0,2 0 0 0,-6 0 6 16,12 0 19-16,-6 0-20 0,-6 0-7 16,10 0 33-16,-10 0-8 0,10 0-13 0,-10 0 24 15,10 0-11-15,-7 0 0 0,2 2 5 0,0 1-18 16,-2-2-7-16,2 2 7 0,-1-1-2 16,-1 3 7-16,2-3 11 0,-2 1-18 15,-1 0 18-15,2 1-1 0,-2-1 16 0,0 1-25 16,1-2 9-16,-3-2 14 0,5 5-3 0,-5-5-3 15,2 5-25-15,1-3 13 0,-3-2-1 16,5 2-2-16,-3 2 10 0,-2-4-17 0,6 1-9 0,-6-1 24 16,5 2-26-16,-5-2-13 15,10 0-5-15,-10 0-27 0,10-2-19 0,-4 2-11 16,-1-2 14-16,0-3-26 0,0 1-23 0,2 1 28 16,-1-3-20-16,1-1 25 0,1-1 1 0,2-4-4 15,-4 3 14-15,4-5 20 0,-2 1 13 16,2-2-3-16,-5 1 23 0,5 1 6 0,-4 1 17 15,-1 3 36-15,2-2 46 0,-2 0 18 16,-2 4 24-16,0 0 14 0,1 2-38 0,0 0 1 16,-2 2-14-16,-2-1 39 0,0 4-21 15,0 0 21-15,0 0-34 0,0 0 11 0,0 0-8 0,5 14-16 16,-5-9-9-16,0 5 25 0,3-2-41 16,-1 3 13-16,0-4-21 0,-2 6-4 15,3-4 24-15,-3 1-11 0,0 1 4 0,3 0-31 16,-1-2-38-16,1 1-5 0,-1-1 8 15,1-3-57-15,-1 1-12 0,-1 2-21 0,1-2-28 16,1-2-16-16,-3-1 8 0,2 1-30 0,1-4-26 16,-1 2 13-16,-2-3-14 0,0 0 19 15,0 0 26-15,13-5 9 0,-8-1 11 0,-2 0-2 0,4-5 55 16,-4 2-20-16,4-3 13 16,-1-4 29-16,1 1 9 0,1-2 18 0,0 4 26 0,-3 0 33 15,2 1 21-15,-1 3 12 0,-3-1 1 0,2 3 17 16,-2 1 21-1,-1 1-18 1,0 4 15-16,-2 1 5 0,0 0 6 0,0 0 2 0,10 6-13 0,-6-4-22 0,-2 3 1 0,0 1-4 16,0 0-3-16,2 1-2 0,0 0-1 15,-3 3-9-15,1-2-29 0,1-2 25 0,-1 2-42 16,-2 2-19-16,2-4-10 0,-1 2-43 0,-1-1-24 16,-1 2-15-16,-1-3-12 15,0 1-16-15,-1-2 0 0,-2 0-26 0,3-1-17 16,-6 1 4-1,2-2-27-15,2 0-24 0,-2-2 6 0,1 0-3 0,5-1 12 0,-10 0 29 0,10 0 5 16,-8-1 44-16,8 1 7 0,-5-4 8 16,5 1 36-16,0 3 30 0,0-7 4 0,3 3-4 15,-1-2 13-15,1-1 42 0,2 1-6 0,0-1-3 16,0 0-2-16,0 0 21 0,1 0 9 16,-2 0 4-16,4-1 7 0,-2 1 2 0,-2 1 6 15,2 1 5-15,-1 2 7 0,2-2 31 16,-2 4-33-16,1 0 46 0,-1 1-31 0,-5 0 18 0,10 1 16 15,-3 2 10-15,-1 1-13 0,-1 0 2 16,2 1 29-16,-1 0-42 0,-3 1 9 0,1 0 22 16,-1 1-30-16,2 0-5 15,-3 1-3-15,-1 0-11 0,2-1 6 0,-3-1-13 16,-3 4 8-16,2-2-31 0,-1 0-25 0,-3-2-47 16,2 3-58-16,-4 0-21 0,-1-2-51 0,-2-1-75 15,0 1-160-15,0-2-605 0,-4 1 92 0,4-1 170 16,0-3 25-16,-1 3 56 0,1-4 51 15</inkml:trace>
  <inkml:trace contextRef="#ctx0" brushRef="#br0" timeOffset="27975.4">14492 6346 1241 0,'0'0'397'0,"0"0"-52"0,0 0-66 15,8 0-33-15,-8 0-69 0,0 0-90 0,2 5-164 16,-2-5-148-16,0 0-500 0,0 0 19 16,0 0 109-16</inkml:trace>
  <inkml:trace contextRef="#ctx0" brushRef="#br0" timeOffset="29000.88">14166 5939 770 0,'3'5'338'0,"-3"-5"-13"0,0 0-49 15,0 0-20-15,3 2 0 0,-3-2-59 16,0 0 8-16,0 0-23 0,2 3-41 0,-2-3 2 16,0 0-15-16,0 0-3 0,0 0 14 0,0 0-34 15,0 0 23-15,0 0-54 0,11-5 15 16,-9 2-17-16,4 0 13 0,-2-2-19 0,2-1-7 15,-2 1 18-15,2 0 7 0,-1 0-22 0,0-2 30 16,0 1-5 15,0-1-39-31,0-2 40 0,3 1-32 0,-2 1 8 0,-2-3-8 0,2 1 11 0,-4-1-26 0,1 1 25 0,2-2-9 16,-3-1-60-16,1-1-18 0,2 0-4 16,-2 0 7-16,1 0 33 0,0-4-25 0,0 4 5 15,-1 0-5-15,0-5 12 0,-1 5 16 16,0-3-10-16,1 2-11 0,-3 1 26 0,0-3-12 15,0 3 88-15,0 0-22 0,-3 0 20 0,3-1-17 16,-2 0-14-16,0-1 16 0,-1 1-28 0,0 1 5 16,-1 0 13-16,0 0-19 0,2 1-12 15,-3-1 13-15,0 1-10 0,0-5 7 16,-1 5-13-16,2-1-25 0,-2 0 25 0,2 2 1 16,-2-3-32-16,1 2 11 0,0 0-10 15,-3-1-16-15,3 0 31 0,-1 3-20 0,-1 0 23 16,0-3-29-16,-1 3 21 0,2 2 2 0,-1-2-12 15,-1 2 0 1,0 1 17-16,0-2-22 0,-2 0-18 0,3 3 15 0,-1-2 12 0,-2 3-4 16,2-2 2-16,-2 1 3 0,0 0-16 0,2 1 9 15,-2-1-24-15,2 3 61 0,1-2-56 16,-1 1 26-16,0 2-8 0,0-2-28 0,3 2 5 16,-2 0-20-16,4-1-16 0,-3 2 21 15,6 1-28-15,-12-1 4 0,10 0-25 16,2 1-25-16,-10-3-8 0,10 3-13 0,-6 0-5 15,6 0-6-15,0 0-4 0,0 0-36 16,-8 3 0-16,8-3-42 0,0 0-45 0,0 4-192 16,3-1-49-16,-3-3-332 0,7 7 84 0,-3-6 79 31,3 2 41-31</inkml:trace>
  <inkml:trace contextRef="#ctx0" brushRef="#br0" timeOffset="29484.34">14074 5437 785 0,'0'0'338'0,"0"0"-33"0,0 0-3 0,0 0-23 0,-10-6-10 16,8 0-26-16,-1 0-31 0,0 0 6 15,-1-1 56-15,-2-4-34 0,3 0 6 16,-6-2-23-16,3-1-26 0,-1-2-8 0,-4-5-15 0,1 1 0 15,5-3-28-15,-5 4 10 0,4 0-30 16,3 0-34-16,-1 1 28 0,-2 3-5 16,2-2-12-16,1 4-11 0,3 2-25 0,-1 2 9 15,-1-1-12-15,2 2-5 0,2 0-20 16,-1-1 4-16,4 2 21 0,-2 1-38 0,4-1 2 0,-2 1-5 16,3 1-28-16,2 0 2 15,3 0-33-15,-2 1 1 0,1-1-17 0,1 2-37 0,0 0-1 16,2 1-12-16,0-1-29 0,1 0 6 15,-3 3-24-15,5-2 11 16,0 0-67-16,-3 1-12 0,3 1-52 0,0 0-30 0,-5 1-129 16,5 1-460-16,-6 0 110 0,4-1 64 0,-4 4 74 15,-1-2 69-15</inkml:trace>
  <inkml:trace contextRef="#ctx0" brushRef="#br0" timeOffset="35494.24">8824 3859 575 0,'0'0'205'0,"0"0"-23"0,0 0 2 0,-11 11-10 0,11-6 5 16,-2 2-7-16,-1 2-16 0,0 2-15 0,1 6 28 16,0 2 0-16,-2 7-51 0,0 1 15 15,-2 14 2-15,2 2-22 16,-2 2-29-16,1 4 3 0,0 9-7 16,0 4-6-16,-3 0-5 0,6 1 10 0,-4-2-15 0,-1 1-20 15,6 2 5-15,-1-1 12 0,-2 0-25 0,3 0-8 0,-2 3 16 16,6-1-6-16,-3 1 3 15,0-1-21-15,1 2 21 0,1 1-36 0,0-3 13 16,0-3 13-16,2 0-10 0,-2-1 9 0,3-2-17 16,-2-10 10-16,-1 1-8 15,0-2 1-15,-2-3 12 0,3 0 0 0,-3 1-25 0,0-5 15 16,0 2-16-16,-3-4 26 0,4-4-33 0,1-5 0 16,-2-2 15-16,0 2 6 0,3-3-4 15,-3 1-4-15,0-1 0 16,2 0-18-16,-2 1 17 0,1-3 4 0,1 1-27 0,-2-3 19 15,3-2 2-15,-1-2 8 0,-2 0-1 16,3-1-12-16,-3-3 13 0,0-1-13 0,2-4 18 16,-2 1-13-16,0-2-15 0,0 0 5 15,0-1-13-15,0 1-10 0,3-4 7 0,-3 1 1 16,0-1-3-16,0 0 13 0,3 0 2 0,-3-3-5 16,2 2-10-16,-2-4 28 0,2 5-5 15,-2-2 18-15,0-3-46 0,3 5 13 0,-3-5 4 16,3 2 14-16,-1 1-3 0,-2-3-8 0,3 3 11 15,2 0-6-15,-5-3 11 16,5 2-21-16,-2 0 3 0,0 2 15 0,1-2-25 0,1-2 30 16,-2 4-5-16,2-3-20 0,0 1 22 15,1 1-7-15,-2-2 8 0,2 1-11 0,1 2 6 16,1-3-1-16,2 0-7 0,-2 2 92 16,0-2-15-16,0 1-28 0,4 2 27 15,-2-3-17-15,1 0-8 0,-1 0 3 0,2-1-29 16,4 4 1-16,2-4 17 0,-3 1-5 0,3-1 8 15,5-1-30-15,0 2-4 0,1-1 3 16,1 1-4-16,1 1 27 0,3-1-13 0,1 0-12 16,-5-1 7-16,4 3-4 0,-1-2 1 0,-5 2-1 15,3-3-19-15,-1 1 8 16,1 0 0-16,0 4 15 0,-3-5-12 0,0 0 2 0,2 0 5 16,-2 4 3-16,0-3-92 0,1 0-11 0,-1 2 34 15,-1-2 22-15,2 0-12 16,-1-1 13-16,0 0-18 0,0 0 10 0,-2 0 23 15,2 2-23-15,-1-2 23 0,2 0 11 16,-4 3-27-16,3-3 11 0,-2 2 10 0,-3-2-5 16,2 0 16-16,-2 1-11 0,3 2-12 0,-3-2 17 15,2 0 3-15,-2-1-3 0,0 0-2 0,0 0-3 16,0 0 10-16,3 0 9 0,-4 0 1 16,4 0-22-16,0-1 20 0,-4 1-23 15,4 0 16-15,-3 1-1 0,0-2-12 0,2 2 30 0,-2-1-20 16,1 0-13-16,-2 0 0 0,1 0 28 15,0 0 3-15,0 0-3 0,0 0-2 0,0 0-11 16,0 0 6-16,0 0 2 16,-3 0 0-16,3 0 0 0,2 0-2 0,-2 0-6 15,1 0-25-15,-1 0 28 0,2-1 16 0,-2-3-16 16,0 4-8-16,0 0 3 0,0-1-13 0,0 1 13 16,0 0-3-16,-1-2 18 0,1 2-7 15,-2 1-16-15,2-2 10 0,-3 1 6 0,3 0 0 16,0 0 4-16,-2 1-12 0,2-1 21 0,-3-1-11 15,3 2-18-15,0-1 31 16,0 1 2-16,0-2-7 0,0 2-13 0,0-1 0 0,0 1-10 16,4-1 7-16,-4 3-12 0,1-1 7 15,1-2 13-15,-2 1 6 0,-3 2-14 16,3-1 3-16,0-2 3 0,0 0 4 0,0 1-14 16,-2 0-9-16,2 2 11 0,2-1-5 0,-2-2 25 15,0 1-7-15,-1 2-21 0,0-3 11 16,0 0 2-16,-2 1-13 0,1-1 20 0,-1 1 14 15,1-1 10-15,-1 0-37 0,-2 1-4 16,2-1 18-16,-2 1-6 0,2-1 4 0,-2 2-9 16,0-2 3-16,0-2-8 0,2 4 21 0,-1-4-23 15,1 4 12-15,0-2-2 0,0 0 13 16,1 1-20-16,-1-1 7 0,3 0-6 0,-2-1 17 16,1 1-24-16,-1 1 36 0,2-2-18 15,-3 1 0 1,3 1 18-16,-2-1-25 0,-1-1-3 0,3 2 10 0,-3-1 2 0,0-1-25 15,3-1 13-15,-3 2 0 16,1 2 0-16,-1-4 8 0,1 2 4 0,2-1-2 0,-3 1 13 16,3-1-30-16,0 0 9 0,0 0 18 0,0 2-15 15,0-2 5-15,2-2 13 0,-2 3-25 0,1 0 9 16,1-1 6-16,-2 1-11 0,2 0 3 16,-4 0 11-16,4 0-17 0,-2 0-4 0,0 0 18 15,-2 0-6-15,4 0-4 0,-2 0 20 0,0 0-18 16,0 1 0-16,0-1 0 0,0 3-10 15,-1-3 30-15,2 1 11 0,-1-1-26 16,0 0-13-16,0 1 16 0,-1-1-8 0,-1 0 10 16,4 0-12-16,-4 1 12 0,2 0-5 15,0-1 5-15,2 2-20 16,0 0 15-16,-1-1-10 0,1-1 5 0,-2 0 8 0,5 0-8 0,-3 0-13 16,1 1 15-16,0 3-4 15,2-4-1 1,-5 0-2-16,0 1 8 0,2-1 15 0,-2 0-16 0,0 0-4 0,3 1 2 0,-3-2 7 0,-1 1-7 15,1 0 11-15,0 0 17 16,0 0-23-16,5 0-13 0,-4 0 3 0,3 0-3 0,-4 0 1 16,0 0 7-16,1 0-3 0,-2 0 6 0,4-1 2 15,-4 1 2-15,2-1-1 16,-1-2-1-16,0 3-13 0,-1-1-2 0,1 0 23 16,0 1-8-16,0 0-13 0,1 0 5 0,-2 0 14 15,1 0-27-15,2 0 1 0,-1-1 28 16,-1 0-11-16,0 1-17 0,-1 1 5 0,4 0 28 15,-3-1 0-15,0 0-24 0,5 1 12 16,0-2-4 0,-5 1 3-16,5 1 3 0,-2 0-21 0,1 2 3 0,-1-6 15 0,0 6 13 0,2-1-18 15,0-2 0-15,-3 0-8 0,1 0-2 16,2 0 0-16,0 3 25 0,0-2-25 0,0-1 12 16,0 1 1-16,0-1 20 0,0 1-10 0,0-1 12 15,1 2-35-15,-1-1 0 0,-1 1 7 0,2-1 1 16,-1-1 12-16,0 1 5 15,2-1-25-15,-4-1 8 0,2 2 2 0,0-1-3 16,1 0 6-16,0 1 4 0,0-1-12 0,-1 2 23 16,0-2-23-16,3 0 15 0,-1 1-12 15,-1 1 4-15,-1-2-15 0,3 0 21 16,-1 4 5-16,1-3-5 16,4 0-3-16,-7 2 10 0,5-2 0 0,1 0-12 0,1 2 10 0,-4-1-16 15,2 0 29-15,0-1-3 0,1 2-33 16,-1-1 2-16,3-2 21 0,-1 1-16 0,-4 3 3 15,0-3-2-15,-1 1 4 0,-1 1-7 16,1-1 23-16,-1-1-13 0,1 2-7 0,0-2 7 16,-2 0 2-16,3 1-22 0,-3 1 20 0,3-2 8 15,-3 1 7-15,0 1 11 0,0-1-5 16,0-2-29-16,-2 3 11 0,2-1 7 0,-3-1 18 16,-2 1-22-16,0 1-1 15,-3-2-2-15,3-1 17 0,-2 1-20 0,-3-1 23 0,-1 0 3 16,-1 0-10-16,2 1-21 0,-1-1 33 0,-1-1 0 15,-1 1-20-15,0 1 10 0,1-1 0 0,-1 0 3 16,-2 0-11-16,4 0 0 0,-4 0 14 16,4-1 1-16,-3 1-12 0,3 0-10 0,-2 0 23 15,1 0-16-15,-1 0-12 0,3-1 20 16,-3 1-8-16,0 0-23 0,3 0 18 16,-2-1 8-16,-1 1-12 0,2 0 6 0,-2 0-9 15,1-1-3-15,-1 1 15 0,0 1-10 0,1-2-2 16,-4 1 20-16,3 1-20 0,-2-2-6 15,0 1 26-15,-8 0-10 0,11-2 10 0,-4 2-13 16,1 0 3-16,-1-2 5 0,-2 1-3 0,3 0-15 16,-2-3-5-16,1 2 0 0,1-3 2 0,1 0 11 15,-1 2-8-15,1-5 5 16,1 3-15-16,-2-4 33 0,2 3-10 0,-3-2-16 0,3-2 1 16,1 1 17-16,-1-2 16 0,-2 2-29 0,5-4 21 15,-6 2-7-15,3-1-6 16,0 0 3-16,-2 0-3 0,2-2 8 15,-1 2-5-15,1-4 12 0,2-3-15 0,-2 3 11 0,1-5-24 16,5-6 11-16,-2 3 0 0,-3 4-6 16,4-8 9-16,-2 4 9 0,0-6 18 0,5 0-48 15,-5 2 23-15,2-3-13 0,1-2-8 0,-3 1 6 16,2 0 25-16,0 0-13 0,-2-5-5 16,2 4 23-16,-2-2-28 0,0 2 3 0,0-3-3 15,2 3-5-15,-2-3 0 0,0 0-3 16,0 2 3-16,-1-1 15 0,-2 1 0 0,1 3-23 15,2-6-2-15,-6 5 28 0,4-3-11 16,-1 1 1-16,0-1-13 0,-3 7 23 0,2-6-11 16,1 0-20-16,0 1 26 0,-2-1-13 15,0 1 5-15,-1 3 0 16,0 4 13-16,2-8-21 0,-1 6 23 0,-1-5-33 0,3-1 36 0,-2 7-2 16,0 2-19-16,2-7-5 0,-3 4 14 15,2 5-14-15,-3-1 5 0,2-1-4 0,0 3-14 16,0-1 16-16,0 1-10 0,-1 2 12 0,-1 2 34 15,1 0-41 1,-2 4 12-16,1-3 13 0,-1 3-27 0,3-2 1 0,-4 3 19 0,2 0-8 16,-2 1 10-16,0 2-17 0,0-1 17 15,2-1-20-15,-2 4-13 0,2-3 23 16,-4 3 0-16,1 0 0 0,2 0-18 0,-3 1 25 16,1 0-7-16,-1-3-15 0,2 4 23 15,-2-1-11-15,3-1-15 0,-2 2 0 0,1-1 29 16,-1-1-40-16,0 1 27 0,-1 3-11 15,1-2 5-15,0 0-4 0,-1 1-11 0,-2 4-6 0,3-5 11 16,-3 2-5-16,2 1-2 0,1-1-3 16,-1 2-13-16,-2 2-8 0,1-7-10 15,-1 7 29-15,0-3-6 0,0 3-13 0,2-3 6 0,-2 3 17 16,2-6-41-16,-2 6 9 0,0 0-4 16,3-3 6-16,-3 3 7 0,0 0-25 15,0 0-5-15,0 0 20 0,0-5-5 0,0 5-5 16,0 0 10-16,-5-3-5 0,5 3 25 15,0 0-32-15,-10 1 22 0,10-1-7 16,0 0 22-16,-16 2-17 0,11 0 28 0,-3 0-18 0,4-2-10 16,-2 3 20-16,1-2-28 0,5-1-10 0,-10 1-36 15,10-1-43-15,-6 1-26 0,6-1-33 16,-7 4-11-16,7-4-112 16,0 0-397-16,0 0 23 0,0 2 154 0</inkml:trace>
  <inkml:trace contextRef="#ctx0" brushRef="#br0" timeOffset="66275.77">8911 482 1092 0,'0'0'349'0,"0"0"-29"0,0 0-34 0,0 0 3 16,-8 2-50-16,8-2-9 0,0 0-18 16,0 0 9-16,0 0-17 0,10 7-14 15,-2-4-16-15,2-1-10 0,1 1-26 0,4 0-26 16,5 2 1-16,4-1-13 0,3-1-5 0,4 0-8 15,3 0-5-15,9 1-3 0,-4-3-20 0,-6 1 0 16,3-1 7-16,-3-1-35 0,-2 1-13 16,-1-2-41-1,-3 0-21-15,-2-1-33 0,-2 2-20 0,-2 0-31 0,-3 0-18 0,-3 0-125 16,1 0-82-16,-2 0 0 0,-3 0-287 16,-1 2-187-16,-4-2 120 0,1 1 26 0,-4 0 90 15</inkml:trace>
  <inkml:trace contextRef="#ctx0" brushRef="#br0" timeOffset="66539.12">8921 679 990 0,'0'0'333'0,"13"4"76"0,-3-2-45 0,2-2-54 15,1 0 7-15,3 2-33 0,5-1-7 16,1-1-50-16,4 2-19 0,7-1-19 16,-2-2-2-16,5 1-3 0,8-2-15 0,-4 1-31 15,5-1-25-15,-10 0 23 0,-1 1-34 0,-3-2-35 16,-6 2-19-16,-2-2-22 0,0 0-41 0,-2 1-21 16,1 0-49-16,-4 0-45 15,-2 0-93 1,-3-1-66-16,-3 1-144 0,3-2-473 0,-3 2 87 0,0 0 87 0,-4-1 64 0,1-1 77 0</inkml:trace>
  <inkml:trace contextRef="#ctx0" brushRef="#br0" timeOffset="66910.25">9549 401 837 0,'0'0'345'0,"0"0"-35"16,0 0-21-16,0 0-18 0,8-3-20 0,-8 3 0 0,15 3-36 15,-5-1-18-15,-2 1-7 16,2 0-24-16,5 3-15 0,-2 1-31 0,1 0 3 16,1 4-10-16,0-2-16 0,3 5-7 0,-3-1-14 15,-4 4-1-15,1 0 7 0,-2 2-21 0,-2 0 26 16,-2 0-18-16,-4 1-18 0,-2 1 6 15,-2 4-16-15,-4-1-3 0,-2-1 8 16,1 1-28-16,-8 8 10 0,2-3 11 0,-3-6-4 0,4-3-6 16,-1-1-17-1,0-2-24-15,-2 0 22 0,2-1-33 0,-2-1-11 0,2-3-22 0,2-1-16 16,-4 1 11-16,4-3-21 0,-1 2-46 0,4-5-5 16,0 0-74-16,1-3-123 15,1-1-52-15,-1 0-409 0,4-1 3 0,3-1 135 16,-7 0 23-16</inkml:trace>
  <inkml:trace contextRef="#ctx0" brushRef="#br0" timeOffset="68382.22">10695 382 972 0,'2'-3'279'0,"-2"3"-15"0,0 0-16 0,0 0-15 0,0 0-15 0,0 0-19 15,-15 0-17-15,15 0-13 0,-17 6-15 16,8-6 4-16,2 6-32 0,-4-3 89 16,1 1-41-16,0 0-10 0,0 1-19 0,0 0-27 15,2 0 10-15,0 1-2 0,1-2-32 0,-1 1-9 16,3 0-29-16,-3 0 23 0,6 0-22 16,-1 1-1-16,-2-2 0 0,5-1-25 0,0 3-10 15,0-3 9-15,2 1-7 0,4 0 18 16,-2 0-5-16,2-1-15 0,4 1 7 0,-2 0-15 15,2 0 17-15,3 1-14 0,-1-1-9 0,-1 2 16 16,1-1-5-16,-1-1 8 0,2 1-18 16,-3 2-11-16,3-1 11 0,-3 0-1 15,-2 0 11-15,2 0-15 0,-5-1 2 0,0 1 23 16,0 0-10-16,1 0 15 0,-4 1-10 16,0-1 8-16,1-1 0 0,-3 2 10 15,-3-1-5-15,-1 1 25 0,1 1-10 0,-4-1-12 0,1 0 7 16,-1 1-11-16,-4-2 1 0,1 1 13 15,2-1-11-15,-5 0-15 0,3 0 11 0,0-2 2 16,-3 2-13-16,3-3-13 0,-1 0-33 0,1-1-13 16,-2 0-18-16,1 0-20 15,1-1 7-15,-3 1-40 0,3-1-31 0,-1-1-75 0,4 2-79 16,-1-1-89-16,0-1-254 0,8 0-291 16,-10-1 130-16,5-1 81 0,5 2 81 15,-5-5 42-15</inkml:trace>
  <inkml:trace contextRef="#ctx0" brushRef="#br0" timeOffset="68790.3">10665 292 1003 0,'-1'-6'358'16,"1"6"-33"-16,-2-2-46 0,2 2 0 16,0 0-35-16,0 0-6 0,0 0-13 15,0 0-26-15,2 13 70 0,-4-3-13 16,2 0-31-16,0 4-12 0,0 0-16 0,-3 3-97 0,1 3-26 16,1 2 8-16,-3 2 5 0,1 2-8 15,0-1 16-15,1 2-49 0,-4 0 16 0,4-1-16 16,-3-1-16-16,2 1 34 0,-1-2-33 0,3-3-16 15,-4-1 26-15,3-1-28 16,1-2 10-16,-1-2-5 0,0 0-10 0,-1-2 5 0,0-1-8 16,3-2-39-1,-2-1 9-15,-1 0-6 0,1-1 8 0,1-2-23 0,1 1-28 0,-2-3-6 16,2-1-14-16,0-3-14 16,2 7-2-16,-2-7-36 0,0 0-15 0,3 2-57 0,-3-2-25 15,0 0-54-15,11-2-12 0,-11 2 4 16,10-8-71-16,-5 4-367 0,0 1 116 0,2-2-20 15</inkml:trace>
  <inkml:trace contextRef="#ctx0" brushRef="#br0" timeOffset="69357.03">10949 417 1187 0,'0'0'389'0,"0"0"-12"0,0-5-73 0,0 5 8 16,0 0-20-16,0 0-92 0,0 0-13 0,0 0-6 16,0 20-9-16,3-11-41 0,-1 0-1 15,-2 4-7-15,0 1-13 0,0 2 3 16,0 0-8-16,-2 3-6 0,2-1-22 0,-3 2 10 16,3 0-15-16,-3-2-11 0,-1 1-4 0,4 0-22 15,-4-2 9-15,2-2-8 0,0-1 10 16,-1 0-15-16,0-3-26 0,3-1-16 0,-2-1-37 15,0 0-8-15,1-3-16 0,1 1-25 0,0-1 4 16,0-3-45-16,0 0-28 0,0-3-44 16,1 5-61-16,-1-5-37 0,0 0-29 0,0 0-454 15,14-2 43-15,-14 2 101 0,6-5 53 0</inkml:trace>
  <inkml:trace contextRef="#ctx0" brushRef="#br0" timeOffset="70334.25">11136 560 1241 0,'0'0'369'0,"0"0"-34"16,0 0-31-16,0 0-32 0,0 0-50 0,0 0 11 16,0 0-12-16,0 0-37 0,0 0-13 15,2 13-15-15,1-10-22 0,-2 1-14 0,-1 1-7 16,0-1 7-16,-1 1-33 0,2-2-8 15,-1 3-10-15,0-3-2 0,0-3 17 0,0 9-32 16,0-5-19-16,0 0 0 0,0 0 16 0,0-4-19 16,0 7 11-16,0-4-33 15,0-3 25-15,0 8-25 0,0-5 28 0,0-3 2 16,0 4-10-16,0-4 18 0,-4 5-12 0,4-5-6 16,0 0-8-16,3 4 9 0,-3-4 1 15,0 0-9-15,0 5 17 0,0-5-7 0,0 0 12 16,0 0-7-1,0 0-8-15,0 0 29 0,0 0-11 0,0 0 0 0,0 0 20 16,0 0-25-16,0 0 64 0,0 0-48 16,5-10-16-16,-5 10-8 0,2-7-2 0,-2 4 17 0,1-2-20 0,2 1 21 15,-1 0-11-15,0-2-22 0,1 0 2 16,0 1 20-16,-1 1-5 0,-2-1 39 16,3 0-121-16,2 0-7 0,-2 0 25 0,-1 2 11 0,1-1-8 15,2-1-6-15,-3 1 16 16,1 1 16-16,0 1-6 0,-1-2-2 0,-2 4 5 15,5-4 5-15,0 2-10 16,-5 2 10-16,6-1 2 0,-6 1-4 0,0 0-6 0,10 2 16 16,-10-2 2-16,5 4-13 0,0-1-4 15,-3 0 19-15,1 1-12 0,-1-1-10 0,1 2 3 0,0-2 32 16,1 3-20-16,0-2-10 0,-2 2 8 16,0-2 4-16,1-1-19 0,0 2 14 15,-1-1 3-15,-2 0-2 0,3-1-13 0,-1 0 4 16,1 1 1-16,-3-4 13 0,2 3-5 0,-2-3 7 15,6 2-3-15,-6-2 19 0,0 0-18 16,0 0 7-16,10-4-17 0,-5 2 12 0,0-3 13 16,0 1-28-16,-2-3 2 0,4 1 3 15,-1 0 13-15,-1-3 15 0,3 1-7 0,-1 2-1 16,-2-2 90 0,1 2-20-16,-1 0-29 0,2 1 24 0,-4-1 7 0,2 1 0 0,0 2-18 15,-3 1 16-15,2-1-8 0,-4 3-13 0,7-2-13 16,-7 2-23-16,7 5 31 0,-4-1-25 0,2 0 25 15,-2 1-39-15,2 2 3 16,-3 1 24-16,1 1-9 0,0 0-20 0,-1 0 5 0,1 2-15 16,-1 0 31-16,1 1-39 0,0-2 8 0,-1 0-6 15,0 0 11-15,-2 0-20 0,3-1-14 16,-2 0 1-16,1-1-26 0,-2 1-26 16,0-2-30-16,2-1-8 15,-2 0-30-15,0-2-6 0,2 0-3 0,-2 0-58 0,1 0-10 16,-1-4-24-16,3 4-22 0,-1-2-44 0,-2-2-57 15,2 2-94-15,-2-2-18 0,0 0-107 0,0 0-257 16,0 0 52-16,0 0 74 0,0 0 67 16,0 0 71-16</inkml:trace>
  <inkml:trace contextRef="#ctx0" brushRef="#br0" timeOffset="71021.03">11723 626 1008 0,'-7'-3'384'16,"7"3"-59"-16,-3-2-33 0,3 2-16 0,0 0-30 15,-6-4 0-15,6 4-39 0,0 0-17 16,0 0-6-16,9-4-20 15,-2 3-24-15,-2-1-4 0,3 2 20 0,2-3-51 0,0 2-20 16,1-1 9-16,1 2 4 0,-1-1-24 0,6-2-5 16,-3 3-18-16,1-1-7 0,1-2-42 15,-1 2-25-15,0 0-20 0,0-1-47 16,1 1-33-16,-3 1-35 0,-1 0-19 0,-2-1-84 16,1 1-54-16,-3 0 15 0,-1-1-183 15,1 1-275-15,-8 0 34 0,5 2 140 0</inkml:trace>
  <inkml:trace contextRef="#ctx0" brushRef="#br0" timeOffset="71276.28">11707 675 1052 0,'-7'3'394'0,"2"-2"-51"0,5-1 5 0,-5 2-36 16,5-2-30-16,0 0-37 0,0 0-4 15,0 0 5-15,17 4-1 0,-9-4-60 0,1 0-6 16,3 0-5-16,-2 0 13 0,3 0-46 15,5-2-34-15,0 1 8 0,0 0-17 16,5-1-6-16,0 0-3 0,1 0-17 0,0 1-11 16,0-3-37-16,4 1-35 0,-5 1-35 0,-2-2-18 0,-1 2-20 15,-2-2-62-15,3 0-74 16,-8 1-70-16,4 0-63 0,-6 0-512 0,1-2 28 0,-2 1 102 16,-4 0 80-16,-1-1 97 0</inkml:trace>
  <inkml:trace contextRef="#ctx0" brushRef="#br0" timeOffset="71640.84">11993 460 816 0,'-6'-3'328'0,"6"3"30"16,0 0-41-16,0 0-15 0,0 0-17 15,0 0-1-15,0 0-51 0,0 0-26 16,18 7 0-16,-10-5-22 0,0 1 25 0,5-1-57 15,-3 2 13-15,5 0-17 0,-2 0-6 0,2 0-28 16,1 3-66-16,-1-2 36 0,1 3-11 16,-2-1-20-16,2 1 27 0,-3 0 1 15,0 1-10-15,-3 0 20 0,-3 0 0 0,1 1-23 0,-2-1 3 16,-4 2-5-16,1 2 15 0,-3-1-16 16,-5 2-4-1,-1 2-6-15,-6 3-10 0,-1-2-8 0,0-1-2 0,-10 8 0 0,0-3-5 16,2-5-1-16,6-1-17 0,-3-1 3 15,3 0-37-15,1-3-38 0,2-1 0 0,-1 0-25 16,3-2 10-16,2-1-18 0,-2 1 2 0,2-3-12 16,3 0-39-16,-3 1 13 0,3-1-16 15,-2-1-22-15,4 0-21 0,-2-1-35 16,3-1 27-16,-4 2-51 0,4-2-17 0,2-2-78 16,-3 4 52-16,-2-3-208 0,3 2-250 0,2-3 40 15,0 0 114-15</inkml:trace>
  <inkml:trace contextRef="#ctx0" brushRef="#br0" timeOffset="77045.17">12825 681 668 0,'3'-3'209'0,"2"-3"12"0,-2 0-17 0,2 0-1 0,2-3-27 0,-1 0-4 0,-1-1 99 15,2-1-30-15,1 0-39 0,-3-2-18 16,1 3 0-16,4-1-99 0,-5 1-8 0,2 1 2 15,-1 0-20-15,2 2 10 0,-3 1 8 16,2 1-18-16,1 3 2 0,-3 1-2 0,1-1-3 16,-6 2-15-16,14 4 0 0,-6-1-10 0,-3 2 25 15,3-1-20-15,-2 3 8 16,1-1-1-16,-2 0-20 0,0 3-2 0,3-2 2 0,-3-2-11 16,0 1 4-16,0 1-8 0,0-1 20 15,1-2-26-15,-2 0 11 0,0 0 8 16,0-1-4-16,-1-2-4 0,4-1-3 0,-7 0 14 15,8-2-17-15,0-2 16 0,-3 0-15 0,3-2 5 16,-3 1-11-16,3-1 11 0,2-2 13 16,-2 1-37-16,2 1 19 0,0 0-3 0,-2 2-7 15,-3 0 4-15,5 2-7 0,-4 1 5 0,1 2 33 16,1 1-25-16,-1 2 7 0,1 0-20 16,0 3 18-16,0 0 0 0,-1 0-11 15,1 1 11-15,-3-2 38 16,2 3-38-16,1-2-3 0,0-1-2 0,0 0 25 0,-1-2 8 15,1 1-15-15,0-2 10 0,2-1-5 0,2-1-6 0,-1-2 34 16,2-2-21-16,2 0 1 0,3-4 12 16,3-2-5-16,2 0-25 0,-3-2 4 15,4 0-9-15,-2-1 83 0,1 2 6 16,1 0-23-16,1 2-28 0,-5 3 30 0,-1 2-12 0,-1 3-13 16,-3 2-13-16,1 4 0 0,-1 2 31 15,0 7 0-15,-4 2-6 0,-1 2 19 0,0 5-29 16,2 7 37-16,-4-6-6 0,-2-1-3 0,-1-4-32 15,3-2-4-15,-1-1-47 16,-2-2 40-16,1 0-8 0,1-4 13 0,0-2-2 0,-1-4-3 16,5-2 13-16,-1-1 5 0,2-5-28 15,6-1-11-15,5-6 9 0,8-7 17 16,3-4 5-16,4-9-20 0,3-6-8 0,0-6 18 16,2-2-100-16,-1 0-2 0,-1 0 0 0,2 3-1 15,3 3 32-15,-7 5-19 0,-6 12-12 0,-3 4 30 16,-6 4-22-16,-4 8 32 15,-7 5-4-15,0 5-1 0,2 3 16 0,-4 5 21 0,-1 8 2 16,0 13 7-16,-2 7 21 0,-5 4 16 0,-1 3-19 16,3 3-22-16,-5 0 12 0,1 1 13 15,-1 1-18-15,0-3-7 16,4-4-3-16,1-1-1 0,-2-3-19 0,2-3 4 0,0-1 9 0,-2-8-1 16,2-6-13-16,0 0-12 15,-2-4-13-15,-1-2-13 0,1-5 36 0,-1 1-11 16,1-1 11-16,-1-2-23 0,-1-1 8 0,-1-2 4 15,2-1 16-15,0 0-5 0,1-1-25 16,-3 0 30-16,0-1-18 0,0 0 5 0,0-1-18 16,0 0 3-16,0 1 13 0,0-1 4 0,0 0 1 15,0 2-23-15,0-2 35 0,0 1-14 0,-3-1 12 16,1 1 0-16,0 0-6 0,2-1-1 16,-1 0 9-16,-1-2-14 0,2-2 1 15,-3 7 11-15,3-4-10 0,0-3 13 0,-2 5-14 0,1-2-4 16,1-3 15-16,-2 5 18 15,0-2-15-15,2-3-1 0,0 4 8 0,0-4-5 16,0 0-28-16,0 6 21 0,0-6 4 0,0 3 1 16,0-3-6-16,0 0-15 0,2 3 18 0,-2-3 13 31,0 4 13-31,0-4-31 0,0 0 15 0,2 5-18 0,-2-5-22 0,0 0 35 0,1 3 5 16,-1-3-7-16,0 0-9 0,2 2-4 0,-2-2 5 15,0 0 0-15,0 0 2 0,3 4 1 16,-3-4 22-1,0 0-20-15,0 0-2 0,0 0 4 0,0 0 3 0,0 0 1 0,5 2-19 0,-5-2 31 16,0 0-36-16,0 0 31 0,0 0 4 16,0 0 1-16,5 2-15 0,-5-2 2 15,3 2-23-15,-3-2 26 16,0 0-11-16,4 3 3 0,-4-3 8 0,4 2 10 0,-4-2-23 0,7 1 2 16,-7-1 6-16,0 0 4 0,8 1 16 15,-8-1-20-15,8 0-6 0,-8 0-9 0,7 1-6 16,-4 0 10-16,2 1 13 0,-2 1 5 0,1-1-15 15,-1 2 5-15,2-2-2 16,-2 2-1-16,2-2 11 0,-2 2-8 0,2 0 10 0,-1-1-2 16,-1 0-13-16,0 0-11 0,0-1-4 0,1 0 20 15,-1 0-5-15,-3-2-6 0,3 4 24 16,-3-4-15-16,5 0 4 0,-5 0-15 0,5 3 24 16,-5-3-1-16,0 0-15 0,5 2 12 0,-5-2-9 15,3 2 7-15,-3-2-2 16,0 0-1-16,0 0 11 0,0 0 7 0,0 0-12 15,5 2-8-15,-5-2-10 0,0 0-5 0,0 0 2 16,8-4 5-16,-6 0 3 0,-2 4 48 0,5-6-35 16,0 1-3-16,0-3-2 0,0-1 15 15,1 0-11-15,1-5-2 0,-1-3 11 0,4-4 4 16,2-9-4-16,2-2 9 0,0 1 3 0,-1-1-17 16,1 1 1-16,0 2-24 0,-3 6 4 15,-1 5 11-15,-4 3-6 0,1 2 0 0,-2 2 26 16,-2 1 1-16,4-2-24 0,-4 5 12 15,0-1-14-15,1 2 22 16,-3 0-10-16,4 2-2 0,-5-1-3 0,3 2-2 0,-3 3-26 16,2-5 7-16,-2 5-4 0,5 0 7 0,-5 0 0 15,0 0-2-15,0 0 20 0,3 11 13 0,-3-7-33 16,2-1 27-16,-2 2 4 0,3 0-21 16,-1-3-6-16,-1 2 35 0,1-1-14 0,-2-3-5 15,5 3 26-15,-5-3-24 16,0 0 9-16,13-6 12 0,-5 1 18 0,-3-3-46 0,5 1 23 15,0-6 2-15,3 1-4 0,2-4-3 0,-2-2-3 16,3 2 1-16,4-8 9 0,-2 4-12 16,-3 3-18-16,1 3-3 0,-5 1-10 0,1 2 11 15,1 0-6-15,-5 4 20 0,2 0-22 16,-2 1 5-16,-4 0 2 0,2 2 21 0,-2 1-3 16,2 1-5-16,-6 2 8 0,8 0-5 0,-8 0-8 15,5 0 0-15,-5 0-3 0,0 0 3 16,10 0 8-16,-10 0 18 0,0 0-32 0,10-1 12 15,-4-1-14-15,1 0 16 0,-2-2-8 0,3-2 20 16,2-1-5-16,1-3 1 0,3-2 9 16,0-4 6-16,6-7-18 0,1-1 7 0,2-2-7 15,-3-1 2-15,1-4-4 0,-1-3-6 0,1 0 8 16,5-9-1-16,-4 0 6 0,4 0-15 16,-1 0 2-1,1 2 10-15,-7 5 11 0,1 4-18 0,-2 2-1 0,0 3-17 0,-3 6 0 16,-4 6 25-1,-1 2-12-15,-2 3 2 0,-1 1 5 0,-2 0-20 0,0 3 5 0,-2-1 10 16,2 1-15-16,-3 2 5 0,3-2 5 0,-2 3 2 16,0 0 6-16,-1 0-36 0,-1-1 43 15,1 1-18-15,3 0-2 0,-5 3-18 16,3-6 18-16,-1 4-8 0,-2 2 24 0,2-5-29 0,-2 5 28 16,3-3-8-16,-3 3-14 0,3-3 12 0,-3 3-16 15,0 0 27-15,2-4 14 0,-2 4-27 0,0 0-9 16,0 0 14-16,2-2-3 15,-2 2 5-15,0 0-8 0,0 0 9 0,0 0 1 16,1-4-35-16,-1 4 20 0,0 0 3 0,0 0-13 16,0 0 0-16,0 0 3 0,0 0 28 15,0 0-18-15,3-3-3 0,-3 3 6 0,0 0-1 16,0 0-5-16,0 0-20 0,0 0 10 0,0 0 3 16,0 0-11-16,0 0 16 0,0 0 0 0,0 0 7 15,0 0-15-15,0 0 6 0,0 0 6 16,0 0-6-16,0 0-22 0,0 0 11 0,0 0 3 15,0 0 4-15,0 0 9 0,0 0-3 16,0 0 4-16,0 0-4 0,0 0-10 16,0 0-14-16,0 0 19 0,0 0-10 0,0 0 27 15,0 0-12-15,0 0-6 0,0 0 9 0,0 0-6 16,0 0 8-16,0 0-16 0,0 0 14 16,0 0-16-16,0 0 10 0,0 0 13 0,0 0-3 15,0 0-7-15,0 0 5 0,0 0 28 16,0 0-26-16,0 0 21 0,0 0-7 0,0 0-22 0,0 0 1 15,0 0 56-15,0 0-36 0,0 0-25 16,0 0 13-16,0 0-19 0,0 0 21 0,0 0 10 16,0 0-23-16,0 0 3 0,0 0 13 15,0 0 12-15,0 0-33 16,0 0 23-16,0 0 13 0,0 0-25 0,0 0-6 0,0 0 8 16,0 0 15-16,0 0-20 0,0 0 2 15,0 0 13-15,0 0 3 0,0 0 2 0,0 0-10 0,0 0-8 16,0 0-10-16,0 0 29 0,0 0 4 15,0 0-18-15,0 0 19 0,0 0-34 0,0 0 10 16,0 0-7-16,0 0-11 0,0 0 21 0,0 0-18 16,0 0-54-16,0 0 13 0,0 0-18 15,0 0-7-15,0 0 2 0,0 0-18 0,0 0-3 16,0 0-9-16,0 0-24 0,0 0-15 0,0 0-18 16,0 0-39-16,0 0 1 0,0 0-21 15,0 0-33-15,0 0-54 0,-16 2-13 0,16-2-59 16,-10 3-465-16,2 1 53 0,3 0 118 0,0 2 64 15</inkml:trace>
  <inkml:trace contextRef="#ctx0" brushRef="#br0" timeOffset="77964.16">15754 538 1218 0,'0'0'351'0,"8"-5"-37"0,-4 2-29 0,6 2-50 0,-1-1 1 0,6 0-19 16,0-1-33-16,3 0-4 15,3 1-37-15,-1 1-30 0,3-4-34 0,-5 5-43 0,0 0-59 16,0-2-52-16,0 2-76 0,-2 1-105 15,-4 0-69-15,1-1-483 0,-5 3 178 16,2-1-33-16,-2-1 59 0</inkml:trace>
  <inkml:trace contextRef="#ctx0" brushRef="#br0" timeOffset="78132.2">15784 612 831 0,'0'0'256'0,"0"0"0"0,0 0-36 0,13 4-20 0,-5-4-23 0,2 0 4 16,3 0-27-16,3 0-18 0,2 0-16 15,2-1-20-15,3-2 2 0,0 1-22 0,0-1-60 16,0 0-17-16,0 1-116 0,3-4-28 0,-3 2-105 16,-3 2-322-16,-1-3-61 0,-1 0 4 0</inkml:trace>
  <inkml:trace contextRef="#ctx0" brushRef="#br0" timeOffset="78417.59">16123 411 1021 0,'0'0'340'0,"13"2"-33"0,-3 0-30 15,0 0-16-15,3 4-18 0,2 0-102 0,1 2-8 16,-1 1-5-16,1 1-5 0,1 1 5 16,1 3-5-16,-5-2-18 0,0 1 12 15,-5 1-14-15,2-2-37 0,-5 1-12 0,-3 1 18 0,-2 0-8 16,0-1-16-16,-2 1 4 16,-3 1-50-16,-2 1-27 0,1-2-22 0,-4 1-40 15,0-3-48-15,-1 1-90 0,-1 0-98 0,-4 0 13 16,5-2-453-16,-3-3 44 0,1-1 128 15,0 0 38-15</inkml:trace>
  <inkml:trace contextRef="#ctx0" brushRef="#br0" timeOffset="87899.9">17623 310 1044 0,'0'0'333'0,"0"-5"-16"0,0 5-30 0,2-2 15 16,-2 2-41-16,0-4-23 0,0 4-31 15,2-5 21-15,-2 5-77 0,0 0-5 0,0-4-28 0,0 4 2 16,-2-4 8-16,2 4-21 15,-5-5 32-15,5 5 45 0,-5-2-12 0,5 2-14 16,-12 1-27-16,3 0-1 0,-1 1-17 0,-2 1-21 16,1 2 10-16,-4-2-27 0,2 0 12 15,0 3-8-15,0-2-10 0,1 1 0 0,1-1-28 16,1-1 0-16,2 1-23 0,0-2 10 0,1 2-17 16,2-1 1-16,0-1-7 0,0 2 26 15,4 0-15-15,-1 1-11 0,2-1 20 0,0 1-15 16,2-1-17-16,1 1 17 0,0-1-5 0,2 2 8 15,2-1-21-15,-2 0 13 0,3 2 8 16,0 1-13-16,0 0 5 0,-1-1-5 16,3 1-12-16,-2 0 1 0,0 0 11 0,-3-1-7 0,3 0 1 15,-1 0 9-15,-4-1 12 16,2 1 16-16,-2 1-13 0,-1-2 5 0,-2 0 26 16,0-1 10-16,0 1-34 0,0 0 19 15,-2 0 4-15,-1 0-17 0,-2 1 20 0,0-1-28 16,0 0-2-16,0 1 12 0,-3-3-10 0,0 1 3 15,0-1-6-15,-2 1-10 0,0 0 11 0,3-2-13 16,-4 1-34-16,4-1 3 0,-4 0-28 16,1-1-3-1,0 1-48-15,2-1-16 0,-2-2-13 0,0 2-53 0,-1 0-8 0,3-2-64 16,1 1-87-16,-1-2-159 0,1 1-432 16,-1 0 59-16,3-2 132 0,5 2 52 0,-11-2 85 15,8 0 78-15</inkml:trace>
  <inkml:trace contextRef="#ctx0" brushRef="#br0" timeOffset="88162.18">17497 183 1279 0,'2'-4'410'0,"-2"0"-126"15,0 4-25-15,0 0-1 0,0 0-15 0,0 0 23 0,6 15-27 16,-6-6-32-16,0 3-2 0,2 0-42 15,-2 3 11-15,-2 1-30 0,0 3 17 16,-2 2-35-16,2 4-24 0,-3 0 8 0,0 0-26 16,0 0 1-16,-1 2-13 0,-4 7-1 0,5-5-4 15,-2-6-13-15,1 2-24 0,-1 0 1 16,1-1-18-16,-1-1-29 0,-1 0-17 0,3-4-18 16,0-1-49-16,0-1-38 0,-1 0-52 15,2-5-42-15,1 1-91 0,-2-3-122 16,5-2-403-16,0-2 65 0,0 0 110 0,2-4 89 0,-2-2 1 15</inkml:trace>
  <inkml:trace contextRef="#ctx0" brushRef="#br0" timeOffset="88562.11">17703 399 1244 0,'9'-1'345'0,"-4"2"-51"0,3 0-4 0,-3 0-19 15,0 1-18-15,-2 1 11 0,2 1-28 0,-5 1-21 16,2 1 0-16,-2 2-41 16,-2 2 5-16,-3 0 5 0,0 1-25 0,-3 3-24 15,-2-2 4-15,2 1-1 0,-2 2 0 0,-3-2 64 0,3-1-28 16,0-2 13-16,2 0-41 0,0-2 3 15,1-2-1-15,2 1 16 0,-1-1-21 16,3-1-25 0,-1-1-21-16,1-2-5 0,0 3-12 0,3-2 17 0,-2 2-2 0,2-5-16 0,2 5-10 15,1-3-2-15,0 0-13 0,2 0-6 16,2 0-27-16,-1-1-14 0,1 1-25 0,1-1-10 16,0 0-8-16,0-1-38 0,-1 0-31 0,3 0-30 15,-2 0-19-15,2-1-61 0,0 0-51 16,1-1-105-16,-1-5-116 0,0 6-501 15,0-1 41-15,1-2 113 0,2 1 120 0,-3 0 58 16,2-4 60-16</inkml:trace>
  <inkml:trace contextRef="#ctx0" brushRef="#br0" timeOffset="89157.53">18102 372 1011 0,'0'0'335'0,"0"0"-25"15,0 0-31-15,-10 9-21 0,7-5-15 0,3 1-33 0,-2 0-13 16,1 1-41-16,-1 2-25 0,0-1 12 16,-1 1-20-16,0 1-10 0,1-1-3 15,0 0-26-15,1-1-12 0,-2 1-16 0,1-1 6 16,0-1 4-16,-1 0-20 0,3-2-7 15,0 1 4-15,-3 0 3 0,3-1 11 0,-2-1 2 16,2 1-6-16,0-4 1 0,-2 6 18 0,2-6-1 16,0 0 4-16,4 2 12 0,-4-2-21 15,0 0 3-15,0 0-10 0,12-5 5 0,-8 2 0 16,1-1 5-16,-2 1-30 0,2-1-11 16,3-1 23-16,-1 2-28 0,-2-2 33 15,1 2-40-15,1 0 17 0,0 0 0 0,-1 1-15 16,-1 0 82-16,0 0 13 0,0 2-29 0,-5 0 13 15,13 0-27-15,-13 0 9 0,9 4-23 0,-7-2 31 16,2 2-33-16,-1 0 18 0,0 0-1 16,-1 3-22-16,1-2 35 0,-1 2-35 0,-2-1-13 15,3 0 0-15,-3 0 5 0,0 0-26 0,0-1 31 16,2 1-5-16,-2-2 5 0,1 0-30 16,-1 1 12-16,0-2 13 0,2 0 5 0,-2-3 0 15,5 3-23-15,-5-3 51 0,8-1-36 0,-8 1 44 16,15-3-56-16,-7 2 23 0,4 0-31 15,-3-2 30-15,3 3-15 16,-2-1 21-16,0 2-18 0,1-1-36 0,-1 3 49 0,0-1-11 16,0 3-30-16,0 1 17 15,-2 0-20-15,1 2-2 0,-2-1-34 0,-2 1-12 0,1 1-26 16,1-1-54-16,-2 2-33 0,0-2-21 0,0 1-41 16,-2 0-35-16,-1 0-54 15,4-1-146-15,-9 0-149 0,6 0-388 16,-1-1 94-16,3 0 84 0,-2-2 80 0,-1 2 77 0,1-1 69 15</inkml:trace>
  <inkml:trace contextRef="#ctx0" brushRef="#br0" timeOffset="95120.59">17336 1036 757 0,'7'-1'220'16,"-7"1"-5"-16,0 0 5 0,5-2-12 0,-5 2-11 0,0 0-3 15,0 0 55-15,6-1-11 0,-6 1 5 16,0 0-54-16,0 0 1 0,0 0-29 16,0 0 3-16,0 0-3 0,4-2-20 0,-4 2 2 0,0 0-20 15,0 0-15-15,0 0-16 16,3-4-5-16,-3 4-5 0,0 0 2 0,3-3-17 16,-3 3-11-16,0 0 3 0,0 0-3 0,0-5-2 15,0 5-11-15,2-4-17 0,-2 4 48 16,0 0-33-16,0 0 13 0,-5-5-26 0,5 5 11 15,0 0-24-15,-7 0 0 0,7 0-7 0,0 0-3 16,-11 5 10-16,4-3 11 0,-1 2-8 16,5-2-13-16,-5 0 16 0,3 2 2 0,-2 1-8 15,1-3-18-15,1 0 11 0,-2 3-16 0,4-2 3 16,-2 1 23-16,0-1-36 0,3-1 34 16,-1 1-9-16,0 0-7 0,3 1-15 0,0-4 28 15,0 6-21-15,0-6 36 0,3 5-41 16,0-2 24-16,1-1-34 0,-1 2 12 15,4-2 17-15,-1 2-22 0,-1-1-4 0,3 0 15 16,-1 2 20-16,-2-3-25 0,3 2 2 0,-3 0-10 16,1-1 18-16,-1 0 0 0,0 2-2 15,0 0-1-15,-2-1-2 0,1 0 5 16,-1 1 10-16,-3 0-5 0,3 0-2 0,-3 0 12 0,0 0-10 16,0 0 13-1,-3 1-31-15,3-1 8 0,-5 1 15 0,2-1 16 0,-2 0-23 0,0 0 17 16,-2 1-15-16,-1-1-5 0,0-1-10 15,3 0-5-15,-3 0-16 0,0-1-31 16,1-1 6-16,-1 1-13 0,0-2-26 0,1 0-20 16,2-1-36-16,-3 2-59 0,8-2-51 0,-11 1-97 15,11-1-497-15,-9-3 107 0,3 2 68 16,6 1 19-16,-7-2 83 0</inkml:trace>
  <inkml:trace contextRef="#ctx0" brushRef="#br0" timeOffset="95465.03">17333 968 913 0,'0'0'305'0,"3"-1"-21"0,-3 1-20 0,0 0 56 0,10 5-8 15,-8 2-23-15,1 1-7 0,0 0-31 16,-1 2-24 0,0 3-14-16,1 0-24 0,-3 2 16 0,3 1-36 0,-3 2-8 0,2 3-38 0,-2-2-18 15,0 2-13-15,0 0 0 0,-2 0-5 16,2 0 29-16,0-2-55 0,-3-1 18 16,3 1-53-16,0-3 0 0,0-1-14 0,-3-2-32 15,3 0-16-15,0-2-18 0,0 0-15 16,-2-3-26-16,4 0-30 0,-2-1-70 0,3-3-66 15,0 1-56-15,-1-3-62 0,-2-2-499 0,8 2 156 16,-8-2 59-16,12-4 23 16,-6 2 80-16</inkml:trace>
  <inkml:trace contextRef="#ctx0" brushRef="#br0" timeOffset="95865.64">17676 1079 1067 0,'0'0'358'0,"0"0"-25"0,0 0-39 16,-7 14-12-16,6-8-34 0,-1 4-10 15,0-1-38-15,2 2-21 0,-3 0-13 0,0 3-9 16,1-1-11-16,-3 1-29 0,2 2-27 0,0-3-8 15,-1 1-39-15,1-1-56 0,1-1-38 16,-1 0-43-16,0-2-70 0,1-1-85 0,2-1-30 16,0-1-238-16,0-2-261 0,2-1 136 15,-2 0 30-15,0-4 77 0</inkml:trace>
  <inkml:trace contextRef="#ctx0" brushRef="#br0" timeOffset="96488.95">17776 1159 819 0,'0'0'297'16,"0"0"-16"-16,0 0-22 0,-7 10-16 0,4-6-18 15,1 4-18-15,2-2-27 0,-3 3-24 16,0 0-18-16,3 0 0 0,0 1-28 0,0-1 0 16,0 1-10-16,3-2-8 0,-3 2-20 15,5-3 10-15,-2 1-16 16,2-2 9-16,0 1-6 0,0-2 2 0,0-1 14 0,3-1 2 15,0-2 13-15,0-1 61 0,-1-1-13 0,-7 1 11 16,13-2 18-16,-5-2-13 0,-3 0 2 16,2-2-12-16,-2 1-42 0,-2-1-4 0,2-2 22 15,0 2-33-15,-4-1-22 0,1 0 27 16,-2 1-28-16,0 0-89 0,0-1 10 0,0 1-5 16,-2 1-8-16,1-1-16 0,-2-1 6 0,1 1-18 15,0 0-23-15,-1 1 18 0,0 2-41 16,3-1-11-16,-2 1-20 0,2 3-15 15,0-7-3-15,-2 3-25 0,2 4-3 0,0-6 10 0,0 6-4 16,2-4 1-16,-2 4 16 16,5-1 24-16,-5 1 22 0,5-2-15 0,-5 2 20 15,8 0 5-15,-8 0 42 0,10 3-14 0,-7 0 14 16,2-1 14-16,0 3 37 0,0 1-3 16,-2 0-5-16,2 1-3 0,-2 0 18 15,1 2 13-15,2-3-20 0,-2 2-11 0,-1 1 26 0,4-2-5 16,-3 1-5-16,1 0 15 0,2 0 15 15,-2-2 18-15,1 0-7 0,2-3 25 0,-4 0-20 16,4 1 30-16,-3-2 29 0,1-1-5 0,1-1 2 16,-7 0-5-16,10 0 17 15,-5-2-6-15,-2-3-1 0,2 3 3 0,-2-2-13 0,-1-1 10 16,-2 1-31-16,3-2-2 0,-3 1-8 16,-3 0-2-16,3 0-28 0,-2-1 9 0,1 2-4 15,-1-1-3-15,-3 1-18 0,2 1-5 16,-1-1-28-16,1 1-28 0,-2 1-26 0,-1 1-26 15,1-1-4-15,-2 1-52 0,7 1-30 16,-11 0-88-16,11 0-120 0,-12 1-35 0,12-1-477 16,-8 0 69-16,8 0 95 0,0 0 100 0,0 0 84 15</inkml:trace>
  <inkml:trace contextRef="#ctx0" brushRef="#br0" timeOffset="96686.26">18113 1101 1016 0,'7'0'437'0,"-7"0"-27"0,7 3-39 16,-4 1-7-16,0-1-14 0,2 3-22 0,-2 2-36 15,-1-1-41-15,0 2-11 0,-1 1-43 16,-1 1-15-16,0 0-23 0,-1 2-42 0,-1-2-1 16,0 2-50-16,2 0-50 0,-3-2-24 0,2 1-46 15,1-3-7-15,-2 0-65 16,4-1-27-16,-2 0-62 0,1 0-64 0,2-4-62 0,-1-4-12 15,1 3-438-15,5 0 87 0,-1-3 46 16,3-2 39-16,-2 0 81 0</inkml:trace>
  <inkml:trace contextRef="#ctx0" brushRef="#br0" timeOffset="96950.59">18412 1153 1041 0,'-9'4'330'0,"-2"-1"-33"15,-2 3 69-15,0 0-12 0,-2 2-11 0,2-2-26 16,2 4-28-16,-3-2-22 0,3 1 9 16,-2 1-17-16,3-1-39 0,2-1-28 0,1 0-23 15,-1 1-3-15,3 0-102 0,0-3-8 0,2 2 13 16,1-1-10-16,4 0-8 0,-2-2-20 16,2 0 8-16,1 0-22 0,3-2-40 15,1 1-5-15,3-2-36 0,-2 0-7 0,2 0-47 16,0-2-10-16,4 0-13 0,-4 0-97 15,2 1-64-15,-1-1-61 0,1 0-259 0,-2-1-182 16,-2 1 46-16,0 0 103 0,-3 0 92 0</inkml:trace>
  <inkml:trace contextRef="#ctx0" brushRef="#br0" timeOffset="97236.87">17661 1470 1197 0,'13'0'377'16,"0"1"-27"-16,5 0-14 0,5-1-34 0,5 0-18 15,5-1-33-15,15 0-44 0,2-2 0 16,4 3-27-16,0-2-35 0,-1 0-14 15,1 1 0-15,-2-2-32 0,-1 2-24 0,-2-2-52 16,-6 1-52-16,-10 0-45 0,-2 1-36 16,-10-1-105-16,-4 2-89 0,-1 0-564 0,-6-2 118 0,2 2 61 31,-6 2 75-31,-6-2 53 0</inkml:trace>
  <inkml:trace contextRef="#ctx0" brushRef="#br0" timeOffset="97523.32">17513 1585 906 0,'0'0'407'0,"0"0"-34"0,17 0-101 16,-2 2-4-16,4-4-30 0,6 2-7 0,6 3-21 15,15-2-13-15,3-1-28 0,2-4-16 0,0 4-20 16,0 0 16-16,-2-4-29 0,0 2-12 15,-2 1-6-15,-9-1-28 0,-5-2 1 0,-4 4-22 16,1-2-14-16,-7 0 9 0,0 0-30 0,0 2-33 16,-7-2-18-16,2 0 10 15,-3 2-44-15,-2-1-12 0,0-1-21 0,-1 1 3 0,-1-1-47 16,-1 0-35-16,-3-1-51 0,3 1-52 0,-4-2 16 16,-1 3-479-16,1-1 21 0,-2 0 91 15,-4 2 73-15</inkml:trace>
  <inkml:trace contextRef="#ctx0" brushRef="#br0" timeOffset="98969.06">16687 379 724 0,'0'0'230'0,"0"-5"-10"0,0 5-10 16,0 0 3-16,0 0-19 0,0 0-9 16,0 0 1-16,10 0-6 0,-10 0-29 0,8 0 2 0,-3-2-12 15,5 2-13-15,-5-1-8 0,6-1-15 16,-1 0-10-16,2 0 12 0,2-1-32 15,-2 2-9-15,1-2-15 0,3 1-30 0,-4-1-34 16,1 1-28-16,-3 0-28 0,0 1-33 0,1 0-44 16,-3-1-87-16,1 1-21 0,-3-1-224 15,-1 2-267-15,3-1 84 0,-8 1 75 0</inkml:trace>
  <inkml:trace contextRef="#ctx0" brushRef="#br0" timeOffset="99289.9">16828 423 808 0,'-3'18'308'0,"1"1"-53"0,-1-1-14 0,3 1 5 0,0 3-52 15,0 7 3-15,-3 10-28 0,1 3-2 16,0-1-6-16,2-7-25 0,-3 5-3 0,3-6-28 15,0 7-11-15,-3-8-24 0,1-4-1 16,0-1-8 0,1-2 13-16,-2 1-20 0,1-1-18 0,0-4-8 0,2 0 8 0,-3-1-26 15,0-1 6-15,3-2-34 0,-2 1 2 16,1-4-40-16,-1-1-18 0,2 0-54 0,0-2-41 16,-2-2-62-16,-1 0-48 0,3-2-499 0,0-1 128 15,0-1 61-15,-2-1 16 16</inkml:trace>
  <inkml:trace contextRef="#ctx0" brushRef="#br0" timeOffset="99616.8">16551 1296 793 0,'0'0'287'0,"28"-2"-19"0,-15 2-22 0,0 0-21 0,5 0-10 15,2 0 16-15,1 1-32 0,2-1 11 0,3 3 57 16,5-3-58-16,1 1-17 0,-1 1 3 0,0 1 17 16,0-3-45-16,2 3-19 0,-2-2-2 15,0 0-20-15,-6 1-9 0,-1 0-17 0,-1 0-20 16,-3 0-6-16,-2 0-26 0,-3-1-4 15,1 1-26-15,-4-2-3 0,-1 1-10 0,-1 0-25 16,-3 1-6-16,1-2-28 0,0 0-20 16,-8 0-36-16,11-2-36 0,-5 1-30 15,-6 1-65-15,6 0-35 0,-6 0-19 0,0 0-130 16,0 0-386-16,3-1 89 0,-3 1 105 0,0 0 62 16</inkml:trace>
  <inkml:trace contextRef="#ctx0" brushRef="#br0" timeOffset="100795.4">16892 1645 857 0,'5'15'246'0,"0"0"-31"0,-2-2 18 0,-1 2-44 16,1 2 8-16,0 3-2 0,-1-1-24 16,-2 2-10-16,0 0-20 0,0 1 0 0,-2 0-31 15,-1-1 10-15,0 4 3 0,3-5-13 16,-2 2-12-16,2-3-9 0,0 0 1 0,2-2-8 15,1 1-18-15,0-2-8 0,1-1 3 0,-1-2-16 16,5 0 9-16,-3-2 4 0,3-1-2 16,2-1-1-16,1-2-19 0,1-3 9 0,1 0-27 15,2-1-24-15,0-2-15 0,3 0-21 16,0-2-12-16,-2 0-51 0,2 0-34 0,-2-2-102 16,1 2-24-16,-4-2-158 0,2-1-335 15,-2 1 33-15,-2-1 105 0,1-1 59 0</inkml:trace>
  <inkml:trace contextRef="#ctx0" brushRef="#br0" timeOffset="101078.13">17233 1951 813 0,'10'10'346'0,"0"-1"-36"0,-2 0-36 0,0-2 0 16,-1 2-36-16,1 1 76 0,0-1-37 0,-3 3-31 16,1-1-6-16,-2 2-32 0,-1-2-98 0,-1 2-13 15,-2 2 8-15,-2-1-21 0,-1-1-9 16,-2 3 9-16,-2-1-48 0,-4 4 7 16,1-4-4-16,-3 1-19 0,3-1-10 0,0-3-30 0,-3 1-8 15,2-3-36-15,4-3-21 0,-4 2-14 16,4-3-68-16,-1-3-38 0,3 0-84 15,-2-2 2-15,7-1-473 0,-8-1 26 0,8 1 60 16,-3-6 58-16</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7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11:08.165"/>
    </inkml:context>
    <inkml:brush xml:id="br0">
      <inkml:brushProperty name="width" value="0.05292" units="cm"/>
      <inkml:brushProperty name="height" value="0.05292" units="cm"/>
      <inkml:brushProperty name="color" value="#C00000"/>
    </inkml:brush>
  </inkml:definitions>
  <inkml:trace contextRef="#ctx0" brushRef="#br0">4293 3990 598 0,'0'0'169'0,"0"0"-82"15,3-2-122-15,-3 2-19 0,0 0-102 0,5-1-420 16</inkml:trace>
  <inkml:trace contextRef="#ctx0" brushRef="#br0" timeOffset="375.41">5124 3913 675 0,'0'0'69'0,"8"0"-25"16,-8 0-67-16,0 0-504 0</inkml:trace>
  <inkml:trace contextRef="#ctx0" brushRef="#br0" timeOffset="11428.11">12674 4221 934 0,'-2'-2'335'0,"2"2"-28"0,0 0-20 16,0 0-62-16,0 0-5 0,0 0-15 16,0 0-15-16,0 0-24 0,0 0-10 15,0 0-7-15,0 0-6 0,23 2-13 0,-11 1 6 16,2-2-31-16,3 1-13 0,1-2-100 0,5 2 37 15,5 1-19-15,3-2 72 0,3 0-5 0,1-1-13 16,14 0-8-16,2 3 3 0,1-3 7 16,2 1-27-16,-1-1 4 0,-1 2-7 15,-4-2-3-15,1 0 21 0,-8 0-33 0,-10 0-4 0,0 0 7 16,2 0-4-16,-7 0 0 0,-3 0 6 16,2 0-16-16,-4-2-5 15,-3 1 3-15,0 1 0 0,-3 0 5 0,-2 0 2 0,0 0-2 0,-2 0 5 16,-1-2-3-16,2 1-7 0,-4-1 17 15,0 2-22-15,-1-1 12 0,1-3-5 16,0 2-7-16,0-1-8 0,-4 0 10 0,2 0 8 16,2 0 2-16,-3-1 8 0,0 1-13 0,0-3-2 15,0 0-10-15,0 0-14 0,0-3 14 16,0 1-1-16,1-3-5 0,-2 1 14 0,2-2-9 16,-1-1 13-16,3-4-5 0,-3 2-5 15,0-3 31-15,3 1-36 0,-1-3 2 0,1 0 1 16,0-1-1-16,2 1-10 0,0-1 19 0,-2 0 6 15,2 0 1-15,2 1-21 0,-3-2 14 16,1 1 12-16,2 1-24 0,-4 2-4 0,2-5 5 16,-2 4 13-16,2-1-6 0,-1 0-9 15,-5 4 1-15,4-3 12 0,-3 1-6 0,2 3-6 16,-4-4 22-16,3 4-32 0,-2 1 14 16,0 1 7-16,0 0-5 0,-1 0-3 0,2 2 9 15,-3 1-1-15,1 1-3 0,0 1-2 0,-1-2 8 16,-2 4 5-16,2-1-11 0,-1 1-7 15,-1 1 10-15,0 1-5 0,0-1-10 0,0 0 18 16,0 5-13-16,-5-6-16 0,2 4 16 0,-2-3 0 16,0 4 23-16,-2 0 0 0,-1 1-31 15,-1-3 23-15,-1 3-12 0,0-1-6 0,-2 1 11 16,-1 0-3-16,0 0-6 0,0 0 6 16,-2 0-5-16,-1 0 21 0,1 1-14 15,-1-1-9-15,-1 0 19 0,-2 0-19 0,2 1-4 16,-4-1-1-16,4 0 9 0,-7-1 13 15,6 1-15-15,-7 1 5 0,2-2 23 0,2 0-25 16,-5 2 4-16,4-2 14 0,-4 1-11 16,3 0-8-16,0-2-2 0,-1 2 2 0,-1-3-14 0,1 3 6 15,1-1 22-15,-2 1-11 0,2 0 15 16,2 0-18-16,-2 0-2 0,0 1 5 0,0-1 8 16,0 0 2-1,0 0-10-15,0 3-2 0,0-2 7 0,2 0-21 0,-1 0 14 0,1 0 4 16,-2 1-2-16,5-2-15 0,0 1-3 15,0 0-2-15,0 1 7 0,0 1-5 0,3-2 5 0,-1 0-5 16,1 0-5-16,-1 1 5 16,1-1-2-16,2 1-3 0,2-2 23 0,-1 0-3 15,2 4-17-15,-1-4 17 0,1 0-7 0,2 0 7 16,-2 1-7-16,2-1 7 0,1 0-12 0,-1 1 10 16,0-1 2-16,0 0 3 15,-1 1 0-15,4-1 0 0,-3 2-5 0,0-2 18 0,8 0-8 16,-12 1-20-16,6 0 30 0,1 1-22 0,0-1-9 15,-2 1 32-15,1-1-14 16,1 1 6-16,0 0-21 0,0 1 5 0,0-2-2 16,0 2 0-16,2-1 10 0,-2 1 5 15,-1 0-8-15,2-1 1 0,1 1 15 16,-2-1-3-16,3 3-20 0,-1-3 5 0,-2-1-1 0,2 4 12 16,0-3-6-16,1 2-6 0,-1 1 4 0,1-3 12 15,2 1-10-15,-3 2 15 0,1-1-7 16,2 3 2-16,-1-2 13 0,-1 1-10 0,0 1-10 15,2 3 30-15,-3-3-28 0,3 2 5 16,0 1 6-16,0 2-3 0,0 0 4 0,0 1-11 16,0 2 4-16,0 1 8 15,0-1-5-15,0 1-3 0,3 4 26 0,-1-1-26 0,-2 1 13 0,3-1 5 16,-3-1-23-16,2 2 3 0,1 1 7 16,-3-1 1-16,0-1-11 0,0 1-3 15,0-1 8-15,2-2-4 0,-2-3-4 0,0 3-2 16,0-3 0-16,0-1 0 0,0 4 0 0,0-5 31 15,0 1-26-15,-2 0 8 0,2-2 2 16,0-2-10-16,0 1-7 0,-3-1 14 0,3 1-12 16,0-4 3-16,0 1 7 0,0 1 1 0,-2-2-14 15,2-1 0-15,0 0 1 16,0 1 4-16,0-3 11 0,-1 2-23 0,-1 0 25 16,2-5-27-16,0 7 22 0,0-5-10 0,-2 2 7 15,2-4-9-15,0 6 22 0,0-6-20 16,0 6-2-16,0-6 7 0,0 3 8 0,0 1 0 15,0-4 2-15,0 6-10 0,0-1-2 0,-3-2 14 16,3-3-14-16,0 7 30 0,0-4-40 16,0 0 17-16,0-3 15 0,-3 6-7 0,3-2-23 15,0-4 10-15,0 4 8 0,0-4-10 0,0 0-6 16,0 5-2-16,0-5-26 16,0 0-17-16,3 4-6 0,-3-4-15 0,0 0-51 0,0 0-52 15,0 0-53-15,13-4-111 0,-13 4-65 0,10-6-470 16,-2 3 93-16,-1-1 59 0,1 2 69 15,-3-4 56-15</inkml:trace>
  <inkml:trace contextRef="#ctx0" brushRef="#br0" timeOffset="14513.96">5304 3521 703 0,'0'0'279'0,"0"0"-33"0,0 0-67 0,7-1-53 16,-7 1-75-16,0 0-43 0,0 0-72 0,10 2-36 15,-7 1-507-15,-3-3 100 16</inkml:trace>
  <inkml:trace contextRef="#ctx0" brushRef="#br0" timeOffset="14805.64">6354 3500 593 0,'0'0'185'0,"0"0"-62"0,0 0-72 0,8 0-72 15,-8 0-48-15,5 3-443 0</inkml:trace>
  <inkml:trace contextRef="#ctx0" brushRef="#br0" timeOffset="15064.9">7428 3514 348 0,'4'-1'2'0</inkml:trace>
  <inkml:trace contextRef="#ctx0" brushRef="#br0" timeOffset="18970.54">2798 5788 1133 0,'-7'1'313'0,"7"-1"-29"0,-3 2-33 0,3-2-3 0,0 0-36 15,0 0-9-15,13 3-16 0,-3-3-13 0,1 2-16 16,4-2-17-16,3-2-8 16,5 2-13-16,5-1-91 0,1-3-14 0,4 3 16 15,13-4-21-15,0 2 10 0,0-1-7 0,1 0 13 0,1 0-8 16,1 0-5-16,-3 0 2 15,0 0 10 1,-1-1-9-16,-8 5-11 0,-4-2-2 0,-2-2 22 0,0 3-10 0,0-1-7 0,-3-2-10 16,0 3 104-16,-5-3-33 0,0 3-15 15,-2-1 10-15,-3-1-10 0,-5 2-8 0,1 0-11 16,0 1-9-16,-4-2 20 0,0 0-28 0,-2 2-5 16,2-2 7-16,-5 2-17 0,-5 0-6 15,10 0-12-15,-8-1 5 0,-2 1-13 0,6-4-23 16,-6 4-21-16,0 0 8 0,0 0-38 0,0 0-26 15,0 0-28-15,0 0-28 16,0 0-39-16,0 0-27 0,-20 2-11 0,12 1-128 0,0-1-371 16,0 2 104-16,1-2 37 0</inkml:trace>
  <inkml:trace contextRef="#ctx0" brushRef="#br0" timeOffset="19460.57">2624 6056 673 0,'0'0'240'0,"0"0"-12"0,0 0-8 0,12-5-15 16,-1 0-3-16,2 3-35 0,8-2-9 16,1 0-22-16,7 0 0 0,12-3-19 0,2 1 9 15,1-1-16-15,4-1 54 0,1-1-13 0,0 3-16 16,-2-1-4-16,3 3 7 0,-1-3-35 16,0 1 9-1,0 0-9-15,-4 2-16 0,-1-2 2 0,-6 3-12 0,-4 1-13 0,-3-1 10 0,2 0-17 16,-5 2-4-16,-2 0-4 0,-2-2 2 15,-2 1-2-15,-2 1 2 0,-1-2-15 16,-4 3 2-16,1-1 8 0,-4 0 5 0,-2 1 16 16,0-3-8-16,0 1 2 15,-2 2-66-15,0 0 0 0,-3 0 0 0,-5 0 5 16,11 0 2-16,-11 0 1 0,10 0 23 0,-5-2-19 0,-5 2-17 16,5-3 0-16,-5 3-18 15,0 0-16-15,5-1-15 0,-5 1-2 0,0 0-29 16,2-2-12-16,-2 2 2 0,0 0-28 0,0 0-15 15,0 0-21-15,0 0-46 0,0 0-69 0,0 0 15 16,0 0-15-16,0 0 0 0,-2-6-140 0,2 6-219 16,0 0 1-16,3-4 63 0</inkml:trace>
  <inkml:trace contextRef="#ctx0" brushRef="#br0" timeOffset="22761.66">13446 4272 808 0,'0'0'318'0,"0"0"-24"16,2-3-12-16,-2 3-52 0,0 0-25 15,0 0-13-15,0 0-10 0,0 0-8 0,0 0-21 16,4 12-27-16,-4-5 2 0,2 1 56 0,-4 2-18 16,2-1-2-16,-4 2-38 0,0 1-19 15,1 0-22-15,-2 0-29 0,0 0-18 0,0 0-38 16,0-1-43-16,-1 1-42 0,1-1-73 0,0 0-75 16,0-3-72-16,2-1-463 0,-1 3 44 15,1-4 20-15,0 1 125 0</inkml:trace>
  <inkml:trace contextRef="#ctx0" brushRef="#br0" timeOffset="23022.87">13536 4328 847 0,'0'0'309'0,"0"0"-22"0,0 0 54 0,0 0-29 0,5 10-31 0,-5-5-25 0,-3 1-28 16,3 1-31-16,-2 1-20 0,2 0-23 16,0 2-3-16,-3-2-23 0,1 2-18 15,-1-2-28-15,1 3-3 0,-3-2-46 0,1 2-30 0,2-3-72 16,-5 2-67-16,4-2-51 16,-2 2-92-16,-2-4-179 0,4 2-341 0,-2-2 103 15,4 0 43-15,-4 1 57 0</inkml:trace>
  <inkml:trace contextRef="#ctx0" brushRef="#br0" timeOffset="23385.66">13315 4376 1044 0,'3'-4'348'0,"2"-1"-107"0,0 0-26 16,1-1-6-16,4 0 12 0,-2-1-27 0,2 1-27 16,0-1-6-16,2 2-13 0,-1-1-15 15,-1 0-7-15,2 2-11 0,-1-1 13 0,2 1-36 16,0 1 0-16,-3 2 77 0,1-1-31 0,-1 2-2 15,2 2 5-15,-2 2-29 0,1 0-1 16,-1 1-4-16,0 4-92 0,0-2 8 16,-2 0 6-16,0 1-47 0,2 2 2 0,-2-2-35 15,-3 3-13-15,3-3-23 0,-3 2-10 0,0 0 7 16,0 0-61 0,0 1-79-16,1-2-70 0,-2 2-43 0,2 0-450 0,-3-1 58 15,4 1 103-15,-4 0 46 0</inkml:trace>
  <inkml:trace contextRef="#ctx0" brushRef="#br0" timeOffset="49884.34">5922 5286 1162 0,'7'4'389'0,"-2"0"-34"15,-3 2-22-15,1 0-20 0,-3 0-40 0,-2 0-22 16,-1 2-13-16,-2 3-38 0,-3 1-23 16,-2 0 9-16,0 2-24 0,-3-4-9 15,3 4-7-15,-1-5-13 0,1 2-18 0,5-3-15 16,-3-2-5-16,1 1-8 0,4-1-26 0,-2 0 24 15,2-1-19-15,1 1 4 0,2-4-24 16,0 3 13-16,2 0-11 0,1 1 11 16,2 1-13-16,0-1 0 0,0 0 8 0,3 0 5 0,-3 0 2 15,3 1 16-15,-3-1-8 0,2 2 13 16,-4-2 5-16,2 2-2 0,-3-2 17 16,-1 3-18-1,2-2-2-15,-3 0 18 16,-4 0-20-16,-3 4 12 0,2-4-28 0,-3 4 23 0,-4-3-21 0,1 3-9 0,-1-3-6 0,-2 0-5 0,0 1-21 15,1-3-17-15,-1 0-16 0,2-3-38 16,1 2-25-16,1-1-21 0,0-2-39 16,0 1-17-16,2 0-44 0,3-3-26 0,-3 0-7 0,1 0-57 15,7 0-92-15,0 0-30 0,-9-1-144 16,9-3-371-16,0 4 85 0,0 0 104 0,8-8 70 16,-2 2 43-16</inkml:trace>
  <inkml:trace contextRef="#ctx0" brushRef="#br0" timeOffset="50263.08">6160 5358 1441 0,'0'0'425'0,"0"0"-44"0,0 0-15 0,0 0-26 0,-18 7-35 16,8-1-18-16,-4 3-24 0,-1 0-37 0,0 2 70 15,2 1-29-15,-2-3-29 0,2 2-5 0,2 0-21 16,1-1-38-16,5 0 0 15,-3-3-46-15,6 1 3 0,-1 0-6 0,3-3-28 0,0 0 6 16,3-1-6-16,2-2-20 0,3-2-11 16,2 0-2-16,0-1-2 0,1-1-13 0,1-3 7 15,1 0-13-15,0 2 16 0,-2-2-2 16,-1 0-4-16,0 1 14 0,-2 1-6 0,-1 1 14 0,0-1 24 16,-1 2-40-16,-1-2 0 0,-5 3 10 15,0 0 8-15,13 4 2 0,-10 0-76 16,-1 0-3-16,0 2-15 0,1 3 20 0,-3-2 7 15,0 4 1-15,0-3 8 0,0 4-26 16,-3 0-11-16,1 0-14 0,0-2-9 0,1 2-30 0,-1 0-28 16,2-1-52-16,-3-2-30 0,1 1-38 15,2-3-50-15,0 0-32 0,0 2-93 16,0-4-130 0,0 0-512-16,2-1 102 0,1-2 75 0,-1 1 107 0,-2-3 77 0,5 2 66 15</inkml:trace>
  <inkml:trace contextRef="#ctx0" brushRef="#br0" timeOffset="50887.95">6424 5464 1589 0,'-3'-5'458'0,"3"5"-38"0,0 0-33 0,0 0-55 16,0 0 6-16,0-3-64 0,0 3-13 0,0 0-18 16,0 0-12-16,0 0-14 15,0 0-17-15,0 0-8 0,0 0-13 0,-3-5-5 0,3 5-43 16,0 0-11-16,0 0-7 0,0 0 15 0,0 0-23 16,0 0-21-16,0 0-12 15,0 0-1-15,0 0-7 0,0 0-12 0,0 0 17 16,0 0-18-16,0 0 5 0,0 0 0 0,0 0-15 15,0 0 6-15,0 0-17 0,0 0-4 0,0 0-8 16,0 0 0-16,0 0 7 0,0 0-17 16,6-1 18-16,-6 1-6 0,0 0-5 0,0 0 11 15,0 0-8-15,0 0 7 0,0 0 1 0,5-4 12 16,-5 4-14-16,0 0 19 0,0 0-7 0,0 0 18 16,0 0 12-16,0 0-45 0,0 0 20 15,0 0 7-15,0 0-17 0,7 0 5 16,-7 0-13-16,0 0 84 0,0 0-30 0,0 0 23 15,0 0 7-15,0 0-37 0,0 0-19 16,0 0 5-16,0 0-28 0,0 0-25 0,0 0-1 16,0 0 3-16,0 0-43 0,0 0-41 0,0 0-31 15,0 0-72-15,0 0-33 0,0 0-23 0,0 0-72 16,0 0-64-16,0 0-140 0,0 0-571 16,0 0 71-16,0 0 105 0,0 0 134 0,0 0 40 15,11 3 49-15,-11-3 97 0</inkml:trace>
  <inkml:trace contextRef="#ctx0" brushRef="#br0" timeOffset="51601.36">6575 5346 1387 0,'0'0'427'16,"-2"-3"-125"-16,2 3-20 0,0 0-24 0,0-5-30 16,0 5-28-16,0 0-13 0,0 0-23 15,4-4-6-15,-4 4-9 0,6-1-14 0,-6 1-22 16,10 0-8-16,-7-2 3 0,4 2-19 15,-7 0-10-15,10 0 1 0,-2 0-11 0,-3 0-8 16,-5 0-4-16,10 0-6 0,-10 0 5 16,8 2 18-16,-3 1-7 0,0 0-3 0,-2 2 23 15,-1-2-5-15,1 5 0 0,-2-1 5 0,1 2-31 16,-2 0 85-16,0 0-31 0,0 2 8 16,-2 2-11-16,1-1-4 15,-2 1-11-15,3 1-3 0,-2 1-7 0,-1-1-23 0,1-1-26 0,-1 0-17 16,0 0-50-16,1 0-24 0,0-1-35 15,2 1-24-15,-3-5-60 0,1 1-46 0,1-1-137 16,1-1-109-16,0-2-491 0,0 0 52 0,0 0 106 16,0-2 75-16,0-3 77 0,0 0 64 15</inkml:trace>
  <inkml:trace contextRef="#ctx0" brushRef="#br0" timeOffset="51787.73">6475 5531 1187 0,'0'0'353'0,"0"-5"-27"0,0 5-24 15,8-1-29-15,-4-3-19 0,4 3-19 16,0-1-32-16,0-1-19 0,2 0-20 0,3 0-31 16,-1 1-44-16,4-3-17 0,-1 3-69 0,1-2-57 15,4 1-72-15,-4-2-109 0,2 0-75 0,2 0-450 16,-2 1 15-16,0-2 92 15,0 1 75-15</inkml:trace>
  <inkml:trace contextRef="#ctx0" brushRef="#br0" timeOffset="52047.57">6859 5381 1126 0,'-7'-1'317'0,"7"1"36"0,0 0-33 15,-8 3-18-15,6 1-10 0,2-4-31 0,0 7-23 16,2-1-10-16,-2 0-15 0,2 1-83 15,4-1-2-15,-1 2 5 0,0 2-10 0,0-1 3 16,0 0-1-16,0 0-7 0,1 1 20 16,-2-3-10-16,-1 1-21 0,2-1 11 15,-4 3-13-15,-1-4-8 0,-1 3-7 0,-1 0-18 0,-3 0 10 16,0 2-16-16,-1-3-35 0,-4 2-29 16,0-1-12-16,-1 1-67 0,-4 2-38 0,2-5-31 15,-2 1-66-15,2 2-62 16,-2-3-123-16,2 0-148 0,-3-1-343 0,-1 2 104 0,2-2 40 15,-1-1 78-15,3 1 75 0</inkml:trace>
  <inkml:trace contextRef="#ctx0" brushRef="#br0" timeOffset="52403.28">5785 5835 870 0,'10'-1'350'0,"6"-1"-24"0,7 1-30 0,8-3-22 16,12-2-15-16,6 2-21 0,2-2-38 16,4 0-21-16,14-3-5 15,-3 2-44-15,-10 1-14 0,-2-2-27 0,0 3-15 0,-5-2-45 0,2 0-42 16,-5 2-10-16,-5-1-77 0,-5 1-87 16,-8 2-89-16,-5 0-193 0,-4 1-294 15,-2 2 100-15,-4-2 23 0</inkml:trace>
  <inkml:trace contextRef="#ctx0" brushRef="#br0" timeOffset="52663.41">5801 5958 888 0,'10'0'368'0,"0"4"-53"16,5-4-26-16,6 2-20 0,2 1-28 15,8-3-13-15,2-2-34 0,11-1 11 16,4-1-41-16,3-2 5 0,-1 2-26 0,0-1-38 0,0-2-8 16,-2 1-2-16,-4 0-26 0,2-3-18 0,-5 3-17 15,-8 0-1-15,-5 2-36 0,0-1-4 16,-1 1-9-16,-5 0-22 0,-4 0-11 16,-2 2-17-16,-1-2-4 0,-2 1-29 0,-3 1-52 0,0 0-72 15,-2-3-25-15,-3 3 4 0,0-1-482 16,0 0 34-16,-2 1 50 0,-2-1 69 15</inkml:trace>
  <inkml:trace contextRef="#ctx0" brushRef="#br0" timeOffset="65085.7">13395 3006 1180 0,'0'0'366'0,"2"-4"2"0,-2 4-43 0,0-5-33 0,0 5-21 0,0 0-33 16,0 0-15-16,0 0-28 0,0 0-16 16,6 10-8-16,-6-3-30 0,0 2 0 15,2 2-23-15,-4 2 79 0,2 1-21 16,0 0-40-16,0 1-34 0,-3-1-17 0,3 1-47 0,-3 0-22 15,-1-2-39-15,3 3-29 0,-1-4-1 16,-3 1-68-16,2 0-53 0,0 0-138 0,1-2-604 16,-1-2 97-16,1 1 58 0,-1-7 109 15,3 2 63-15</inkml:trace>
  <inkml:trace contextRef="#ctx0" brushRef="#br0" timeOffset="65327.62">13475 2952 1028 0,'0'-6'410'0,"-1"1"-26"0,1 2-38 0,0 3-47 0,0-6-23 0,0 6-30 15,0 0-13-15,0 0-15 0,0 0-21 16,0 0 2-16,0 21-42 0,0-12-9 0,0 4-28 16,0 1 19-16,-2 0 42 15,-1 4-30-15,3 1-33 0,-3 0-39 0,1 0-32 0,0-1-24 16,-1 1-44-16,0-1-20 0,1-1-25 15,-1-1-78-15,-2 2-91 0,0-5-111 0,2 1-376 16,1-3-112-16,-1 2 74 0,1-2 81 16,-1-3 103-16,1 0 44 0</inkml:trace>
  <inkml:trace contextRef="#ctx0" brushRef="#br0" timeOffset="65687.48">13310 3126 1405 0,'0'0'371'16,"0"0"-18"-16,0 0-33 0,0 0-84 0,0 0-26 16,-3 14-26-16,3-7-25 0,1 3 79 0,-1-1-29 15,2 2-19-15,-2 0-29 0,3 0 11 16,-1-1-29-16,1 1-7 0,4-2 10 0,-1 1-6 15,-1-3-4-15,3-3-16 0,2 1 21 0,2-3-26 16,1-2-12-16,1 0-80 16,6-5 13-16,-2-1-34 0,3-1 21 0,1-3-2 0,-1 0-11 15,-1-3-2-15,-2 1-21 0,3-2-23 16,-3-1-26-16,-3 0-12 0,-2-1-20 0,4 2-17 16,-6 2-14-16,2 0-18 0,-2 0-39 15,-1 0-54 1,0 4-124-16,-5 0-19 0,5-1-492 0,-2 2 91 0,-3 2 55 0,2 0 119 15,-1 1 30-15</inkml:trace>
  <inkml:trace contextRef="#ctx0" brushRef="#br0" timeOffset="79009.52">5336 11174 1116 0,'-4'0'414'0,"4"0"-27"16,0 0-26-16,0 0-31 0,20-5-8 15,0 5-38-15,6-1-25 0,18-5 5 0,9 4-42 0,17-3-106 16,7 0 4-16,5-1-23 0,-1-1-5 15,5 0-5-15,-2-1-7 0,3 1-24 0,-5 2-7 16,-4 1-29-16,1-1-7 0,-7-2-31 16,-1 1-8-16,-2 0-33 0,-15 3-28 15,0-2-10-15,-5 0-46 0,-1 1-39 0,-4 0-41 16,-9 2-107-16,-8-1-26 0,-5 2-437 0,-6 0 48 16,-5 0 118-16,-4-1 25 0</inkml:trace>
  <inkml:trace contextRef="#ctx0" brushRef="#br0" timeOffset="79314.05">5208 11378 921 0,'-5'2'335'0,"3"0"-12"16,2-2-3-16,0 0-5 0,21 2-36 0,-1-2-5 15,10-2-24-15,19 0-17 0,5-3-94 0,20 0-11 16,11 0 58-16,5-4-6 0,7-1-37 16,0 0-13-16,21-3 11 0,-25 2-26 15,-1-2-33-15,-5 2 13 16,-7 2-5-16,-3-1-24 0,-6 2-20 0,-14 1 8 0,-6 1-13 0,-7 2-49 16,-8 1-7-1,-6 0-16-15,-7 2-20 0,1 0-13 0,-7 0 0 0,-1 0-33 0,-4 1-24 0,-1 0-9 16,-1 1-39-16,0-1-54 0,-2 2-53 15,-5-2-126-15,4 1-412 0,-5 2 97 0,2 0 36 16,-2-1 118-16</inkml:trace>
  <inkml:trace contextRef="#ctx0" brushRef="#br0" timeOffset="83862.73">14210 11135 775 0,'18'-4'266'0,"-8"4"-28"0,8 0-15 16,5 0-21-16,11-1-12 0,15 0-24 0,4 0-15 16,6-2 5-16,3 1 3 0,12-2-31 15,3 2-8-15,5 0-17 0,0-1-11 0,3 1-3 16,-1 1-2-16,3-1-15 0,-1 1 7 15,0-2-22-15,1 1-6 0,1 2-13 0,-1-2 6 16,-1 2 4-16,0-2-9 0,-2-1-19 16,-5 5 1-16,-1-2 7 0,-4 0 79 0,-13 1-20 0,1-4-12 15,0 5 17-15,-3-4-44 0,-3 2 11 0,-2 0 10 16,-5 0-25-16,-8-1-6 0,-10 1 6 16,1-2-8-1,-6 2 0-15,-3-3-3 0,-4 3-15 0,-2-1 2 0,1 1-7 0,-2-2 8 16,-2-1 2-16,0 0-18 0,-4-2 15 15,1 0 3-15,-1-1-13 0,-3 2 8 0,-2-5 16 16,0 0-11-16,1-1-13 0,-1-3 3 0,0 0-8 16,0-1 5-16,-2-2-2 0,4-3-3 15,-2-7-8-15,3-7 34 0,2-2-21 16,1-2-17-16,-1 0 19 0,2-1-17 0,-1 0 10 0,2-2 8 16,-3 0-10-16,1-1-14 0,-1-1 29 15,2 2-18-15,-1 0 6 0,-1 2 4 16,-2 1-8-16,2 2-2 0,-5 6 18 0,0 5-10 15,-2 5-6-15,-1 0 16 0,1 0-12 0,-1 5 4 0,1-3 15 16,-3 3-12-16,0 1-3 16,2 0 3-16,-2 4-8 0,0-3 8 0,-2 5 2 15,2-1-2-15,-1 1-5 0,0 1 25 0,-2 0-25 16,0 1-3-16,0-1 13 0,-2 1-5 16,0-1-6-16,0 4 9 0,0-3-6 15,-3 4-10-15,0-2 3 0,-2 1 2 0,0 2-3 0,-3-3-2 16,-2 3 10-16,-3-4-10 0,-5 4 6 15,-3 0-1-15,-7-1 0 0,-3 0-5 16,-13 0-16-16,-2-2 16 0,-2 3-7 0,-2-2-3 16,-4 1-3-16,-2 0-5 0,-11-1 8 0,-2 1 2 15,-3-3-7-15,0 2 9 0,-3 2 9 16,1 0-6-16,-1 0 3 0,1-1 6 0,2 2-4 16,0-1-15-16,0 0 24 0,3 0-17 0,13 2 1 15,-1-2 8 1,3 2-13-16,0 0 5 0,5-3 5 0,0 0-8 0,3 1 0 15,4-4 11-15,-1 4-3 0,7 0-3 0,6 0 8 0,-12-2-2 16,8 1-8-16,6-1 12 0,2 1 1 16,-2 1-21-16,2-2 21 0,3 0 0 15,2 1-8-15,1-1 10 0,2 2-20 0,0 0 33 16,0-1-5-16,-1 1-18 0,2 0 5 16,3 1-3-16,1-1 3 0,-2 0 13 0,2 0-23 15,1 1 5 1,1 0-2-16,-2-1 2 0,3 1 10 0,-1 1-8 0,3-2-7 0,-2 2 5 0,2-2 18 15,0 1-20-15,1 1 20 0,2-1 2 16,-4 0-12-16,4 0-16 0,0 1 23 0,-1 0-22 16,1 0-6-16,0-1 10 0,0-1 1 0,-1 0-6 15,3 3 16-15,-2-2-16 16,0 1 6-16,3-2 9 0,-3 0-7 0,4 3 3 0,-2-2-1 16,1 0 21-16,-1 0-30 0,1-1 20 0,-1 1-21 15,3 2-2-15,5-3 15 0,-13 0-5 16,8 0 18-16,5 0-13 15,-10 1 5-15,4 1 3 0,6-2 2 0,-10 0-2 0,7 2-13 16,-4-1 5-16,7-1-7 0,-8 1 37 16,8-1-35-16,-10 1 6 0,5-1 4 0,-1 1-26 15,6-1 1-15,-10 0 28 0,10 0-18 0,-7 0 10 16,7 0 10-16,-8 3-10 0,8-3-5 16,-8 1 5-16,8-1 3 0,-8 1-3 0,4-1-15 15,4 0 15-15,-8 2-10 0,5 0 0 0,3-2 10 16,-8 2-10-16,4 0 2 0,4-2-7 0,-8 2 15 15,8-2-7-15,-6 1-3 16,6-1 5-16,-4 2-8 0,4-2 13 0,-6 0 5 16,6 0-2-16,0 0-13 0,-5 4 7 0,5-4 3 0,-5 2-2 15,5-2 12 1,0 0-25-16,-5 2 5 16,2 1 15-16,3-3-15 0,-2 4 28 0,-1 0-20 0,1 1-1 0,-1 2 3 0,1 0 11 15,1 3-14-15,-3 2 6 0,1 1 41 16,-2 3-31-16,3 5 2 0,-4 1 6 15,1 7 15-15,-3 8-21 0,1 1 6 0,-1 2 4 16,0 1-12-16,3 4 13 0,0 2-18 0,-2 0 38 0,-1 1-5 16,2-2-25-16,1 1-9 15,-3-3 9-15,1 0-8 0,2-3 2 0,-1-2-15 0,1-1 18 16,0-7 2-16,3-4-15 0,-1-1 13 0,1-4-15 16,-1 0 7-1,3-3-2-15,-2-1-3 0,1-2 23 0,-1-1-15 0,0-1 15 0,-1-3-13 16,3-2-15-16,-1 1 21 15,-1-3-1-15,2 3-17 0,0-3 51 0,0-2-36 16,-2-2 10-16,2 3 8 0,0-2-11 0,-3-1-4 16,3-3-6-16,0 6 8 0,0-2-38 0,0-4 20 15,0 0 3-15,0 0 9 0,0 3 9 16,0-3-18 0,0 0-11-16,0 0 11 0,0 0-8 0,0 0-13 0,8 0 18 0,-8 0-15 0,15-7 18 15,-2 5 2-15,5-2 8 0,8-2 5 16,7 2-28-16,11-2 10 0,7 0-5 0,0 0-28 15,6 0 7-15,14 0-35 0,1 1-13 16,0 2-31-16,-3 0 0 0,-10-1-30 16,-3 3-24-16,-4 1-33 0,-4 0-138 0,-17 0-202 15,2 0-441-15,-2 3 98 0,-7-2 107 0,-2 0 64 16,-4 0 44-16,-2 1 61 0</inkml:trace>
  <inkml:trace contextRef="#ctx0" brushRef="#br0" timeOffset="149200.41">3260 4277 829 0,'0'0'310'0,"-6"0"-24"0,6 0-25 0,0 0-28 15,0 0-36-15,0 0-15 16,0 0-18-16,0 0-16 0,0 0-12 0,0 0-16 0,29 4-15 16,-18-4 8-16,6 0-23 15,1 0-14-15,5 0-9 0,2 0-13 0,1 0-29 0,3 0-22 16,1 0-13-16,3 2-34 0,1-4-23 15,0 4-37-15,-1-1-78 0,3 2-49 0,-1-3-45 16,-1 1-446-16,-1 0 62 0,3 0 48 16</inkml:trace>
  <inkml:trace contextRef="#ctx0" brushRef="#br0" timeOffset="149445.37">4201 4344 614 0,'10'0'243'0,"0"0"51"0,3 0-30 0,2 0-31 15,6-1-21-15,2-1-17 0,6 0-13 16,-2 2-62-16,4 0-38 0,5 0-57 15,-3 0-83-15,3 0-73 0,-5 2-156 0,5-2-393 16,-2 3 63-16,1-3 53 0</inkml:trace>
  <inkml:trace contextRef="#ctx0" brushRef="#br0" timeOffset="149625.69">5139 4379 826 0,'6'-2'315'0,"3"1"-28"0,2 0-34 0,-1 0-12 16,2-1-34-16,4-1-12 0,-1 3-11 15,3 0-23-15,6-2-40 0,-1 0-32 16,0 2-25-16,3 0-61 0,-1-1-83 0,1 1-76 16,-1 1-95-16,-1-1-463 0,1 1 51 0,-2 2 64 15</inkml:trace>
  <inkml:trace contextRef="#ctx0" brushRef="#br0" timeOffset="149825.6">6146 4365 1041 0,'11'0'343'0,"-1"-1"-36"0,-2 0-84 0,2 0-23 15,0 1-13-15,0-3-11 0,1 2-40 16,1 1 0-16,4-2-29 0,-1 2-17 0,1 0-14 0,2-3-42 15,0 3-39-15,-1 0-18 0,1 0-34 16,-1 3-45-16,0-3-98 0,-2 2-115 16,6 0-386-16,-5 1 46 0,1-3 76 0</inkml:trace>
  <inkml:trace contextRef="#ctx0" brushRef="#br0" timeOffset="149995.34">6921 4363 509 0,'18'-4'192'0,"-3"1"66"0,1 3-27 0,-1-4-34 16,-2 2-13-16,2 2-17 0,0-3-27 16,1 1-27-16,-3 1-72 0,2 0-41 15,0-2-49-15,-1 2-48 0,-4 0-69 0,3 1-479 16,-3 0 38-16</inkml:trace>
  <inkml:trace contextRef="#ctx0" brushRef="#br0" timeOffset="150113.67">7618 4347 501 0,'24'0'274'16,"-2"-1"-18"-16,-1 0-28 15,2 1-28-15,0 0-21 0,3-1-8 0,4 1-61 0,1-1-76 0,3-1-114 16,-3 2-55-16,4 0-549 0,1 2 85 16</inkml:trace>
  <inkml:trace contextRef="#ctx0" brushRef="#br0" timeOffset="150269.9">9526 4418 330 0,'26'1'-77'0</inkml:trace>
  <inkml:trace contextRef="#ctx0" brushRef="#br0" timeOffset="150430.09">10664 4519 217 0,'18'2'21'0,"-5"-2"-98"0</inkml:trace>
  <inkml:trace contextRef="#ctx0" brushRef="#br0" timeOffset="150589.76">10900 4529 867 0,'8'-2'215'0,"-8"2"-25"16,5-1-16-16,-5 1-23 0,0 0-16 15,10-1-25-15,-10 1-35 0,3-3-75 0,2 2-41 16,-5 1-128-16,10-6 0 0,-5 5-466 16,1 0 36-16</inkml:trace>
  <inkml:trace contextRef="#ctx0" brushRef="#br0" timeOffset="155025.96">11315 4522 880 0,'16'3'305'0,"-3"-2"-62"15,2 0-18-15,-2-1-30 0,0 0-29 0,-1 2 0 16,-1-2-35-16,2-2-16 0,0 2-10 16,1-1-23-16,0 1-18 0,-1-1 61 0,2 0-35 15,-2-2-26-15,0 1-33 0,2 2-36 0,0-3-26 16,1 0-54-16,-1 2-27 16,1-3-24-16,-2 2-23 0,0-1-12 0,1 1 15 0,-2 1-54 15,0-2-79-15,-1 2-98 0,1-1 34 16,0 2 66-16,-3-3 49 0,1 2 79 0,1 0 52 15,-3 1 51 1,1-1 22-16,-3 0 32 0,3-2-3 0,-2 3 25 0,0-2 8 0,0 1 49 16,-1-2-16-16,1 3 9 0,2-3 37 0,-2 3 6 15,-3-4 28-15,5 3 4 0,-3 0 1 16,-1-3 3-16,2 1 4 0,-3 0 14 0,3 1-19 16,-1-1 3-16,1-1 5 0,-1 1-33 0,-1 0-2 15,1 1-27-15,1-2 4 16,0 0-1-16,-1 1-20 0,1-1-6 0,-1 2-2 15,1-3 3 1,0 1-11-16,0 2-20 0,-1-3 13 0,-1 3-18 0,2-2 2 0,-1 1-2 0,0-1-8 16,-1 2 6-16,2-2-6 15,-1 0-5-15,-1 1 2 0,1-3-2 0,1 4-15 0,-1-2 10 0,1 0 8 16,0 0-24-16,-3-1 6 0,3 0 7 16,0 2-15-16,-1-3 13 0,1 2-5 15,0-2-8-15,1 3-5 0,-1-2 0 16,0 0 2-16,0 2 8 0,2-3-10 0,-3 2-8 0,1-2 8 15,0 1-5-15,0 0 0 0,-1 0 12 16,1-1-7 0,-3-3-8-16,3 2 18 0,0 0 0 0,-3-1-12 0,2 1 7 0,-1-2-3 15,2 0-7-15,-1-1 7 0,1 1 1 0,-1-6-11 16,1 2-2-16,0 0-6 0,-1-1 8 0,-1 0 11 16,1-1-11-16,4-1-5 15,-4 0-7-15,1 1 9 0,-3-1 8 0,2 1 6 0,1 0-1 16,-2 1-4-16,-2-1 7 0,-1 2 2 15,2 1 24-15,-4-1-18 0,1-2 4 0,0 2 1 16,-2 0 2-16,3-1 70 0,-6 1 5 0,3 0-19 16,0 1 9-1,-2-1-11-15,0-2-8 0,1 5-7 0,-1-3 0 0,2 1-8 0,-5 0 13 16,4 0-13 0,-1 1 10-16,0 3-23 0,2-2 3 0,-3 0-5 0,0 0-11 0,1 2 11 0,0-2 12 15,-2 3-7-15,2-1-18 16,0-1 21-16,-4 1-24 0,4 0 0 0,-3 2 6 0,0-1-1 15,2-4 6-15,-2 4-8 0,0 0-5 16,-1 0 2-16,2 1-12 0,-2-2 22 16,2 1-12-16,-2 1-3 0,1-3 11 0,-2 2-14 15,-1-1 9-15,3 0-9 0,-3-1 6 0,0 1-3 16,-2 0 1-16,2 0-4 0,1 1 6 0,-4-2-8 16,1 1-2-16,-3 0-6 15,-2 1 8-15,-1-2 0 0,1 1 3 0,0 1-10 0,-3 1 7 16,3-1-10-16,-4 1 15 0,1 0-5 15,0-1 0-15,1 2-13 0,-1-1 21 0,-3 0-3 16,3 1-15-16,0 1 0 0,-2-1 8 16,1 0-8-1,2-1 2-15,-4 1-7 0,1 3 15 0,-1-4-5 16,0 2 3-16,-1-1-1 0,-1 2-7 0,2-1 18 0,-2 0-21 0,0 0 0 16,2 1 11-16,-1 0-6 0,-2-1-12 0,1 0 12 15,0 1-9-15,-2 1 14 0,2 1-20 0,-3-3 3 16,-3 1 2-1,4 1-2-15,-3 0 12 0,-3 1-10 0,3-2 3 0,-1 1-10 0,-1 0 15 16,-1 2-8-16,0-3 3 0,0 3 2 0,1-1-7 16,-3 1 4-16,2-1-4 0,-3 1 15 0,-1 0-5 15,4 0 2-15,-5-1 3 16,3 2-2-16,-4-2 4 0,-11 1-2 0,9 0 0 0,4 0 16 16,1 0-16-16,-2-3-3 0,0 6 6 15,1-3 2-15,-14-3-5 0,10 3 2 0,3 0 3 16,1 0-12-16,-1 0 2 0,2 0 10 15,-2 0-10-15,1-1 0 0,-12-1 2 0,7 2 0 16,-7-1 19-16,9 1-14 0,2-2 1 0,-11 1-3 16,7 0 2-16,6 0 4 0,-2 1-4 15,1-1-7-15,-1-1 8 0,2 1-9 0,1 1 9 16,-13-2 0-16,7 2-9 0,3-1 1 16,-10-2 8-16,6 3-8 0,-9 0 10 0,2-2 15 15,-2 1-12-15,1 0-3 0,7 1 3 16,-3-3-3-16,-4 2-5 0,9 1-13 0,4-1 23 15,-1 1-7-15,-11-2-11 0,9 0 6 0,-11 1 7 16,3-1 5-16,0 2 16 0,5-2-31 16,-8 1 5-16,3-2-6 0,-3 3 9 0,0-1-6 15,1-1 9-15,9 1-9 0,3 1 0 16,-12 0 1-16,1-1 4 0,9 0 1 0,-10-1-6 0,1 0 16 16,7 0-15-16,-9 2 12 0,0-3-10 15,0 3-3-15,-2-1-2 16,-1-1 15-16,1 2-7 0,0 0 5 0,2 0-8 0,-2 0-5 0,2-3 2 15,-2 1 6-15,0 2 9 0,0 2-22 16,-4-2 13-16,2 0 9 0,-4-2 4 0,1 2-16 16,0 0-5-16,-1 0 7 15,1 0-4-15,-1 0 4 0,0 0-2 0,4 0 3 0,-3 0 12 16,4 0 11-16,-4-1-26 0,2 1 0 16,1 1 7-16,1-1-1 0,-4-1 1 0,2 0 11 15,0-1-10-15,-2 4 0 16,1-2 4-16,2-2-9 0,-3 2-6 0,2-1 14 0,-1 0 4 15,0 1-15-15,0-1 10 0,0 0 8 0,0 1-10 16,4 0-6-16,0-3 1 0,2 3-3 0,8 0-8 16,-5-2 8-16,5 2 0 0,-5-1 8 15,5 1 5-15,-8 0-18 0,1 0 5 0,-1 0 23 16,0 0-28-16,0 0 10 0,0 0-8 0,1 0 6 16,1 1-8-16,-3 1-8 0,11-2 18 15,3 0-8-15,2 3 3 0,-1-3 8 16,-1 2-8-16,0-2 0 0,2 1-3 0,-1 0 11 15,2 1-13-15,-1-1 15 0,1 0-20 16,0 1 5-16,0-4 5 0,1 4-8 0,2-1 11 0,-4 1-11 16,3-2 21-16,-2 1-23 0,2 0 7 15,3-1 11-15,-3 0-8 0,1 3-8 16,6-3 23-16,-1 0-12 0,2 1-6 0,5 1 11 16,-2-2-16-16,2 0 6 0,2 0-3 0,-2 0 2 15,3 0 6-15,-1 0 2 0,1 0 0 0,-1 0-8 16,1 0 3-16,-3-2 13 0,3 2-13 0,-3-1-7 15,-2 1 32-15,-1 0-27 16,-3-2-9-16,0 1 19 0,0 1-5 0,0 0-3 16,2 0-6-16,-1-1 9 0,-1 1-6 0,1-1 3 15,3 1 8-15,-3-2-13 0,3 2-3 0,2 0-58 16,-3-1 4-16,3-1 6 0,-2 2 5 16,2 0-3-16,0 0 8 0,0 0 5 15,2 2 23-15,-1-1-20 0,2-1 15 0,-1 2 0 0,3-2 0 16,-3 1 0-16,4-1 2 15,1 1 8-15,-1-1-2 0,1 3 15 0,1-2-21 16,-3 1 9-16,3-2-4 0,-1 0 4 0,1 2 4 16,0 0-2-16,0-1 2 0,-1 0 3 0,-1 0 2 15,2 2 1-15,-1-2-11 0,1 1 18 0,-2 1 0 16,-2-2-18-16,1 1 8 0,3 0-2 16,-2 0 7-16,-1 0 15 0,2 1-25 15,1-2 2-15,-1 1 0 0,1-1 3 0,0 2-3 0,0-1 8 16,0-1-5-16,0 2 8 0,2-1 12 15,-2 0-20-15,2 1 15 0,0-2-4 0,-2 1-12 16,2 1 1-16,0-1-2 0,1-1 25 0,0 2-6 16,-1-2-22-16,3 0 13 0,-3 2-14 15,1 0-4-15,-1-2 5 0,2 2 7 0,-1 0 3 16,-1-1-2-16,0 1 12 0,3-1-13 16,-3 1 11-16,0 0-13 0,1 1 5 0,-3 0 0 0,3-1 0 15,-1 1 10-15,2-2-20 16,-1 3 12-16,-1-2 9 0,0 0-11 0,3 0 2 15,-3 1-2-15,1-2 0 0,2 2-7 0,-1-2 7 16,-1 2-3-16,2 0 3 0,-1 1-5 0,-1-2 15 16,2 0-15-16,0 2-8 0,-1-1 13 15,1 0-7-15,-2 0 1 0,4 2-1 0,-2 0-6 16,0-2 8-16,2 1 0 0,-2 1 2 0,2 1 13 16,-2-2-7-16,0 1 7 15,1 1-5-15,1-1-5 0,-3 1 13 0,4 0-13 16,-4 0 3-16,4 0 17 0,-3 0-15 0,2-3 3 15,-1 5 12-15,1-3-14 0,-2 1 6 0,2 1-12 16,-2-2 16-16,2 3-3 0,-2-1-3 16,1-1 3-16,1 2 4 0,-2-1-9 0,2 1 13 15,0 0-19-15,1-1 6 0,-1 3 2 0,-1-4-7 16,0 2 7-16,2 2 0 16,-1-3-10-16,1 2 13 0,-1-2-5 0,0 3-3 0,1-3-13 15,0 1 3-15,-1 0 10 0,3 1 3 0,-3 0-3 16,3 0 0-16,-2-1 15 0,0 3 6 15,-1-2-21-15,2 2 26 0,1-3-6 16,-2 2-19-16,2 1 4 0,0-1-10 0,0 2 5 0,0 0 15 16,0 0-4-16,0 1-14 0,0 0 16 15,0 1-23-15,0-2 10 0,0 1 11 16,2 0-4-16,-4 1-12 0,4-2 11 0,-2 0-11 16,0 0-3-16,1 1 6 0,2-1-6 15,-1 0 8-15,-2 0-12 0,2-2 4 0,-1 0-2 0,1 1 2 16,1-2 19-16,-1 1-14 15,-1-1-7-15,1 3 8 0,0-5-8 0,1 2 10 16,-1-1-5-16,1 1-3 0,-1-1 3 0,1 2-5 0,0-3 8 16,-1 2-1-16,1-4-10 0,0 2 11 15,1 0-11-15,-1 1-5 0,0-2 13 0,1 1-7 16,-1 1-9-16,2-2 9 0,-2-1-3 0,0 1 10 16,1-2-23-16,-1 2 10 0,0-1 10 15,2-3-10-15,0 2 8 16,0 0 0-16,1 0-3 0,-2-1 6 0,4 0-1 0,-3 1-4 15,3-3 2-15,-2 2-1 0,1-1 4 16,-2 1 4-16,3-2-9 16,-1 2 17-16,1-2-18 0,-1 3 21 0,1-3-15 0,0 1-9 0,0 0 22 15,2 0-19-15,-2-2 10 16,2 1 1-16,0 2 2 0,0-4-10 0,0 1 2 0,1 1 3 0,2 0-2 16,0-1 4-16,-1 0 4 0,1-1-9 15,3 0 3-15,-1-1 0 0,0 1-13 16,1 0 16-16,1-3-6 0,-3 3 1 0,1-2-4 0,0 1 1 15,-2 1 5-15,0 0-7 0,0-3 9 16,0 3 8-16,-3-1-7 0,1 0-6 16,1 0-4-16,-2 0 2 0,1-2 2 0,-2 3 8 15,0-2-5-15,1 1 16 16,0 0-24-16,-2-1 23 0,0 0-20 0,-2 1-3 0,2-3 3 16,0 2-2-16,0 2 19 0,-1-4-12 15,1 2 6-15,0 2-12 0,-3-3-1 0,3 1 22 0,0 1-15 16,0-2-2-16,2 1 4 15,0 0-7-15,0-1 8 0,0 2-14 0,3-1 11 0,0-1 0 16,2 0 5-16,-2 0-7 0,3 1-6 16,-1 1 1-16,3-3 27 0,-2 4-23 0,1-2 3 15,1 1-2-15,0-2 10 0,0 3-6 0,-3-2-4 16,3 1 4-16,0 1 3 16,0 0-7-16,0 0 4 0,3 0 16 0,-4-3-18 0,1 6 5 15,0-3-7-15,1 0-3 0,-1 0 2 0,-1 0 1 16,1 0-9-16,-2 0-2 0,2 0 24 15,-1 0-24-15,-1 0 8 16,2 0 7-16,-3 0-14 0,1 0-1 0,-4 0 8 0,1 0-11 0,3 1 11 16,-4 1 3-16,1-2-6 0,-2 0 0 0,2 0 11 15,-3 0-3-15,0 2-5 0,0-2 2 16,-2 1-5-16,0-1 6 0,1 1-3 0,-1 0-3 16,0-1 16-16,-3 1-11 0,-5-1-4 15,10 0 4-15,-4 0 0 0,-1 3 3 16,-5-3 0-16,10 1-7 0,-10-1 4 0,8 0 8 15,-8 0-12-15,8 0 4 0,-3 1 0 0,-5-1 9 16,7 0-17-16,-7 0 6 16,8 1 13-16,-8-1-18 0,8 1 12 15,-3-1 1-15,-5 0-3 0,13 2-3 0,-6-1-2 0,1-1 0 16,5 0 5-16,-5 1 8 0,4-1-13 0,1 0-1 0,0 1 17 16,3-1-4-16,-1 0-7 0,1 1 5 15,1-1-17-15,1 2 19 0,2-1 1 16,-2-1-8-16,5 1 0 0,-2 0-8 0,2-1 11 15,1 1 10-15,1 2-24 0,0-3 17 0,2 0-9 16,5 2 3-16,2-1 0 0,-1 0-8 0,1-2 6 16,14 2-1-16,-9 1-2 0,-4-1 15 15,4-1-12-15,7 0 7 0,-5 0-10 0,-5 0 2 16,0-1 11-16,0 1-6 0,-1-2 4 0,0 4-6 16,-2-1 2-16,3-1 14 0,-1 0-27 15,1 1 16-15,8 1-7 0,-3-2 15 16,-5 1-18-16,-1 1 2 0,2-4 0 0,11 2 14 15,1 2-14-15,-10-2 8 0,-4 0-15 0,1 0 18 0,0 0-13 16,0 2 5-16,13-2-3 0,-4 1 0 16,-6-1 3-16,8 2 3 0,-9-1-8 0,-5-1 0 15,0 0 7-15,1 0-12 0,-1 1-5 16,3 0 30-16,-3 1-15 0,1-2-5 0,4 2 20 16,-2-2-7-16,-2 0 2 0,12 1-10 15,-8-1 0-15,-2 0-7 0,0 0 9 0,10-1 11 16,3 2-21-16,-9-1-10 15,9-1 18-15,0-1 0 0,-2 2 5 0,-6 0-7 0,7 0 15 16,-7-2-3-16,-6 2-5 0,2 0-2 16,-1 0-9-16,-1 0 9 0,-1 0-3 0,2 0 3 0,0 0-1 15,-1 0-2-15,-1 0-8 0,2 2 11 0,2-2-11 16,11 0-2 0,-3 3 18-16,-5-3-6 0,8 0-2 0,-8 0 0 0,7-1 18 15,-9 1-23-15,7-4 20 0,-5 4-15 0,-8 0-10 16,1 0 0-16,2 0 5 0,0 0 7 0,-1 0 1 15,14-1-3-15,-10 1-8 0,-1 0-4 16,9-1 14-16,-9 1-4 0,10 0 7 0,1-1-10 16,-8 2 15-16,6-4-13 0,-7 3-4 0,-3-1 4 15,-2 1 0-15,1 0 21 0,10 1-13 0,-7-2-10 16,-1 1 10-16,-2 0-2 0,10-2 20 16,3 2-28-16,0-2-8 0,-1 2 16 15,1-2 7-15,0 1-13 0,-3 0 6 0,-5 1 5 0,-5 0-24 16,13 0 16-16,-11 0 13 15,-2 0-16-15,0 0-2 0,-1 0 5 0,14 0-7 16,-2 1 12-16,2-1-8 0,-1 2 11 0,-2-2-13 16,3-1 7-16,-2 1 3 0,3 0-5 15,-11 0-2-15,-3 0 4 0,0-1 4 0,13 1-6 16,-1-1 7-16,-7 1 4 0,-5 0-19 0,12-3 10 16,-1 2 4-16,-1 0-1 0,-5 1-8 0,-7-2-2 15,4 4 13-15,8-4-16 0,-8 2 8 16,-2 0-5-16,-2 0 7 0,2-3-2 15,-3 6-10-15,0-6 15 0,1 6-5 0,-4-3 3 16,3 0 5-16,-2 2-3 0,0-2-8 0,-5 0 3 0,2 0 5 16,-5 0-20-16,3 0 15 0,-3 0 0 15,0 1 0-15,-5-1 0 0,0 0-8 16,-3 0 3-16,1 0 2 0,-4 1 3 0,1-2 13 16,-3 4 0-16,0-5-3 0,1 4-2 0,-4-2 2 15,1 0 0-15,-3 0 6 0,3 0 4 16,0 0-7-16,-8 0 8 15,15 0-1-15,-10 0-5 0,3 1 6 0,0-2 7 0,-3-1 13 0,3 2-26 16,0 2-4-16,-2-4 9 0,-6 2 8 0,16 0-2 16,-11 0-8-16,3 0 5 0,0 2-13 15,-3-2 3-15,2 0-3 0,1-2 21 16,-8 2-26-16,13 0 8 16,-5-1-6-16,0 1-9 0,-1 0 12 0,0 0 0 0,1 0 3 0,0 0-8 15,0 1 8-15,0-1 10 0,2 0-28 16,-3 2 13-16,1-2 7 0,2 0 11 0,-2 1 15 15,0-1-29-15,-1 0 9 16,1 1 2-16,0 0 13 0,-3-1 20 0,3 1-20 0,-8-1-16 0,12 1 3 16,-6 1 21-16,-1-2-21 15,2 0 2-15,-7 0 27 0,10 2-24 0,-4-2-8 0,-1 1 16 16,0 1-3-16,0-1 1 0,1 0-6 16,-2 0 18-16,-4-1-23 0,10 2-3 0,-4-2-2 15,-6 0 3-15,8 3-3 0,-3-2-13 0,0 0 13 16,-5-1-3-16,10 3-2 0,-7-3-10 0,2 3 7 15,0-3 15-15,0 4-7 16,-2-2-18-16,-1 2 3 0,4-1 25 0,-2 0-10 16,-1 3 2-16,2-4-4 0,0 3-9 0,1 1 9 15,-2-3-9-15,2 2-9 0,-2 0 25 0,0-1-13 16,0 0 6-16,-1 0-11 0,0-2 2 0,1 3-9 16,-3-3-6-16,1 0 21 15,3 2-21-15,-5-4 18 0,3 4 1 0,-1-3-22 16,1 1 11-16,-3-2 16 0,3 3-9 0,-3-3-7 15,2 3-5-15,-2-3-2 0,0 0-19 0,3 3 21 16,-3-3-28-16,0 0 7 0,0 0-10 16,3 3-2-16,-3-3 12 0,0 0-30 0,0 0 0 15,0 4-13-15,0-4-16 0,0 0 1 0,0 0-9 16,0 0-19-16,0 0-24 0,0 0-48 0,0 0-90 16,0 0-151-16,-6 3-463 0,6-3 94 15,-5 0 62-15,5 0 85 0,0 0 68 0</inkml:trace>
</inkml:ink>
</file>

<file path=ppt/ink/ink7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3T16:15:02.605"/>
    </inkml:context>
    <inkml:brush xml:id="br0">
      <inkml:brushProperty name="width" value="0.05292" units="cm"/>
      <inkml:brushProperty name="height" value="0.05292" units="cm"/>
      <inkml:brushProperty name="color" value="#FF0000"/>
    </inkml:brush>
  </inkml:definitions>
  <inkml:trace contextRef="#ctx0" brushRef="#br0">1624 5286 729 0,'11'-5'264'0,"9"-4"-31"0,6 1-8 0,15-3-33 15,7 0-10-15,21-1-19 0,4 0-24 0,6 1-6 16,0 3-18-16,6 0-8 16,3 0-9-16,1 2 7 0,0-1-26 0,-2 2-7 0,0 2-13 15,-4-1-6-15,-1 3-19 0,-8 0-19 0,-15 0-18 16,0 2-4-16,-7 0-50 0,-3 0-48 0,-1 0 26 15,-12 3-136-15,-6-3-15 0,-6-1-459 0,-3 1 31 16,-4 1 70-16</inkml:trace>
  <inkml:trace contextRef="#ctx0" brushRef="#br0" timeOffset="301.12">2136 5308 837 0,'16'0'243'0,"-1"0"-8"0,9-2-25 0,7-2-5 16,17 2-31-16,6-4 54 0,15 0-21 0,5 0-10 0,1-1-18 16,2 1-33-16,-1-1-13 0,2-3 3 15,-1 3-26-15,-3 1-15 0,-4 0 2 16,-2-1-28-16,-14 2-10 0,0 3 8 0,-2-1-37 15,-6 2-4-15,-6-1-24 0,-9 1-32 0,-5 1-32 16,-3-1-27-16,-3 1-47 16,-2 1-12-16,-2-1-26 0,-6 0-57 0,-2 1-94 0,2 1-394 15,-3-2 74-15,-1 0 74 0</inkml:trace>
  <inkml:trace contextRef="#ctx0" brushRef="#br0" timeOffset="3793.69">14448 6268 816 0,'26'1'338'0,"2"1"-16"0,1 2-27 0,16-3-32 16,4 4-9-16,5-1-31 0,18 1-11 15,2 0-30-15,6 1-26 0,0-1-8 0,1 1 1 16,-3-2-19-16,3 1-22 0,-4-1-31 15,-3 1-16-15,-2-2-17 0,-15 0-24 0,-4-1-28 16,-1 0-127-16,-6 1-32 0,-8-2-32 16,-12 0-83-16,-8-1-133 0,-2 1-324 0,-4-1 55 15,-2 0 88-15</inkml:trace>
  <inkml:trace contextRef="#ctx0" brushRef="#br0" timeOffset="4058.1">14876 6364 785 0,'34'3'346'0,"2"0"-24"16,13 1-37-16,4-1-22 0,4 3-22 0,0-1-19 16,1 0-22-16,16 1-18 0,-4-3-93 0,2 2-9 31,-13-4-9-31,0 3 9 0,-3-1-21 0,-4 0-3 0,-1 0-23 0,-13 0-2 0,-5-2-3 15,-7 0-15-15,-3-1-5 0,-2 2-11 16,-3 0-15-16,-3-1 3 0,0-1-16 0,-4 0-12 16,-4 0-6-16,0-1-59 0,-7 1 19 15,4-4-49-15,-4 4-3 0,0 0-66 0,-18-8 15 16,0 2-47-16,-8 1-431 0,-12-4 22 0,-9-1 98 16</inkml:trace>
  <inkml:trace contextRef="#ctx0" brushRef="#br0" timeOffset="4822.04">2452 7289 1136 0,'29'-6'335'0,"4"0"-28"0,13-1-4 15,10 1-42-15,19-3-21 0,4-1-22 0,5 1-31 16,4-2-6-16,4 0-24 0,3 3-19 0,-3 2-3 16,-2-2-32-16,-3 3-16 0,0-2-28 15,-7 3-26-15,-1-1-28 0,-7 3-43 0,-18 1-42 16,-5 0-135-16,-3-9-92 0,-10 11-499 16,-10-1 76-16,-7 0 101 0,-5 3 19 0</inkml:trace>
  <inkml:trace contextRef="#ctx0" brushRef="#br0" timeOffset="5096.03">2286 7476 716 0,'0'0'295'0,"0"0"-24"0,0 0-13 0,17 1-7 16,-4-1-13-16,8-1 13 0,10-1-20 15,20-3-11-15,3-1-41 0,17-3-8 16,4 0-4-16,7 0-26 0,-2-1-19 0,2-2-6 16,0 2-14-16,0 0-15 0,-1 2-3 0,-1 1-7 15,-3 1-10-15,-8 2-11 0,-15-1-2 16,-3 4-31-16,-3 0-23 0,-9 1-15 0,-5 1-42 16,-6 0-14-16,-4-1-39 0,-2 4-75 0,-1-2-63 15,-6 2-85-15,2-1-481 0,-1 2 82 0,-3-1 67 16,3-2 68-1</inkml:trace>
  <inkml:trace contextRef="#ctx0" brushRef="#br0" timeOffset="5671.54">8749 7193 806 0,'0'0'279'0,"0"0"-3"16,0 0-35-16,28 7 2 0,-8-6-23 0,6 0 59 15,18 2-48-15,12-2-16 0,18 4-13 16,6-3-23-16,2-2-15 0,3 1-16 0,2 2 1 15,0-1-106-15,1-2 3 0,1 0-33 16,-4 0-5-16,-3 0-13 0,-8 0-6 0,-13 0-37 0,-4 0-14 16,-5 0-48-16,-2 0-82 0,-11-2-107 15,-6-1-129-15,-7 3-309 16,-3-1 51-16,-3-1 74 0</inkml:trace>
  <inkml:trace contextRef="#ctx0" brushRef="#br0" timeOffset="6021.99">8918 7339 1044 0,'16'0'258'0,"9"-1"52"0,9 1-41 0,19-2-8 0,6-2-33 0,16 1-18 0,-1 0-8 0,0 1-31 16,1-3-17-16,2 0-11 31,-1 2-28-31,-1-1-2 0,-3 1-23 0,-16-1-3 0,0 2-18 0,-4-1-15 0,-4 2-11 0,-9 1-2 16,-6-1-20-16,-4 0-16 0,-3-2-16 0,-6 3-9 15,-2 0 7-15,-3 0-25 0,-2 0-24 16,-3-1 6-16,0 1-11 0,-2-1 29 0,-2 0-21 16,-6 1 0-16,7-3 16 0,-7 3-8 15,3-2-1-15,-3 2 9 0,0 0-1 16,0 0-17-16,0 0 10 0,0 0-13 0,0 0-18 0,-8-6-59 15,8 6-41-15,0 0 11 0,0 0-31 0,-2-5-6 16,2 5-40-16,0 0-3 0,0 0-76 16,4-3-242-16,-4 3 1 0</inkml:trace>
  <inkml:trace contextRef="#ctx0" brushRef="#br0" timeOffset="7481.09">9021 8868 854 0,'0'1'256'0,"0"-1"-7"16,0 0-29-16,13 6-21 0,-3-6-9 15,11 2-26-15,11 1-16 0,20-3 1 0,12 0 9 16,13-1-17-16,6-3-15 0,11 1 50 0,8 0-20 16,29-4-5-16,-3 2 5 0,0-1-33 15,6 0-74-15,-1 0-26 0,-10-1-5 0,-20 5 5 16,-6-3-13-16,1-1-10 0,-6 3 0 0,-5-2-7 16,-3 0-19-16,-8-1-28 0,-7 1-53 0,-16 2-90 15,-4-1-144-15,-13 1-447 16,-8 0 97-16,-4 2 38 0,-7 1 80 0</inkml:trace>
  <inkml:trace contextRef="#ctx0" brushRef="#br0" timeOffset="7812.46">9452 8982 813 0,'31'-7'239'0,"-11"5"-7"0,11-3-17 0,18-3-25 0,22-2-16 16,6 2-13-16,7-3-2 0,7 2-8 0,8 0-36 31,27-4 11-15,2 4-24-16,-2-1-2 0,-3 1-13 0,-20 2-10 0,-3 0 56 0,-3 0-13 0,2 1-23 0,-8 0 11 0,-2 3-6 15,-9-2-20-15,-1 3-8 0,-18 1-12 0,-4-2-21 16,-3 3-21-16,-5-1-17 0,-9 2-19 0,-9-1-17 16,-5 3-67-16,-3-1-61 0,-5-1-49 15,-10 0-125-15,7 2-400 0,-2-1 3 0,-5-1 115 16,0-1 85-16</inkml:trace>
  <inkml:trace contextRef="#ctx0" brushRef="#br0" timeOffset="62742.31">12292 4521 1400 0,'-25'-15'174'0,"4"0"25"0,6 6-106 0,2 2 32 0,5 1-89 15,-2-1 64-15,3 3-72 0,1-2 56 0,-2 4-2 16,3-4-13 0,0 3 8-16,0 0-8 0,0 0-13 0,2 1 1 0,1 0-19 15,0-1-7-15,-4 2-80 0,6 1-145 0,-5-1-52 16,0 6-399-16,3 2-3 0,-4 5 85 0</inkml:trace>
  <inkml:trace contextRef="#ctx0" brushRef="#br0" timeOffset="64245">11023 4741 1292 0,'-74'-54'190'16,"-8"-2"22"-16,-3-1-102 0,-2 4 28 0,8 7-76 15,22 15 81-15,6 3-102 0,15 9 10 16,10 9-209-16,6 2 50 0,9 5-107 15,4 4-312-15,4 6-100 0,3 3 71 0</inkml:trace>
</inkml:ink>
</file>

<file path=ppt/ink/ink7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36:25.133"/>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8406 1294 1244 0,'0'0'360'0,"0"0"6"16,0 0-102-16,0 0-16 0,0 0 1 16,30-2 14-16,-4 4-55 0,23-1-9 15,4 0 16-15,17 4-20 0,4 1-6 0,8-1 42 16,5 2-4-16,8 0-6 0,0 0-14 0,2-1-56 16,1-1 10-16,-1 1-17 0,6-2-11 0,-1 0-10 15,-1-2 2-15,-4 2-5 0,-5-2-17 16,-4 2-34-16,-6 1-10 0,-1-3-26 15,-6 1-13-15,-14-1-17 0,-5 0-16 0,-4-1-35 16,-4 1-22-16,-11-2-9 0,-6 1-16 0,-9 0-12 0,-2-1-6 16,-4 0 3-16,-5 0-5 0,-3 1-41 15,-4-1-8-15,-4 0-120 0,0 0-74 0,0 0-78 16,0 0-406-16,-33 3 74 0,10-1 49 16,-8 0 61-16,-15 2 133 0</inkml:trace>
  <inkml:trace contextRef="#ctx0" brushRef="#br0" timeOffset="279.95">8277 1574 816 0,'0'0'399'0,"21"2"-33"0,-1-1-94 0,14 0 7 15,19 3-16-15,22 1-27 0,7-1-8 16,2-1-8-16,8 1 59 0,8-1-23 15,4 0-16-15,0 2-30 0,2-2-8 0,-2 2-22 16,-1 0-88-16,0 1-5 0,-3-2 5 0,-3 1-18 16,-7-1 3-16,-5 1-21 0,-8-1 13 0,-8 0-15 15,-13 2-10-15,-5-4-39 0,-7 2 0 0,-8-4-43 16,-10 4-37-16,-6-2-9 0,-2 1 5 16,-5-2-37-16,-5 1-40 0,-3-1-46 15,0 0-136-15,-8 2-499 0,3-3 18 0,-10 4 105 0,-1-3 97 16,-4 0 38-16</inkml:trace>
  <inkml:trace contextRef="#ctx0" brushRef="#br1" timeOffset="6136.03">3053 4676 163 0,'-6'-1'52'0,"6"1"-24"0,-8 0 5 0,8 0-33 16,0 0-49-16,-7-1-22 15</inkml:trace>
  <inkml:trace contextRef="#ctx0" brushRef="#br1" timeOffset="6640.36">2811 4693 593 0,'21'-6'241'0,"-11"3"-8"0,2 2-8 0,4 0 39 16,7-2-18-16,3 0-11 0,5 2-107 15,0-2-3-15,2 2-9 0,0 1-24 16,3-2-23-16,0 2-3 0,-1 0 6 0,12 0 0 15,-9 2-26-15,-2-1-31 0,-3 1-7 0,-2-1-3 16,0 0-36-16,0 0-15 0,-6 1-13 0,1 0-40 16,-3-1-58-16,-5-1 4 15,1 1-3-15,-2 0-18 0,-2-2-77 0,-2 2-338 0,0 1-13 16,-2-1 80-16</inkml:trace>
  <inkml:trace contextRef="#ctx0" brushRef="#br1" timeOffset="6964.36">2836 4814 673 0,'24'3'230'0,"-14"-3"-28"0,6 2 70 16,6-2-14-16,4 0-43 0,5 2-100 0,2-2-20 15,16 0-8-15,-2 0-10 0,1 0-26 16,-5 0-33-16,4 0-28 0,-1 0-47 0,2 0-73 0,-11 0-42 16,-5 1-462-16,-1-1 86 15,0 3-5-15</inkml:trace>
  <inkml:trace contextRef="#ctx0" brushRef="#br1" timeOffset="14888.77">14695 5218 1116 0,'5'-3'409'16,"-2"0"-79"-16,-1 0-28 0,0 1 0 16,-2 2 87-16,3-5-97 0,0 3-33 15,-3 2-11-15,0 0-15 0,4-4-8 0,-4 4 34 0,0 0-62 16,0 0 20-16,0 0-32 0,-12 11-1 15,-1-3 52-15,-5 5-14 0,-13 6-30 0,-2 3-10 16,-11 3-16-16,-5 1-114 0,-2 1-14 0,-5 2-20 16,2-2-23-16,-2 2-62 0,2-3-28 15,-3 0-43-15,4 1-13 0,4-3-56 16,10-4-16-16,4 0 3 0,6-4-210 0,9-4-466 16,4-2 16-16,6-4 99 15,3-5 118-15,2 1 26 0,5-2 81 0</inkml:trace>
  <inkml:trace contextRef="#ctx0" brushRef="#br1" timeOffset="15053.78">14543 5414 808 0,'-30'26'279'0,"-11"10"-30"0,-8 1 60 15,-5 8-50-15,-15 10-70 16,-6 2-84-16,9-18-228 0,-14 22-563 0,-2 7 52 15,0-5 104-15</inkml:trace>
  <inkml:trace contextRef="#ctx0" brushRef="#br1" timeOffset="16688.86">22399 3814 959 0,'0'0'361'0,"0"0"-20"0,0 0-32 0,-7 17-17 0,3-2-10 16,-3 8-31-16,-6 10-34 0,1 5-7 0,1 3-13 15,-1 0 0-15,-4 11-99 16,-2-1-24-16,3-1-20 0,2-6-1 0,-5 6-1 0,5-10-24 16,0 0 0-16,1-2-38 0,1-3-8 0,-1 0-23 15,4-9-26-15,0-3-12 0,3-4-113 0,0 0-74 16,-3-4-54-16,5-2-464 0,-2-1 57 15,5-2 113 1,-2-4 25-16</inkml:trace>
  <inkml:trace contextRef="#ctx0" brushRef="#br1" timeOffset="16955.16">22609 3793 1256 0,'0'-3'343'16,"0"3"-28"-16,0 0-23 0,0 0-39 0,-3 18-2 15,-1-3-10-15,-4 8-24 0,-5 15-14 16,-7 11-11-16,2-1-31 0,-2 3-18 16,1 1-10-16,-4 1-5 0,3-1-105 0,-1 2-12 15,4-5 9-15,-4-2-17 0,5-9-39 0,3 1 2 16,-2-3-9-16,4 0-39 0,-3-5-23 15,6-5-23-15,-2-5-56 0,2 1-59 0,0-8-54 16,1 3-49 0,1-6-411-16,1-2 71 0,0-3 76 0,3 0 65 0</inkml:trace>
  <inkml:trace contextRef="#ctx0" brushRef="#br1" timeOffset="17272.43">22135 4225 1136 0,'0'0'387'0,"0"0"-32"0,0 0-22 16,-8 15-103-16,8-2-20 0,-2 3-18 0,-1 5 0 15,-2 4-30-15,1 12-17 0,-2 4-6 16,5-9-9-16,-3-3-7 0,4-1-10 0,-3-1-13 0,6 0-6 15,1-4-4-15,2-1-8 0,1-2 20 16,7-2 34-16,3-6-16 16,6-2-10-16,3-4-5 0,7-3-13 0,16-4-35 0,3-4-24 0,13-5-23 15,-5-3-33-15,5-1-56 0,-4-8-49 16,2-1-218-16,-1-2-527 0,-3 1 64 16,3-7 65-16,-8-1 55 15,-5-3 95-15,-6 1 54 0</inkml:trace>
  <inkml:trace contextRef="#ctx0" brushRef="#br1" timeOffset="36671.65">23440 4265 816 0,'-1'-2'346'0,"1"-4"-32"0,0 6-19 0,-2-6-19 16,2 6 34-16,0-5-18 15,-2 3-26-15,2 2-31 0,0 0-22 0,0-6-11 0,0 6-56 16,0 0 18-16,0 0-36 0,0 0 0 15,4 13-10-15,-4-6-21 0,0 3 5 16,-2-1-17-16,0 4-26 0,2-1-3 0,-2 4 18 16,1-3-48-16,-4 1-11 0,3 0 16 0,1-1-34 15,-4 5-17-15,1-7 2 0,1 2-41 16,0 0-28-16,1 0-3 0,-1-3-63 16,1 1-119-16,-1-3-193 0,3 1-378 0,-1-3 93 0,1-1 67 15,0 0 125-15,-2 0 28 0</inkml:trace>
  <inkml:trace contextRef="#ctx0" brushRef="#br1" timeOffset="36916.61">23599 4162 901 0,'3'-4'399'0,"0"-2"-51"0,-2 4-28 0,0-2-8 0,-1 4-33 0,0 0-23 0,0 0-89 0,0 0-24 15,0 0-10-15,2 11-8 16,-2-6 3-16,0 4-15 0,-2 3-3 0,0 1-8 0,-4 1 47 16,5 2-11-16,-3 2-12 0,-2 0-21 15,-1-2-31-15,4 2 10 0,-2 1-30 0,0-3-3 16,1 2-18-16,-2-2-27 0,1 0-17 16,2-3-9-16,-2-1-21 0,0 1-36 0,2-1-36 15,-1-2-66-15,2-1-79 0,-2-1-98 0,2-1-443 16,0-2 14-16,1 0 127 0,-2-2 23 0,3 0 159 15</inkml:trace>
  <inkml:trace contextRef="#ctx0" brushRef="#br1" timeOffset="37153.75">23284 4377 1003 0,'0'0'333'0,"7"-6"-34"16,-4 4-94-16,2-3 0 0,3 3-26 0,2-2-15 15,0-2-21-15,6 4-15 0,2-2-26 0,-1-1-15 16,4 2-2-16,2-2-11 0,-2 2-23 16,7-2-28-16,-5 2-53 0,5 0-57 0,-7-1-29 0,4-2-173 15,-3 5-435-15,-6 1 61 0,-3-1 41 16,-2 1 125-16</inkml:trace>
  <inkml:trace contextRef="#ctx0" brushRef="#br1" timeOffset="37405.25">23161 4434 796 0,'0'0'371'16,"0"0"-28"-16,0 0-49 0,0 0-7 0,12 4-24 15,-4-4-42-15,2 0-6 0,-2-3-13 16,5 2-20-16,2 0-16 0,1 1-87 0,2 0-30 16,2-2 0-16,3 2-6 0,0 0-2 0,0-3 0 15,1 2-18-15,1-1-8 0,-1 2-22 16,-2-3-19-16,1 0-10 0,-1 3-18 0,-5-3-40 16,1 2-50-16,-3 0-35 0,2 0-54 15,-2-3-56-15,-1 4-440 0,-1-1 89 0,-5-1 10 16,2 2 144-16</inkml:trace>
  <inkml:trace contextRef="#ctx0" brushRef="#br1" timeOffset="38696.9">24053 4201 668 0,'0'0'286'0,"0"-7"-12"0,0 7-10 0,0-5 43 0,0 5-23 0,0 0-46 15,0-5-13-15,0 5-38 0,0 0-13 16,0 0-18-16,0 0 11 0,-3-3-24 0,3 3-15 16,0 0-18-16,0 0-7 0,0 0-4 15,0 0-19-15,0 0-1 0,0 0 0 0,0 0-25 16,0 15 8-16,0-10-11 0,0 0 5 16,0-2-12-16,0 3 17 0,0 0-28 0,0 0-10 15,3 1 8-15,-3-1-8 0,0 0 0 16,0 1-2-16,2-3-3 0,-2 3 5 0,2-2-16 0,-2 1 14 15,0-3-19-15,1 2 9 0,-1-1 7 16,0 0-13-16,0-1 2 0,0 2 16 0,3-2-18 16,-3 2-25-16,0-1 33 0,2 0-82 15,0-1 0-15,-2-3 15 0,1 4 15 0,1-1-7 16,-2-3 16-16,6 3-4 0,-2-1-1 16,-4-2 14-16,8 1-7 0,-8-1-3 0,12-1 13 15,-5-3-12-15,0 0 7 0,-2 1 12 0,3-1 4 16,-1-2-4-1,-2-1-4-15,-2 1 18 0,2-5 20 0,-1 3-13 0,-3-1-13 0,-1-1 11 16,3-1 10-16,-6 2-23 0,3-2 10 16,-3 3-3-16,1-1 9 0,-3 1-9 0,2 1 14 0,-1 1-19 15,0 0 24-15,-1 2-4 16,-2 3-17-16,2-1 8 16,5 2-10-16,-10 0 7 0,2 2 5 0,2 1-8 0,2 0 4 0,-2 1-9 15,2-1 18-15,3 0-12 0,-4 3 2 0,5-3-10 16,0 2 0-16,0 0 2 0,4-2 1 15,-2 2-3-15,5-2-1 0,-2 0 12 0,3 1-17 16,0-3 27-16,2 0-24 16,0 0-5-16,1-1-2 0,-1 0 10 0,4-2 12 0,-5 2-1 15,3-3 1-15,0 1-12 0,-3 1 0 0,-1 0-5 16,2 0-8-16,0-1 10 0,-2 1 18 0,-3 1-15 16,-5 0 5-16,10 1 0 0,-3 2 3 15,-6 1-3-15,2 1 5 0,1 4 10 16,-3-2-4-16,-1 2 24 0,0 2-17 0,-1 2-15 15,0 1 5-15,-5 2 27 0,1 1-17 0,-5 3-15 16,0-1 15-16,-4-4 7 0,1 2-9 0,-1 0-11 16,-2-2 13-16,5-4-13 0,-1 2 18 15,-1-5-13-15,5 2 0 0,-2-4 31 0,0 1-12 16,0-1-4-16,4-1-4 16,0-2-9-16,-1 1-14 0,0-4-8 0,3 2-19 0,0-1-9 0,4-1 15 15,0 0-33-15,-10 0-11 16,10 0-10-16,0 0-33 0,0 0-61 0,0 0-67 15,0 0-87-15,-5-3-479 0,5 3 59 0,0 0 62 16,0 0 96-16,15-6 63 0</inkml:trace>
  <inkml:trace contextRef="#ctx0" brushRef="#br1" timeOffset="39416.68">24099 4469 673 0,'-5'0'243'0,"5"0"0"0,0 0-36 0,-3-4-4 0,3 4-14 16,0 0 49-16,1-6-18 0,-1 6-20 15,4-7-16-15,-1 5-23 0,0-1-22 0,2 0-4 16,2-2-14-16,1 1 9 0,-3 0-40 16,1 0-6-16,1-1-2 0,3 1-15 0,-2-1 17 15,2-1-28-15,0-1-9 0,0 2-27 0,0 0-66 16,-1-1-46-16,3 1-87 0,-2 0-100 16,0 0-510-16,-2 3 72 0,2-1 49 0,-3-1 118 0</inkml:trace>
  <inkml:trace contextRef="#ctx0" brushRef="#br1" timeOffset="40167.93">22840 4643 1072 0,'0'0'307'0,"0"0"-38"0,0-4-21 16,0 4-17-16,0 0-34 0,0 0-5 15,0 13-18-15,3-7-26 0,-3 0-4 0,-3 1-11 16,3 3-16-16,0-3-14 0,0 2-34 0,-1 1-18 16,-1 1-25-16,0-2-11 0,2 1-28 0,0-1-30 15,-2 2-42-15,2-3-25 0,-1 2-102 16,-1-3-37-16,-1 0-462 0,3 1 12 15,-2-3 74-15,2 1 44 0</inkml:trace>
  <inkml:trace contextRef="#ctx0" brushRef="#br1" timeOffset="40530.51">22765 4761 918 0,'3'-3'346'16,"1"1"-41"-16,-2-3-88 0,2 3-17 0,4-1-44 16,-2 1 0-16,4-3-25 15,-3 4-21-15,3-3 2 0,3 1-45 0,-5 0-11 16,5 1-40-16,-2 1-29 0,-1-2-46 0,0 0-31 0,0 2 8 16,2-3-5-16,-4 3 11 0,1 0-4 15,-1-2 19-15,0 3-3 0,-4-1 23 16,1 0 51-16,2 0 21 0,-7 1 30 15,9 0 8-15,-9 0-2 0,7 0 17 0,-7 0 6 0,3 2-13 16,-3-2 15-16,2 5 0 0,-2-2-15 16,0 1-13-16,0 1 2 0,0 1-4 15,0-2-14-15,-2 2 6 0,2-1-13 0,0 1-8 0,-2 0 1 16,1 1-14-16,-2-3 19 0,3 2-42 16,-2 0-35-16,2-3-70 0,-3 3-107 15,-2-1-113-15,5 0-439 0,-1-3 111 0,1 2 39 0,0-4 103 16</inkml:trace>
  <inkml:trace contextRef="#ctx0" brushRef="#br1" timeOffset="40692.75">22986 4664 662 0,'-2'-2'-5'15,"2"2"-489"-15</inkml:trace>
  <inkml:trace contextRef="#ctx0" brushRef="#br1" timeOffset="41203.18">23112 4694 783 0,'1'3'281'0,"1"2"-30"0,-2 1-23 0,0 0 56 0,0-1-23 0,0 1-28 16,0 0-8-16,0 1-22 0,0-1-17 15,0 0-22-15,0 1-31 0,0-2-12 0,0-1-14 16,0 1 3-16,0-1-23 0,0 1 18 16,0-2-23-16,0-3 5 0,0 6 10 0,0-6-81 15,2 2-1-15,-2-2-5 0,0 0 6 0,0 0-1 16,0 0-7-16,14-6 5 0,-10 3 2 0,1 2 8 15,0-5-8-15,0 6 14 0,2-4-24 16,-3 2 2-16,1-1-7 0,2 0 8 16,-4 2 10-16,-3 1-8 0,10-1-2 15,-10 1 7-15,8 0-5 0,-8 0 3 0,10-2-8 16,-10 2 6-16,5 3 6 0,-5-3 1 0,0 0-5 0,8 0 5 16,-8 0-3-16,7 0 14 0,-7 0-1 15,0 0 3-15,0 0 2 0,8 0 13 16,-8 0-10-16,0 0 5 0,0 0-11 0,0 0 24 15,8 0-15-15,-8 0 71 0,0 0-21 0,0 0 14 16,8-1-14-16,-3-1 6 0,-5 2-23 16,10 0-3-16,-10 0 2 0,11 0-12 0,-4 0-8 15,-2-1 13-15,3 2-23 0,-8-1-5 0,13 2-10 16,-6-1-16-16,1-1 0 0,-3 1-33 0,1 1-18 16,1-2-13-1,-4 3-25-15,-3-3-13 0,10 2-44 0,-6-1-15 0,-3 3-97 16,4-3-187-16,-3 3-481 0,-1-2 38 0,1 1 140 0,-2-3 40 15,0 6 91-15,0-6 62 0</inkml:trace>
  <inkml:trace contextRef="#ctx0" brushRef="#br1" timeOffset="41704.83">23471 4768 752 0,'3'-7'353'0,"4"2"-25"0,-4-1-34 0,-1 0-2 0,3 1-36 0,-4 0-28 0,-1 2-26 15,2-3 0-15,-2 0-48 0,0 2 7 16,0 4-12-16,0-7-21 0,-2 4-8 0,2 3 3 16,-4-5-31-16,4 5-5 0,-4 0 3 15,4 0-14-15,0 0-9 0,-11 6-6 0,6-3-15 16,3 1-7-16,-3-1 15 0,1 1-8 15,2 1 0-15,-3 1 5 0,5-3-26 0,-2 2 1 0,2 0 0 16,0 0-11-16,2-2-12 0,1 3-6 16,2-2 8-16,1 0-10 0,1 0-21 15,0-2 21-15,3 1-28 0,1-2 13 0,-1 0-19 16,0 0-7-16,1-1-5 0,-1-1 5 0,0 0 25 16,-2 0-7-16,2-3 10 15,-2 2-2-15,0-1-21 16,-1-1 2-16,-4 1 19 0,2 0 2 0,1-2-8 0,-4 1 19 0,3 1 2 0,-2 0 5 15,-1 0 2-15,0 0 1 0,-2 3 25 16,5-7-26-16,-4 6 14 0,-1 1 22 0,6-3-28 16,-6 3-4-16,4-2 35 0,-4 2 5 0,0 0 0 15,8 4 5-15,-4-3 5 0,-1 3-17 0,2-2 22 16,-2 3-7-16,2-2 12 0,-3 0-22 16,1 2 2-16,-3-2 3 0,4 2-11 0,-3 0 0 15,-1-2 72-15,-1 3-15 0,-3-2-8 0,1 2-38 16,-4 1-6-16,2-4-55 0,-3 5-19 15,-2-1-77-15,-1 0-107 0,1-1-238 16,-2 0-455-16,4-2 83 0,0 0 80 16,3-3 88-16,-2 2 50 0,4-2 77 0</inkml:trace>
  <inkml:trace contextRef="#ctx0" brushRef="#br1" timeOffset="41846.57">23876 4789 944 0,'0'0'379'0,"0"0"-64"0,0 0-47 0,0 0-119 0,-15-1-157 0,7 4-660 16,0 1 92-16,-2 1-2 15</inkml:trace>
  <inkml:trace contextRef="#ctx0" brushRef="#br1" timeOffset="44800.91">2539 9682 1220 0,'3'-6'397'0,"-1"6"-92"0,-2 0-34 15,0 0-28-15,0-7-25 0,0 7-16 0,0 0-25 16,0 0-16-16,0 0-15 0,0 0 0 15,3 13-8-15,-3-6-15 0,0 1-13 0,0 1-10 16,-2 1-3-16,1 3-7 0,-1 0 48 0,-1 1-10 16,-1-1-18-16,3 3-5 0,-4-1-21 15,0 1-12-15,0-1-3 0,2 2-41 16,-2-2-25-16,2-3-8 0,-2 0-16 0,3 0-45 16,-1-1-37-16,-1-2-68 0,3 1-75 0,-1-1-84 15,2-3-244-15,0-1-270 0,0 1 101 16,0-3 63-16,2 1 129 0,-1 0 21 15</inkml:trace>
  <inkml:trace contextRef="#ctx0" brushRef="#br1" timeOffset="45223.86">2893 9706 1256 0,'-5'-3'425'0,"5"3"-49"0,-3-5-22 16,3 5-32-16,0 0-43 0,0 0-23 16,0 0-15-16,-7 8-8 0,6-1-28 0,-1-1-29 15,-3 0-12-15,3 4-5 0,-1-1-13 16,-2 3-98-16,2 1-7 0,1-1-15 0,-1 1-6 0,-2 4-35 15,0-2-18-15,2-2-29 16,0 1-17-16,1-3 2 0,-3 3-54 0,3-4-53 16,1 3-92-16,-1-4-108 0,2 0-433 0,0 0 65 15,0-2 84-15,0 0 94 0,0-2 9 16</inkml:trace>
  <inkml:trace contextRef="#ctx0" brushRef="#br1" timeOffset="45469.94">2801 9837 1315 0,'0'-5'382'0,"0"5"-29"0,0 0-43 16,0 0-19-16,5-3-22 0,0 0-36 15,-5 3-13-15,10 0-23 0,-4-2-5 0,3 0-15 16,2-1-18-16,-1 2-37 0,0 1-19 0,1-1-44 15,4 0-13-15,-4-2-31 0,1 2-35 16,1 1-47-16,0-1-48 0,-3 1-95 16,0-1-205-16,3-1-427 0,-3 1 95 0,0 1 63 0,1-2 75 15,-1 1 36-15</inkml:trace>
  <inkml:trace contextRef="#ctx0" brushRef="#br1" timeOffset="45717.71">3226 9692 1103 0,'0'0'399'0,"0"0"-25"0,0 0-39 0,-5 13-30 0,3-8-21 16,2 2-79-16,0 1-19 0,-3 0-17 15,3 3-23-15,-4 1-20 0,3 1 12 0,-2 0 56 0,1 2-30 16,0-1-23-16,-1 0-26 0,0-2-33 0,1 1-23 15,0 0-5-15,1-1-62 0,-1 0-23 16,-1-4-17-16,3 1-65 0,-2-1-102 16,2-1-107-16,0-1-549 0,0 0 65 15,2 1 92-15,-2-2 56 0,3-1 108 0</inkml:trace>
  <inkml:trace contextRef="#ctx0" brushRef="#br1" timeOffset="46697.68">3616 9691 1323 0,'0'-5'432'0,"0"5"-68"16,0 0-42-16,0 0-9 0,0 0-34 0,0 0-18 15,0 0-8-15,0 0-35 0,-5 14-39 16,2-4 3-16,1-2-26 0,0 0-28 0,-1 3 8 16,0 2-90-16,0-1-5 0,1 1-16 0,2-2 11 15,-2 2-28-15,-2 0-1 0,2-1-9 16,0-2-24-16,0 1-30 0,2 0-34 0,-3 0-53 15,3-2-54-15,-1 1-77 0,1-3-246 0,1 0-299 16,2-1 62-16,-3-2 73 0,0-2 90 0,0-2 75 16</inkml:trace>
  <inkml:trace contextRef="#ctx0" brushRef="#br1" timeOffset="46962.02">3462 9806 1013 0,'0'0'410'0,"5"-2"-14"0,-5 2-53 0,10 0-33 0,-2-1-23 0,2 1-24 16,1 0-14-16,-1 0-29 0,3 1-20 0,3-1-29 15,2 1-15-15,0 0-105 0,-1-1-15 0,3-1-20 16,-2 1-11-16,-1-1-28 0,0 1-21 0,-2 0-45 15,1-1-42-15,-3 1-104 0,-1-4-101 16,-1 4-483-16,-1 0 97 0,-2 0 36 0,0 0 103 16</inkml:trace>
  <inkml:trace contextRef="#ctx0" brushRef="#br1" timeOffset="47598.68">4077 9749 906 0,'3'-5'427'0,"2"2"-7"0,3-2-46 0,0 1-13 0,-1 1-52 15,1-1 1-15,3 3-41 0,-1 1-47 16,2 0-4-16,-1 1-13 0,-1 0-95 0,0 3 5 16,-2-2-23-16,0 3 3 0,-1 1-6 15,-2 0-22-15,-2 1-3 0,-1 1 3 0,-1 0-11 16,-4 1 8-16,0 1-21 0,-2 0 6 0,-4 2 53 15,0 1-4-15,-1-2-4 16,-2 2 4 0,-2-2-29-16,1 2-3 0,1-5 1 0,1 1-8 0,2-3 2 0,-1-2 6 0,1 4-21 15,1-5 15-15,4 3-4 16,-2-4-4-16,1 3-14 0,3-5 14 0,-1 3-1 0,3-3-22 0,0 0 14 16,0 0-39-16,0 0 26 0,16 3-1 0,-6-3 4 15,1-1-16-15,3 0-26 0,2-3-10 16,-1 4-28-16,0-3-23 0,1 0-16 0,0 1-38 15,1 1-30-15,-1-3-34 16,1 2-61-16,-1-1-113 0,-1 2-494 0,-2-1-64 0,2-1 92 16,-4 3 82-16,1-4 77 0,2 1 77 15</inkml:trace>
  <inkml:trace contextRef="#ctx0" brushRef="#br1" timeOffset="47835.71">4544 9717 1272 0,'0'0'361'0,"-2"-4"-31"16,2 4-38-16,0 0-26 0,0 0-26 15,0 0-4-15,0 0-29 0,0 0-22 0,-8 13-4 16,6-6-19-16,2 1-9 0,-3 2-20 0,0-2 59 16,-1 3-28-16,1 1-16 0,0 0-4 15,1 1-47-15,-1-1-51 0,3 0-28 0,-3 1-26 16,1-2-33-16,0 0-43 0,1-2-49 0,1-1-146 15,3 1-207-15,-3-1-387 0,0-2 66 0,2 0 93 16,-2 0 67-16,3-2 135 0</inkml:trace>
  <inkml:trace contextRef="#ctx0" brushRef="#br1" timeOffset="48055.66">4406 9812 1341 0,'0'0'384'0,"-5"-2"-54"0,5 2-31 0,0 0-12 0,0 0-13 0,0 0-18 0,0 0 15 15,0 0-7-15,0 0-59 0,15 9 5 16,-7-5-16-16,0-2-22 0,4 2-14 0,1-2-27 16,0 2 5-16,2-2-34 0,1 2-41 0,-1-1-38 15,1-3-38-15,-2 4-31 0,2-2-49 16,-3 1-102-16,0-3-187 0,2 1-524 15,-5 1 53-15,3-2 102 0,-3 1 57 0,-1 2 97 16,0-2 61-16</inkml:trace>
  <inkml:trace contextRef="#ctx0" brushRef="#br1" timeOffset="48415.83">4808 9775 1054 0,'6'-2'323'15,"-6"2"45"-15,12 2-43 0,-4-2-28 16,0 0-10-16,-3 0-23 0,5 5-29 16,-4-3-25-16,1 4-23 0,-2-2 2 0,0 3-66 15,-2 0-18-15,-1-1-18 0,-2 5-2 0,0 0-9 16,-5-1-1-16,0 6-14 0,-5-2-5 16,2-1 3-16,-2 0-10 0,2-1-16 0,1-4 0 15,-1 2 16-15,0-2-13 0,3 1 0 0,0-3 12 16,2-1-22-16,-2-1 2 0,2 2 8 0,1-2 28 15,0 0-31-15,-2-1 11 16,4 0 4-16,0-3-25 0,1 5 5 0,2-1 8 0,1-2-18 16,-1-1 3-16,3-1 7 0,1 3 0 15,0-2-5-15,1-1-36 0,0 2-10 16,2-4-36-16,-1 2-30 0,1-1-19 0,0-2-25 16,0 3-51-16,-2-1-111 0,2 1-163 0,0-2-409 15,-2-2 76-15,2 4 74 0,-3-1 92 16,2-1 62-16</inkml:trace>
  <inkml:trace contextRef="#ctx0" brushRef="#br1" timeOffset="48655.2">5173 9756 1005 0,'0'0'397'0,"0"0"-23"0,0 0-26 16,0 0 46-16,0 0-38 0,-6 12-33 0,4-7-91 15,0 3-6-15,1 0-37 0,-1 4-12 16,-1 0-31-16,0 4 0 0,1-3-21 0,-3 1-20 16,3 2-31-16,-1-1-30 0,-3 2-29 0,6-3-35 15,-4-1-44-15,1 0-49 0,3 0-53 0,-5-1-98 16,3 0-135-16,1-2-456 0,-2-1 125 0,3-2 1 16,-2-1 125-16,0 0 5 15</inkml:trace>
  <inkml:trace contextRef="#ctx0" brushRef="#br1" timeOffset="48877.08">4998 9943 1167 0,'0'-5'389'16,"0"5"-28"-16,0 0 48 0,0 0-48 0,6-6-36 15,-2 5-25-15,-4 1-19 0,10-1-102 16,-2 1-22-16,0-1 27 0,2 0-56 0,1-2-8 15,1 3 1-15,1 0-6 0,2-3-33 0,1 1-31 16,-1 1-26-16,3 1-4 16,0-2-49-16,-3 1-23 0,3-3-11 0,0 4-48 0,1-1-38 0,-4 0-57 15,3 1-136-15,0 0-107 0,0 1-378 16,-1-1 81-16,2 1 89 0,-1 1 75 16,-3 1 16-16</inkml:trace>
  <inkml:trace contextRef="#ctx0" brushRef="#br1" timeOffset="49295.5">5487 9823 1149 0,'4'-3'427'0,"-4"3"-38"0,12-1-53 0,-4 1 9 16,2 1-127-16,-2 3-24 0,-1-2 3 0,1 3 1 15,0-2-12-15,0 2-14 0,-3 0 61 16,0 4-28-16,-3-1-39 0,1 3 3 16,-3-1-10-16,-2 2-21 0,-1 0-8 0,-5 2-9 15,1 2-9-15,-3-3-14 0,1 0 12 0,-1 1-28 0,0-3-18 16,2-1 2-16,3-1-4 0,-3-2 2 15,4-1-3-15,-2 0 13 0,4 0-10 0,-3-1-18 16,4 0 3-16,-1-2-6 0,2 1 14 16,2 0-14-16,1-2 8 0,2 0-20 0,1 1 8 15,1-2-14-15,0 0 6 0,4-1-16 16,-1 0-22-16,3-1-9 0,0 0-40 0,0-2-24 16,0 3-24-16,2-2-14 0,0-1-41 0,-1 0-23 15,0-1-56-15,-1 1-133 0,0-1-463 0,0-1-95 16,-3 2 92-16,0-1 99 0,0 2 47 15,1-3 131-15</inkml:trace>
  <inkml:trace contextRef="#ctx0" brushRef="#br1" timeOffset="49530.23">5939 9775 1331 0,'0'0'422'0,"0"-3"-38"0,0 3-39 0,0 0-27 0,0 0-44 0,0 0 69 15,0 0-13-15,-5 9-36 0,3-2-33 0,-1 2-79 16,0-1-26-16,1 3-10 16,-1-1-8-16,0 6-20 0,1-3-21 0,-3 1 6 15,2 4-21-15,-2-1-6 0,3-2-22 0,-4 4-28 16,2-4-39-16,0-1-33 0,0 0-39 0,1-1-32 0,1-1-37 16,1-1-22-16,-1-3-73 15,2 1-176-15,-3-2-465 0,4 0 73 0,-2-3 108 16,1 0 23-16,0-4 61 0</inkml:trace>
  <inkml:trace contextRef="#ctx0" brushRef="#br1" timeOffset="49777.24">5783 9953 918 0,'0'0'459'0,"-3"-3"-9"15,3 3-28-15,0 0-48 0,0 0-5 16,11-2-26-16,-11 2-36 0,10-1-5 0,-3 1-43 15,3 0-14-15,4-3-25 0,-2 3-40 16,4 0-4-16,-1 0-38 0,1-1 11 0,1-3-39 0,4 3-38 16,-3-2-14-16,0 0-50 0,0 2-36 15,-3-2-46-15,0 0-3 0,0 1-64 16,-6 1-94-16,3-3-175 0,-1 3-522 0,-4 1 88 16,-2 1 81-16,-5-1 79 0,8 1 86 0,-8-1 19 15</inkml:trace>
  <inkml:trace contextRef="#ctx0" brushRef="#br1" timeOffset="50208.52">6291 9793 1220 0,'7'-2'359'0,"0"2"-21"0,4 0-23 15,-1 2 45-15,0-1-27 0,-2 4-31 0,2-3-18 16,-2 4-28-16,0-1-7 0,-3 2-86 16,-3 0-27-16,-2 4-36 0,0-3 2 0,-2 3 11 15,-3 1-8-15,-3 2-33 0,-2-1-1 0,0 1-2 16,0 0-17-16,-1-2-11 0,1 1 5 0,2-5 12 15,0 2-4-15,0-2 8 0,1-1-3 16,2-2-21-16,0 2 16 0,0-3-6 0,-1-1 19 16,4 3-19-16,0-2 11 0,1-1-20 0,1-3 20 15,1 6-16-15,3-3-2 0,-1-1 5 16,-3-2-13-16,11 1 19 0,-4 0-6 16,1-1 2-16,2-1-9 0,3 1-29 0,0-1-36 0,0 0 1 15,2-3-42-15,-2 4-4 0,2-3-45 16,-2 0-1-16,-2 0-27 0,1-1-4 15,-2 3-65-15,-2-4-68 0,0 2-159 0,-3 0-482 16,0 3 93-16,0-2 56 0,0-1 82 0,-5 3 56 0,3-3 79 16</inkml:trace>
  <inkml:trace contextRef="#ctx0" brushRef="#br1" timeOffset="50512.45">6703 9788 1054 0,'0'0'440'0,"0"0"-38"0,0 0-92 0,-5 11-34 16,5-6-17-16,0 2-6 0,3 0-30 0,-1 1 2 16,-2 3-40-16,2 2-29 0,1 0 0 0,0-1-13 15,-1 0-33-15,-1 2-48 0,1-1-37 16,0-2-40-16,1 3-70 0,-3-3-25 0,0 1-158 16,0-2-104-16,3-1-467 0,-3-3 94 15,2 1 59-15,-2-1 74 0</inkml:trace>
  <inkml:trace contextRef="#ctx0" brushRef="#br1" timeOffset="50753.42">6632 9939 1241 0,'4'-1'379'0,"-4"1"-31"0,8-2-20 16,-8 2-39-16,13-1-13 0,-3 1-25 0,0 0-49 0,1 0-12 15,4 0-11-15,-2 0-20 0,0-3-34 16,4 3-51-16,-1-1-15 0,-1 1-44 0,1 0-48 16,2 0-51-16,-5 0-121 0,-6 0-192 15,8 0-440-15,-4-1 120 0,2 0 31 0,-3-3 67 16</inkml:trace>
  <inkml:trace contextRef="#ctx0" brushRef="#br1" timeOffset="51091.27">7103 9781 1098 0,'8'0'376'16,"-1"0"-33"-16,-1 1-31 0,1 2-41 0,1 0-15 16,-3 0-15-16,0 0 0 0,0 2-8 0,-2 1-39 15,-1 0 44-15,-2 2-10 0,-2-1-21 0,-3 4-22 16,-1 2-27-16,-1-2 11 0,-3 2-28 15,-1 0-26-15,1-2 6 0,3-3-1 0,-1 3-28 16,0-3 10-16,3 2 3 0,-2-4 8 0,1 1-21 16,2-2-18-16,0 0-2 0,0 0 2 15,1 1 0-15,0-2 11 0,1-1-8 0,2 2-72 16,0-2 8-16,2 0-11 0,1 2-9 0,-1-3 12 16,3 1 2-16,0 0-4 0,1-3 2 15,1 4-23-15,1-4 18 0,2 1-38 0,0-2-6 16,1 1-35-16,-1-1-13 15,3-2-29-15,-3 3-19 0,0-3-22 0,3 0-42 16,-5 3-68-16,2-7-173 0,-2 5-528 0,2-1 103 0,-4 2 87 16,1 1 107-16,-2-2 46 0,1 2 39 0</inkml:trace>
  <inkml:trace contextRef="#ctx0" brushRef="#br1" timeOffset="51444.77">7605 9743 1141 0,'0'0'425'0,"0"0"-38"0,0 0-44 0,-4 13 2 0,1-8-48 16,1 3-23-16,1 1-41 0,-1 2 15 0,-1 1 26 15,0 3-15-15,-1 0-24 0,1-2-23 0,0-1-32 0,-2 4-47 16,3-2-33-16,-3-1-52 16,2 0-27-16,0-3-67 0,1 0-16 0,0 0-66 15,2-2-130-15,-1 0-216 0,1 0-427 0,0-4 108 16,-2 2 17-16,4-1 113 0,-2-5 115 15</inkml:trace>
  <inkml:trace contextRef="#ctx0" brushRef="#br1" timeOffset="51687.54">7411 9893 1041 0,'0'0'435'0,"0"0"-43"0,23 1-23 0,-13 0-21 16,1-1-21-16,1 2 65 16,6-1-62-16,0-1-15 0,0 0-31 15,3 0-107-15,1-1-11 0,2-1-15 0,1 1-5 0,-2 1-26 16,-4-1-22-16,3 0 2 0,-4 0-34 16,0 1-25-16,-3-3-10 0,1 2-31 0,-6 1-18 15,0 0-23-15,1 0-5 0,-1 0-46 0,-2-1-34 16,-3 0-30-16,-5 1-38 0,10-3-147 15,-7-3 8-15,-3 6-542 0,0 0 66 0,0 0 74 16,0 0 106-16,0 0 109 0</inkml:trace>
  <inkml:trace contextRef="#ctx0" brushRef="#br1" timeOffset="53120.15">8164 9732 1013 0,'3'-2'364'0,"-3"2"-19"15,8-2 39-15,-8 2-33 0,8 1-39 16,-8-1 3-16,7 3-51 0,-2-3-6 0,-3 5-25 16,-2-1-31-16,0-1-15 0,0 4-18 15,0-2-20-15,-4 1-1 0,1 1-12 0,0 2-24 16,-4-1 9-16,4 0-40 0,-1-2 4 0,1 0 2 15,0 0-10-15,0-1-39 0,3 0 16 16,-2-1 7-16,2 1-25 0,2-1-5 0,1-2 12 16,0 5 3-16,2-1-38 0,0-1 25 0,2 0-71 15,-1 1 0-15,-1-3 2 0,2 3 3 0,-1 0 7 16,-1 0 11-16,0-1-1 16,0 0 3-16,0-1 24 0,-4 1-6 0,1 0 10 15,-2 1-5-15,0-1 26 0,-2-2 0 0,-4 3-21 16,1 1 6-16,-2-3 7 0,-1 3-2 0,-1-2-1 15,-3-1-4-15,0 0-19 0,1 1-7 16,-2-3 8-16,0 3-39 0,1-3-15 16,1 1-36-16,1-1-18 0,0-2-39 0,0 3-25 0,2-2-51 15,0-1-151-15,-2-1-87 0,7 1-423 16,1-3 50-16,2 3 83 0,0-5 116 0,0 5 41 16</inkml:trace>
  <inkml:trace contextRef="#ctx0" brushRef="#br1" timeOffset="53353.87">8370 9700 1067 0,'0'0'397'0,"3"0"-39"0,-3 0-30 16,0 0-3-16,0 0-51 0,4 7-18 0,-1-1-8 16,-3 0-20-16,0 3-47 0,0 0 6 15,-3 3 69-15,3 1-28 0,-2 0-21 16,2 4-33-16,-3-2-7 0,-2 3-32 0,3 0-37 0,-1-1-6 15,0-2-79-15,-1 1-16 0,3-3-40 16,-1 2-24-16,-1-4-43 0,0 1-64 0,3-3-115 16,-7 2-162-16,7-4-450 0,0 0 95 15,0-2 48-15,3 0 111 0,-3-4 71 0</inkml:trace>
  <inkml:trace contextRef="#ctx0" brushRef="#br1" timeOffset="53580.94">8293 9881 1410 0,'0'0'432'0,"0"-6"-96"0,0 6-47 0,2-2-10 0,-2 2-3 16,8-4-43-16,-3 4-5 0,3 0 49 16,2-2-34-16,0 2-15 0,1 0-16 0,6-1-22 0,-1-1-37 15,1 2 8-15,0-1-35 16,1 1-37-16,-1 1-27 0,1-2-47 0,2 1-15 15,-4 0-54-15,2-2-43 0,-1 1-59 0,-1 1-126 16,-3 0-258-16,3-3-396 0,-2 2 116 0,0-1 76 16,-4 1 150-16,1-2 10 0</inkml:trace>
  <inkml:trace contextRef="#ctx0" brushRef="#br1" timeOffset="54044.74">8844 9719 1336 0,'0'0'440'0,"10"4"-38"15,-5-2-39-15,1 2-38 0,-2-1-15 16,-1 2-33-16,0 1-42 0,-3 1-15 0,0-1-36 15,0 0 11-15,-3 2-16 0,-2 3-12 0,0-1-34 16,-1-2-74-16,2 0-3 0,-2-2-18 16,4 3-10-16,-3-2 6 0,4-1-14 0,-1 0-7 15,0-3 13-15,0 3-16 0,2-1 5 16,2 0-10-16,0-2 29 0,0 3-14 0,4 0 6 16,-3 0 17-16,4 0-7 0,-2-1-8 0,3 1 26 15,0 0-21-15,-3-1 16 0,2 0 81 16,1 1-4-16,-2-1-11 0,-2 2-10 0,-1-1 18 15,2 0-18-15,-4 1 2 0,-1 0-22 0,-1 1 2 16,-1-1-11-16,-3 1 1 0,0-2 5 16,-3 1-5-16,-2 3-28 15,0-3-39-15,-1 1-15 0,-4-2-34 0,0 3-12 16,4-2-56-16,-2-1-37 0,2-2-45 0,-1 1-52 0,2-4-135 0,2 4-569 16,0-5-12-16,3 0 95 0,0 0 83 15,5 0 91-15,-5-6 71 0,5 1 64 16</inkml:trace>
  <inkml:trace contextRef="#ctx0" brushRef="#br1" timeOffset="54274.52">9090 9737 1471 0,'0'7'418'15,"3"-1"-50"-15,-1 1-17 0,-2 4-39 16,2-1 57-16,-1 3-6 0,-1 2-53 0,2 1-18 15,-2-1-29-15,0 3-35 0,-2 1-18 16,1-1-61-16,-1 1-24 0,0-1-51 0,-1 0-58 0,0-2-45 16,1 0-40-16,0-2-79 0,-1-1-139 15,3 0-263-15,0-3-374 0,-3-2 115 16,3-1 74-16,0 0 85 0,-2-4 77 0,2 0 76 16</inkml:trace>
  <inkml:trace contextRef="#ctx0" brushRef="#br1" timeOffset="54482.36">8985 9894 1269 0,'-2'-6'397'0,"2"6"-31"0,0 0-36 0,4-3 69 0,-4 3-4 16,8-3-60-16,-8 3-36 0,16 0-17 0,-6 0-21 0,3 0-48 16,5 0 22-16,-1 0-40 15,7-1-37-15,1 2-32 0,1-2-11 0,-1 0-59 16,6 0-38-16,0-3-36 0,-6 4-46 0,-1 0-71 15,1-1-70-15,-2 0-197 0,1 0-555 0,-1-2 86 16,-3 2 121-16,-2 0 44 0,-3-3 84 16,1 4 97-16</inkml:trace>
  <inkml:trace contextRef="#ctx0" brushRef="#br1" timeOffset="54907.18">9554 9781 1126 0,'11'0'468'15,"-4"0"-107"-15,-2 4-28 0,1-1-16 16,1-2-30-16,-2 4-13 0,-3 0-8 0,4-1 31 0,-4 1-28 15,-2 3-34-15,0-2-12 0,-2 3-31 16,-1-3-8-16,0 4-25 0,-1-1-13 0,-2-2-11 16,4 2-27-16,0-3-11 0,-1 2-17 15,0-2-11-15,1 0-5 0,2 0 0 0,0 0-11 16,0 1-4-16,2 1 0 0,-2-2-6 0,3 1 16 16,-3-1-15-16,0 0 20 15,0 1 2-15,0 2-12 0,-3-1 15 0,3-1 8 0,-5 4-23 16,0-3 15-16,0 2 7 15,-3-1 4-15,-2 4-21 0,-3-2-16 0,5-2 3 0,-4 1-5 0,1-3-10 16,1 3-18 0,2-4-26-16,-2 0-13 0,2-3-43 0,0 2-38 0,1-1-39 0,0-1-44 15,1-2-63-15,1 2-208 16,0-3-581-16,5 0 88 0,-3-3 124 0,3 3 39 0,0-8 210 16,3 3-2-1,-1-3 7-15</inkml:trace>
  <inkml:trace contextRef="#ctx0" brushRef="#br1" timeOffset="55102.6">9687 9812 1021 0,'3'-4'448'0,"2"3"56"0,-5 1-28 15,0 0-36-15,10 5-4 0,-7-4-14 16,2 5-128-16,-3 0-38 0,1 0-43 0,0 5 48 16,-1-3-18-16,1 5-23 0,-1 0-7 0,1 2-24 15,-3 0-12-15,3-2-21 0,-6 3-26 0,3-1-58 16,0 1-8-16,0-1-51 15,-3-2-59-15,3 3-54 0,-2-4-31 0,0 1-76 16,1-4-98-16,-1 1-286 0,2-2-384 0,0-1 89 16,0-1 88-16,0-2 71 0,0-4 71 0,0 2 52 15</inkml:trace>
  <inkml:trace contextRef="#ctx0" brushRef="#br1" timeOffset="55320.8">9685 9928 1499 0,'0'0'469'0,"5"-5"-42"0,-5 5-99 15,8 0-11-15,-1-1-25 0,1-1-38 0,0 1-14 16,2 1-38-16,5-2-25 0,1-3-26 0,-1 5-25 16,3-1-52-16,2-3-31 0,1 3-33 0,-1-1-56 15,1-2-28-15,-1 1-41 0,-1 1-82 16,1 0-133-16,0 0-218 0,-4 2-279 15,2-3 67-15,0 2 117 0,0 1 32 0</inkml:trace>
  <inkml:trace contextRef="#ctx0" brushRef="#br1" timeOffset="55807.56">10008 9807 1098 0,'0'0'465'0,"13"3"-58"16,-8-1-41-16,3 3-43 0,-4-2 7 0,2 2-41 15,-1 1-20-15,-2-1-105 0,1 2-21 16,-4 0 8-16,0-1-35 0,0 1 6 0,-2-1-40 16,0 1 18-16,-1-1-28 0,3-1 0 0,-3 1-26 15,3 0-8-15,0-1-7 0,3-2-1 16,-3 2 4-16,0 1-27 0,3-2 27 0,-1 2-11 15,1-2 15-15,2 5-12 0,-3-1-8 0,1-2 23 16,-1 1 2-16,1 1-10 0,-3 1 19 0,1-1 14 16,1 0-20-16,-2 3 11 0,-3-4-19 15,-2 4 0 1,0 0 13-16,-1-2-4 0,-1 3-9 16,-4-2-28-16,-1-1 0 0,1-2-2 0,1 2-31 15,0-2-13-15,0-2-35 0,2-1-45 0,0 1-24 0,1-5-73 0,-1 4-84 16,0-4-107-16,4-3-510 0,4 3 77 0,0 0 118 15,-4-7 40-15,4 2 73 0</inkml:trace>
  <inkml:trace contextRef="#ctx0" brushRef="#br1" timeOffset="56063.85">10449 9766 1318 0,'0'0'443'16,"7"3"-34"-16,-6 1-33 0,1 1 52 0,1-2-16 16,-1 5-26-16,1 1-32 0,-3 0-37 0,2 4-104 15,1 1-21-15,-3 0-31 0,0 1-13 16,0 2-7-16,0-2-13 0,-3 4-28 16,1-1-21-16,2 0-40 0,-3 1-60 0,-2-2-30 0,2-3-26 15,-1 4-35-15,1-4-50 0,-2-2-35 16,3 0-82-16,-6-1-146 0,5-3-512 15,3-2 103-15,0 1 92 0,-3-3 68 0,3-2 63 16,-2 2 96-16</inkml:trace>
  <inkml:trace contextRef="#ctx0" brushRef="#br1" timeOffset="56345.54">10344 9941 1197 0,'0'0'474'16,"8"-2"-31"-16,-3 2-13 0,3 0-41 0,2 2-33 15,2-2-34-15,-1 0-17 0,6 1-34 0,-1 0-43 16,2 0-5-16,0-1-26 0,0 0-16 0,2 4-19 16,-2-4-29-16,0 1-33 0,-3-1-18 15,-2 1-34-15,0-1-17 0,-2 0-36 0,-1 1-28 16,-2-1-49-16,2 0 15 0,-5 2-28 15,0-1-99-15,-5-1-129 0,7 3-611 0,-3-3 59 0,-4 3 86 16,0-3 111-16,0 0 28 16,-8 6 110-16</inkml:trace>
  <inkml:trace contextRef="#ctx0" brushRef="#br1" timeOffset="57174.71">11015 9803 1305 0,'-8'9'356'0,"-1"-1"-18"15,-2 3-41-15,-1 1-34 0,-4 1 1 0,1 0-44 16,-3 1-20-16,3 1-16 0,-3-1-18 0,2-1-12 16,3 0-34-16,1-2 21 0,4-3-36 0,-2 1-18 15,2-2 8 1,3 1-11-16,-1-2-10 0,4 1 21 0,0-4-28 0,-1 0 9 15,6 2-9-15,-3-5 7 0,4 2-5 0,2 2 0 16,1-2-20-16,1 0 2 16,2-1-2-16,1 0 10 0,1-2-5 0,4 0-8 15,2-1-80-15,2 2-2 16,1-3-25-16,-1-1-11 0,1 2-27 0,-1-2 4 0,-1 1-43 0,-1-1-24 0,-3 0 6 16,0 2-38-16,-2-3-62 0,-1 4-77 15,-2-4-491-15,-2 4 97 16,-2-1 71-16,-1-2 65 0,0 1 28 0</inkml:trace>
  <inkml:trace contextRef="#ctx0" brushRef="#br1" timeOffset="57395.78">11028 9808 952 0,'-5'-1'402'0,"5"1"-18"15,0 0-24-15,-8 5-37 0,4 1-13 0,0 1-24 16,0 0-109-16,-1 3-3 15,2-2-28-15,1 5-21 0,-1-1-2 0,0 4-13 0,-1-1 3 16,1-1-13-16,-2 4-3 0,2-1-15 16,-2-2-23-16,0 2-28 0,2 0-34 0,0-3-15 15,1 0-46-15,0-1-64 0,2 1-107 16,-3-2-119-16,3-2-465 0,0 1 74 0,3-3 52 16,1-1 68-16,-4-2 90 0</inkml:trace>
  <inkml:trace contextRef="#ctx0" brushRef="#br1" timeOffset="57616.88">11375 9788 1156 0,'0'0'377'0,"2"-3"53"15,-2 3-44-15,0 0-40 0,0 0-16 16,-2 12-46-16,4-5-23 0,-2 1-10 15,0 3-102-15,0 1-29 0,0 1 5 0,0 2-12 16,2 0-13-16,-2 0-11 0,0 2-25 0,0-2-53 16,-2 2-24-16,2-2-41 0,0 1-38 15,-2-2-54-15,1-1-97 0,1-3-131 0,-2 4-442 16,2-4 63-16,-3 0 59 0,3-2 75 0,-2-1 51 16</inkml:trace>
  <inkml:trace contextRef="#ctx0" brushRef="#br1" timeOffset="57843.24">11293 9943 1167 0,'0'-5'453'0,"4"3"-44"0,-1-2-32 0,2 2-86 0,3-3-50 0,0 2-16 15,-1 0-23-15,6 1-25 0,0-3-8 0,0 5-26 16,2-2-10-16,0-2-58 0,-1 4 2 0,1-2-60 15,1 2-42-15,1-3-85 0,-1 3-103 16,2-7-140-16,0 6-492 0,-1-1 95 16,3-2 62-16,1 3 102 0,0-3 40 0</inkml:trace>
  <inkml:trace contextRef="#ctx0" brushRef="#br1" timeOffset="58166.92">11948 9813 977 0,'0'0'371'15,"0"0"-15"-15,0 0 54 0,0 0-54 16,0 0-19-16,-14 9-19 0,8-5-85 0,-1 1 2 16,-4 1-58-16,1 1 0 0,-3 3-21 0,-2-1-16 15,2-3 63-15,-2 6-16 0,-1-2-3 0,4-1-28 16,-1 0-18-16,-3 0-7 0,6-2-14 0,0 0-14 16,2 2-1-16,-2-2 11 15,5 0-49-15,-1 0 15 0,4-2-5 0,-1 2 1 16,1-2-16-16,2 0-1 0,3-2-1 0,-1 2-11 15,3-2 18-15,2 2-23 0,1-1 18 0,2-2-29 16,-2 2 6-16,5-3-8 0,0 1-7 16,2 0-21-16,1-1-5 0,-1 0-31 0,1-1-5 15,1-1-49-15,-1 1-9 16,-1-1-29-16,1-1-26 0,-4 2-7 0,2-3-1 0,-4-1-68 0,2 3-87 16,-4-1-195-16,0-1-430 0,-3 0 105 15,0 0 61-15,0 2 118 0,-3-3 11 0,-1 1 71 16</inkml:trace>
  <inkml:trace contextRef="#ctx0" brushRef="#br1" timeOffset="58390.15">11941 9819 888 0,'-5'5'379'15,"2"-3"43"-15,-2 4-33 0,3 4-20 16,-1-2-37-16,-2 2-19 0,2 2-6 15,1 1-36-15,-1 2-38 0,0 2-21 0,-1 1-20 0,1-2-10 16,0 3-18-16,1 0 2 0,0-1-33 16,-1 3-25-16,0-4-21 0,1 0-31 0,-1 2-33 15,-2-1-41-15,5-5-35 0,-2 1-16 0,1-3-34 16,1 2-71-16,-2-6-138 0,2 4-215 16,2-5-346-16,-2 1 107 0,1-1 16 0,1-2 93 15,0-2 78-15</inkml:trace>
  <inkml:trace contextRef="#ctx0" brushRef="#br1" timeOffset="59138.75">12248 9791 944 0,'0'0'445'0,"0"0"-35"0,0 0-21 0,0 0-49 15,-2 16-17-15,0-6-100 0,2-1-39 16,0 4-13-16,-3-2-14 0,3 5-27 0,0-2-4 16,0 0-29-16,-3 2-20 0,3-1-29 15,0-2-17-15,-2 0-31 0,4 2-38 0,-4-2-14 16,2 1-83-16,0-3-73 0,0 0-101 0,2-1-439 16,-2-1 34-16,0 0 20 0,3-2 88 15,-3-1 73-15</inkml:trace>
  <inkml:trace contextRef="#ctx0" brushRef="#br1" timeOffset="59394.96">12064 9929 1200 0,'5'-4'402'0,"0"4"-23"0,-5 0-26 0,11-5-43 16,-1 4-21-16,0 1-20 0,1-1-29 16,4 2-22-16,0-1-24 0,3 0-76 0,0 0-31 15,3 3-15-15,2 0-21 0,-1-3-25 16,-1 0-14-16,2 0-47 0,-5 3-35 0,0-2-65 16,0 0-119-16,0-2-89 0,0 3-455 0,-3-2 76 15,3 0 41-15,-2 0 62 0,-1-1 119 16</inkml:trace>
  <inkml:trace contextRef="#ctx0" brushRef="#br1" timeOffset="60014.05">13056 9831 711 0,'0'0'335'16,"0"0"-40"-16,0 0-21 0,0 0-26 0,0 0 41 16,0 0-28-16,0 0-18 0,-15 6-4 15,7-4-86-15,0 3-15 0,-2 1-15 0,-2-6-23 0,2 6-10 16,-1 1-6-16,-2-3 21 15,0 2-15-15,3-3-11 0,-2 3-10 0,4-2-8 0,0-3-7 16,3 3-15-16,-1 0 4 0,2-1-2 16,4 0-2-16,-3 0-14 0,3-3 8 15,7 6 3-15,-1-4-23 0,2 3 13 0,-1-3-1 16,6 4-4-16,0-1-3 0,0 0-6 0,2 3 14 16,0-2 0-16,1 0 12 0,-3 1 21 0,-3-2 2 15,2 2 3-15,-4 0 28 16,0-2-25-16,-3 2 15 0,-2 0 2 0,-1-1-15 0,-2 1-2 15,-2-1-6-15,-4 0 9 0,2 1-12 16,-6-1 68-16,-1 1 2 0,-2 0-23 0,0 0-13 0,-2 0-13 16,0-4-33-16,2 3 8 0,-3-3-49 15,1 0-20-15,5-2-31 0,0 2-59 16,-1-2-59 0,4-1-59-16,1-5-179 0,2 5-565 0,4 0 81 0,0 0 70 0,-1-6 79 0,1 6 148 15,5-6 10-15</inkml:trace>
  <inkml:trace contextRef="#ctx0" brushRef="#br1" timeOffset="60178.23">13341 9993 1018 0,'5'-1'353'0,"-5"1"-4"16,0 0-58-16,0 0-53 0,0 0-74 15,0-5-56-15,0 5-83 0,0 0-109 0,0 0-129 16,0 0-503-16,8 0 53 0,-8 0 107 0</inkml:trace>
  <inkml:trace contextRef="#ctx0" brushRef="#br1" timeOffset="61524.1">1716 9994 842 0,'0'0'330'0,"0"0"-26"16,0 0-48-16,0 0-15 0,0 0-16 0,13-5-15 15,-13 5-28-15,13-2-26 16,-5 1-10-16,2-1 43 0,0-1-68 0,1 3-32 0,1-2-45 16,1-1-47-16,0 3-94 0,2-1-110 0,-4 0-472 15,1 1-58-15,-2 0 97 16,-1 0 36-16</inkml:trace>
  <inkml:trace contextRef="#ctx0" brushRef="#br1" timeOffset="61699.77">1755 10094 622 0,'0'0'273'0,"0"0"-35"0,0 0 52 16,20-6-22-16,-12 4-45 0,2-2-39 0,3 2-66 15,0-3-38-15,2 3-55 0,-2-2-79 0,2 1-92 16,1-1-289 0,0 1-220-16,-1 0 38 0</inkml:trace>
  <inkml:trace contextRef="#ctx0" brushRef="#br1" timeOffset="62442.21">1816 11299 1453 0,'0'0'453'0,"0"0"-28"0,0 0-69 0,0 0-23 16,16-5-26 0,-9 5-30-16,4-3-32 0,1 0-19 0,2 0-24 0,1-1-46 15,2 1-28-15,1 0-54 0,0-3-30 0,1 4-42 16,-1-3-27-16,-4 3-50 0,-1-1-60 0,1 2-142 15,-4-1-173-15,-3 4-351 0,1-2 61 16,-3 3-8-16,-4 0 121 0,1 2 97 16</inkml:trace>
  <inkml:trace contextRef="#ctx0" brushRef="#br1" timeOffset="62632.54">1888 11431 952 0,'0'0'338'0,"-3"5"40"16,3-5-22-16,0 0-5 0,0 0-54 15,8 5-18-15,-8-5-10 0,8 0-26 0,2 1-28 16,-2-2-18-16,5 0-31 0,-2-1-22 16,6 0-34-16,-2 0-44 0,3-3-22 15,0 1-29-15,0-2-46 0,0 2-68 0,-3 0-127 0,-2-1-127 16,0 3-497-16,2-3 54 0,-2 0 123 16,-5 2 23-16,2-1 105 0</inkml:trace>
  <inkml:trace contextRef="#ctx0" brushRef="#br1" timeOffset="158847.28">3208 11055 1282 0,'0'-5'320'15,"0"-1"-26"-15,3 4-10 0,-2-4-28 0,1 1-18 16,3 0-23-16,-2-2-12 0,2 4-24 0,3-2-21 16,1-1-9-16,0 1-16 0,0 4 5 0,2 0-17 15,-1 0-11-15,0-1-11 0,0 5 9 16,1-1-18-16,-3 2-14 0,-1 2-1 0,0 2 4 16,-1 2-15-16,-4-1 5 0,-2 4-15 0,0 2-11 15,-5 2 3-15,0 0-7 0,-5 5-11 16,0-1 3-16,-1-1 7 0,-7 5-17 0,3-2-9 15,5-8 16-15,-5 1-25 0,4-3 5 16,1-1-1-16,2-3 14 0,0 0-24 0,4-5 3 0,-2 3-7 16,2-2 9-16,1 2 1 0,0-3-11 15,3-2-5-15,0-2 11 16,5 6 17-16,-2-3-7 0,5-3 15 0,0 1-28 0,2-1 10 16,2 0 0-16,-1-2-3 0,4 0-4 0,0 1 17 15,3-2-12-15,-3 0 20 0,3 3-15 0,-2-3 2 16,-3 1-13-16,2-2 3 15,0 1-10-15,-4 2-23 0,1 0-29 16,-1-3-22-16,-4 4-44 0,1-2-26 0,0 1-40 0,-3 1-136 0,0 0-37 16,0-1-490-1,-5 1 63-15,8 0 108 0,-8 0 29 0,0 0 109 0</inkml:trace>
  <inkml:trace contextRef="#ctx0" brushRef="#br1" timeOffset="159105.56">3616 11201 1540 0,'0'0'466'0,"-4"-3"-38"16,4 3-55-16,0 0-60 0,0 0-37 0,0 0-45 0,-1-4-47 15,1 4-74-15,0 0-56 0,0 0-42 0,0 0-45 0,0 0-115 16,5-7-144-16,-2 7-553 0,2 0 62 16,0-1 125-16,-5 1 16 0,8-1 119 15</inkml:trace>
  <inkml:trace contextRef="#ctx0" brushRef="#br1" timeOffset="159514.79">4083 10815 1180 0,'-10'7'389'16,"0"2"-46"-16,-4 5 61 0,-1 3-38 0,-3 12-97 16,-2-1-39-16,4 4-22 0,1 1-14 0,2 1-25 0,3 1-15 15,0-1-19-15,7-4-17 0,0-6-28 16,3-3-11-16,3-2-23 0,4 0 24 0,1-4-19 16,3-1-23-16,4-2-7 0,-2-2 15 15,7-4-25-15,-4-1 12 16,4-2-13-16,-2-6 6 0,0 3-5 0,0-5 7 0,0 1 5 0,-3-2-10 15,-2 0 21-15,0 1-11 16,-5-2 5 0,2 0-10-16,-7 0-7 0,-1 1 4 0,-2 0 9 0,-2-1-16 0,-4 2-6 0,-4-2-19 0,-1 2-11 15,-3 2-28 1,0 1-16-16,0 1-35 0,-2 1-31 0,1 1-51 0,2 1-52 0,-2 1-117 16,4 0-245-16,-5 5-247 0,4-2 82 15,0 4 103-15,1-1 41 0</inkml:trace>
  <inkml:trace contextRef="#ctx0" brushRef="#br1" timeOffset="161707.41">3124 11669 988 0,'3'-6'376'0,"5"3"33"0,4-4-43 15,6 0-35-15,15-6-27 0,8-1-35 16,3 0 2-16,15-4-43 0,0-1-26 0,0 2 8 16,5-4-38-16,-2 4-24 0,2-2-33 15,0 1 1-15,-1 1-29 16,-4 1-21-16,-12 4-40 0,-1-1-21 15,-2 2-36-15,-4 2-43 0,-1-2-57 0,-11 6-102 0,-4-2-145 16,-4 5-488-16,-5-2 99 0,-1 2 52 0,-5 1 93 0,-4 1 52 0</inkml:trace>
  <inkml:trace contextRef="#ctx0" brushRef="#br1" timeOffset="161972.51">2752 11994 926 0,'21'-14'382'0,"-6"4"-47"0,8-1-31 16,11-5-22-16,6-1-21 0,11-4-18 0,6-3-51 0,2 4-5 0,5-4-8 0,3 3-25 16,2-2-21-16,-2 3-20 15,-3-1 15-15,-2 0-23 0,-4 2-21 0,-1 1 52 16,-9 6-34-16,-4-1-35 0,-3 0-37 15,0 1-37-15,-10 5-24 0,-5 1-87 0,-3-1-107 0,-3 1-139 16,-2 0-478-16,-5 3 59 0,0-1 143 16,0-1-5-16,-6 3 77 0</inkml:trace>
  <inkml:trace contextRef="#ctx0" brushRef="#br1" timeOffset="162626.81">4429 10850 1228 0,'0'0'461'0,"0"0"-62"0,0 0-30 0,0 0-31 16,0 0-36-16,0 0-10 0,-16 12-6 0,9-1-37 15,-1-2-27-15,1 3-81 0,-4 0-23 16,1 2-8-16,2 1-8 0,-2-1-7 0,2-1 7 16,0 0-22-16,1 0-4 0,0-1 6 0,1-1-13 15,1-1-10-15,2-2 10 0,1 0-15 16,2-1-13-16,-2-1 0 0,4 0-5 0,0-1 0 16,3-3 5-16,1 3-13 0,4-4 8 0,0-1-11 15,3 0 16-15,2-1-25 0,5-2 2 16,1-2-16-16,0 1-10 0,5-2-25 0,-1-1-3 0,-1-2-25 15,-4 4-11-15,0-1-20 0,-1-1 23 16,-2 2-46-16,-2-1-18 0,-4 1-31 16,1 2-41-16,-1 0-166 0,-4-1-98 0,-1 1-401 15,-1 1 56-15,-3 1 108 0,-2 1 66 0,0 0 148 16</inkml:trace>
  <inkml:trace contextRef="#ctx0" brushRef="#br1" timeOffset="162804.34">4446 10874 1361 0,'6'19'476'0,"2"0"-125"0,-5 4-5 16,4 10-44-16,1 4-31 0,1 4-15 0,-1 4-21 16,0 12-40-16,-3-9-64 0,1 10-60 0,1 0-45 15,1-10-70-15,-3-2-66 0,3-2-174 16,2-1-169-1,0-1-353-15,3-6 51 0,-3-2 122 0,1-2 22 0</inkml:trace>
</inkml:ink>
</file>

<file path=ppt/ink/ink7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40:02.812"/>
    </inkml:context>
    <inkml:brush xml:id="br0">
      <inkml:brushProperty name="width" value="0.05292" units="cm"/>
      <inkml:brushProperty name="height" value="0.05292" units="cm"/>
      <inkml:brushProperty name="color" value="#0070C0"/>
    </inkml:brush>
  </inkml:definitions>
  <inkml:trace contextRef="#ctx0" brushRef="#br0">12105 11663 1251 0,'0'0'382'0,"0"0"-22"0,0 0-75 15,0 0-27-15,0 0-22 0,0 0-9 0,0 0-4 0,0 0-13 16,0 0-3-16,0 0-4 0,-13 10-34 15,4-8 7-15,1 3-27 0,-3 1-16 16,1-1-3-16,-3 1 3 0,3 0-33 0,-5-1-3 16,-1 2-15-16,6-3-18 0,-5 1 3 0,2 0-24 15,-1-3-9-15,4 3-27 0,0-3-7 16,0 0-30-16,-1 2-14 0,1-3-7 0,3 2-62 16,-1-2-27-16,1 0-45 0,1 2-99 0,1-1-90 15,0 3-56-15,2-1-407 0,1 0 59 0,2 1 92 16,0 1 57-16,0-2 45 15</inkml:trace>
  <inkml:trace contextRef="#ctx0" brushRef="#br0" timeOffset="214.68">12121 11844 1451 0,'0'0'409'0,"-16"7"-37"0,8-5-9 0,-2 1-61 15,2 0-33-15,-4 0-18 0,1 3-26 16,-1-1-23-16,-4 2-43 0,3-2-6 16,1-2-32-16,-1 3-32 0,0-1-30 0,0-1-15 15,1 0-47-15,1 0-17 0,1-1-44 0,-3-1-52 16,2 0-101-16,1-2-126 0,3 1-456 0,-1 2-12 16,0-3 143-16,1 1 69 0,2-1-21 15</inkml:trace>
  <inkml:trace contextRef="#ctx0" brushRef="#br0" timeOffset="592.54">11848 11609 1054 0,'0'0'538'0,"-10"2"-57"0,0-1-49 0,0 6-30 16,-3 3-33-16,-5 3-52 0,-7 6-38 16,-1 2-5-16,3 3-43 0,-5 1-4 15,5 3-37-15,-1-2-6 0,1 0-23 0,3 2-5 16,2 0-30-16,3-5-6 0,2-3-10 0,5 0-20 16,-2 1-6-16,3-5-22 0,1 2 4 0,3-4-7 15,3 0-5-15,0-1 0 16,3-1-21-16,3 0-10 15,1 0 8-15,6 0-16 0,-1-2-2 0,4-2-34 0,-1 0-12 0,5-2-13 0,1 0-46 32,3-1 7-32,-1-2-25 0,2-1-10 15,-1-1-28-15,1 0-9 0,1-2-73 0,-1 0-74 0,1-1-224 0,0 2-414 0,-3-3 98 16,-1 2 63-16,-1 0 128 0,-1 1 59 0</inkml:trace>
  <inkml:trace contextRef="#ctx0" brushRef="#br0" timeOffset="4692.32">20504 1759 1343 0,'0'0'430'0,"0"-5"-33"0,0 5-39 0,0 0-38 0,1-6-18 0,-1 6-33 0,4-4-15 16,1 2-65-16,-2 1-28 0,5 0-15 0,-3 0-20 15,3 1 32-15,5-1-37 0,-3 1-22 16,0 1 22-16,3 0-42 0,-3 0 13 16,3 3 13-16,0 1-25 0,-3-1-14 0,3 1 3 15,-2 1 0-15,-1 1-7 0,-3 1-1 0,0 1 6 16,-1-1-3-16,-1 2-23 0,-5-1 20 16,0 1-20-16,0 0 79 0,-3 2-20 0,-1 1-2 15,-2-2-14 1,-2 2-2-16,1-2-18 0,-3 2-13 0,-3-3 0 15,2-1-46-15,1 0 11 0,-2-1-52 0,1-1-13 0,-1-2-28 0,1 0-7 16,3-1-36-16,-2-1-24 0,2-2-14 0,1-1-50 16,-1 1-66-16,3-2-97 0,0 1-120 0,0-4-446 15,3 2 97-15,1-1 65 16,1 3 114-16,0-8 6 0,1 4 125 0</inkml:trace>
  <inkml:trace contextRef="#ctx0" brushRef="#br0" timeOffset="5008.85">20830 1662 1028 0,'0'0'441'0,"-21"8"-111"0,16-3-33 16,-5 0 5-16,4 2-21 15,-4 1-19-15,3 1-35 0,0 3-14 0,-2-1-13 16,1 2-19-16,-1 1 1 0,4 1-16 0,-1-1-17 0,1-2-3 15,0 1-16-15,3-1-30 0,1 2 18 16,1-3-6-16,1 0 6 0,-1 0-33 16,5 1 17-16,-2-2-5 0,4 1-25 0,0-3-5 15,-1-1-9-15,5 0 4 0,-1 0-1 0,2-2-2 16,0 0 33-16,-1-1-28 0,3 0 5 16,-4-1-23-16,0-1-35 15,0-1-27-15,2 0-12 0,-3 1-26 0,1-4-27 0,0 2-12 0,0-1-58 16,0-1-56-16,0-2-110 15,-3 2-206-15,5-2-411 0,2 0 84 0,-3 0 85 16,5-1 74-16,-1-1 97 0,5 1-13 0</inkml:trace>
  <inkml:trace contextRef="#ctx0" brushRef="#br0" timeOffset="5889.85">23523 1675 1026 0,'2'-5'279'0,"0"1"-33"0,3-2 12 0,-2-1-27 0,1-2-27 16,-3 1-1-16,2-2-22 0,-1 0 1 0,-2-1-10 16,0-3-1-16,2 1-23 0,-2-1-9 0,1-3 7 15,-2 2-13-15,-1-1 0 0,2 1 5 16,-2-3 3-1,2 4-21-15,-3-2 16 0,3 3-18 0,-1 2 71 0,-3 1-18 0,4 2 9 0,-2 0-22 16,0 0-7-16,-2 2-87 0,2 1-15 16,-1 3-11-16,3 2 34 0,-10 0-31 0,10 0 26 15,-13 7-21-15,6 0 15 0,1 3-25 16,-2 2-5-16,1 3 17 0,0 2-14 0,-2 3 86 0,2 1-2 16,-1 3-19-16,3 0-12 15,2 1-12-15,-2 2 17 16,2 1-31-16,-2-3-7 0,3 2 18 0,-3 0-13 15,2 1-8-15,1-2-18 0,-3 0 3 0,2-1 2 16,-2-1-25-16,3-4 8 0,0 0-4 0,-2 0-1 0,2-3 12 0,-1-2-33 16,3-1 25-16,-3-1-30 0,1-1 0 15,2-1-3-15,-2-2 3 0,2-1-13 0,-1 0-13 16,0-1-26-16,0-1-7 16,-2-1-10-16,3 0-36 0,0 0 0 0,0-1 5 0,0-4 10 0,0 7-38 15,0-4-3-15,0-3 0 0,0 4 5 16,0-4-30-16,3 1-36 0,-3-1-57 0,0 0-145 15,0 0 2-15,0 0-504 16,0 0 66-16,0 0 126 0,5-5-15 0,-5 5 132 0</inkml:trace>
  <inkml:trace contextRef="#ctx0" brushRef="#br0" timeOffset="6524.67">23106 1904 1149 0,'0'0'374'0,"-7"-1"-44"0,7 1-13 0,0 0-48 0,0 0-18 16,-5-2-16-16,5 2 6 15,0 0-44-15,0 0-3 0,0 0-7 0,21 0-31 0,-11 1-2 16,4-1-16-16,0 0-5 0,4 0-12 0,-1 0-21 15,4 1-16-15,3-2 18 0,1 1 42 16,1 0-29-16,5 0 10 0,1-1-22 0,-3 0 2 16,-1 1-31-16,-2 0 15 0,-1-3-19 15,1 2-9-15,-3 0-12 0,0 0-14 0,0-1 35 16,-1 1-32-16,-3 0 6 0,-3-1 12 16,0-1-25-16,1 3 20 0,-4 0-23 0,-2-2-3 15,1 2 19-15,-2 0-26 0,-2-1 36 0,0 1-3 16,-1 0 8-16,1-1-26 15,-1 1 16-15,-7 0-8 0,9 0-34 0,-9 0 39 0,10 0-12 16,-10 0 22-16,7 0-30 0,-7 0-1 0,0 0-7 16,8 0 3-16,-8 0 12 0,0 0-26 0,8 0 1 15,-8 0 5-15,0 0-3 0,0 0-15 16,7 0 20-16,-7 0 11 0,0 0 7 0,0 0 6 16,0 0-26-16,0 0 4 0,5 0 4 0,-5 0-26 15,0 0 12-15,0 0-12 0,0 0-5 0,0 0 8 16,0 0 14-16,0 0-14 0,0 0-8 15,0 0 12-15,0 0-4 16,0 0 7-16,0 0 5 0,0 0 10 0,0 0-17 0,0 0-6 16,0 0 11-16,0 0 2 0,0 0-17 0,0 0 14 15,0 0 4-15,0 0-11 0,0 0 5 16,0 0-46-16,0 0 0 0,0 0-3 0,0 0-15 16,0 0-7-16,0 0-16 0,0 0-5 0,0 0-8 15,0 0-17-15,0 0-1 0,0 0-13 0,0 0-37 16,0 0-6-16,-4-7-23 15,4 7-49-15,0 0-53 0,-8-3-170 0,5 2 65 16,3 1-481-16,-8 1 40 0,8-1 157 0,0 0 4 16,-12 1 103-16</inkml:trace>
  <inkml:trace contextRef="#ctx0" brushRef="#br0" timeOffset="9541.39">1986 4170 1563 0,'-3'-2'482'16,"3"2"-47"-16,0 0-26 0,0 0-35 0,10-6-59 15,-2 3-16-15,2 3-22 0,5-2-62 16,2 2 20-16,5-3-40 0,-2 1-8 0,3 2-34 15,1-2-30-15,-1 1-41 0,0 1-64 0,0-3-46 0,0 3-34 16,-5 0-66-16,0 0-81 16,-3 0-211-16,-2 0-545 0,-3 4 118 15,0-2 61-15,-6 2 92 0,3-1 90 0,-7 0 46 0</inkml:trace>
  <inkml:trace contextRef="#ctx0" brushRef="#br0" timeOffset="9794.44">1888 4339 1203 0,'-3'2'430'0,"1"1"-18"16,2-3-23-16,0 0-100 0,0 0-15 0,0 0-23 0,13 3-11 15,-6-3-14-15,4-1-42 16,2 0 10-16,4 0-30 0,4-2-20 0,2 1-4 16,3-3-7-16,2 3-17 0,-2-2-11 0,1-2-21 15,-3 3-10-15,-4-1-15 0,1 0-15 0,0 0-44 16,-4-1-26-16,-1 3-17 0,-1-2-37 15,-2 0-7-15,-1 0-15 0,1-1-29 16,-5 3-50-16,2-2-50 0,-2 0-68 0,0-3-11 0,-1 5-540 16,1 0 82-16,-3-2 44 0,-2 2 84 15,0 0 118-15</inkml:trace>
  <inkml:trace contextRef="#ctx0" brushRef="#br0" timeOffset="15640.77">3447 3832 1195 0,'5'-5'397'0,"-2"4"-39"0,2-2-35 0,2 2-29 0,3 1-15 15,-1 0 41-15,1 1-31 0,5 1-12 0,-2 1-39 0,2 0 0 16,0 3-11-16,-2-2-24 0,-2 1-22 0,2 1-17 15,-6 1-20-15,3 3-14 0,-4-1-7 16,-2 2 0-16,-3 0-36 0,-1-1 18 16,-1 4-21-16,-3 0-15 0,-4 2-7 0,-2 3 15 15,-1-2-26-15,-4 1-5 0,0-1 18 0,2-3-21 16,-5 0 6-16,2 2-5 0,3-6-4 16,1 1-1-16,-1-1-1 0,3-4 11 15,2 1-8-15,1-1-3 16,1-2-7-16,1 0-5 0,-2 0-9 0,2-1-9 0,2 1 28 0,3-2-16 15,0-2-4-15,0 0-3 0,0 0-6 0,5 4-9 16,-5-4 30-16,12 0-10 0,-4 0-5 0,0-3-6 16,2 3 21-16,1-3-12 15,-1 2-1-15,2-4-15 0,1 4 18 16,1-4 0-16,0 1-49 0,0 1 6 0,-1-2-26 0,1 3-16 16,-3-4-10-16,4 3-28 0,-2 0-20 0,0-3-29 15,0 0-28-15,0 2-38 16,2 1-87-16,-2-2-107 0,0 0-587 0,2 3 77 0,-2-3 115 15,0-1 59 1,2 4 120-16,-2-4 18 0</inkml:trace>
  <inkml:trace contextRef="#ctx0" brushRef="#br0" timeOffset="15921.92">4193 3787 1284 0,'0'0'423'0,"0"0"32"0,0 0-40 16,0 0-46-16,0 0-29 0,0 0-30 0,-10 9-46 15,4-2-19-15,-1-2-25 0,0 3-5 0,-1 2-10 16,-2 1-41-16,1 1-21 0,-1-1-15 0,-2 1 13 16,1 4-36-16,-1-2-15 0,-2 3-14 15,2-4-35-15,1-1-10 0,1 1-41 16,2 1-21-16,-4-1-30 0,2 0-29 0,2 0-20 15,-2-1-38-15,5-2-39 0,-3-1-128 16,2-2-187-16,2 1-412 0,-2-2 116 0,4 1 45 16,-3-4 65-16,5 1 55 31</inkml:trace>
  <inkml:trace contextRef="#ctx0" brushRef="#br0" timeOffset="16145.1">3993 3910 1292 0,'0'-4'384'0,"0"4"-23"0,3-6-33 0,2 4-1 0,-3-1-55 16,3 2-14-16,0-2-4 0,-5 3-32 15,13-1 57-15,-5 1-30 0,0 1 4 0,-1 2-35 16,4 0-3-16,-1 0-21 0,0 3-28 0,1-4-12 16,-1 4-3-16,1 0-13 15,-1 0-35-15,0 2-14 0,0-2-55 0,-3 4-17 0,4-4-40 16,-4 2-61-16,1-1-8 0,0 0-36 0,-3 0-72 15,2 2-135-15,1-3-241 0,-3 0-376 0,0 0 84 16,1 0 110-16,1-3 75 0,-1 1 69 16,-1 0 94-16</inkml:trace>
  <inkml:trace contextRef="#ctx0" brushRef="#br0" timeOffset="16396.58">4462 3862 1492 0,'0'0'466'0,"0"0"-52"16,0 0-19-16,8 7-42 0,-8-1-23 15,0-2-18-15,3 5-40 0,-1-3-22 0,-2 3-37 16,0 1-1-16,0 1-43 0,2 0-7 16,-2 0-40-16,-2 2-35 0,2-1-46 0,-2-2-38 15,2 0-41-15,0 1-32 0,-3-1-27 0,3-1-41 16,-3 1-82-16,1-2-139 0,2-1-286 15,-3-1-243-15,1-1 90 0,-1 1 73 0,1-3 108 16,0 2 52-16</inkml:trace>
  <inkml:trace contextRef="#ctx0" brushRef="#br0" timeOffset="16924.8">3147 3691 1389 0,'-15'11'389'0,"-1"2"-53"0,3 0-11 0,-2 3 38 0,-3 10-12 0,1 1-11 15,1 7-22-15,3 3-37 0,1 1-30 0,1 2-23 16,5 4-26-16,-1-2-2 0,4 2-31 16,1-1-10-16,2-3-11 0,2 1-104 15,1-4-3-15,7-4-1 0,0-2 1 0,3-7-2 16,5 3-42-16,3-4-12 0,7-2-18 0,3-4-26 15,0-5-26-15,0-4-22 16,0-2-31-16,2-4-34 0,3-2-71 0,12-6-92 0,-4-1-65 0,4-2-490 16,-2-3 40-16,3 1 105 15,8-8 59-15,-1 0 79 16</inkml:trace>
  <inkml:trace contextRef="#ctx0" brushRef="#br0" timeOffset="17318.39">4386 3487 1067 0,'0'0'415'0,"17"3"-106"0,-6 3-4 0,7 4-16 0,2 2-10 0,11 7-20 0,0-1-8 0,2 5 4 16,0 0-22-16,5 8 87 0,-4-6-43 15,-1 12-88-15,0-3-12 0,-7-3-3 0,5 6 3 16,-10-6-26-16,1 4-16 0,-4-3-7 15,-2 1-10-15,-6 2-18 0,-5-7-11 0,-2-3-22 0,-3-1-13 16,-3 2-44-16,-4 9-18 0,-7-4-35 16,0 0-42-16,-7 1-33 0,-3-4-66 0,-1 1-41 15,-1-3-162-15,-2-1-470 16,0-1-72-16,-3-4 115 0,0 0 79 0,-1-2 90 0,-1-2 118 16</inkml:trace>
  <inkml:trace contextRef="#ctx0" brushRef="#br0" timeOffset="18897.79">5444 3729 1331 0,'0'0'394'0,"-5"10"28"0,5-4-25 0,0 1-34 16,0 1-30-16,0 3-26 0,0 1-33 0,0 1-36 16,0 4-18-16,0-3 0 0,0 4-43 15,0 0-5-15,-3 2-19 0,3 0-43 0,-4 4-36 16,1-4-30-16,0 1-13 0,1-5-44 0,-1 2-28 16,0-2-28-16,1-3-21 0,0 0-43 15,-1-1-67-15,3-2-102 0,-10 1-135 0,7-1-452 16,3-3 78-16,-2-1 71 0,1 0 95 15,-1-3 54-15</inkml:trace>
  <inkml:trace contextRef="#ctx0" brushRef="#br0" timeOffset="19208.02">5222 3984 1203 0,'0'0'373'0,"7"-6"-32"0,-2 4-6 0,3-1-38 0,-1 0-10 0,6 2-21 0,0-4-23 15,3 4-15-15,-1-3 7 0,8 3-43 16,-3-1-18-16,4 0-5 0,1-1-15 0,-1 2 48 16,1 1-25-16,1-4-3 0,2 4-28 0,-3 0-90 15,6-1 0-15,-3 1 13 0,-2 0-12 0,-3 0-21 16,0 0 15-16,-5 1-3 15,0-1-14-15,-3 0 12 0,-2 0 10 0,-2 1-15 0,-1-1-31 16,0 0 8-16,0 3 10 16,-2-3-20-16,-1 0-5 0,-1 0-19 0,-6 0-35 0,10 0-33 0,-10 0-6 15,8 0-30-15,-8 0-34 0,0 0-48 16,0 0-59-16,0 0-192 0,2 0-476 16,-2 0 84-16,0 0 69 0,0 0 100 0,0 0 88 15,0 0 55-15</inkml:trace>
  <inkml:trace contextRef="#ctx0" brushRef="#br0" timeOffset="20123.88">6204 3575 1156 0,'0'0'438'16,"-3"-1"-36"-16,3 1-41 0,0 0-21 0,-13 10-38 16,8 0-23-16,-1-1-15 0,1 4-10 0,0 3 37 15,-2 5-32-15,2 2-26 16,2 1-13-16,-2 4-33 0,4 0-16 0,-1 0 3 0,2 13-20 15,2-1-29-15,-1-3-9 0,4-7 14 0,-2-4-17 16,2-1-16-16,0-1-15 0,0-2-18 0,2-1 13 16,-1-5-13-1,2 2-13 1,-1-2-5-16,1-4-13 0,0-4-12 0,0 3-42 0,2-5-7 0,-3-2-5 0,3 1-41 0,-2-4-19 16,0-1-27-16,4-1-44 0,-4-1-64 15,2 2-120-15,-2-5-438 0,0 1-176 0,2 0 64 16,-3-2 130-16,1 0 38 0,0 0 93 0,0-3 61 15</inkml:trace>
  <inkml:trace contextRef="#ctx0" brushRef="#br0" timeOffset="20593.84">6849 3709 1128 0,'0'0'433'0,"3"-4"-39"15,-3 4-23-15,0 0-23 0,0 0-51 0,0 0-30 0,0 0-9 0,0 0-25 0,-24 5-36 0,14 0-10 16,-3 2 61-16,1 2-17 0,-4 0-32 16,1 1-35-16,-1-1-10 0,4 1-19 15,-1-2-17-15,3 0 10 0,2 1-26 0,-2-3-9 0,4-2-9 16,-1 5-28-16,2-6 13 0,0 3-7 15,5-2-16-15,-3 1-8 0,3-3 3 16,0-2-5-16,5 7 8 0,0-3-1 0,1-2-15 16,1 1 11-16,1 0-26 0,0 1 2 0,4-1 5 15,1 0-7-15,0 0 10 0,0 1-5 16,0-1 3-16,-6 0 9 0,4 3 1 0,-1-4-8 16,-3 3 13-16,1-2 18 0,-3 2-29 0,1 0 29 15,-4 0-18-15,0 2 18 0,-2-1-3 16,-2 0 3-1,-3 3-21-15,-2 1 13 0,-2-1-5 0,-1 2-13 0,-5 0 3 0,-2 2-6 16,3-4-17-16,-4 2-16 0,3-1-4 16,0-3-35-16,-3 1-34 0,2 0-35 0,3 1-42 0,-2-3-50 15,4-3-48-15,-1 1-161 0,1 2-658 0,4-6 97 16,2 2 85-16,0-2 107 0,5 0 62 16,0 0 84-1,-3-5 56-15</inkml:trace>
  <inkml:trace contextRef="#ctx0" brushRef="#br0" timeOffset="20831.05">6990 3741 1346 0,'5'-2'491'0,"-5"2"-30"0,0-1-54 0,0 1-46 16,0 0-13-16,0 0-33 0,0 0 59 0,10 8-26 15,-10-3-49-15,1 3-91 0,1 2-42 0,1 0-12 16,-3 4-3-16,2-1-26 0,-2 1-12 15,1 3-19-15,-1-2-7 0,0 4-18 0,-1-1-43 16,1 0-16-16,-2-1-40 0,2-3-32 0,-3 1-63 16,3 0-24-16,-3-2-43 0,3-3-41 0,-2 1-43 15,-4-1-287-15,6-3-348 16,1-1 91-16,2 0 81 0,-3-4 73 0,0 3 8 0</inkml:trace>
  <inkml:trace contextRef="#ctx0" brushRef="#br0" timeOffset="21057.37">6916 3870 1402 0,'0'0'502'16,"0"0"-26"-16,5-5-105 0,-5 5-25 0,10 0-16 0,-10 0-23 16,15 0-30-16,-4 3-24 0,4-2 44 15,0 1-23-15,1-1-31 0,5 2-38 16,1-2-44-16,2 2-28 0,-1-1-54 0,2-1-53 15,-4 1-54-15,2 1-59 0,-5-2-77 0,0 0-217 16,0 0-646-16,-5 3 116 0,2-3 112 0,-4 2 57 16,-2 0 89-16,0-2 103 0</inkml:trace>
  <inkml:trace contextRef="#ctx0" brushRef="#br0" timeOffset="21392.73">7454 3765 1489 0,'10'-2'497'0,"1"2"-39"15,-1 0-46-15,-2-1-30 0,0 2-37 0,-3-1-25 16,2 3 43-16,-2 0-35 16,1 2-113-16,-4-2 13 0,-2 4-36 0,-2 2 8 15,-1 1-26-15,-4 1-5 0,-2 1-52 0,-1 1 11 16,0 0-20-16,-2 0 10 0,2 0-31 0,1-2-16 15,1 0-4-15,1-3-8 0,0 3 7 16,1-5-12-16,4 1-13 0,-4 1 5 0,4-4 26 16,2 2-11-16,-2 0 11 0,2 1-34 0,2-5 6 15,0 3-11-15,4 0-7 0,-2-3-1 0,4 2-12 16,0-3-8-16,2 1 0 0,-1-1-33 0,1-1-23 16,2-1-31-16,-1 0-20 15,-1-1-29-15,2 2-38 0,-1-5-36 16,2 2-43-16,-3-1-54 0,0-1-133 0,0 0-594 0,-5 2 59 0,3-2 130 15,-3 0 80-15,-2-1 94 0,0 0 50 16</inkml:trace>
  <inkml:trace contextRef="#ctx0" brushRef="#br0" timeOffset="21644.43">7606 3569 1507 0,'10'7'492'0,"5"4"53"0,3 2-102 0,6 7-26 16,4 3-38-16,-3 3 7 0,-2 1-22 0,0 1-34 15,-5 4-41-15,-2-3 31 0,-1 2 10 0,-4 3-51 16,-4-6-59-16,-7 0-7 0,0-2-47 16,-3 0-48-16,-5 7-18 0,-2 1-54 15,-5-3-61-15,-3-2-70 0,0 0-61 0,-2 1-82 16,-1-4-58-16,1-2-155 0,2-4-636 0,3-3 91 0,-1-4 98 15,-2-1 118-15,3-4 40 0,-4-1 80 0,1-2 82 16</inkml:trace>
  <inkml:trace contextRef="#ctx0" brushRef="#br0" timeOffset="22098.44">8187 3647 1366 0,'6'16'471'0,"-4"-9"-46"0,0 4-31 0,-2 2-25 0,1 0-121 15,2 5-2-15,-1 1-26 0,-2 0-46 0,3 1-18 16,-1-2-20-16,-2 3-49 0,3-2-43 16,-3 0-52-16,2 2-64 0,-2-5-69 0,1 0-158 15,-1-2-308-15,2 3-225 0,-2-5 88 0,0-2 86 16,0 1 28-16</inkml:trace>
  <inkml:trace contextRef="#ctx0" brushRef="#br0" timeOffset="22352.38">8031 3850 993 0,'8'-3'432'0,"-1"1"11"0,2 1-33 16,3-4-6-16,1 3-53 16,2-2-26-16,3 2-39 0,1 2-32 0,4-3-93 0,-1 0 0 15,4 3-30-15,3-3 71 0,-5 1-46 0,0 1-61 16,1 1-36-16,-2-3-39 0,1 3-53 0,-4-1-54 16,-4 2-84-16,1-1-201 0,-6 2-559 15,1-1 83-15,-4 1 81 0,2-1 96 16,-4 2 87-16</inkml:trace>
  <inkml:trace contextRef="#ctx0" brushRef="#br0" timeOffset="22978.22">8944 3547 1220 0,'0'0'446'16,"-16"7"-90"-16,9-1-31 0,-3 4-8 16,-3 2-23-16,0 3-38 0,0 3-2 0,-7 7-29 15,2 3 57 1,0 0-39-16,3 1-13 0,-1 2-5 0,6-8-7 0,2-1-34 0,3 2-30 15,-1-3-8-15,4-2-21 0,0 0-12 16,4-1-3-16,0-1-3 0,-1-3-7 0,6 0-10 16,-1 2-6-16,4-4-20 0,-3-3-20 0,4-2-24 15,-1 1-25-15,5-5-20 0,-2 2-52 0,0-3-20 16,0-2-14-16,2-1-14 16,-2 0-31-16,2-4-100 0,3-1-182 15,-3 1-545-15,-1 2 98 0,-2-3 66 0,1 1 84 0,-5 1 72 16,0 0 51-16</inkml:trace>
  <inkml:trace contextRef="#ctx0" brushRef="#br0" timeOffset="23322.09">9421 3691 1343 0,'0'0'430'0,"0"0"46"0,-18 10-58 0,10-4-45 0,-2-1-14 0,-2 3-85 0,-2 0-49 0,-1 3-15 16,-3 1-28-1,0 0 7-15,0 0-48 0,1 0 15 0,3-3-28 0,1 1-18 16,3-2 3-16,0 0-16 0,2 1-18 0,-2-2 11 16,5-1-24-16,-1 0-4 0,4 1-16 0,0-4 15 15,2 2-7-15,0-1-18 0,2-1 5 16,6 1 5-1,0 1-5-15,2-3-16 0,5-1-7 0,1 3 5 0,1-3-58 0,4-1-4 0,4 2-25 16,-2-2-38-16,1-1-11 16,-3 1-17-16,1-1-29 0,-1 1-64 0,-3-2-76 15,-3-1-170-15,1 1-434 0,-1-1 50 0,-5 2 91 16,1-2 140-16,-4-1 28 0</inkml:trace>
  <inkml:trace contextRef="#ctx0" brushRef="#br0" timeOffset="23533.62">9387 3764 1310 0,'-10'12'492'0,"5"-1"-45"0,0 2-6 0,0-4-62 0,-1 2-16 0,2 0-51 16,1 2-22-16,-2 1-14 0,3 3-40 0,-2-2-34 15,2 1-38-15,0-1-44 0,-1 1-56 16,3 0-39-16,-3-3-48 0,1 2-53 0,2-2-75 15,0 0-177-15,0-1-304 0,-2-3-280 0,4-3 111 16,-4 1 79-16,1 0 90 0,1-2 54 16</inkml:trace>
  <inkml:trace contextRef="#ctx0" brushRef="#br0" timeOffset="23972.59">10105 3673 1095 0,'0'0'445'0,"0"0"-20"0,0 0-33 0,0 0-44 0,-20 8 46 0,10-1-53 16,-1 1-19-16,-1 3-22 0,-2 1-37 0,-1 2 9 16,-8 9-34-16,5-7-28 0,-8 6-23 15,1-2-39-15,2 1-48 0,5-2-49 0,0-2-28 16,-8 2-43-16,8-2-42 0,3-2-43 0,0-4-28 16,2 0-67-16,1-2-102 0,-4 0-161 15,8-3-407-15,3-3 17 0,-1 2 80 0,2-4 108 16,4-1 58-16</inkml:trace>
  <inkml:trace contextRef="#ctx0" brushRef="#br0" timeOffset="24195.86">9777 3797 954 0,'3'-7'392'0,"0"1"-18"0,-1 4 66 0,-2-3-31 0,0 5-40 0,0 0-16 16,8 2-15-16,-8-2-77 0,10 5-23 0,-5 1-10 15,3 0-33-15,2 1 9 0,-2 3-22 0,2 2-10 16,2-3-19-16,-1 3-4 0,2 1-24 0,2 3-23 15,1-1-4-15,-1 1 7 0,1-1-21 16,-2-2-38-16,-1-1-2 0,-2 1-67 16,2-3-26-16,-3 2-53 0,0-5-26 0,0-1-34 0,-2 2-19 15,-1-3-68-15,1-2-132 0,0 2-185 0,0-5-304 16,-1 0 48 0,4 0 75-16,-4-2 56 0,1 1 117 0</inkml:trace>
  <inkml:trace contextRef="#ctx0" brushRef="#br0" timeOffset="24819.17">10411 3704 1290 0,'0'0'414'0,"12"3"-61"0,-7-2-20 0,-2 0 59 0,2 2-24 0,1 0-35 0,-4 1-20 15,3 1-32-15,-2-1-15 16,-3 2-97-16,0 3-2 0,-3-2-27 0,0 0-12 0,1 1-18 15,-1-1-20-15,0 1 12 0,-1-1-27 0,1 0 12 16,0-1-23-16,1-2-5 0,2 1-6 16,-3 0-12-16,4 0-7 0,1 1 1 15,0-4-1-15,1 3-24 0,0 1 28 0,1-3 1 16,0 3-3-16,0-1 10 0,2 2 15 0,-2-1 29 16,-1-1 9-16,0 1 14 0,-1 0-3 15,-1 0 77-15,1 0-5 0,-2 0-24 0,0 1 9 16,-3 1 30-16,-2 1-74 0,-2-1-11 0,-1 0 1 15,-2 2-16-15,-1-2-51 16,-4 2-46-16,2-1-51 0,-2-2-59 0,0 0-51 0,-1-1-70 0,3-1-73 16,0-1-113-16,-3-3-748 0,2 0 103 15,-2-1 102-15,1-4 102 16,-1 0 129-16,1-5 74 0,-3 0 50 0</inkml:trace>
  <inkml:trace contextRef="#ctx0" brushRef="#br0" timeOffset="25037.1">10403 3458 1446 0,'21'5'573'15,"-1"3"-30"-15,0 1-11 0,3 5-102 0,6 3 0 16,1 4-36-16,1 4 24 0,0 0-4 0,-5 6-25 16,-1 0-120-16,-7 2-41 15,2 2-18-15,-9 1 5 0,-1 1-21 0,-4 3-43 16,-4 0-12-16,-10 1-34 0,-2-3-62 15,-8 1-35-15,-5 4-67 0,-6 0-67 0,-6-3-68 0,-1 0-75 0,0-7-76 16,5-15-219-16,-10 14-511 0,8-8 90 0,-3-3 148 16,0-2 61-1,-2-3 83-15,-1-7 45 0</inkml:trace>
  <inkml:trace contextRef="#ctx0" brushRef="#br0" timeOffset="25551.44">11075 3591 1405 0,'0'0'491'0,"5"10"-25"0,-3-4-38 15,1 6-34-15,2-2-38 0,-5 5-111 16,5 0-19-16,0 7-40 0,0-1 4 0,1 2-39 15,-2 0-16-15,2 1-53 0,-3-1-51 16,1 1-72-16,-1-3-28 0,-1-2-82 0,-1 0-143 16,-1-1-515-16,2 0-41 0,-2-5 92 0,2 0 90 0,-4 0 23 15,2-3 151 1</inkml:trace>
  <inkml:trace contextRef="#ctx0" brushRef="#br0" timeOffset="25790.19">10962 3812 1241 0,'2'-4'440'0,"1"2"-20"16,4 0-28-16,1 1-39 0,0 1-36 0,7-3-22 16,1 3-24-16,-1-4-23 0,3 3-28 0,2 1-20 15,3-1-26-15,1 1-25 0,1-4-47 16,-2 4-46-16,-2 0-40 0,0 0-60 0,-4 0-58 15,1 4-47-15,-2-3-91 0,-9 0-211 0,6 3-419 16,-2-1 43-16,-4 0 118 0,-2 0 77 0,1 1 56 16</inkml:trace>
  <inkml:trace contextRef="#ctx0" brushRef="#br0" timeOffset="26456.83">11664 3379 1571 0,'-12'12'499'0,"1"-1"-41"0,-2 2-25 16,6 3-49-16,-4 3-26 0,4 2-48 0,-3 2-16 0,-1 9-32 15,1 2-14-15,2 1-41 0,0 2-12 0,4-6-29 16,4-4-15-16,-3 3-15 0,3 0-6 15,5-3-22-15,-2 10 4 0,7-4-25 16,-2-5 3-16,2-7-16 0,2-1-56 16,-1 1-13-16,4-5-25 0,-2 0-13 0,-1-4-29 0,2-4-25 15,-2 0-36-15,1-3-43 0,0 0-24 0,0-4-153 16,0-1-258-16,-1-1-374 0,-1 0 110 16,4-3 115-16,-2 1 56 15,0-2 54-15,-3-1 105 0</inkml:trace>
  <inkml:trace contextRef="#ctx0" brushRef="#br0" timeOffset="26787.6">12046 3583 977 0,'13'0'461'0,"2"1"-18"15,-2 3-26-15,-3-3-105 0,0 3-12 0,1-2-19 16,-3 3 6-16,-1 1-23 0,-2 0-36 0,-2 1 61 15,0 1-15-15,-1 0-23 0,-7 3-21 0,2 1-30 16,-2-1-8-16,-3 3-16 16,-2-1-27-16,0 1-16 0,0-2 8 0,0 3-11 0,2-7-17 15,3 3-13-15,-3-4-1 0,3 1-17 16,-2-2-20-16,3 0 22 0,0-1-22 0,1 1 14 16,3 0-27-16,0-3 2 0,0 0 3 15,0-3-23-15,7 6 10 0,1-5-26 0,-2 0-15 16,6-1-20-16,-1 1-42 0,4-2-10 0,0 1-58 15,-2-1-13-15,5-3-47 0,0 1-43 0,-3 0-148 16,3 0-267 0,0-1-381-16,1-2 87 0,-1 3 149 0,-3-2 40 0,1-2 77 0,1 1 72 15</inkml:trace>
  <inkml:trace contextRef="#ctx0" brushRef="#br0" timeOffset="26989.48">12697 3578 1228 0,'0'0'448'0,"0"0"10"0,-10 10-48 16,6-4-21-16,-2 0 26 0,1 2-21 0,-1 0-28 15,-1 3-44-15,0 2-12 0,1 1-49 16,-2 1-25-16,1 0-103 0,-1 1-26 16,-2 2-30-16,0 1-46 0,0 0-49 0,2-4-49 0,0 1-40 15,-2-2-78-15,2 1-122 0,-2 0-187 0,5-1-460 16,-1-2 106-16,1-4 75 15,0-1 85-15,0 2 71 0</inkml:trace>
  <inkml:trace contextRef="#ctx0" brushRef="#br0" timeOffset="27197.43">12523 3709 1087 0,'0'0'407'0,"0"0"-28"15,0 0-5-15,0 0-57 0,0 0-7 0,0 0-10 16,0 0-42-16,15 6-12 0,-7 0-16 16,0-2-46-16,2 0-15 0,0 0-48 0,3 1-34 0,0-2-46 15,0 3-75-15,0-3-37 0,5 3-93 0,-6-2-246 16,1-1-447-16,3-1 79 16,-1-1 56-16,-2 3 59 0,-1-3 67 0</inkml:trace>
  <inkml:trace contextRef="#ctx0" brushRef="#br0" timeOffset="27528.45">13285 3647 1128 0,'-10'3'505'0,"1"-2"-50"16,-1 1 60-16,0 1-65 0,-3 0-12 15,1 2-64-15,-2 1-90 0,2-1-41 0,-1 1-18 16,-2 1-28-16,4 0-7 0,-1-1-34 0,1 1 0 16,1 0-33-16,2-1 15 0,0-1-38 15,1 0-13-15,4 2-3 0,-1-2 6 0,1-1-6 16,3 2-14-16,-3-1-17 0,6 0-1 0,0 1 1 16,4-3-17-16,-2 2 13 0,5 0-3 15,3 0-21-15,0-2-4 0,2 1-47 0,3-3-15 16,1 0-18-16,-2 0-35 0,1-1-29 15,0-1-36-15,0 1-17 0,-3-1-29 0,-1 1-59 16,-4-1-127-16,2 0-193 0,-2-2-343 0,-2-2 75 16,0 3 102-16,-1-4 49 0,-1 3 79 15</inkml:trace>
  <inkml:trace contextRef="#ctx0" brushRef="#br0" timeOffset="27799.35">13305 3669 1400 0,'-2'3'481'0,"-1"0"64"16,0 3-51-16,1-2-105 0,0 5-46 16,1-2-2-16,-1 2-34 0,-1 6 54 0,1-2-46 15,2 2-3-15,0 1-31 0,0-1-37 0,0 1-19 16,0 3-31-16,2 0-50 0,1 0-32 0,-3-1-30 16,2-4-33-16,-1 0-57 15,-1-1-43-15,2 0-46 0,0-2-26 0,-2-4-69 16,3 2-15-16,-3-2-188 0,0-1-140 0,0-3-465 15,0 0 99-15,3-2 102 0,-3-1 67 0,0 0 82 16,0 0 97-16</inkml:trace>
  <inkml:trace contextRef="#ctx0" brushRef="#br0" timeOffset="28044.65">13325 3396 1476 0,'11'4'469'0,"5"3"2"0,4 3 28 16,8 5-31-16,0 4-81 0,3 3-24 0,0 2 50 15,0 2-32-15,-4 2-23 0,2 0-25 16,-3 2-18-16,-3 1-100 0,-3 1-51 0,-4 1-11 16,-1-1-4-16,-8-5-8 0,-6-1-26 0,-1-1-36 15,-6 4-23-15,-4 5-45 0,-5 1-34 16,-6-2-49-16,-9 5-61 0,-4-3-85 0,-2-2-51 15,-5-2-38-15,0-1-624 0,5-12-83 16,0 1 105-16,-5 0 77 0,3-7 113 0,-3-4 92 16,7-3 43-16</inkml:trace>
  <inkml:trace contextRef="#ctx0" brushRef="#br0" timeOffset="28481.15">13890 3426 1315 0,'2'12'520'0,"-4"-4"-19"0,-1 2-65 0,3 4-24 0,-2 0-59 16,2 5-7-16,-1 0-44 0,-1 3-31 0,2-1-13 16,-3 7-40-16,1-2-52 0,1 0-12 0,-1 0-34 15,0 0-58-15,-1-2-29 0,0 1-56 0,1-2-72 16,0-5-51-16,-2-1-143 0,2 1-325 16,-2-3-310-16,0-3 61 0,2-3 126 0,0-2 79 15,-1-1 69-15</inkml:trace>
  <inkml:trace contextRef="#ctx0" brushRef="#br0" timeOffset="28686.05">13766 3678 1395 0,'8'-1'435'0,"0"-1"-39"0,3 2-6 0,3-2-32 0,2 0-36 16,2 1-20-16,5 0-25 0,0-2-19 0,3 2-14 15,-1 0-40-15,3 1-19 0,1-1 27 0,-3 1-7 16,-1-1-34-16,1-2-38 0,-3 3-51 0,0 0-64 16,2-2-69-16,-6 2-72 15,-4-1-105-15,3 1-350 0,-3-2-379 0,0 1 76 0,-4-1 169 16,1 1 1-16,-2 0 61 0,-2-2 99 16</inkml:trace>
  <inkml:trace contextRef="#ctx0" brushRef="#br0" timeOffset="29003.37">14658 3356 1320 0,'-7'5'453'0,"0"3"-25"0,-4 2-39 0,1 5-26 15,-3 3-17-15,3 1-41 0,-6 13-14 16,1-1-53-16,2 3 0 0,1 3 26 0,1 1-10 16,1-1-109-16,2 1-17 0,0-1-12 0,6-6-4 15,2-3-2-15,2-2-18 0,1 1-15 0,5-2-20 16,-1-2-14-16,4-1-5 0,1-3-27 16,4-1-19-16,-1-5-36 15,1-2-20-15,-1-4-12 16,0-1-14-16,1-2-43 0,-3-4-15 0,5 0-60 0,-3-3-102 0,-2-1-186 0,2-1-423 15,3-2 102-15,0 1 65 0,-3-4 76 16,-2 1 95-16</inkml:trace>
  <inkml:trace contextRef="#ctx0" brushRef="#br0" timeOffset="29233.19">15010 3514 988 0,'0'0'460'0,"0"0"-35"0,0 0-20 0,-3 14 45 0,3-4-48 0,0-2-10 16,0 4-54-16,0 1-29 0,3 0-17 0,-3 3-23 15,0 3-95-15,3-1-21 0,-3 1-17 0,0 0-36 16,0 0-26-16,0-1-33 0,0-2-36 16,-3 0-48-16,3-2-44 0,0-1-49 0,0 0-74 15,-3-1-192-15,3-2-560 0,0-1 74 0,0-2 135 16,0-2 80-16,0 1 23 0,3-2 89 15</inkml:trace>
  <inkml:trace contextRef="#ctx0" brushRef="#br0" timeOffset="29471.8">15443 3499 1333 0,'0'0'445'0,"0"0"-40"16,-7 15-34-16,6-4-41 0,-3-2-43 16,1 3-16-16,-2 2-17 0,0 2-21 0,0 1-29 15,-1 2-14-15,-1 1-42 0,-1 1-25 0,0-1-54 16,-2 1-35-16,2-2-42 0,0-1-64 16,-2 1-69-16,5-5-112 0,-5 1-167 0,5-4-427 15,0 2 71-15,-1-4 37 0,2-2 99 0,-2-1 66 16</inkml:trace>
  <inkml:trace contextRef="#ctx0" brushRef="#br0" timeOffset="29706.33">15264 3658 1318 0,'5'-1'499'15,"-5"1"-33"-15,0 0 51 0,10 5-28 16,-4-3-21-16,1 3-61 0,1 1-87 0,2 0-41 15,-2 1-23-15,5 0-15 0,-3 0-34 0,0 0-15 16,1 2-23-16,1-2-21 0,-2-1 42 0,1 2-34 16,-3-2-56-16,2 1-49 15,-3-2-28-15,1 1-56 0,-1-3-57 0,-1 1-43 16,-1-3-74-16,0 3-200 0,0-2-645 0,0-2 92 16,-2 0 95-16,-3 0 53 0,0 0 98 0,10 0 87 15,-10 0 92-15</inkml:trace>
  <inkml:trace contextRef="#ctx0" brushRef="#br0" timeOffset="30104.76">15862 3579 1366 0,'-11'0'423'16,"1"0"-27"-16,-3 2-32 0,0 0-42 16,3-1-14-16,-3 3-40 0,3-2-22 0,0 2-41 15,2-2-23-15,0 2-21 0,3-1-8 16,0 0-4-16,2 3-29 0,1-2-10 0,4 1 6 0,-2 1-9 16,3 0 16-16,2 1 13 15,0 2 79-15,3-2 5 0,0 1-18 0,2 3-38 0,-3-3-34 16,1 3 34-16,0-4-10 0,0 1 4 15,-3 2 55-15,2-1-6 0,-4-3-38 0,0 4 21 0,-3-2-37 16,0-1-97-16,-6 3 19 0,1-4-32 16,-2 3-25-16,-3 1-20 15,-4-4-32-15,2 1-58 0,-3 1-41 0,-3-2-46 16,2 0-59-16,-2-2-54 0,0 0-102 0,-5-1-205 0,5-2-489 16,3-2 118-16,-3 0 82 0,0-4 81 0,0 0 78 15,-3-3 71-15,1-4 92 16</inkml:trace>
  <inkml:trace contextRef="#ctx0" brushRef="#br0" timeOffset="30372.58">15838 3175 1720 0,'24'9'527'0,"1"1"-41"0,-2 2-20 0,10 4-36 15,-2 6 97-15,0 1-61 0,8 13-25 16,-6 1-24-16,0 4-79 0,1-1-34 0,-6 4-12 0,-6 0-33 16,-3 4 61-16,-5-11-41 0,-3 3-82 0,-5-3-16 15,-4-3-32-15,-5 5-16 0,-7 0-33 16,-6-1-11 0,1-1-66-16,-13 6-40 0,-3-4-47 15,-7 2-47-15,-3-4-63 0,-5-3-30 0,2-2-132 0,-7-2-73 0,-8 2-172 0,5-9-540 0,2-2 97 16,-3-1 138-16,8-9 57 15,-14 2 91-15,-3-1 60 0,-5-5 115 0</inkml:trace>
  <inkml:trace contextRef="#ctx0" brushRef="#br0" timeOffset="32555.62">3368 4777 844 0,'-1'-5'359'0,"1"5"-22"0,8-3-35 15,0 2-23-15,2-2-10 0,5 1-46 0,3 1-11 16,3-3-15-16,7 2-2 0,3-3-47 0,13 0 6 16,4 0-100-16,6 1 10 0,10-5 0 0,6 1 0 15,1 0-13-15,6 1 0 0,0-2 6 16,-1 0-9-16,7 3-15 0,0-4 1 16,3 3-6-16,-1 1 0 0,-1 0-8 0,-1-1 16 15,1 1 0-15,-4 0 3 0,4 1-16 16,1 2-16-16,-3-1-4 0,-1-2 25 0,-1 4-20 0,-3-2-8 15,0 2 2-15,-5-3-2 0,0 3-15 16,0-1 2-16,4 0 3 16,-1 3-16-16,0-3 1 15,-2-1 20-15,2 0-3 0,-1 2 0 0,1-4 13 0,-1 0-2 0,-2 2-19 16,2 1-1-16,-2-2 19 0,-2 0-15 16,1-1 1-16,-15 3 27 0,16-3-15 0,-16 1 2 0,13 0 9 15,1 2-27-15,1-2 27 0,-1-1-24 0,1 1 3 16,-2 3 10-16,-12-3 2 0,2 3 1 0,-2-2-8 15,-1 2 15 1,-2-2-8-16,5 2 1 0,-3-4-1 0,13 0-9 0,3 1 9 16,-13 0 9-16,10 1-4 0,1-1 1 0,-11 1-3 0,0 1 5 15,10-2-10-15,0-1 26 0,-10 2-39 16,13 1 13-16,2-3 3 0,-2 1-1 0,0 1 11 16,0 2 10-16,-3-3-18 15,-11 1-2-15,1-1-6 0,14 1-12 0,-15 3 5 0,15-4 10 16,1-1 5-16,-2-1-3 0,-1 2 3 0,1 2 8 15,-3-2-15-15,-12 0 2 0,-1 2 5 16,10-3-26 0,-9 1 29-16,0 0-18 0,12-1 7 15,-13 3 18-15,13-3-20 0,-15 2 26 0,2-2-16 0,-1 3 0 0,-4-1 8 0,2 3-16 16,-1-4-2-16,2 3-5 0,0-2 12 16,-3 2-9-16,3-3 14 0,-3 3 1 15,3-2-10-15,-3 2-9 0,3-2 14 0,-2 0-13 0,-4 1 10 16,0-1-5-16,1 2-13 15,-2-3 23-15,-1 3-8 0,-10 1-2 0,10-4-3 0,-11 4 1 16,-1 1 4-16,-1-4 6 0,0 2 2 0,-2 1 0 16,3-2 5-16,-1 0 3 0,0 1-3 0,-2 1 18 15,0 0-22-15,2 0-1 0,-2 1-10 16,-5 0 20 0,-1-1-15-16,3-1 8 0,-5 0-3 0,0 2 0 0,1 0-8 0,-1-1 3 0,-1 0 3 15,-3 1 12-15,4-1-5 0,0-2 21 0,0 3-26 16,-3-2 11-16,-1 2 4 0,3-3-20 15,-4 3 15-15,0-1 6 16,-3 1-21 0,1 0-3-16,-1-1 1 0,1 1 30 0,-3 0-18 0,5 0 3 0,0-1 23 0,0 1-34 0,2-1 16 15,-2 1 5-15,5 0 8 0,-4 0-13 16,6 0-15-16,0 0 25 0,1 0-13 0,2-2-10 16,3 4 8-16,2-4 2 0,1 0 8 15,-1 2-2-15,13-2-1 0,-5 2-7 16,-5 0 5-16,10 0-8 0,-5 0-5 0,8 0 6 15,-2 1-14-15,3-1 13 0,-1-1 1 0,-3 2-6 0,3 0 15 16,0 1-17-16,-8 0 10 0,9-1-6 0,-1 0 1 16,-8-1 0-1,6 0 7-15,2 1 0 0,-4 0-2 0,-3-1-5 0,-6 0 12 16,12 0 8-16,1 3-17 0,-3-3-19 16,2 0 16-16,-1 2-6 0,-11-2 8 0,-3 1 1 0,-2 2 4 15,0-3-10-15,2 0-15 0,-2 2 12 16,0-2-19-16,-6 2 6 0,1 0 24 15,0-1-3-15,4-1-7 0,1 1 7 0,0 0-2 16,-5-1 7-16,-1 1-7 0,6 1 0 0,0-1-3 0,0 1-5 16,-3-2 23-16,3 0-18 0,0 0 0 15,-1 0-8-15,-2 0-2 0,3 0 10 0,-3 4 6 16,5-4-4 0,-2 0 4-16,-2 1-4 0,1 0-9 0,1 0 2 0,0 2 28 0,0-3-21 15,-1 0-1-15,3 1 6 0,-2 1-1 16,3-1-1-16,-1 1-18 0,0-1-2 0,13 1 5 15,-7-2 13-15,-3 3 7 16,-3-2-23-16,3-1 13 0,10 1-15 0,-7 0 87 0,-3 0-16 0,-1-1 3 16,9 3-13-16,4-1 3 15,-3 0 5-15,-5 0-18 0,4 0-8 0,4 2-5 0,-9-4 8 16,-3 2-13-16,8 0 3 0,-5 0 2 0,-4-1-15 16,1-1 15-16,10 2-18 15,-8 0 16-15,11 0-16 0,-2-2-7 0,1 2-1 16,-7-2-4-16,-5 1 14 0,10-1-1 0,-5 3-9 0,6-3 3 15,-2 2-2-15,-6-2 2 0,-3 2 39 16,-3 0-37-16,3-2 4 0,0 1-9 0,-2-1 19 16,1 0-6-16,1 0-84 0,-3 1 10 15,1 0 5-15,1-1 6 16,-2 0 7-16,-1 2 23 0,1-2 2 0,-2 1-17 0,-1-1 20 0,-4 0-7 16,-2 3-1-16,1-3 11 0,-2 0 0 0,-5 3 10 15,-1-3-13-15,-3 1 8 16,-1-1 10-16,-1 0 8 15,-2 0-18-15,-2 0-6 0,-3 0-4 0,1-1-5 0,-6 1-16 0,8-3-33 16,-8 3-13-16,2-3-28 0,-2 3-13 16,0 0-26-16,0 0-32 0,-8-5-127 0,3 2-209 0,0 1-378 15,2 0 73-15,-2 1 74 0,-2-2 121 16,-1-1 36-16</inkml:trace>
  <inkml:trace contextRef="#ctx0" brushRef="#br0" timeOffset="34001.36">6857 4808 1113 0,'7'-7'412'16,"-1"6"-18"-16,-1-2-23 0,3 3-30 15,4-2 53-15,-1 4-28 0,7 0-110 0,0-1-10 16,2 2-26-16,-2 2-5 0,3 0-13 0,-4 1-15 15,-1 0-10-15,-1 1-16 0,-2-1-18 0,-3 2 11 16,-2 1 61-16,-5 0-31 0,-1 2-18 16,-4-2-4-16,-1 3-14 0,-5 3 1 15,-2-1-19-15,-3 1-12 0,0 1-13 0,-2-1-8 0,-1 0-15 16,4-5 0-16,-1 1 5 0,0-1-23 0,3-2 3 16,2-2-3-16,1 1 2 0,-1-1-4 15,2-3-14-15,2 0 11 0,-2 3-15 16,2-4-1-16,1 2-12 0,3-1 2 0,-3 1 23 15,3-4-2-15,0 0-5 0,6 6-3 16,-2-6-13-16,2 2 6 0,2-2-6 0,-1 1-31 16,6-2 16-16,-2 0-18 0,3 0-20 0,2-3-24 15,2 3-17-15,-3-1-34 16,5-4-33-16,-4 3-25 0,-1 1-32 0,1-3-32 0,-3 3-52 0,5-2-54 16,-3 0-224-16,-2 0-531 0,2 0 126 15,-2 1 28-15,0-3 128 0,-1 0 76 0,1 1 63 16,-2-1 68-16</inkml:trace>
  <inkml:trace contextRef="#ctx0" brushRef="#br0" timeOffset="34203.56">7521 4770 1602 0,'0'0'461'0,"0"0"-39"0,0 0-20 0,5 11-31 15,-3-4 44-15,-2 0-37 0,1 4-37 16,2 2-16-16,-1 1-113 0,-2 0-20 0,2 3 13 15,-2 0-46-15,0-1-26 0,3 3-49 0,-3 2-9 16,0-2-70-16,0-4-44 0,-3 1-40 0,3-2-62 16,0 3-38-16,0-4-44 0,-2-2-89 15,2-1-131-15,0-1-491 0,0-4 61 16,0 0 164-16,2-1 15 0,-2-4 106 0,0 2 22 16</inkml:trace>
  <inkml:trace contextRef="#ctx0" brushRef="#br0" timeOffset="34420.33">7396 4941 1208 0,'0'0'432'0,"-3"-2"-35"0,3 2-10 0,0 0-1 0,0 0-20 0,0 0 36 16,12-1-33-16,-12 1-42 15,11 0-25-15,-1 0-43 0,0 0-6 0,1 0-25 16,1-1-16-16,4-2-32 0,-1 1-19 0,3 2-56 15,-2-1-44-15,-1 0-40 0,1-2-29 0,1 1-61 16,-2 2-39-16,1-4-73 0,-3 3-126 16,2-3-303-16,-4 3-362 0,-1 1 78 0,-3 0 85 15,1-2 103-15,-2 2 53 0,-6 0 93 0</inkml:trace>
  <inkml:trace contextRef="#ctx0" brushRef="#br0" timeOffset="34862.91">8139 4797 1256 0,'5'-3'474'0,"-5"3"-16"16,2-1-41-16,-2 1-35 0,0 0-14 0,0 0-55 15,0 0-45-15,0 0-1 0,-14 7-45 16,8-1-4-16,-2-3-16 0,-4 2-107 0,1 2-13 15,1-1 2-15,-2 3-5 0,3-2-9 16,-1 0-19-16,0-1 0 0,0 1-13 0,2-1-4 0,3 0 17 16,-2 0-28-16,4 0 18 0,0-2-16 15,1 1-7-15,2-1 0 16,5 2 5-16,-2-3-15 0,1 1 15 0,4 2-20 0,2-4 12 0,0 2 5 16,1 2 11-16,2-2 5 15,0 0 20-15,-1 1 6 0,1 1-19 0,0 0 34 16,0-2-16-16,-3 0 6 0,0 1 10 0,-2 0 53 15,-3-2 39-15,-2 3-25 0,-1-2-14 0,-1 3 11 16,-2-1-18-16,-1 0-8 16,-1 1-5-16,-5 0-8 0,-2 0-43 0,0 0 10 0,-3 1-20 15,-2 0-29-15,1-1-4 0,-3-2-47 0,2-2-35 16,-1 1-34-16,1-2-44 0,-1 2-48 16,1-3-46-1,2 0-59-15,3-3-212 0,2 2-556 0,1 0 93 16,1 0 106-16,1-1 55 0,5 1 105 0,-5-8 45 0,8 4 49 0</inkml:trace>
  <inkml:trace contextRef="#ctx0" brushRef="#br0" timeOffset="35101.75">8426 4752 1461 0,'8'2'499'0,"-3"1"-7"16,-2 1 25-16,1 1-23 0,2 4-28 15,-3-1-129-15,1 4-17 0,2 3-41 0,-1 0-25 16,-3 3-31-16,3-1-11 0,-2 1-10 16,0 3-30-16,-1-1-16 0,0-1-46 0,-2 1-49 15,3-1-40-15,-3 0-57 0,0-1-25 16,0-1-44-16,0-4-36 0,0 0-28 0,0-2-18 16,0-3-51-16,0 3-136 0,0-5-125 0,0-4-448 15,0 3 69-15,0-3 123 0,0-2 46 16,0 0 102-16,0 0 60 0</inkml:trace>
  <inkml:trace contextRef="#ctx0" brushRef="#br0" timeOffset="35324.11">8295 4949 1146 0,'0'0'476'0,"0"0"54"0,0 0-18 0,10-4-56 16,-10 4-111-16,13-1-12 0,-3 1-36 0,1 0-18 15,2 0-8-15,2-1-30 0,3-1-13 16,-2 4-44-16,1-4-23 0,1 1-17 0,0 1-27 16,0-1-42-16,0 1-60 0,-3 0-53 0,-2-1-47 15,0 1-58-15,0 1-57 0,-5-1-107 0,-4 0-179 16,4 1-479-16,-2 0 69 0,-4-1 125 16,-2 0 62-16,0 0 80 0,5 3 76 0</inkml:trace>
  <inkml:trace contextRef="#ctx0" brushRef="#br0" timeOffset="35977.25">8965 4722 1379 0,'0'0'435'0,"-1"9"-38"0,-1-5-54 16,-4 2 5-16,-4 2-15 0,0 2-54 0,-3 1 15 15,-2 0-25-15,-3 2-100 0,1-1-5 16,0 1-41-16,0 1 7 0,4-3-2 16,0 0-10-16,1-1 0 0,1 1-3 0,4-3-5 0,-3 2-13 15,2-4 1-15,5 1 9 16,-3 1-25-16,4-2-5 0,2 0 7 0,0 1-10 0,2-2 1 15,4 0-9-15,-1 1-25 0,5-3 26 16,3 2 2-16,0-3-3 0,2 1-22 0,1-2-6 16,4 1 3-16,-1-2-23 15,5-2 36-15,0 1-11 0,1-2-66 16,-4 1-33-16,5 0-31 0,-5-4-28 0,-1 1-49 0,0 1-41 0,-2 1-79 16,-5-2-138-16,-1 2-553 0,-3-2 63 15,1 1 121-15,-5-1 36 0,-2 1 128 0,-1 0 79 16</inkml:trace>
  <inkml:trace contextRef="#ctx0" brushRef="#br0" timeOffset="36233.87">8993 4739 1223 0,'-3'5'540'0,"0"-2"-141"0,1 2 16 15,0 1-8-15,-1 5-36 0,0 1-20 0,3 1 33 16,0 1-92-16,0 2-44 0,3 3-15 15,-3 1 0-15,0 0-16 16,3 4-35-16,1-5-36 0,-4 4-3 0,3-3 8 0,0 1-17 0,-1-2-63 16,0-1-27-16,2 1-55 0,-4-4-17 0,2-1-51 15,0-2-26-15,-1-4-31 0,1 3-51 16,1-6-76-16,2 0-152 0,0 0-312 16,-2-4-202-16,4-1 92 0,-2 0 69 0,-5 0 85 15,16-5 79-15</inkml:trace>
  <inkml:trace contextRef="#ctx0" brushRef="#br0" timeOffset="36462.11">9524 4667 1789 0,'0'0'565'0,"0"0"-127"0,0 0-54 0,2 14-10 16,-2-8-31-16,0 3-31 0,0 3-38 15,-2 2-33-15,1 2 73 16,1 3-29-16,0 0-27 0,-2 2-51 0,2 1-30 16,0-3-23-16,0 2-57 0,-3-3-54 0,3 1-25 0,-2-3-74 15,2-2-36-15,0-1-13 0,0 0-54 0,0-2-25 16,0-3-87-16,0-2-167 0,0 0-543 0,0-3 50 16,2-1 163-16,-2-2 23 0,0 0 113 15,0 0 71-15</inkml:trace>
  <inkml:trace contextRef="#ctx0" brushRef="#br0" timeOffset="36697.96">9316 4852 1297 0,'0'0'535'0,"0"0"-118"0,0 0 19 0,0 0-45 0,0 0-20 0,0 0-25 15,22-1-21-15,-11 1-41 0,2 0-13 0,-3 0-32 16,3 0-14-16,2 1 44 0,3-1-47 15,-2-1 4-15,2 1-32 0,-1-1-45 16,4 1-42-16,0-4-38 0,-1 3-79 0,1 0-44 16,-1 1-53-16,-2-4-70 0,3 4-105 0,-6-2-260 15,3 1-485-15,-3 1 96 0,1-1 147 16,-4-1 27-16,-1 4 63 0,-3-2 113 0</inkml:trace>
  <inkml:trace contextRef="#ctx0" brushRef="#br0" timeOffset="37076.4">9924 4713 1474 0,'10'1'560'16,"0"0"-30"-16,2 3-110 0,-1 1-28 15,-1-1-24-15,-2 2-48 0,0 2 0 16,-3 0 80-16,0 1-73 0,-5 3-7 0,0 1-43 15,-6 0-16-15,-1 4-100 0,-6 2-7 0,0-1 2 16,-9 6-59-16,4-5 0 0,5-4-7 16,-3 1-3-16,4-3-3 0,2-2 3 0,2-4-7 15,0 1-11-15,3-3-3 0,-1 2-12 0,-1-1-5 16,2-1-8-16,2-1 23 0,0-1-3 0,1 0 1 16,2 0 4-16,0-3 8 0,2 6-10 15,4-5-20-15,-2 1-3 0,2-1 7 0,2 2 4 16,2-3 1-16,0 0-27 0,1 0-8 15,3 0-39-15,0-3-9 0,-1 0-42 0,1 2-18 0,2-5-35 16,-1 3-41-16,-1 0-37 0,0-3-47 0,0 1-35 16,-1 1-55-1,1 0-100-15,0-2-200 0,-2 0-415 0,-1-1 113 16,-1 1 98-16,2-5 106 0,-3 3 65 0,3-4 43 0</inkml:trace>
  <inkml:trace contextRef="#ctx0" brushRef="#br0" timeOffset="37305.4">10503 4640 1714 0,'0'0'489'0,"4"9"-30"0,-6-6-42 0,2 3-5 0,-2 3-38 0,-1 0 30 16,0 3-2-16,-1 0-36 0,1 2-38 16,0 3-37-16,-2-1-22 0,3 3-108 15,-3 0-68-15,-1-1 9 0,2 1-41 0,-2 0-45 16,1-1-67-16,0 0-49 0,0-1-41 0,-1-3-82 15,2 3-71-15,1-8-200 0,-4 2-507 16,4 0 67-16,-2-4 117 0,4-1 75 0,-3 0 69 16,1-4 79-16</inkml:trace>
  <inkml:trace contextRef="#ctx0" brushRef="#br0" timeOffset="37521.04">10287 4822 1369 0,'3'-5'527'0,"-3"5"13"0,5-3-12 15,-5 3-75-15,12-1-34 0,-4 1-45 0,3-1-23 16,-1 1-36-16,3 0-41 0,-3 1-13 16,3-1-67-16,0 0-81 0,-1 1-49 0,2-1-44 0,-2 0-63 15,1 0-70-15,0 0-97 16,-3 0-279-16,0 0-511 0,1-1 119 0,-1 0 80 0,-3-2 59 15,3 0 122-15,-2 0 34 0</inkml:trace>
  <inkml:trace contextRef="#ctx0" brushRef="#br0" timeOffset="37717.03">10824 4638 1505 0,'2'6'578'0,"0"3"31"0,1 2-35 0,-3 4-27 15,3 0-142-15,-1 4-16 16,-2 1-36-16,2 3-28 0,-2-3-23 0,3 6-38 16,-2-4-46-16,-1-1-57 0,0 0-26 0,2 1-24 0,-2-2-60 15,0 2-67-15,0-2-78 0,0-4-39 16,2 1-39-16,-4-3-40 0,2 2-37 0,0-4-71 16,-2-4-138-16,2 1-481 0,0-1 79 15,-1-1 59-15,1 1 63 0,0-3 111 0,0 0 49 16</inkml:trace>
  <inkml:trace contextRef="#ctx0" brushRef="#br0" timeOffset="38941.71">3275 7630 1392 0,'8'-4'420'0,"-4"2"-31"15,2-1-23-15,2 1-49 0,5 2-20 16,-1-4-38-16,4 2-26 0,4 0-44 0,1-2-25 16,-1 4-54-16,3-2-31 0,-2-1-25 15,2 1-59-15,0 2-56 16,-2 0-57-16,-3 0-110 0,0 0-143 0,-3 2-489 0,1 0 79 0,-3 1 72 16,-1-2 97-16</inkml:trace>
  <inkml:trace contextRef="#ctx0" brushRef="#br0" timeOffset="39197.42">3401 7776 1267 0,'-6'1'517'0,"4"3"-123"0,2-4-33 16,-2 1-16-16,2-1-40 0,-4 6-31 15,4-6-8-15,0 0-15 0,6 7-26 0,-1-6-41 0,0 3-20 16,3-3-15-16,0 3-37 0,2-4-17 15,3 1-31-15,-1 1-21 0,1-2-37 16,3 2-52-16,-5-1-21 0,3-1-33 0,0-1-43 16,0 1-85-16,0-5-194 0,-1 5-477 0,-1 0 70 0,0-3 71 15,-1 2 121-15,2 1 66 16</inkml:trace>
  <inkml:trace contextRef="#ctx0" brushRef="#br0" timeOffset="40492.31">4506 7375 1067 0,'20'-6'468'0,"-2"0"-40"0,1 1-11 16,-2 2-25-16,1 0-34 16,5 2-20-16,-2 1-21 0,2 0-25 0,-3 1-26 15,1 2-25-15,-1 3-21 0,-2-3-23 0,0 4-89 16,-5 2 7-16,-1-1-31 0,-3 1 3 16,1 1-2-16,-5 1-21 0,-3 1-21 0,1 1 8 15,-5 1-10-15,-1-2-15 0,-2 3 10 0,0 0 13 16,-3-1-9-16,-2 2 4 15,0-1-8-15,-6-2 7 0,3 4 57 0,-2-4-10 0,-1 0-6 16,4 0-30-16,2-7 13 0,-1 2-11 0,1 1 0 16,3-3-10-16,-1 1 8 0,5-1 0 0,-4-3-18 15,4 1-8-15,-2-2 8 0,4 3-8 16,-1-3-15-16,2-2 33 0,0 6-16 16,0-6 1-16,5 5 2 0,0-5-15 0,-2 4-5 15,-3-4 5-15,13 0 13 0,-8 0 7 16,-5 0-20-16,12 0 13 0,-6 0-21 0,-6 0 16 0,12 0-21 15,-6 0 23-15,-1-3-5 16,-5 3 0-16,10 0-13 0,-10 0 5 0,8-1 6 0,-8 1-19 16,10 0-9-16,-10 0 22 0,5 0-5 0,-5 0-2 15,0 0 7-15,8 0-20 0,-8 0 13 16,0 0-11-16,8 0 1 0,-8 0 2 0,0 0 5 16,0 0 8-16,7 0 5 0,-7 0-3 0,0 0-17 15,0 0 12-15,5-1-5 0,-5 1 3 16,0 0-3-16,8-1 10 0,-8 1-12 0,8 0-16 15,-8 0 10-15,8 1 6 0,-8-1 10 16,12 0 5-16,-7 0-31 0,3 0 0 16,0 0 18-1,-8 0-18-15,15-1-12 0,-5 0-1 0,-4 2-15 0,2-2-25 0,-1 1 14 0,1-2-19 16,-1 0-14-16,1 2-30 0,-3 0-10 0,3-2-16 16,-3 0-10-16,2 0-5 0,-1 2-62 0,2-2-48 15,-3-1-98-15,-3 2-132 16,4-2-508-16,2-1 96 0,-1 3 140 0,0-3 36 0,-1-1 61 15,-2 2 98-15</inkml:trace>
  <inkml:trace contextRef="#ctx0" brushRef="#br0" timeOffset="40721.68">5234 7477 1558 0,'0'0'466'0,"0"-5"-43"16,0 5-27-16,0 0-76 0,0 0-71 15,0-3-27-15,0 3-48 0,0 0-79 0,0 0-67 16,0 0-117-16,0 0-231 0,0 0-523 16,0 0 47-16,0 0 128 0,8 10 95 15,-8-10 10-15</inkml:trace>
  <inkml:trace contextRef="#ctx0" brushRef="#br0" timeOffset="41102.87">5708 7184 1315 0,'0'0'458'0,"-12"5"-20"0,4-1-23 15,-2 4-29-15,-1 1-33 0,-1 2-22 0,-1 7-45 16,0 2-30-16,-2 8-28 0,2 0-8 16,3 0-17-16,-1 3-37 0,4-4-7 0,1-2-24 15,1-1-14-15,3 0-47 0,-1-3-10 0,6-2-28 16,0-1-24-16,1-1-1 0,1-2-6 16,3-2-5-16,-1-2 23 0,2-1-31 0,0-3 11 15,2-1-3-15,-1-4 15 0,0 0-10 0,-1-2-5 16,1 0 13-16,0-2 15 0,-2 2-10 15,-1-5 8-15,0 2 12 0,1-3 3 16,-5 1-15-16,2-1 17 0,-4-1-12 0,-1 1 10 0,-1 1-3 16,1-2-20-16,-5-1 0 0,0 2-15 15,-1-4-16-15,-3 3-28 0,1 0-26 0,0 3-10 16,0 0-51-16,-1 0-15 0,1-1-69 16,0 2-90-16,1-1-192 15,1 4-428-15,1 0 67 0,-2 0 46 0,7 0 118 0,-8-2 115 0,5-2 8 16</inkml:trace>
  <inkml:trace contextRef="#ctx0" brushRef="#br0" timeOffset="41478.21">6232 7257 1167 0,'0'0'499'0,"0"0"-41"0,0 0-20 0,-16 13-36 16,8-7-21-16,-2 4-53 0,-1-1-16 16,-6 4-20-16,1 5-39 0,-2-5-10 0,-5 10-43 15,3-5-16-15,4-4-10 0,1 3-97 16,-1-2-5-16,4-3-1 0,-1-1-7 0,3 1-10 0,2-4-3 16,0 0-7-16,4-1-11 0,0 1-10 15,0-2 28-15,1 1-10 0,3-4-10 0,3 2 13 16,1 1-6-16,2-4-12 0,2 2 9 15,2-2-4-15,3 1-3 0,2-2-2 16,3 0 0-16,0-1 4 0,2 0-4 0,6-2 2 16,-3 1-10-16,5-3-28 0,-4 3-1 0,6-3-53 15,-7 3-12-15,-2-4-14 0,0 4-43 32,-7-4-39-32,2 3-25 0,-3 1-66 0,-3-3-106 0,1 3-151 0,-3-4-421 0,-1 5 83 0,-4-4 85 15,-1 1 110-15,3-1 41 0,-5 1 90 0</inkml:trace>
  <inkml:trace contextRef="#ctx0" brushRef="#br0" timeOffset="41721.65">6285 7264 1338 0,'-8'6'545'0,"3"-2"-109"0,0 2-19 15,0 2-51-15,-2 3-36 0,1 1 8 16,1 3-41-16,-2 2-41 0,4 1-16 15,-5 3-4-15,3 2-24 0,0-2-27 0,2 3-14 0,-2-2 62 16,0-1-56-16,3-1-16 0,-1-1-59 16,3 1-45-16,-3-2-68 0,3 1-14 0,-2-2-24 15,2-4-30-15,0 0-44 0,-2 0-2 0,2-2-44 16,-3 2-49-16,2-5-84 16,-9 3-218-16,8-2-437 0,-1-1 110 0,-2 0 66 15,0-1 128-15,-5-1 52 0,0 3 66 16</inkml:trace>
  <inkml:trace contextRef="#ctx0" brushRef="#br0" timeOffset="42019.71">4626 8123 1479 0,'0'0'433'16,"0"0"-14"-16,0 0-32 16,23-8-36-16,-5 5 4 0,8-4-47 0,15-2-9 0,10 1-28 0,13-4-20 15,13-1 44-15,3 0-37 0,5 1-20 16,-1-2-36-16,3 0-2 0,0 1-8 16,3 2-33-16,3-2-39 0,-4 3-38 0,1 2-13 0,-5-2-36 15,-4 3-35-15,-6 1-19 16,-19 1-50-16,-2 4-24 0,-8-1-54 0,-10 0-37 15,-8 2-104-15,-7 0-129 0,-6 2-521 0,-5 0 34 16,-4 1 66-16,-2 0 93 0,-4 1 84 0,0-4 85 16</inkml:trace>
  <inkml:trace contextRef="#ctx0" brushRef="#br0" timeOffset="42292.85">3952 8596 990 0,'-26'7'399'0,"6"-3"3"0,7-4-25 15,7 3-52-15,6-3-18 0,0 0 5 0,35-16-23 0,8 3-12 16,26-8-21-16,31-8-8 16,15-3-82-16,13-1-27 0,9-3-17 15,6-6-6-15,6 8 60 0,2-2-14 0,-5 1-14 16,-10 3 0-16,2 0-43 0,-4 3-2 0,-8 2-3 15,-9 3-47-15,-29 8-19 0,-9 3-60 0,-9 2-66 16,-24 3-64-16,-13 5-154 0,-10 3-688 16,-13 4 53-16,-8-1 101 0,-6 3 129 0,-14 6 45 15,-21 5 91-15</inkml:trace>
  <inkml:trace contextRef="#ctx0" brushRef="#br0" timeOffset="51861.33">8775 11986 1359 0,'0'0'473'0,"0"0"-25"15,0 0-69-15,0 0-36 0,0 0-18 0,22 3-54 0,-14-3-15 0,1 0-23 0,1-3-64 0,0 3-31 16,2-1-48-16,-2-2-34 0,1 3-58 0,-1-2-60 16,0 0-124-16,0-3-219 0,1 2-488 15,-1 0 133-15,-2 3 38 0,-2 0 82 0,0-1 46 16</inkml:trace>
  <inkml:trace contextRef="#ctx0" brushRef="#br0" timeOffset="52030.18">8864 12087 847 0,'8'-3'276'0,"0"1"-91"16,-1 1-145-16,1-1-160 0,0 1-507 0,0-1 82 0</inkml:trace>
</inkml:ink>
</file>

<file path=ppt/ink/ink7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42:42.319"/>
    </inkml:context>
    <inkml:brush xml:id="br0">
      <inkml:brushProperty name="width" value="0.05292" units="cm"/>
      <inkml:brushProperty name="height" value="0.05292" units="cm"/>
      <inkml:brushProperty name="color" value="#0070C0"/>
    </inkml:brush>
  </inkml:definitions>
  <inkml:trace contextRef="#ctx0" brushRef="#br0">2660 6360 1587 0,'7'-3'494'0,"1"-1"-62"0,2 2-17 15,3-3-44-15,5-1-49 0,0 0-35 0,5 0-51 16,3-3-42-16,-1 3-79 0,2-1-48 16,8-4-52-16,-4 5-53 0,-3-1-72 0,-5-1-220 15,-2 3-525-15,-3 4 28 0,-3 0 85 16,-5 3 97-16,-2-1 35 0</inkml:trace>
  <inkml:trace contextRef="#ctx0" brushRef="#br0" timeOffset="167.91">2732 6458 1133 0,'0'0'379'0,"-3"3"-23"0,3-3-46 0,0 0-26 0,0 0-26 16,10 2-9-16,-10-2-39 0,16-2-26 0,-4 0-30 15,2-1-62-15,-1 1-21 0,5-2-53 0,2-1-51 16,-2 0-49-16,2 3-176 0,-2-4-480 16,5 1-32-1,-2 3 86-15,-3-3 91 0,2 2 76 0</inkml:trace>
  <inkml:trace contextRef="#ctx0" brushRef="#br0" timeOffset="724.94">4208 6139 1228 0,'-2'-4'548'0,"2"4"-23"0,0 0-54 0,0 0-59 0,0 0-8 0,0 0-35 0,-3 10-29 16,3-4-45-16,0 1-111 0,0 3 5 0,0-3-2 15,0 5-36-15,-2 2-5 0,-1-2-15 0,1 2-14 16,0 2-22-16,-1 0-16 0,-2 1-22 16,-1 2-6-16,3-5-51 0,-4 2-21 15,2 1-32-15,0-3-22 0,-1 0-55 0,-1-1-1 0,4-2-50 16,-2-3-22-16,2-1-78 0,1 2-108 16,-6-3-44-16,6-4-475 0,4 2 81 0,-2-2 128 15,0-2 21-15,0 0 84 0</inkml:trace>
  <inkml:trace contextRef="#ctx0" brushRef="#br0" timeOffset="1418.16">4547 6151 1162 0,'0'0'378'0,"5"-1"-27"0,-5 1-21 0,0 0 31 0,0 0-10 0,0 0-46 0,0 0-14 16,-16 6-37-16,12-3-32 0,-4 1 4 15,0 2-55-15,-2-1 3 0,0-1-38 16,1 2-6-16,0 0-7 0,1 0-10 0,-2 0-18 16,-1-1 12-16,6 2-38 0,-3-1 8 0,4-2-13 15,-2 1-15-15,2-1-16 0,0 1 26 16,4 1-31-16,0-2 0 0,3 0 16 0,0 1-16 15,5 0-13-15,-1 1 8 0,3 0 0 0,3-3 18 16,-2 2 0-16,1 2-13 0,1-1 39 16,-3-1-21-16,0 1 3 0,1-1 25 15,-3 0-3-15,1 0 4 0,-2 0 19 0,0 1-65 0,-5-1 17 16,1 0-21-16,-6 2 11 0,1-1-3 0,-3-1 13 16,-4 5 0-16,2-5-7 0,-6 3 58 15,-2 2-28-15,5-4-20 0,-5 2-18 16,2-3-39-16,2 1-48 0,-2-3-31 0,1 2-18 0,1 0-46 15,1-4-34-15,2 2-66 16,3-1-89-16,-3-2-221 0,4 1-462 0,4-1 101 0,-6-1 95 16,6 1 93-16,0 0 37 0,6-11 114 15</inkml:trace>
  <inkml:trace contextRef="#ctx0" brushRef="#br0" timeOffset="1610.61">4834 6171 1287 0,'2'-2'481'0,"-2"2"26"0,6 0-44 0,-6 0-22 16,0 0-24-16,3 6-36 0,-2 1-30 0,0-2-52 0,-1 2-17 0,0 1-13 15,-1 3-41-15,-1 1-34 0,2 1 6 16,-2 0-26-16,-4-1-56 0,2 5-70 0,1-4-43 16,-4 2-38-16,1 1-72 0,1-2-31 15,2-1-56-15,-2-1-133 0,-5-1-212 0,4-2-428 16,4-3 69-16,-3 4 125 15,2-4 73-15,1-2 50 0,0-1 85 0</inkml:trace>
  <inkml:trace contextRef="#ctx0" brushRef="#br0" timeOffset="1804.34">4770 6297 1366 0,'0'-7'410'0,"3"6"-18"0,-3 1-32 15,0 0-40-15,0 0-5 0,2-2-5 16,-2 2-62-16,0 0-5 0,10 5-20 15,-4-2 64-15,-2-1-41 0,4 2-54 0,0 0-24 16,-1-1-63-16,1 1-61 0,0-2-39 16,2 3-77-16,-2-4-99 0,3-2-226 0,1 1-568 15,4 2 105-15,-4 0 69 0,3-4 97 16,1 0 62-16,-3-1 38 0</inkml:trace>
  <inkml:trace contextRef="#ctx0" brushRef="#br0" timeOffset="1996.3">5229 6201 990 0,'5'5'550'0,"-5"-1"14"0,-2 1-86 0,2 2-63 0,0 0 15 0,-3 2-108 0,3 2-32 15,0 1-37-15,-3 1 8 0,1-2-43 0,2 3-24 16,0-2-40-16,-3-2-54 0,3 2-18 16,0-1-80-16,-3 1-43 0,3-4-43 0,-2 2-34 15,2-3-71-15,-2 0-131 0,-4-1-180 0,6-1-393 16,0-1 74-16,-2 0 67 0,2-4 117 0,-3 5 56 15</inkml:trace>
  <inkml:trace contextRef="#ctx0" brushRef="#br0" timeOffset="2444.25">4214 5958 1356 0,'-16'9'417'0,"-2"0"-94"0,3 4-19 0,-3 2-9 16,-5 8-21-16,0 5 5 0,-3 1-34 15,3 4 17-15,-8 8-55 0,6 2-13 0,6-5 55 16,-1 10-29-16,0-2-51 0,9-4-54 15,1 0-15 1,2-3-26-16,3 1-28 0,5-5-23 0,1-4-31 0,6 5-32 0,3-3-19 0,5-7-16 16,4 1-19-16,6-4-16 0,6-6-47 15,4-5-58-15,4-3-128 16,-3-5-33-16,-2-3-489 0,15-3 72 0,4-3 101 0,1-4 60 16,8-1 84-16</inkml:trace>
  <inkml:trace contextRef="#ctx0" brushRef="#br0" timeOffset="2820">5147 6125 1151 0,'10'1'443'16,"3"4"-18"-16,4 3 38 0,4 2-17 0,3 0-26 15,6 7-34-15,1 1-10 0,-3 1-22 0,-2 2-50 16,2 2-17-16,-5-2-100 0,-5 1-11 15,-5-3-14-15,-3 0-11 0,-2 3 0 0,-3-1-34 16,-5 1-22-16,-5 3 59 0,-3-2-31 0,-2 9-52 16,-6-2-45-16,-2 0-34 0,0-4-79 15,-2-2-56 1,5-5-70-16,2-4-291 0,0-4-561 0,1 1 121 0,3-6 94 16,-1 1 95-1,0-5 48-15,2 1 55 0</inkml:trace>
  <inkml:trace contextRef="#ctx0" brushRef="#br0" timeOffset="3217.13">6087 6107 1100 0,'0'0'561'0,"0"0"-47"0,0 0-40 16,-2 20-37-16,0-10-14 0,-1 0-42 16,3 5-53-16,-3-2-29 15,3 2-22-15,-4 2-21 0,1 1-49 0,3 1-25 0,-3-2-41 16,1-1-49-16,-1 2-64 0,3-4-51 0,-2 2-39 0,2-4-68 16,-3 2-47-16,1-1-217 15,1-1-591-15,1 1 117 0,-2-4 64 0,2 0 67 16,-3-2 92-16,3-2 84 0</inkml:trace>
  <inkml:trace contextRef="#ctx0" brushRef="#br0" timeOffset="3457.91">5875 6297 1228 0,'0'0'402'15,"0"0"-36"-15,0 0-41 0,0 0-30 0,20 4-11 16,-9-4-44-16,4 3-4 0,-2-1-21 0,5 0-36 31,2-1-54-31,3 3-40 0,-2-3-21 0,0-1-62 0,4 4-55 0,-2-3-73 0,0-1-120 16,1 0-217-16,-2 1-379 0,-1-1 125 0,-3 0 44 16,0 0 87-16</inkml:trace>
  <inkml:trace contextRef="#ctx0" brushRef="#br0" timeOffset="4443.85">6795 6207 1236 0,'3'-5'476'0,"2"2"-54"0,0-2-38 0,1 0-102 16,1 3-13-16,1-1-1 0,-1 2-24 0,1 1-17 15,2 1-1-15,-2 2 55 0,-3-1-20 0,3 3-20 16,-3 2 5-16,-2-2-39 0,-1 3-18 0,-2 2 6 15,-2-1-24-15,-1 2-12 16,-5 3-10-16,0-1-11 0,-2 3-49 0,-5-2 27 0,4-1-12 16,-3 4 4-16,1-3-29 15,0-3-4-15,2 1-1 0,1-4-28 0,0 0 18 0,2-1-3 0,1 0 3 16,1-2-10-16,-1 0-72 16,2 0 10-16,2 1 16 0,-2-4-31 0,2 3 13 15,3-4 10-15,0-1 8 0,-2 7-16 0,4-3 0 16,1-3 6-16,2 2-1 0,0 0 6 0,3-3-19 15,2 4-2-15,0-3-2 0,-1 0-34 16,3-1-15-16,-2 1-13 0,2-1-31 0,2 2-9 16,-4-2-37-16,1 0-13 0,1 0-32 0,-1-3-22 15,1 3-22-15,-2-2-98 0,3-2-124 16,-6 2-503-16,2-1 77 0,3 0 95 16,-4-2 92-16,-2 3 64 0,1-2 76 0</inkml:trace>
  <inkml:trace contextRef="#ctx0" brushRef="#br0" timeOffset="4715.2">7054 6201 977 0,'3'-5'405'0,"2"1"50"0,0-1-14 16,1 1-22-16,1 1-24 0,0 1-22 0,-1 1-32 16,2 1-3-16,-8 0-39 0,13 5-10 0,-3 0-7 15,0 2-41-15,-2 0-14 0,-1 2-12 16,3 3-15-16,-4-1-28 0,1 4-21 0,-2-1 10 15,1 1-102-15,-2 3-39 0,-4-5 11 16,1 0-54-16,-1 3-46 0,0-2-18 0,-1-1-46 16,1 0-31-16,-2-1-36 0,0 1 0 0,-1-2-91 15,0 2-155-15,1-7-317 0,0 2-140 0,1 1 53 47,-1-4 144-47,-1-1 66 0,3 0 20 0</inkml:trace>
  <inkml:trace contextRef="#ctx0" brushRef="#br0" timeOffset="4885.45">7016 6381 1177 0,'-5'-2'445'0,"5"2"-38"0,0 0-10 0,0 0-33 16,0 0 55-16,0 0-68 0,0 0-16 16,10-3-45-16,-10 3-27 0,18-1-38 0,-5 1-43 15,2-1-31-15,1-3-71 0,2 4-62 0,-1 0-70 16,4-3-68-16,3 0-182 15,0 2-259-15,3-5-350 0,1 4 110 0,10-7 69 16,-5 2 77-16,-7 1 68 0</inkml:trace>
  <inkml:trace contextRef="#ctx0" brushRef="#br0" timeOffset="5042.72">7685 6217 1231 0,'0'0'414'0,"0"0"-22"0,-8 12-11 16,4-7-35-16,1 4-21 0,-3-2-20 0,1 1-47 15,0 3-17-15,-2 1-8 0,2-1-49 0,-3 3-30 16,2-1-52-16,-1 1-56 0,-3 2-43 0,2-3-49 16,-2 1-111-16,-8 1-334 0,10 0-377 15,0-2 77-15,1-2 67 0,-1-2 87 0,0 2 43 16</inkml:trace>
  <inkml:trace contextRef="#ctx0" brushRef="#br0" timeOffset="5257.79">7454 6403 1425 0,'0'0'484'0,"0"-5"-92"0,3 2-31 0,-3 3-1 16,8-2-19-16,-1 2-42 0,1 0-12 0,2 1-26 31,1-1-18-31,1 2 54 0,1 1-51 0,3-1-23 0,1 4-49 0,1-2-33 0,0-1-60 16,0 3-60-16,0-1-52 0,-3-2-40 0,-2 1-86 15,1 2-178-15,-2-1-640 0,1-3 87 16,0 3 58-16,-3-1 88 0,-3-2 61 0,4-2 69 15</inkml:trace>
  <inkml:trace contextRef="#ctx0" brushRef="#br0" timeOffset="5567.18">7975 6306 1405 0,'8'-1'463'0,"-1"0"-41"0,0 1-17 16,1 1-93-16,0 2-30 0,0 0-14 15,-3-1-19-15,1 4-29 0,-2 0 3 0,-1 1-26 16,-3 1-8-16,0 3-17 0,0-3-21 0,-3 3-3 16,1 2-28-16,0-2 3 0,1-2 67 15,-2 1-19-15,1 2-33 0,2-5-25 16,2 3 5-16,1-2-16 0,0 0 21 0,-1 1-36 0,4-3 8 16,1-2 7-16,-1 2-15 15,3-2-20-15,-1-2 12 0,3 1-20 0,-1-1-33 16,0-2-9-16,0 0-27 0,1 0-15 0,1-1-27 31,-4 0 1-31,2-1-51 0,0 1-31 0,-4 0-39 0,-1 0-53 0,0-3-131 0,-2 4-189 0,-3 0-471 16,2-1 107-16,-2 1 93 0,0 0 66 15,-10-4 43-15,2 2 131 16</inkml:trace>
  <inkml:trace contextRef="#ctx0" brushRef="#br0" timeOffset="6015.42">6698 6119 1259 0,'-15'16'453'0,"-3"1"-10"0,5 2-103 0,-7 10-10 0,-1 1-35 16,-3 11-34-16,4-4-10 0,-3 11 58 0,3 3-119 16,-1-2-16-16,3 2-10 0,6-8-24 15,2 0-27-15,4-3-10 0,3 0-27 16,6-8-45-16,5 1-16 15,7-3-38-15,3-4-15 0,5-2-52 0,5-4-40 0,6-6-98 16,5-3-74-16,4-3-558 0,3-3 102 0,5-5 21 16,5-2 56-16,13-8 82 0</inkml:trace>
  <inkml:trace contextRef="#ctx0" brushRef="#br0" timeOffset="6370.96">8228 6176 1323 0,'19'7'589'0,"-2"2"-49"16,2 1-108-16,-1 3-40 16,9 9 17-16,2-1-50 0,1 6-14 0,1 0-4 0,-3 3-65 15,1-2 75-15,-6 3-39 0,0 0-28 0,-6 4-23 16,-6-3-25-16,-4-5-21 0,-7-2-36 0,-4 0-46 16,-6 7-41-16,-6 0-46 0,-4-2-48 15,-1 0-62-15,-5-1-51 16,1-3-77-16,-1-4-69 0,5-5-249 0,4-4-596 0,-4 0 154 15,6-6 61-15,-3 2 116 0,5-6 68 0,0-3 93 16,0-1 20-16</inkml:trace>
  <inkml:trace contextRef="#ctx0" brushRef="#br0" timeOffset="6778.01">9200 6131 1597 0,'0'0'563'0,"0"0"-54"16,3 11-33-16,-3-4-23 0,0 2-84 0,2 1-8 15,-2 4-39-15,0-2-27 0,1 3-39 16,1 1-21-16,-2 2-30 0,3 0-67 0,-1-1-58 15,-1 0-37-15,1 1-79 0,-2-3-28 0,2 1-38 16,-2-3-72-16,0 4-177 0,0-4-639 16,0 0 60-16,0-4 60 0,0 2 125 15,-2-1 77-15,2-2 54 0</inkml:trace>
  <inkml:trace contextRef="#ctx0" brushRef="#br0" timeOffset="7006.35">9052 6357 1067 0,'-3'-2'481'0,"3"2"46"0,7-4-17 15,-1 4-62-15,-1-2-52 0,5-1-22 0,6 1-44 16,-1 1-17-16,5-2-29 0,4 1-31 16,-1 1-35-16,2 0-24 0,6-2-63 0,-3 3-36 15,0 0-70-15,3-1-73 0,-5 1-32 16,-1 0-81-16,1 0-187 0,-5 0-597 0,1 1 88 15,-3-1 27-15,-1 1 124 0,0-1 53 16,-3 0 31-16</inkml:trace>
  <inkml:trace contextRef="#ctx0" brushRef="#br0" timeOffset="7764.65">10056 6201 1131 0,'0'0'509'0,"0"0"-38"16,0 0-102-16,8 12-29 0,-3-5-27 0,-1 3-27 15,3 1-9-15,-4 1-39 0,4 0 5 0,-4 4-31 16,1 0-25-16,-1 1-2 0,0-1-27 15,-3-1 3-15,-3 4 31 0,-2-2-23 16,0 0-15-16,-5 2-26 16,2-5-26-16,-7 4 19 0,4-6-37 0,-1-2-25 0,2 0 2 15,1-4-38-15,-1 1 11 0,2-5 12 16,-2 3-18-16,3-5-33 0,2 3 5 0,5-3-18 0,0 0 3 16,-10-5 2-16,10 0 20 0,2-1-14 15,3 0-3-15,3-3 7 0,-1-1 11 0,3-1-11 0,4-1-17 16,-1-2 45-16,2-1-20 0,0-1 18 15,0 0 6-15,-1 0-9 0,-2-2 13 0,-1 1 6 16,1 0 20-16,-2 1-13 0,-2 2 7 0,-2 1 11 16,1 1 0-16,-4 0-7 15,-1 1 9 1,0 2 3-16,-2-1-2 0,-2 2-21 0,0 2-13 0,-4-2-28 0,4 3-28 0,-6 0-41 16,3 1-7-16,0 2-37 0,-3 2-22 0,1 0-62 0,7 0-54 15,-14 4-189-15,7-1-610 0,2 2 103 16,0 0 103-16,2-2 38 0,1 2 158 15,2-1 19-15,0-4 40 0</inkml:trace>
  <inkml:trace contextRef="#ctx0" brushRef="#br0" timeOffset="7949.49">10528 6176 1502 0,'3'6'461'0,"-3"-1"-29"0,-3 3-25 0,3 0-28 15,-4 3-41-15,1 1-26 0,-3 3 49 16,-2 1-41-16,-4 3-46 0,2 0-41 0,-3-1-72 16,-7 7-79-16,-1 1-69 0,5-7-74 0,-1-1-88 15,4-1-181-15,-3-3-374 0,6-1-187 0,0-2 57 16,-1 0 99-16,1-5 70 0,3-1 109 16</inkml:trace>
  <inkml:trace contextRef="#ctx0" brushRef="#br0" timeOffset="8126.03">10300 6362 1430 0,'0'-5'443'0,"0"5"13"0,5-2 40 0,-5 2-22 0,0 0-44 0,10 1-105 0,-10-1-28 0,11 4-28 16,-3 0-8-16,2 2-38 0,2 0-16 0,4 4-46 16,-1-2 3-16,1 0-23 0,2 1-13 0,-1-1-31 15,1 4-56-15,1-5-64 0,-4 3-54 0,3-3-66 16,-2 0-54-16,-2 0-95 0,-6-1-284 15,5-1-399-15,2-3 89 0,-2-1 103 0,0 2 92 16,0-3 66-16,-2-3 85 0</inkml:trace>
  <inkml:trace contextRef="#ctx0" brushRef="#br0" timeOffset="8730.09">10890 6243 1633 0,'5'1'596'0,"0"-1"-51"16,2 4 8-16,-1-1-77 0,-1 3-117 0,0-4-37 16,-2 4-5-16,-1 0-38 0,-2 1-25 0,0 2-42 15,-4-1 8-15,3-2-35 0,-4 2-34 0,2 1-8 16,1-2-30-16,0 0-19 0,2 0-35 16,0 0-18-16,0-2-25 0,2 3 25 0,0-2-13 15,1 1 8-15,2 0 12 0,-2 1 26 0,2-1 13 16,-2 2-12-16,1 0 91 15,0-1 6-15,-4 2-67 0,0 0 20 0,-1 0-12 0,-4 2-34 0,0 0 28 16,-3 0-4-16,0 2-24 16,-4-2 11-16,4-4-39 0,-2 3-20 0,0-3-34 15,-1 2-20-15,1-2-46 16,0-3-39-16,0 1-60 0,-1-3-63 0,1 2-63 0,0-5-44 0,0 1-56 16,-1-2-90-16,-2 1-614 0,-2-1 87 15,3-4 151-15,-6-1 38 0,1 0 103 16,0-2 92-16,-6 0 35 0</inkml:trace>
  <inkml:trace contextRef="#ctx0" brushRef="#br0" timeOffset="9151.52">10090 5962 1190 0,'-10'7'445'0,"-6"1"-5"16,-6 4 21-16,-7 11-13 0,1 2-38 0,0 5 12 0,-5 9-107 0,2 4-16 15,0 2-20-15,7 4-23 0,-1 3-30 16,2-1 60-16,5 3-37 0,3-3-32 16,7-8-35-16,8-1-41 0,3-3-26 0,4-5-49 15,7 1-17-15,8-9-13 0,7 2-41 16,4-6-36-16,5-4-49 0,5-6-35 0,2-4-52 15,0-4-38-15,7-5-97 0,-6-4-233 16,18-6-456-16,0 2 79 0,-3-6 106 0,1-4 112 0,-8 0 36 16,-3-1 66-16</inkml:trace>
  <inkml:trace contextRef="#ctx0" brushRef="#br0" timeOffset="9418.78">11121 6044 1397 0,'21'16'581'16,"3"5"-33"-16,3 5-34 16,3 1-30-16,3 10-44 0,1 2 8 0,-6 1-79 0,-5-8 58 15,-5 5-37-15,-3-1-27 0,-4 0-112 16,-6-3-26-16,-8-7-51 0,-2 11-71 0,-5-1-1 15,-8-2-66-15,0-2-44 16,-3-1-61 0,-1 0-72-16,-4-6-38 0,3-1-108 0,3-6-166 0,1-4-594 0,1-3 93 0,3-4 81 15,2-2 130-15,3-5 37 16,3 0 89-16,-7-5 36 0</inkml:trace>
  <inkml:trace contextRef="#ctx0" brushRef="#br0" timeOffset="10016.34">11782 6166 1300 0,'0'0'566'0,"5"11"-32"16,-5-4-55-16,0 2-36 0,3 0-26 15,-3 4-43-15,3 2-44 0,-1-1-15 0,0 4-33 16,1 0-34-16,0-3-64 0,-1 4-53 0,0-1-24 16,1 1-79-16,0-6-84 0,-1 3-77 0,-2-2-77 15,0-1-284-15,1 0-453 0,1-1 64 16,-2-4 94-16,3 2 55 0,-3-4 66 0,0 1 82 15</inkml:trace>
  <inkml:trace contextRef="#ctx0" brushRef="#br0" timeOffset="10213.43">11700 6302 1310 0,'0'0'520'0,"0"0"-31"0,7-2-29 15,-7 2-63-15,11 0-28 0,-3 0-54 16,2 1-16-16,2-1-12 0,4 3-47 16,-1-1-37-16,1 0-68 0,2-1-55 0,0 3-68 15,-1-4-68-15,4 3-54 0,-5 0-174 0,4-1-668 16,-4 1 61-16,1-1 143 0,-3 0 47 0,1 0 69 16,-3 0 84-16</inkml:trace>
  <inkml:trace contextRef="#ctx0" brushRef="#br0" timeOffset="11698.68">12656 6225 908 0,'8'-1'333'0,"-3"-3"-16"16,3 4-17-16,-8 0-31 0,13 0-29 15,-6 0-22-15,-1 0-24 0,-6 0-9 0,12 0-9 0,-12 0-15 16,8-2 72-16,-8 2-10 0,5 2-39 16,-5-2-12-16,0 0 2 0,0 0-33 15,0 0-26-15,-13 5 5 0,5-3 11 0,-2 2-26 16,0-1-5-16,-3 1-21 0,3 1-13 16,-2-3 11-16,1 3-10 0,-2 0-16 0,1-2 10 15,3 1-25-15,2-2-5 0,-1 2 20 0,1-1-15 16,1 0-3-16,1-1-2 15,3 0-31-15,-3 1 31 0,5-3-24 0,-1 6 14 0,1-4-21 0,0-2 10 16,3 6 5-16,2-2 3 16,0-2 0-16,1 1 13 0,2 1-10 0,2 0-11 0,-3-2 26 15,6 3-18-15,-3 1 12 16,-2-3 1-16,0 1 10 0,2 0-5 0,-3-1 5 16,-1 2 15-16,-1 0-79 0,0-2 23 15,-2 2-8 1,-3 0 29-16,-2-2-16 0,1 2 28 0,-4 0-5 0,0 0-7 0,-3 1-21 0,0-3 7 15,-2 2-7-15,0 1 3 0,-3-1 23 16,-2-2-47-16,2 1 3 0,0 1-12 0,0-2-17 0,0-2-19 16,-2 4-29-16,5-5-10 15,-3 1-33-15,3 0-21 16,2 1-28-16,-2-1-53 0,3-1-103 0,1 0-174 0,1 0-405 0,0-1 113 16,5 1 52-16,0 0 135 0,0 0 15 0,0 0 100 15</inkml:trace>
  <inkml:trace contextRef="#ctx0" brushRef="#br0" timeOffset="11963.59">13185 6212 1540 0,'0'0'448'0,"-10"14"-48"0,7-7-32 15,-5 3-25-15,0-2-25 0,-2 4 30 16,2 1-18-16,-2 1-33 0,-1 1-28 0,-1 0-36 16,-3 3-54-16,0 0-54 0,2 0-53 0,-8 4-39 15,6-4-84-15,-1-1-33 0,3-3-62 0,1-1-149 16,-9 0-163-16,11-2-479 0,2-1 116 0,0-1 78 16,1-3 47-16,1 0 82 15</inkml:trace>
  <inkml:trace contextRef="#ctx0" brushRef="#br0" timeOffset="12129.24">12951 6344 1523 0,'0'0'419'0,"0"0"-37"0,0 0-42 16,11 6 47-16,-7-4-26 0,-1 3-39 0,3 1-48 15,-2 1-16-15,2-2-60 0,2 0-55 0,-4 2-33 16,2 0-56-16,1-1-75 0,0 1-66 15,-1-2-228-15,-1 1-596 0,3 0 100 0,0-3 84 16,0 1 18-16,2-3 56 0</inkml:trace>
  <inkml:trace contextRef="#ctx0" brushRef="#br0" timeOffset="12416.45">13497 6319 1072 0,'0'0'527'0,"0"0"-40"0,-25 5-52 16,12-2-23-16,2 2-113 0,-6 0-17 0,1 2-13 16,-2 0-36-16,0-1-23 0,1 1-21 0,-1 1-5 15,0 0-5-15,2 0-20 0,3-2-10 0,3 0-11 16,0 1-23-16,0-2 3 0,2 2 74 0,3 0-36 16,3-2-8-16,-2 2 11 15,7-2-39-15,-2 1-15 0,6-1 0 0,-2 0-5 16,5 0-18-16,1 0-36 0,4-1-18 0,0-2-38 15,3 1-28-15,1-1-57 0,-2-2 8 0,4 1-44 16,-1-2-63-16,1-1-37 0,-1-1-150 16,-4 1-116-16,-1-1-437 15,0 0 31-15,1-1 104 0,-4-1 49 0,-1-2 97 0,-1 1 29 0</inkml:trace>
  <inkml:trace contextRef="#ctx0" brushRef="#br0" timeOffset="12622.51">13559 6338 1223 0,'-7'2'476'0,"1"3"-18"0,-2 1-117 16,3-1 20-16,-3 2-36 0,1 0-5 0,-1 4-16 0,1 2 80 16,1-1-61-16,2 0-16 0,-2 2-18 0,1 3-28 15,-2-2-130-15,4 2 4 0,-2-2-37 16,2 2-37-16,-2-5-53 0,0 2-18 16,3 0-59-16,-4-2-29 0,1 0-22 0,2 0-26 15,-1-2-69-15,1-3-192 0,-2 0-207 0,0-1-282 16,-1-2 51-16,1-1 167 0,0-2 5 15,-3 0 69-15</inkml:trace>
  <inkml:trace contextRef="#ctx0" brushRef="#br0" timeOffset="12958.72">12328 6008 1415 0,'-13'24'420'0,"-2"-4"-36"0,0 11-31 0,2 5 5 0,-3 1-50 15,4 6-35-15,-1 7-9 0,3-4-34 16,2 2 55-16,3-2-19 0,5 3-36 0,5-4-40 16,3 1-39-16,4-5-44 0,3-2-35 15,9 4-39-15,-1-12-53 16,7-3-52-16,1-7-56 0,8-1-156 0,2-5-592 0,5-7-25 0,-2-2 118 16,-3-5 105-16,8-2 35 0,1-5 113 0</inkml:trace>
  <inkml:trace contextRef="#ctx0" brushRef="#br0" timeOffset="13232.8">13818 5993 1607 0,'13'26'507'0,"-3"-1"-8"0,1 8-59 0,-1 4 0 0,-3 4-27 0,1 0-45 0,-3 2-38 15,-3 2-22-15,-4 1-55 0,-3 0-2 16,-3-1-57-16,-5 10-38 0,0-4-79 0,-7-1-54 16,-3-2-59-16,-1-3-61 0,-4-4-64 15,6-7-49 1,-7 3-15-16,1-12-239 0,0 4-488 0,-3-7 82 0,0 1 110 0,-2-6 64 15,-5-3 50-15,-3-3 58 0</inkml:trace>
  <inkml:trace contextRef="#ctx0" brushRef="#br0" timeOffset="14682.72">4329 7180 1026 0,'25'-3'366'16,"-9"2"-31"-16,12-1-25 0,16-3-8 0,9-1-5 15,14-1-44-15,5-1-17 0,5-1-6 0,7 1-102 16,6 1 23-16,5-2-28 0,3 1 0 16,-1 0-21-16,0-2 19 0,3 3-27 0,26 0 52 15,5 1-5-15,-5-1-18 0,4 1-5 16,-24 2-24-16,24-3-9 0,-25 5 2 15,26-2-15-15,-26 2 7 0,28-1-15 0,1 1-3 0,-24 1-15 16,26 2 0-16,-26 1-20 16,-2-4 2-16,28 2 0 0,2 0 6 0,-2-1 4 0,-3-1-17 15,-23 2 14-15,27-2-6 0,6 1-19 0,3 1 5 16,-7-2 0-16,2-1-7 16,2 1-8-16,4 0 18 0,-4-1 8 0,-2 1-1 0,-5 2-7 15,5-4-25-15,2 3 14 0,-6 0-9 16,1-4 14-16,-3 4-9 0,-1-1-11 0,2 0 6 0,-28 1 7 15,2 2-15-15,2-1 5 0,19 2 15 16,-23-4-10-16,-3 4-10 16,0-1 2-16,-2-1 16 0,-3 1-11 0,-3-1-2 0,-2 2 7 0,-5-2 4 15,-1 1-12-15,-4-1 4 0,-3 0 20 16,-4 2-5-16,-15-2-19 0,-4 0 14 16,-2 1 5-16,-4-2-13 15,-4 2 5-15,-8-1-13 0,-5 0 21 0,-5-1-15 0,-3 1-9 0,-5-2 29 16,-2 2-18-16,-1 0-5 0,-4 0 8 0,-1 0-6 15,1-1 21-15,-4 1-8 32,1-1 8-32,0 0 16 0,0 0 6 0,0-2 4 0,2 1 2 0,-5 2-8 0,5-2-2 0,-2-1 23 15,3 2-5-15,2 0-3 0,-3 0 3 0,1-2 12 0,4 3-22 16,-5-2 12-16,3 1 8 0,-5 1-23 16,2 0 13-16,1 0-13 0,-6 0 8 0,5 0-11 15,-2 0 5-15,3 1-12 16,-4-1 13-16,4 0-26 0,-3 2 15 15,2-2-10-15,0 1 5 0,1 1 3 0,-1-1-8 0,1 0-16 16,-1-1 9-16,0 1-8 0,0-1 4 0,1 0-65 16,-1 0 12-16,3 3-5 0,0-2 20 0,0 0-10 15,0-1 0-15,-2 0 13 16,4 1 5-16,-2 0 11 0,5 1-16 0,0-1 10 0,-2 0-3 16,4-1 6-16,-1 1 0 0,7-1 13 0,-4 1 7 15,4 0-26-15,0-1 14 0,3 3 4 0,1-2 6 16,-4-1-5-16,3 4 4 15,-1-4-4-15,0 0 20 0,0 1-26 0,0 0 32 16,1 1-6-16,2 1-23 0,10-2 0 0,-3 1 5 16,6 3-16-16,-5-5 24 0,-3 3-18 0,5 0 20 15,-2 1-20-15,-6-2 8 0,-4-1 2 16,-3 0 13-16,-1 2-10 0,1-1-21 16,-6-2 23-16,1 0 3 0,-3 0-21 0,1 3 13 0,-7-2 16 15,3-2-16-15,-4 2 10 0,-3-1-17 0,0 0 7 16,0-1-5-1,-3 1-5 1,0-3-11-16,-2 3 11 0,-1 0-20 0,-1 0-39 0,-6 0-8 0,7-3-18 0,-7 3-25 0,0-4-23 0,0 4-34 16,0 0-32-16,-13-6-55 0,6 5-20 15,-3-6-223-15,-1 7-493 0,-4 0 104 0,-3-3 57 16,0 2 158-16,-5 0 15 0,-2 1 60 0</inkml:trace>
  <inkml:trace contextRef="#ctx0" brushRef="#br0" timeOffset="16439.36">6375 7423 1469 0,'0'-3'420'0,"0"3"-26"0,0 0-3 16,0 0-112-16,0 0-2 0,12 11-24 15,-11-3-22-15,-1 3-16 16,5 2-18-16,-5 0 2 0,0 2 22 0,0 4-1 0,0-4-34 15,-2 6-34-15,-1-1-1 0,2 0-11 0,-1 0-58 16,0 0-31-16,-4-1-5 0,4-1-48 16,-1 0-1-16,-2-2-15 0,1-2-48 0,3-1-42 15,-4-2-35-15,3-1-75 0,1-5-196 16,-1 2-518-16,-1 0 64 0,3-2 123 0,-2-2 36 0,2-3 75 16,-1 4 114-16</inkml:trace>
  <inkml:trace contextRef="#ctx0" brushRef="#br0" timeOffset="16879.71">6883 7469 1254 0,'2'-2'381'16,"-2"2"44"-16,0 0-44 0,0 0-20 0,0 0-36 15,0 0-28-15,-10 13-30 0,0-7-37 16,0 0-5-16,-3 2-15 0,-3-1-26 0,3 4-17 16,-5 0-14-16,3-2-27 0,0 2-14 0,2-3-89 15,-2 3-20-15,4-2-18 0,3 1-8 0,1-3-6 16,1-1 22-16,2 0-6 0,1-1 13 16,3-3-15-16,0 3 22 0,0-5-14 15,7 3 12-15,-1 0-10 0,-1-1-1 16,3-2 12-16,0 3 6 0,2 0 11 0,0-3 18 0,-3 4-10 15,4-2-10-15,-1 1 20 0,-3 1-3 0,1-1 5 16,0-1 21 0,-3 0 11-16,0 2 19 15,0 0 57-15,-5-1-30 0,3 2 25 0,-3-2-36 0,-5 1 10 0,3 3-23 0,-4-3 3 0,-1 3-31 16,-4-1-5-16,1-1-25 16,-3 2-29-16,0-1-15 0,1 0-18 0,-2-2-64 15,0 2 12-15,3-1-27 16,-4-1-57-16,4-2-43 0,1 0-110 0,5-2-149 0,-3 3-542 15,3-4 140-15,0-1 36 0,5 2 85 0,0 0 140 16,-2-6 34-16</inkml:trace>
  <inkml:trace contextRef="#ctx0" brushRef="#br0" timeOffset="17081.82">7070 7450 1210 0,'0'0'423'0,"3"6"-6"0,-1-4-46 0,-2 4-18 0,2 2-43 0,-2 1-11 16,0-1 55-16,3 4-50 0,-6 1-38 0,3 3-30 16,3-2-8-16,-6 5-113 0,1-1-10 15,2-1-41-15,0 0-46 0,-2 0-46 0,1 0-54 16,-1-3-62-16,-3-2-104 0,4 2-167 16,1-2-473-16,-1 0 72 0,0-4 43 0,1 1 105 0,0-2 58 15</inkml:trace>
  <inkml:trace contextRef="#ctx0" brushRef="#br0" timeOffset="17282.29">6934 7642 1543 0,'0'0'394'0,"0"0"-33"15,0 0-15-15,8-4-49 0,-1 3-8 0,1-2-28 16,0 1 41-16,4 2-15 0,4 0-29 0,-1-1-35 15,3 1-52-15,2 0-40 0,1-1-59 16,5 2-52-16,-3-1-48 0,3 0-85 0,2 1-191 16,-5 1-587-16,2 2 23 0,1-4 100 15,-3 4 54-15,0-1 125 0,0 0 13 0</inkml:trace>
  <inkml:trace contextRef="#ctx0" brushRef="#br0" timeOffset="17939.18">7587 7444 1323 0,'8'0'455'0,"2"0"-32"16,-2 2-42-16,0 1-25 0,2 0-85 0,1 2-15 15,-1 1-23-15,0 2 8 0,-2 0-41 0,-1 1-19 16,-1 1-12-16,-2 0 62 0,-4 1-24 0,0 1-41 15,-2 1 1-15,-3 2-21 0,0 1-6 16,-3 1-17-16,-2-1-15 0,-1 2-14 0,1-3-19 16,-2-1 4-16,1-1 0 0,3-2-7 0,-1-2-5 15,1-3-9-15,3 4 1 0,-1-5-38 0,2 0 10 16,1 1 25-16,-3-1-10 0,4-3-18 16,-1 2 8-16,1 0-11 0,2-4 6 15,2 5 2-15,-2-5-7 0,6 4-3 0,1-4 5 0,-2 0-17 16,5 0-4-16,-1 0-25 0,3 0 5 15,4-2-25-15,-1-2-28 0,1 1-42 0,4-1-38 16,0-1-43-16,1 0-54 31,-1 1-164-31,-1-2-515 0,1 0-46 0,-2 0 116 0,-3 1 79 0,-2-1 90 0,0 0 76 16,-1 3 62-16</inkml:trace>
  <inkml:trace contextRef="#ctx0" brushRef="#br0" timeOffset="18215.84">8024 7417 1251 0,'18'-1'402'0,"-5"1"-33"0,2 1-16 16,-5 2 54-16,3 1-44 0,-1-2-2 15,1 3-46-15,-3 2-21 16,1 0-84-16,-3 2-23 0,2 0 3 0,-3 0 4 0,-1 1 49 0,-1 3-17 15,0 0-27-15,-5 2-4 0,0 0-37 16,0-2-17-16,-3 3-23 0,1 0-26 16,-1 1-41-16,-2 1-38 0,2-4-51 0,-2 4-36 0,1-4-44 15,1-1-46-15,-2-1-95 0,0 1-240 0,2-2-535 16,-2-1 123-16,2-3 92 0,0 1 82 16,1-2 92-16,0-2 48 15</inkml:trace>
  <inkml:trace contextRef="#ctx0" brushRef="#br0" timeOffset="18401.32">7972 7634 1594 0,'3'-5'430'0,"-3"5"-28"0,10-3-36 0,-2 3-33 0,2-2-29 15,0 2-37-15,5-2-6 16,3 1-49-16,0-1-22 0,3 2-32 0,0 0-42 0,1 0-14 15,4-1-76-15,-3 1-50 0,1 0-37 16,1-3-80-16,1 1-128 0,-3 2-470 0,-1 0-68 16,-1 0 57-16,0-5 31 0,-4 4 107 15,0 1 42-15</inkml:trace>
  <inkml:trace contextRef="#ctx0" brushRef="#br0" timeOffset="18620.72">8677 7450 1069 0,'0'0'538'0,"0"0"-13"0,0 0-57 0,0 0-92 0,-4 19-30 0,4-12-41 16,0 5-34-16,0-1-18 0,2 2-33 0,0 0-15 16,-2 5 54-16,0-4-44 0,0 9-39 15,-2-5-68-15,2 2-49 0,-2 0-46 0,-1-2-60 0,0 1-55 16,0-2-144-16,-5-2-202 0,6 2-519 15,0-6 127-15,-1-1 106 0,1 0 78 0,-1-4 70 16,1-2-18-16</inkml:trace>
  <inkml:trace contextRef="#ctx0" brushRef="#br0" timeOffset="18849.38">8456 7645 1282 0,'-4'-3'458'0,"4"3"28"15,0 0-25-15,0-4-31 0,0 4-61 16,0 0-24-16,10-6-9 0,-5 6-55 16,3 0-7-16,4 0-26 0,-1 0-20 0,5-1-41 0,1 0-18 15,-1 0-41-15,4-1-38 0,0 2-72 0,-1-1-29 16,6 2-42-16,-4-2-47 0,2 1-62 16,0 0-140-16,0 0-199 0,-2 0-459 0,-4 0 66 15,4-2 132-15,-3 2 55 0,0 0 60 0,0 0 55 16</inkml:trace>
  <inkml:trace contextRef="#ctx0" brushRef="#br0" timeOffset="19614.77">9334 7542 1251 0,'4'-3'333'16,"-4"3"-34"-16,4-3 14 0,-2-1-14 0,-2 4-40 15,0-3-6-15,0 3 65 16,-5-6-32-16,2 2-4 0,-2 3-36 0,0-3 7 0,0 3-30 0,-3 0-6 16,0-1-97-16,-4 0 14 0,2 1-17 0,-1 1 4 15,1 0-32-15,0 3 6 16,2-2-5-16,-2 1 2 0,2 4-13 0,0-2-15 0,1 4 61 16,1-1-9-1,1 1 1-15,2 3-7 0,1-1-2 0,0 3-11 0,-1 1-33 0,3 3 8 16,-3-2-29-16,3 1 16 0,-2 2 8 0,-3-3-34 15,-2 3 0-15,1-4-20 16,-2 4 0-16,-2-5 5 0,0-1-18 0,-1 2-5 16,1-2 15-16,0-6-20 0,0 3-3 0,5-4 10 15,-3 0-20-15,0-1 23 0,3-3-20 0,-2-2-6 16,7 1-2-16,-8-4 5 0,8 4 3 16,0-6-19-16,2 0-2 0,4-1 3 0,2-1-3 15,4-3 8-15,0-2-6 0,4 1 16 16,2-5 3-16,-3 3 2 0,3-1-5 0,-2-2 7 0,2 3 22 15,0-2 9-15,-3 3 0 0,-4 0 11 16,-1 2-1-16,-3 3 4 0,-1-3 12 16,1 3 17-16,-4 2-9 0,2-1-26 0,-5 2 3 0,0-1 12 0,0 1 8 15,-5 4-15 1,2-4-16-16,-2 3-5 0,0 0-22 0,-1-1-57 0,6 3 2 16,-12-1-28-16,12 1-51 0,-12 4-58 0,6-2-96 15,-4 0-255 1,7 1-477-16,-2-1 80 0,3-2 146 0,2 0 33 0,0 0 51 0,0 0 113 15</inkml:trace>
  <inkml:trace contextRef="#ctx0" brushRef="#br0" timeOffset="19811.18">9536 7484 1387 0,'3'4'502'0,"2"3"-111"0,-3-1-17 16,1 3-26-16,0 0-25 0,1 3 63 0,-4 1-53 15,3 0-31-15,0 0-10 0,-1 3-54 16,-1-2-10-16,1 5-54 0,0-2-44 0,1-2-74 16,-2-1-30-16,1 2-69 0,-2-3-50 0,0 0-124 15,-6 0-254-15,6-2-479 0,0 0 34 16,0-3 138-16,0-1 92 0,0 0 82 0,0-2 69 16</inkml:trace>
  <inkml:trace contextRef="#ctx0" brushRef="#br0" timeOffset="20027.22">9449 7683 1576 0,'-3'-1'469'0,"3"1"-39"16,0 0-36-16,0 0 31 0,0 0-18 0,8-5-44 16,-8 5-25-16,13-2-51 0,-5 2-8 15,2 0-100-15,2 0-20 0,-1 0-44 0,2 0 0 16,0 0-38-16,2-2-34 0,1 0-27 15,1 1-62-15,-2 0-23 0,1 0-49 0,-1-2-46 16,1 1-97-16,-1-1-195 0,-2 0-470 0,0 2 71 16,-1 1 82-16,-1-1 87 15,2 1 74-15,-3-4 39 0</inkml:trace>
  <inkml:trace contextRef="#ctx0" brushRef="#br0" timeOffset="20370.3">10252 7513 1553 0,'-6'-2'494'15,"6"2"-46"-15,-12-1-110 0,6-1-21 0,-1 2-27 16,-1 2-50-16,0-1-17 0,3 0-5 0,0 1-26 16,-3 3-39-16,6-1 6 0,-1-2-18 15,1 5-29-15,-1-1 6 0,3 0-5 0,0 1-26 16,3 3 28-16,2-1 41 0,0 2 67 0,2 2-77 15,1 0 17-15,0 1-1 16,2 1-19-16,-2-1 116 0,2-1-29 0,-2 1 11 0,-3-1-26 16,0-2-29-16,0 1-14 0,-4 1-6 0,-1-4 6 15,-1 0-29-15,-4 3-40 0,0-3-103 0,-3 2 0 16,-2 0 0-16,-2-2 0 16,-1 0-44-16,-1-1-166 0,-3-1-59 0,-1 0-115 0,-6 2-345 15,1-2-454-15,-5-1 172 16,-3-1 51-16,1-2 116 0,-19 3 78 0,3 1 78 0,0-2 117 15,-5 0 72-15</inkml:trace>
  <inkml:trace contextRef="#ctx0" brushRef="#br0" timeOffset="21129.1">4186 9991 1302 0,'0'0'369'0,"0"0"56"0,0 0-57 15,0 0-30-15,17 3-33 0,-9-3-23 0,2 1-27 16,3-1-29-16,0-1-9 0,5 1-61 16,-3 0-40-16,3-1-42 0,3-1-59 0,-3 0-51 15,-1 0-99-15,-1 2-254 0,-3 0-517 16,-1 0 120-16,-1 0 56 0,-1 0 93 0,-5 4 107 15</inkml:trace>
  <inkml:trace contextRef="#ctx0" brushRef="#br0" timeOffset="21285.73">4218 10173 1400 0,'0'3'389'0,"0"-3"-33"0,6 6-31 0,-1-3 41 0,2-1-26 0,1-2-30 0,2 4-29 15,1-2-32-15,2-2-32 0,5 0-50 16,2 0-42-16,1-2-35 0,4 2-62 0,-2-4-69 16,0 3-161-16,5-4-267 0,-2 0-404 15,0-2 59-15,0 1 146 0,-4-1 16 0,2-3 119 0</inkml:trace>
  <inkml:trace contextRef="#ctx0" brushRef="#br0" timeOffset="22268.54">10190 7519 1169 0,'0'0'333'0,"-3"-5"-26"0,3 5-25 0,0 0-29 16,0 0-12-16,0-3-21 0,0 3-20 0,6-4-8 31,-6 4-18-31,10-1-13 0,-6 1 56 0,4-1-14 0,-8 1-47 0,16 0 18 0,-5 0-44 16,-1-3-9-16,2 3-1 0,-1-1-15 15,1 1-31-15,1 0-17 0,0-1-42 0,-2 0-23 16,1 0-33-16,-2-2-10 0,0 3-59 15,1 0-62-15,-3 0-45 0,-1 0-98 0,-7 0-100 16,11 0-417-16,-7 0 72 0,-4 0 79 0,6 3 62 16,-6-3 58-16</inkml:trace>
  <inkml:trace contextRef="#ctx0" brushRef="#br0" timeOffset="31520.38">5373 9829 1105 0,'0'-5'502'0,"2"1"-5"0,-2 4-47 0,5-3-48 16,0 2-18-16,3 1-92 0,0 0-13 0,2 0-21 15,3 3-7-15,2-2-28 0,-2 5-1 16,2-1 60-16,1 1-21 0,-1 1-36 0,-2 5-89 16,0-4-8-16,-1 4-18 0,-4 3 3 15,-3-2-8-15,-2 1-29 0,-3-1 17 0,-3 7-32 0,-4 5 6 16,-3-3 14-16,-6 8-17 0,-2-2 0 0,-3-2-28 15,1 1 0-15,2-7 8 16,3-3-3-16,2-2 0 0,-3-1-24 0,6-2 7 16,-2-2-1-16,4-1-6 0,0-3 9 0,3 1-23 15,-1-1 12-15,4-1-7 0,0-3 12 0,2 4-22 16,0-6 4-16,3 4 1 0,1-2-16 0,2-2 15 16,-6 0-17-16,17-2-23 15,-6 0-52 1,1-2-22-16,1-1-45 0,0 2-27 0,2-4-44 0,1-2-51 0,-3 3-118 0,2-2-509 15,0-2-43-15,-2 2 45 0,0-3 146 0,-2 3 90 16,2-3 69-16,-1 3 16 0</inkml:trace>
  <inkml:trace contextRef="#ctx0" brushRef="#br0" timeOffset="31660.38">5718 10006 1425 0,'0'0'412'0,"0"0"-23"16,0-6-38-16,0 6-51 0,-2-5-60 15,2 5-50-15,2-2-62 0,-2 2-59 0,4-6-56 16,0 5-126-16,-6-3-215 0,7 3-488 0,0-4 99 16,3 4 75-16,-1-4 45 0</inkml:trace>
  <inkml:trace contextRef="#ctx0" brushRef="#br0" timeOffset="31979.02">5885 9947 1392 0,'-7'10'471'0,"4"-1"-113"16,-2 0-22-16,5-2-24 0,0 2-31 16,-3 0-30-16,3-3-25 0,3 4-32 0,-3-2 1 15,5-1-16-15,0 0-36 0,3 0-15 0,2-1-2 16,3-1-1-16,-3-1 8 0,3-3-5 16,-1 0 0-16,-1-3-2 0,5-2 19 0,-2 0-4 15,-3-1 5 1,2-1-20-16,-3-3 76 0,-2 2-26 0,-1-1-4 0,-1-3 2 0,-4 2-23 0,-2-1-23 15,-2-1-10-15,-1 1 12 16,-2-2-43-16,-3 1 3 16,0-1-8-16,-4 0-36 0,2 0-39 0,1 5-24 0,-1-1-47 0,0 2-49 15,0-1-51-15,2 3-30 16,1 2-50-16,1 1-109 0,2-2-259 0,4 3-442 16,-10 5 81-16,6-4 126 0,2 4 135 15,2-5 24-15,2 5 89 0,-2-5 23 0</inkml:trace>
  <inkml:trace contextRef="#ctx0" brushRef="#br0" timeOffset="32258.36">6303 9819 1238 0,'0'0'500'0,"-18"0"-58"0,10 3-53 0,-2-2-10 0,2 1-56 15,1 2 4-15,1-2-48 16,2 4-107-16,1-2-26 15,0 2 5-15,3 2-8 0,3 0-20 0,2-2-10 0,0 5 7 0,3-3 8 0,5 4-18 16,-3-3 33-16,1 1 80 0,1 0 0 0,-4-1-1 16,-1 0-35-16,1 0-5 15,-2-2-16-15,-2 5 11 0,-4-5-18 0,0 4 2 16,-4 0-38-16,-4 1 23 0,-3 0-13 0,-1 1-26 0,-2 0-40 16,-1-3-16-1,-3 1-53-15,0 2-52 0,3-2-61 0,2-3-42 0,0-3-73 16,3 2-57-16,0-6-232 0,2 3-595 0,3-2 83 15,0-1 163-15,5-1 28 16,0 0 119-16,0 0 114 0,6-11 39 0</inkml:trace>
  <inkml:trace contextRef="#ctx0" brushRef="#br0" timeOffset="32469.15">6736 9836 1405 0,'6'0'548'0,"-6"0"-29"0,2 7 31 16,-2-2-22-16,-5 3-124 0,-3 5-22 0,-5 5-60 15,-10 7-20-15,-5 1-20 16,-11 10-26-16,-2 0-11 0,-2 1-50 0,0-3-34 16,1 3-43-16,4-1-54 0,2-3-67 0,8-8-84 15,3 1-61-15,1-2-54 0,11-7-98 0,3-3-245 16,5-7-430-16,5-1 104 0,5-5 40 16,3-2 139-16,10-5 17 0,5-3 73 0</inkml:trace>
  <inkml:trace contextRef="#ctx0" brushRef="#br0" timeOffset="32577.87">6883 9962 1113 0,'-11'14'466'0,"1"-3"-21"0,-5 8-28 0,-11 12-35 0,-8 7-39 15,-6 6-23-15,-1 2-59 0,-6 3-90 16,-17 13-96 0,3 0-121-16,-3 5-328 0,0 2-476 0,4-1 82 0,-6 0 77 0,4-2 49 0,-2 2 94 15</inkml:trace>
</inkml:ink>
</file>

<file path=ppt/ink/ink7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43:38.159"/>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087 4731 1395 0,'0'0'463'0,"-1"13"-41"0,-2-7-38 16,-3 2-23-16,2 4-46 0,-4 2-36 0,0 2-31 15,-2 3 3-15,0 2-56 0,-1 1-11 0,-3 4-33 16,3-2-18-16,1-3-2 0,-1-1-39 0,6-2-10 16,-3-2-24-16,1 0-32 15,1 0-5-15,1-4-16 0,2-2 7 0,1-1-17 0,0-2-2 16,-1-2-9-16,1-1 32 0,4-1-11 0,-2-3 15 15,0 0-17-15,0 0 25 0,7-11 8 16,-1 3-8-16,-4-3 0 0,6-3-2 16,0-3 2-16,-1-3-13 0,2-1-5 0,0-2 34 15,4-6-11-15,0 5-10 0,2-4-2 0,-2 6 9 16,-2 5 1-16,-1 2 0 0,0 1 25 16,-4 6-17-16,1-3 2 15,-2 6 2-15,1 0-7 0,1 4 15 0,-2 1-10 0,-5 0 10 16,10 5-28-16,-7 0 21 0,2-2-3 0,-3 6-3 15,1-2-7-15,2 1-29 0,-2 0 6 0,2 1-18 16,-3-1 2-16,4-1-5 0,-4 0-15 16,1-1 0-16,2 0 8 0,0-1-3 0,0 0 2 15,0-4 26-15,3-1 3 0,-3 0-13 16,5-1 10-16,0-4 23 0,-1-1-5 16,3 0 8-16,1 0 17 0,-3-1 11 0,-2 3-10 15,0 0 5-15,0 0-1 0,1 2 1 0,-3 0 23 0,-1 1 7 16,-5 1 1-16,12 3 12 0,-8 3-7 15,0 1-8-15,-1-2-26 0,0 4 0 16,-1 1 13-16,-2 3-15 0,2-1 18 0,-2 1-13 0,0 0-5 16,0 0-11-16,-2 0-15 0,2-1-35 0,-2 2-42 15,2-1-66-15,-3-1 10 0,3 0-49 0,0-1-58 16,0 0-37-16,3-2-50 16,-1 1-95-16,-2-3-223 15,3-1-397-15,4-1 82 0,-2-2 85 0,1 1 123 0,1-1 69 0,4 0 30 16</inkml:trace>
  <inkml:trace contextRef="#ctx0" brushRef="#br0" timeOffset="771.62">4604 5094 1497 0,'0'0'450'0,"4"-13"-53"0,-1 7 8 0,0 2-50 0,1-2-35 0,0-1-15 0,0 0-29 16,-1 0 88-16,0 1-57 0,-1-1-23 15,0 0-25-15,-2 1 2 0,3 0-95 0,-3 0 24 16,0 1-34-16,0 1-8 0,0 4-4 0,0-4-4 16,0 4-1-16,-3-3-45 0,3 3 6 15,0 0 2-15,-12 6-15 0,7-2-20 0,4-1 5 16,-4 3 17-16,3-1-27 0,-3 1-16 0,3 0-13 15,1 1-18-15,-1-2-7 0,4 1-3 0,-1 0-28 16,1 1-20-16,3-2-29 16,0-2 5-16,3 2-50 0,0 0-16 0,2-4-29 15,1 1-22-15,1 0-10 0,3-2-19 0,1-2-10 16,1 0-17-16,4 1-9 0,-1-5-68 0,1 2 64 16,-1-3-101-16,1 1 68 15,2-2-6-15,-2 1 33 0,-4-2 85 0,1 3 72 0,-2-1 61 16,-6 1 36-16,1 0 43 0,-1 0 24 0,-5 3 45 15,1-1 14-15,-2 0 30 0,-1 0 7 0,-3 1 4 16,0 3-9-16,0 0-2 0,0 0 23 16,0 0-20-16,0 0 4 0,-16 3-17 0,11-2-13 15,-2 3 3-15,1 0 10 0,-1 1-21 16,2 0-10-16,-1 1 23 0,1 0-41 0,0 0-2 0,0 1-6 16,0 0-43-1,3-1-2 1,1 1-9-16,-1-2-30 0,2 1 11 0,0-2 6 0,2 0 14 0,-1-1-28 0,-1-3 12 0,9 3-7 15,-3-3-6-15,-6 0 14 0,13-2-6 0,-3 1 5 0,0-1-2 16,0 1 20-16,1-2-2 16,-1 0-5-16,2 2 4 0,-1 0 68 15,-1 1-14-15,3 0 21 0,-3-1-36 0,1 1 13 0,-1 1-8 16,-3-1-17-16,1 1-6 0,0-1 23 0,-3 3-36 16,2-2 11-16,-1 2-16 0,-1 0 11 15,0-2 40-15,-2 1-15 0,2 1-51 0,-5-3-15 16,3 3-8-16,-1 0 0 0,-2-3 30 15,5 2 6-15,-5-2 2 0,3 2 1 0,-3-2-6 0,4 4-23 16,-4-4-5-16,0 0 23 0,6 1 2 16,-6-1-4-16,5 3-13 0,-5-3 17 15,3 1-25-15,-3-1-5 16,7 1-23-16,-7-1-18 0,10-1-33 0,-10 1-52 0,13-3-74 0,-5 2-30 16,2 0-34-16,-2-3-82 15,-5 1-301-15,9 0-426 0,1 1 87 0,0 1 126 0,0-4 95 16,0 3 50-16,2-1 104 0,-2 1 58 0</inkml:trace>
  <inkml:trace contextRef="#ctx0" brushRef="#br0" timeOffset="970.08">5711 5038 1310 0,'0'0'548'0,"10"-1"-70"16,-2 0-40-16,-1 1-38 0,1-3-55 0,2 3-40 0,-1 0-70 0,1 0-38 15,0 0-84-15,-2 0-72 0,-1 0-77 16,-2 1-84-16,-2 3-144 0,-1-3-222 0,1 4-354 16,-6-2 70-16,0 2 66 0,1 1 125 15,-3 2 16-15</inkml:trace>
  <inkml:trace contextRef="#ctx0" brushRef="#br0" timeOffset="1088.7">5711 5177 1215 0,'0'4'448'0,"0"1"-30"0,0-2-73 0,0-3-20 16,0 5-13-16,3-3-12 0,1 2 20 0,2-4-5 15,2 1-34-15,-1 0-22 0,3-1-29 0,4-1-28 16,0 0-17-16,2 0-52 0,-1-2-36 0,3 1-48 16,-2 0-75-16,-1-2-51 0,3 3-138 15,-2 0-348-15,-1-1-392 16,1 1 77-16,-2-1 123 0,-1 2 26 0,0-3 97 0,-2 3 58 0</inkml:trace>
  <inkml:trace contextRef="#ctx0" brushRef="#br0" timeOffset="1558.79">7077 4831 1435 0,'0'0'561'0,"0"0"-34"16,0 0-117-16,0 0-36 0,0 15-34 0,0-5-25 16,-2 0-34-16,0 2-19 0,-1 6-35 15,0-2-30-15,-2 3-48 0,-2 2-42 0,1 2-71 0,1-2-43 16,0 2-83-16,-5-1-46 15,5 0-179-15,-1 3-181 0,1-7-426 0,0 0 91 16,0-2 91-16,3-4 51 0,-1 0 83 0</inkml:trace>
  <inkml:trace contextRef="#ctx0" brushRef="#br0" timeOffset="1758.9">7332 4864 1310 0,'4'-4'448'0,"-1"3"-15"0,-3 1-3 0,0 0-41 0,5 7-26 16,-3-1 39-16,-2 3-10 0,0-1-57 0,0 3-30 15,-2 2-21-15,0 1-28 0,-1 4-41 0,-2 0-11 16,2 1-78-16,-2 2-62 0,0-4-64 16,0 2-33-16,0 0-62 0,-1-2-28 0,2 1-105 15,-1-9-250-15,2 3-513 0,-2 1 98 0,4 0 74 16,-3-4 69-16,1-2 128 0,3-1 46 0</inkml:trace>
  <inkml:trace contextRef="#ctx0" brushRef="#br0" timeOffset="1976.6">7185 5085 1315 0,'0'0'469'0,"0"-4"-91"0,0 4 9 0,0 0-44 15,0 0-21-15,0 0-14 0,0 0-17 16,0 0-22-16,18 8-18 0,-10-4-15 0,2 0-32 15,3 0-35-15,2-2-38 0,3 3-31 0,2-2-41 16,-2-1-44-16,3-1-48 0,2-1-62 16,-5 2-95-16,2-4-293 0,-2 4-454 0,-2-2 87 15,2 0 69-15,-2-2 141 0,-1 2 26 0,-5-1 82 32</inkml:trace>
  <inkml:trace contextRef="#ctx0" brushRef="#br0" timeOffset="2267.12">7767 4981 1190 0,'13'3'427'0,"0"1"-12"0,-3 1-39 0,-5-1-28 16,-2 2 0-16,-3 3-10 0,0-3-41 0,-3 1 10 15,0 4-28-15,-5-1-51 0,1 3 56 16,-3 2-30-16,0-1-16 0,-3-2-36 0,2 1 0 15,1-1-33-15,0-1-5 0,2-1-26 0,1-1-10 16,1 0-25-16,-1-3-4 0,4 1 24 0,-2 0-28 16,3-2-11-16,1 0-14 0,1 1 1 15,1-1-9-15,1-3-39 0,-2-2-11 0,7 5-45 16,-1-4-54-16,-1 1-23 0,5-2-33 16,-2 0-21-16,2-2-89 0,3 1-165 0,-3 0-536 15,3-2-34-15,0 0 97 0,-1-2 92 16,2 1 80-16,-4-3 64 15,5 1 79-15</inkml:trace>
  <inkml:trace contextRef="#ctx0" brushRef="#br0" timeOffset="2442.41">8072 5024 1676 0,'-2'7'445'0,"2"-4"-22"0,-5 7-1 0,4-2-48 16,-1 2-46-16,2 3-37 0,0 0-17 0,-3-1-28 15,6 2-39-15,-3-1-40 0,0 3-75 0,0-3-67 16,2 0-43-16,-2 1-89 0,0-1-152 16,0 0-229-16,0-2-416 0,0 0 64 0,0-3 124 15,-2 0 50-15,2-3 67 0</inkml:trace>
  <inkml:trace contextRef="#ctx0" brushRef="#br0" timeOffset="2652.04">7926 5208 1556 0,'0'0'512'0,"-8"0"-121"0,8 0-17 0,0 0-31 15,0 0-8-15,0 0-20 0,0 0-49 0,16 7-12 16,-6-6-42-16,0-1-15 0,1 0-40 0,4 2-83 16,2-1-59-16,-1-1-28 0,3 0-69 15,-2 0-63-15,4 0-173 0,-4 0-534 0,2 0-24 16,3-1 149-16,-4-1 29 0,0 1 55 0,-2-2 83 15</inkml:trace>
  <inkml:trace contextRef="#ctx0" brushRef="#br0" timeOffset="3148.4">8490 5000 1415 0,'16'0'443'0,"-4"1"-28"0,1 1-24 0,-2 1-38 0,-1-1-7 15,-3 0-18-15,1 1-39 0,-3 1-31 16,-2-1-17-16,-1 3-3 0,-4-1-38 0,0 2-26 16,-1-1-13-16,0 1-10 0,0 0-20 0,1 0-11 15,-1-1-28-15,0-1 0 0,1 1-15 16,2 0-23-16,-2-2 5 0,4-1-13 15,-2 2 5-15,3-3-5 0,2 4 15 0,-3-1-4 16,4-1-11-16,-3 0 25 0,1 0 29 0,-1 2 10 16,0-3 52-16,-1 3 19 0,-2-1-14 15,0 0-101 1,-5 2 29-16,2 0-26 0,-2-2-8 0,-3 3-12 0,-2-1-13 0,0 1-26 16,2-1-33-16,-4-1-43 0,2 0-55 0,1-2-48 15,1 0-71-15,1 1-73 0,0-4-170 0,4 1-631 16,-2 1 129-16,2-3 73 0,3 0 96 31,0 0 79-31,0 0 69 0,3-14 74 0</inkml:trace>
  <inkml:trace contextRef="#ctx0" brushRef="#br0" timeOffset="3330.93">8821 4987 1231 0,'5'3'532'0,"0"1"-48"0,0-2 41 0,3 5-8 0,-5 2-57 16,4-2-55-16,-2 5-34 0,0-1-28 0,-2 3-23 15,2 0-44-15,-2 3-38 0,-1-3-51 0,1-1-64 16,-3 5-59-16,0-4-102 0,0 3-113 16,-3 1-192-16,1-3-696 0,-1 2 81 0,-2 1 73 15,2-5 122-15,-2-1 51 0,0-4 65 16</inkml:trace>
  <inkml:trace contextRef="#ctx0" brushRef="#br0" timeOffset="3537.19">8814 5192 1290 0,'2'-3'568'16,"0"1"-41"-16,1-2 11 0,-3 4-11 0,7-5-79 15,-1 4-46-15,-2 0-34 0,4 0-55 16,0 1-39-16,0 0-85 0,2 0-64 0,1-3-99 16,-1 1-80-16,2 2-102 0,-6 0-325 0,4 2-507 15,1-4 102-15,-1 2 103 0,2 0 53 0,-2-1 108 16,1-3 21-16</inkml:trace>
  <inkml:trace contextRef="#ctx0" brushRef="#br0" timeOffset="3769.2">9403 5071 1430 0,'0'0'574'0,"-20"5"-55"0,14-3 47 0,-2 2-36 0,1-1-41 0,-3 1-39 16,0 1-38-16,-4 3-120 0,2-2-15 0,1 0-34 15,-4 4-28-15,2-2-18 0,3 0-28 0,-1-2-3 16,4 4-12-16,0-3-21 16,1-1-15-1,2 1-21-15,0 0-13 0,2 1 3 0,0-3-25 0,4 1-37 0,-2-1 9 0,2-1-29 16,1 0-20-16,2-3-62 0,3 2-31 0,-3-2-30 16,5 0-31-16,0-1-28 0,1-2-44 15,4 1-38-15,-4-4-71 0,6-7-139 0,-4 7-512 16,0 1 90-16,0-2 71 0,-2-2 90 0,1 0 74 15,-4 1 85-15</inkml:trace>
  <inkml:trace contextRef="#ctx0" brushRef="#br0" timeOffset="3962.75">9431 5057 1428 0,'-3'5'504'0,"-2"2"-2"16,-2 0-41-16,-1 4-19 0,3-3 73 15,-3 8-49-15,3-2-21 0,-2 1-128 0,1 2-25 16,1 1-20-16,0-1-4 0,2 0-58 0,1 1-23 15,-3-1-67-15,4 2 21 0,-1-5-46 16,2 0-64-16,0 0-49 0,0-1-77 0,-2-3-66 16,2 0-39-16,0-1-81 0,0 1-114 0,-3-5-227 15,3 2-366-15,-3-1 85 0,-1 0 66 16,-2-3 128-16,1 1 115 0,-5 0 20 16</inkml:trace>
  <inkml:trace contextRef="#ctx0" brushRef="#br0" timeOffset="4321.46">6952 5469 1187 0,'0'0'446'16,"0"0"30"-16,23 1-28 0,-3 3-95 0,9-3-33 0,19 1 0 16,9 2-16-16,19-2-14 0,7 3-29 15,6-2-28-15,14-1-3 0,30-1-23 16,3 2-12-16,3 2-18 0,4 0-32 16,3-4-17-16,0 2 3 0,-7-2-21 0,-4 2-2 0,-29 1-52 15,2-2-8 1,-6 2-7-16,-4-3-38 0,-9 3-21 0,-12-3-51 0,-16 0-59 0,-12 2-18 15,-10-1-66-15,-11-1-47 0,-7 0-84 0,-6-1-13 16,-8 3-87-16,-4-2-468 0,0 0 107 16,-3-1 54-16,0 0 88 0,-20 6 50 0</inkml:trace>
  <inkml:trace contextRef="#ctx0" brushRef="#br0" timeOffset="4728.22">8575 5777 1520 0,'0'0'668'0,"0"0"-59"0,0 0-51 0,-21 11-38 0,11-5-52 0,-6 0-120 0,1 3-30 16,-3 3-26-16,-2-1-29 0,1 2-22 0,2-2-47 15,-4 2-14-15,4 1-17 0,1-1-17 16,3-1-25-16,0 0-1 0,3-1-23 0,3-1 0 31,1-1-30-31,1-1-6 0,2 2 1 0,3-2 7 0,0-3-2 0,3 2-3 0,2 0-16 0,3-2 65 16,2-1-13-16,3 0-11 0,3 0-12 15,-1-3-23-15,8 0-34 0,0-2-35 0,3 1-54 16,5-4-26-16,-1 1-33 16,1-2-66-16,0-1-34 0,-6 0-44 0,3-1-83 0,3-10-257 15,-10 10-468-15,-3 1 138 0,-3 2 97 16,-7 0 67-16,-1-2 20 0,-1-1 154 0,-2 0 36 16</inkml:trace>
  <inkml:trace contextRef="#ctx0" brushRef="#br0" timeOffset="4899.74">8570 5875 1218 0,'-13'15'494'0,"2"1"102"16,3 0-140-16,-2 0-8 0,0 4-26 15,-2 3-20-15,3 0-33 0,-3 6-37 0,-1 5-29 16,5-7-19-16,-2 5-44 0,2-7-40 0,1-1-34 16,2-3-53-16,-1 3-70 0,2-6-55 0,1 0-70 15,3-4-46-15,-3-2-69 0,3 1-126 16,0-2-391-16,0-3-274 0,3-3 125 0,-1-1 83 15,3-4 112-15,-5 0 71 0,11-7 16 0</inkml:trace>
  <inkml:trace contextRef="#ctx0" brushRef="#br0" timeOffset="5298.64">10072 5400 1351 0,'0'0'481'0,"0"0"-48"16,18-3-31-16,-8 5-47 0,3-1-68 15,0-1-46-15,3 0-80 0,1 0-76 0,1 0-111 16,0-5-251-16,0 7-554 0,0 0 58 0,-5-1 74 16,-1-1 59-16</inkml:trace>
  <inkml:trace contextRef="#ctx0" brushRef="#br0" timeOffset="5480.32">10028 5552 1671 0,'-2'4'438'0,"2"-4"-31"0,2 7-31 0,-2-7-43 0,10 3-24 0,-4 0-53 0,4-1-20 0,0-2-47 15,3 3-81-15,5-3-49 0,-2 0-70 16,4 0-104-16,3-8-189 0,3 6-585 0,-3 1 106 16,0-3 100-16,-3 3-19 15,3-5 147-15</inkml:trace>
  <inkml:trace contextRef="#ctx0" brushRef="#br0" timeOffset="5795.65">11103 5066 1837 0,'0'0'556'0,"2"15"-34"0,-2-7-56 0,0 2-26 0,0-1-56 15,2 2-41-15,-2 0-38 0,0 2-24 16,-2 0-32-16,0 1-42 0,2 2-61 0,-3-2-90 16,0-1-79-16,-1 2-67 0,1-1-114 15,-10 2-329-15,13-3-480 0,-2-2 112 0,4-3 117 16,1-2 52-16,2-1 80 0,0-3 73 0</inkml:trace>
  <inkml:trace contextRef="#ctx0" brushRef="#br0" timeOffset="6075.15">11287 5159 1203 0,'-4'6'378'0,"-2"4"-24"0,3-2-37 0,1 3-33 16,-1 2-23-16,3 0-18 0,0-1-48 15,5 1-8-15,1 3-23 0,4-3-18 0,0 0 61 16,8 0-2-16,0-1-31 0,0-6-44 0,0 1 11 16,0-4-8-16,3 0 8 0,-4-1 10 15,1-2-95-15,-2-2 24 0,-1-1 48 0,-2 0 10 16,0-4 90-16,-3 1-16 0,-2-5-28 0,-3 4 26 16,0-4-36-16,-2 2-56 0,-3-2 20 0,-3 0 1 15,-2 2-22-15,-3-2-14 16,-2 4-29-1,-1-3-46-15,-1 3-38 0,-4 1-41 0,1 3-49 0,2 0-31 0,-4 3-76 0,4 0-82 16,-1 1-264-16,-1 3-527 0,2 1 125 16,0-2 102-16,1 3 65 0,2 0 71 0,-1 1 44 15,3 2 69-15</inkml:trace>
  <inkml:trace contextRef="#ctx0" brushRef="#br0" timeOffset="6321.2">11900 5294 1287 0,'-8'7'509'0,"-5"4"3"0,-4 1 51 16,-3 2-127-16,-9 5-29 0,-2 2 33 16,-7 3-41-16,-6 6-56 0,-4-2-31 0,-1 1-33 15,-2 3-43-15,-1-1-49 0,-2 3-67 16,5-2-48-16,-2 0-95 0,5-2-51 0,-2-2-60 0,11-4-119 15,4-3-233-15,5-4-495 0,5 1 101 16,5-8 38-16,5-1 104 0,6-3 70 16,1-1 41-16</inkml:trace>
  <inkml:trace contextRef="#ctx0" brushRef="#br0" timeOffset="6639.92">11859 5656 1261 0,'0'0'543'16,"-15"6"-13"-16,7-3 36 0,-5 3-54 15,-5-1-57-15,-8 4-86 0,-7 5-52 0,-3 0-28 16,0 0-12-16,0 3-24 0,-2-1 3 16,5 0-38-16,0 2-21 0,7-5-28 0,5-1-16 0,3-1-12 15,3-2-3-15,3 2-30 0,3-2-6 0,2 1-15 16,2-4 0-16,2 2-7 15,3-1-14-15,3 2 24 0,0-3-29 0,4-1-40 16,3 0-6-16,3 0-23 0,0 0-22 0,3-4-68 16,1 0-12-16,7-1-43 15,0 0-49-15,2-2-34 0,-3-1-43 0,6 1-72 0,-3-5-181 16,-1 1-448-16,-2 0 48 0,-5-1 74 0,0 0 93 16,-2 1 71-16,-1-4 111 15,0 1 56-15</inkml:trace>
  <inkml:trace contextRef="#ctx0" brushRef="#br0" timeOffset="6770.33">11833 5794 1251 0,'-7'5'499'0,"2"3"-102"0,-3 3 18 16,0 2 102-16,0 6-100 0,-2 0-10 15,0 5 44-15,-5 8-37 0,2 0-35 0,2 1-18 16,-1 1-54-16,1-2-38 0,1-7-36 0,2-1-95 16,1-3-82-16,2 0-112 0,-1-4-80 0,1 1-135 15,3-5-359-15,2-2-394 16,2-3 75-16,1-2 112 0,2-1 64 0,0-5 82 0,3 0 115 15</inkml:trace>
  <inkml:trace contextRef="#ctx0" brushRef="#br0" timeOffset="7046.69">12554 5409 1643 0,'5'0'489'15,"5"-1"-41"-15,0 1-44 16,6 1-48-16,-1 2-54 0,3-2-54 0,2 0-74 15,1 3-76-15,3-3-98 0,-2 1-190 0,-1 1-634 16,-1-1-13-16,-4-1 92 0,-3 4 103 0,-1-3 27 16</inkml:trace>
  <inkml:trace contextRef="#ctx0" brushRef="#br0" timeOffset="7228.68">12490 5606 1676 0,'-8'2'499'0,"8"-2"-25"0,0 0 40 0,0 0-48 0,0 0-31 16,15 10-46-16,-5-9-53 16,1 0-32-16,5-1-66 0,2 2-64 0,4 0-87 15,1-2-56-15,3 0-87 0,5-4-144 0,2 3-345 16,-2 0-425-16,2-3 87 0,-5 2 102 16,1-4 118-16,-1 3-5 0,2 0 66 0</inkml:trace>
  <inkml:trace contextRef="#ctx0" brushRef="#br0" timeOffset="7640.96">14051 5282 1515 0,'13'8'427'0,"0"2"-45"16,-3 0-6-16,-2 2-10 0,-3-1-54 0,-2 0-22 0,-3 3-29 16,-3-1-26-16,-4 4-22 0,-2 1-9 15,-6 1-1-15,-6 5-37 0,-1-3-5 0,1-3 18 0,3-5 18 16,0 1-15-16,3-4 8 15,2 0 4-15,0-1-15 0,3-2-7 0,2 0-6 16,-2-2-5-16,3 1-20 0,1-3 0 0,4 1-13 16,1 0 5-16,-1-2-2 0,2-2-37 0,8 4-9 15,-3-3-37-15,3-1-4 0,2 0-21 16,3 0-38-16,4-1-57 0,-1-2-56 16,2 1-38-16,2-2-72 0,-4 2-118 0,2-4-384 15,-1 1-358-15,1 2 125 0,-2-2 80 0,-3 1 125 0,-1-1 39 16,2 1 89-16,-4-1 97 15</inkml:trace>
  <inkml:trace contextRef="#ctx0" brushRef="#br0" timeOffset="7806.23">14310 5463 1763 0,'0'0'522'0,"5"-6"-61"0,-2 5-67 0,-1-3-105 16,3 2-74-16,-5 2-76 0,8-4-111 15,-8 3-330-15,5 0-525 0,3 0 54 0,0-2 84 16,0 1 52-16,2 1 87 0</inkml:trace>
  <inkml:trace contextRef="#ctx0" brushRef="#br0" timeOffset="8083.74">14702 5337 1523 0,'-17'0'470'0,"6"1"-22"0,1 0-61 0,2 1-34 0,3 1-12 16,0 2-52-16,3-2-20 0,2 3-26 0,2 2-41 15,0 1-5-15,4 0-28 0,-1 1 13 0,5 2 10 16,0 1 71-16,0 0-4 0,1-1-13 0,-1 0-3 16,-5-1-10-16,0-2-23 0,0 2-80 15,-5-2-9-15,0-3-6 0,-2 4-13 16,-3-2-28-16,-3 0 18 0,-2 1-30 0,-5-2-26 0,-1 1-46 15,1-1-54-15,-1 0-75 0,-2-2-65 16,3 0-88-16,-3 2-123 0,0-3-714 0,3 0 134 16,-3 1 73-16,0-1 98 0,0 1 125 15,-3-1 41-15,4 1 39 16</inkml:trace>
  <inkml:trace contextRef="#ctx0" brushRef="#br0" timeOffset="8727.17">14659 5296 1190 0,'0'0'373'0,"0"0"-24"0,0 0 55 0,0 0-35 16,0 0-16-16,13 0-43 0,-3 0-57 16,0 3-12-16,3-2-42 0,2-1-14 0,1 0-57 15,2 0-57-15,0 0-53 0,2 1-56 16,1-2-131-16,-8 1-207 0,9 1-497 0,-1-1 64 16,-3 0 115-16,0 2 57 0,0 0 127 0</inkml:trace>
  <inkml:trace contextRef="#ctx0" brushRef="#br0" timeOffset="17578.97">5604 7624 1092 0,'0'0'454'0,"0"0"-47"16,0 0-24-16,0 0-22 16,0 0-25-16,4 8-50 0,-1-1-91 0,-6 3-34 15,3-1 13-15,0 3-28 0,-3 4-15 0,1 0-3 0,-3 3-21 16,2 2-12-16,-4 0-13 15,2 0-26-15,-3 1-20 0,3 1-18 0,-3-3-13 16,-2 1-33-16,2-1-28 0,1-3-24 0,2-3-45 16,-1 2-49-16,1-5-113 0,0-2-61 15,2-1-325-15,1 0-82 0,2-2 43 0,0-3 90 16,0 3 33-16</inkml:trace>
  <inkml:trace contextRef="#ctx0" brushRef="#br0" timeOffset="17792.95">5963 7694 1177 0,'0'0'445'0,"0"0"-40"0,-8 12-39 0,2-5-28 0,-4 6-34 0,0-1-43 0,2 0-5 0,-8 7-48 0,2-1-42 16,-2 0-43-16,-2 8-36 0,3-6-64 15,2-1-79-15,-2-1-147 0,2 0-137 0,0-2-497 16,2 0 54-16,-1-3 104 0,1-1 91 0,2-2 73 16</inkml:trace>
  <inkml:trace contextRef="#ctx0" brushRef="#br0" timeOffset="18027.66">5721 7833 1341 0,'1'-2'443'0,"1"1"-31"16,-2 1-100-16,0 0-33 0,10 1-5 0,-10-1-36 16,10 7-15-16,-5-2-11 0,3-1-12 0,0 4-19 15,4 0-17-15,-2-1-13 0,4 3-28 0,-1-2-8 16,-1-1-10-16,1 5-43 0,2-5-39 0,-2 1-23 16,-2-1-41-16,2-1-15 0,-1-3-70 15,1 4-86-15,-3-6-172 0,3 4-489 16,2-5 67-16,-4 0 61 15,1 0 107-15,2 0 62 0</inkml:trace>
  <inkml:trace contextRef="#ctx0" brushRef="#br0" timeOffset="18270.78">6370 7663 1405 0,'0'0'425'0,"0"0"-62"15,0 0 1-15,0 0 45 0,3 12-43 16,-6-5-7-16,3 3-57 0,0-1-11 0,-5 3-40 0,2 1-2 16,-2 0-24-16,-3 4-49 15,1-1-7-15,-1 3-33 0,-2 0-80 0,0 1-33 16,1-6-35-16,2 4-73 0,0-4-48 0,-1-1-95 16,2-2-166-16,4 0-579 0,-3-3 106 0,5-1 117 15,0-1 35-15,2 0 68 16,1-3 71-16</inkml:trace>
  <inkml:trace contextRef="#ctx0" brushRef="#br0" timeOffset="18507.29">6642 7838 1379 0,'0'0'492'0,"0"0"-42"0,-13 11-35 0,5-5-98 0,-5 2-10 16,-2 4-17-16,-3 1 27 0,-13 6 31 15,-2 4-36-15,-3 1-27 0,-7 3-12 0,-2-1-37 16,2 3-21-16,-3 2-23 0,2-3-31 0,1 4-7 16,2-2-42-16,-1 0-27 0,9-6-60 0,3 0-27 15,-1-3-44-15,5 0-39 16,3-4-30-16,8-4-46 0,0 0-36 16,4-4-128-16,3-2-103 0,1-1-514 0,7-4 69 0,-3 3 62 0,3-4 56 15,0-1 118-15,0 0 35 0</inkml:trace>
  <inkml:trace contextRef="#ctx0" brushRef="#br0" timeOffset="18837.75">6480 8206 1279 0,'0'0'407'0,"0"0"41"0,0 0-20 0,-18 10-32 16,8-7-32-16,-3 4-18 0,-2-1-42 0,-3 1 1 0,-1 2-24 15,-1-1-27-15,5 3 2 0,-5-3-39 0,1 5-4 16,2-3-34-16,1-1-5 16,3 1-26-16,0-1-14 0,1 1-22 0,2-2-4 0,-1-2 22 15,3 1-25-15,1 2 0 0,2-2-3 0,2-1-7 16,0 0-13-16,3-2-13 0,1 2 8 16,1 0-8-16,3-2-5 0,3 1 8 15,-1 0-24-15,4-1 19 0,4 1-26 0,-2-4-10 16,5 1-31-16,0 1-8 0,0-2-30 15,0-1-49-15,2 0-36 0,1-2-23 16,4-2-10-16,-4-1-34 0,-3 4-27 0,2-5-52 16,-4 3-118-16,2-6-181 0,-3 6-384 0,-2-2 18 15,-3 0 81-15,0-1 101 0,-2 0 158 0,-3 1 3 16,1 0 58-16</inkml:trace>
  <inkml:trace contextRef="#ctx0" brushRef="#br0" timeOffset="19045.8">6465 8270 1154 0,'-8'10'448'16,"0"-1"-23"-16,3 3-13 0,0-2-8 15,0 0-20-15,0 2 44 0,2 0-24 0,1 3-45 16,0 2-40-16,1 1-27 0,-2 1-38 0,1 0-9 16,0 0-37-16,1 2-19 0,-1-1-43 0,-3-2-56 15,3 1-52-15,-1 0-20 0,0-5-67 16,3 0-38-16,0 0-66 0,0-4-34 15,3 0-164-15,-8-3-171 0,12 0-466 0,-2-3 92 16,1-2 92-16,1-2 90 0,1-2 69 0,5-4 44 16</inkml:trace>
  <inkml:trace contextRef="#ctx0" brushRef="#br0" timeOffset="19397.84">7226 7585 1241 0,'0'0'461'0,"0"0"-44"0,0 0-25 0,2 13-19 0,-1-5-32 15,-1 0-29-15,3 4-43 0,-1 1-26 0,0 0-18 16,1 4-23-16,0 2-10 16,1-2-41-16,-3 2-7 0,1-1-55 0,3-2-50 15,-5 2-44-15,3 1-67 0,-1-6-66 0,-2 2-126 16,-5 0-220-16,6-2-445 0,-1-3 115 0,-1-1 59 15,1 0 107-15,0-3 52 0</inkml:trace>
  <inkml:trace contextRef="#ctx0" brushRef="#br0" timeOffset="19628.41">7026 7782 1546 0,'0'0'473'0,"8"-5"-63"0,-3 5 56 0,2-1-31 0,1 1-67 0,3 0-22 0,1 0-44 16,4 0-15-16,2 0-37 0,2 0-65 15,3 0-39-15,0 0-47 0,1 1-63 0,-4-1-72 16,5 0-66-16,-4 3-116 0,-3-2-509 0,-2 0-220 31,1-1 100-31,-4 0 102 0,0 2 77 0,0 0 79 0</inkml:trace>
  <inkml:trace contextRef="#ctx0" brushRef="#br0" timeOffset="20384.03">7964 7567 1300 0,'16'-4'448'0,"-1"4"-49"16,-5 0-18-16,-1 1-38 0,1 2-15 15,-3 0-23-15,-2 1-31 0,1-2-21 0,-4 4-15 0,-2 1-10 16,-5 0-28-16,0 4-19 16,-8 1-17-16,3 1-28 0,-8 4-1 0,-5 3-14 15,-3 1-1-15,0 1-18 0,6-8-9 0,2 3-24 16,2-4 2-16,4-2-37 0,-1-2 17 0,0 1-10 16,5-3 0-16,1 1 10 0,-1-3-25 15,2 1 12-15,2 0-5 0,-2-4 3 0,4 3 2 16,0 2 1-16,2-3-3 0,0-1-3 0,2 1 13 15,3 0-26-15,2 0 16 0,1-4-25 16,1 3-4-16,3 0-7 0,1-3-7 0,0 3-24 16,5-2-38-16,-3-1-34 0,3-1-37 0,0-2-52 15,0 3-18-15,2-1-85 0,1-3-178 16,0 3-520-16,-1-1 99 0,-2-1 73 16,2-1 96-16,-2 0 75 0,2-2 92 0</inkml:trace>
  <inkml:trace contextRef="#ctx0" brushRef="#br0" timeOffset="20560.41">8511 7619 1164 0,'0'0'451'0,"0"0"-34"0,-10 11-31 0,4-7-9 0,-2 4-50 0,1 0 34 0,0 0-38 0,-4 3-19 0,3 2-22 0,-7 4-31 15,4-4-36-15,-1 1-23 16,1 2-41-16,-4-1-85 0,2 2-53 0,0 0-95 0,-2-2-97 15,2 0-266-15,3 0-523 0,0-2 93 16,2-5 122-16,1 2 67 0,-1-3 67 0,2-1 71 16</inkml:trace>
  <inkml:trace contextRef="#ctx0" brushRef="#br0" timeOffset="20730.64">8236 7774 1021 0,'0'-7'471'0,"0"1"-18"0,3 2-92 0,0 1-28 0,-1-1-16 0,-2 4-30 0,5 0 7 15,-5 0-41-15,10 0-27 16,-2 5-14-16,0-3-7 0,-3 4-39 0,8-1-7 0,-3 1-11 16,3 0-40-16,2 2-18 0,0-1-47 0,1-1-40 15,2-1-32 1,-3 2-76-16,1-2-74 0,4-2-312 0,-4 1-415 0,2-4 71 0,0 2 34 16,-3-4 159-16,3 2 35 0,2-1 54 15</inkml:trace>
  <inkml:trace contextRef="#ctx0" brushRef="#br0" timeOffset="20947.87">8939 7552 1164 0,'0'0'512'16,"-5"-1"-15"-16,5 1-52 0,-6 6-48 0,2 0-21 15,1 1-20-15,0 0-113 0,1 5-28 16,0-1-31-16,1 4 1 0,1 2-9 0,0 0-30 15,0 2-41-15,0 1-15 0,0-1-24 0,1 4-48 16,-1-4-59-16,0 1-30 16,0-1-83-16,2-1-76 0,-2-1-229 0,0-2-457 0,0 1 146 15,0 0 14-15,-2-5 117 0,1 2 47 0</inkml:trace>
  <inkml:trace contextRef="#ctx0" brushRef="#br0" timeOffset="21208.76">8597 7972 1456 0,'-7'-2'512'0,"7"2"-13"0,-5 0-36 0,5 0-43 0,0 0-85 0,0 0-27 0,0 0 12 16,0 0-39-16,23 5 1 0,-7-5-16 0,4 2-13 16,6 0 42-16,2 0-16 0,5-1-18 0,1-1-33 15,14 1-100-15,1 2-29 0,-3-1-1 16,3-2-52-16,-1 1-33 0,-9 1-6 0,-6-2-53 15,-2 1-26-15,-5 0-61 0,-4 0-38 0,-3-1-21 16,-4 0-5-16,0 2-75 0,-6 1-9 16,-2-1-124-16,-2 1-580 0,-3 0 66 15,-2 3 115-15,0-6 67 0,-10 10 100 0,3-3 40 16</inkml:trace>
  <inkml:trace contextRef="#ctx0" brushRef="#br0" timeOffset="21569.07">9090 8175 1433 0,'0'0'512'0,"0"0"20"0,0 0-122 16,0 0-31-16,-13 13-26 15,3-7-31-15,-3 4-25 0,-2-1-33 0,-1 4-21 16,-2-1-36-16,-4 1-7 0,-5 5-18 0,5-1-36 15,1-4-3-15,3-1-7 0,3-3-21 0,-1 2-13 16,4-2 1-16,2 0-29 0,2-1 16 16,0-1 4-16,0 0 11 0,6-2-5 15,-1 1 10-15,1 0 5 0,2 1-43 0,0-3 28 0,5 1 10 16,0-3-31-16,5 4 8 0,1-4-2 16,3 3-19-16,2-4 16 0,5 3-54 0,2-3 6 15,-1 1-27-15,4-2-19 0,0 0-24 0,7-2-31 16,-2 1-46-16,-2-1-35 0,-1-1-11 15,-1-2-45-15,-6 3-17 16,0-3-22-16,-4 3-23 16,-3-2-80-16,-1-1-43 0,-1 1-527 0,-2-1 0 0,-4 0 71 0,-1-1 59 0,2-1 136 15,-6 1 41-15,1-3 89 0</inkml:trace>
  <inkml:trace contextRef="#ctx0" brushRef="#br0" timeOffset="21781.87">9123 8251 1302 0,'-7'6'428'15,"2"1"-3"-15,-1 3 59 0,-1-1-16 16,2 4-33-16,-1 2-30 0,2 0-27 16,-2 3-50-16,2-1-11 15,0 3-15-15,-1-1-35 0,3 0-47 0,-1 0 8 0,0 3-44 0,-1-3-31 16,1-3-27-16,3 2-75 16,0-5-51-16,0 2-54 0,0-1-53 0,0-2-65 0,3-2-114 15,-6-1-254-15,6-1-497 0,1-3 90 0,-1-1 115 16,2-2 61-16,3-2 91 0,-8 0 70 15</inkml:trace>
  <inkml:trace contextRef="#ctx0" brushRef="#br0" timeOffset="22087.08">9744 7697 1116 0,'0'0'570'0,"0"0"-40"15,0 0-46-15,0 0-46 0,-6 14-39 0,4-7-38 16,2 1-23-16,0 4-46 15,2 0-31-15,2 1-31 0,-4 0-20 0,4 3-39 16,-1 0-63-16,0 1-34 0,1-2-41 0,-1 2-58 16,2-4-47-16,-2 3-66 15,-1-2-118-15,1-1-228 0,-2 0-448 0,3-2 62 16,-4-2 82-16,3 0 92 0,-3-2 58 0,0 0 60 16</inkml:trace>
  <inkml:trace contextRef="#ctx0" brushRef="#br0" timeOffset="22280.02">9665 7886 1602 0,'0'0'468'0,"-1"-5"-2"0,1 5-131 0,0 0 3 0,9-2-36 16,-5-1-28-16,6 3-15 0,0 0-24 16,4-1-50-16,1 0-16 0,3 0-49 15,5-1-54-15,0 1-48 0,0 1-69 0,2 0-67 16,1 0-61-16,-5-3-289 0,5 0-446 0,-3 2 100 15,-1 1 82-15,-1-3 174 16,-5 0-23-16</inkml:trace>
  <inkml:trace contextRef="#ctx0" brushRef="#br0" timeOffset="22767.6">10636 7594 926 0,'8'1'374'0,"0"4"-24"16,-4 0-35-16,2-2 36 0,-3 4-28 0,-1-3-24 15,-2 3-35-15,0-1-1 0,-3 3-30 16,-2-2-25-16,3 1-19 0,1-1-23 0,-3-1-7 16,1 2-18-16,3 1-18 0,0-2-3 0,0-1-7 15,0 2 10-15,3-2-26 0,1 4 8 16,-3-2 12-16,4 1 11 0,0 1 3 0,0-3 7 15,-2 1 23-15,-1 1-25 16,1-1-69-16,-1 1 33 0,-2-1 7 0,-2 0-38 0,-1 2 13 16,-2-2-3-16,-3 0-17 15,0 2 2-15,-2-2-8 0,-2 1-7 0,-1-1-42 0,0-2-30 16,-2 0-41-16,4-1-38 0,-4-2-52 0,5 2-53 16,2-4-54-16,0-1-182 15,1 0-606-15,1 0 76 0,6 0 167 0,-5-4 7 0,5 4 121 16,3-10 94-16,2 1 31 0</inkml:trace>
  <inkml:trace contextRef="#ctx0" brushRef="#br0" timeOffset="22989.58">10985 7626 1246 0,'5'4'543'0,"-2"0"-31"0,-1 1-46 0,0 2-21 0,-2 3-53 16,0-1-47-16,0 1-20 0,-2 3-20 0,0 0-49 15,-4 3-34 1,1-1-55-16,-3 3-52 0,-2 1-97 0,-2 0-72 0,1 1-145 0,-2-3-331 16,-2 2-420-16,5-6 72 0,0 0 113 0,-1-2 58 15,3-3 93-15,-2-2 94 0</inkml:trace>
  <inkml:trace contextRef="#ctx0" brushRef="#br0" timeOffset="23141.03">10790 7776 1387 0,'0'0'543'0,"0"0"-52"16,0 0-97-16,0 0-51 0,15 6-31 0,-9-1 6 15,1 1-57-15,3 1-23 0,0-1-51 0,1 1 15 16,4 0-41-16,-2 3-48 0,3-2-49 0,-1-2-31 16,3 1-20-16,-2-1-77 0,1 1-46 0,-2-1-46 15,1-2-185-15,-3-2-439 16,0 2-91-16,2-3 103 0,-2-1 49 0,-1 0 87 0,-1 0 87 15</inkml:trace>
  <inkml:trace contextRef="#ctx0" brushRef="#br0" timeOffset="23456.79">11382 7557 1574 0,'0'0'514'0,"0"0"-10"0,3 10-38 0,-1-3 28 16,-2 1-43-16,0 3-13 0,0 2-44 0,0 0-46 16,0 5-38-16,0 0-11 0,0 2-38 15,0-1-51-15,-2 1-54 0,2 2-82 0,-2-1-66 16,1-1-41-16,-2 3-72 0,-1-4-74 0,-2 4-121 15,-1-2-227-15,1-4-520 0,2 0 95 16,-2-1 138-16,2-5 87 0,0 1 38 0,-3-3 78 16</inkml:trace>
  <inkml:trace contextRef="#ctx0" brushRef="#br0" timeOffset="23648.99">11082 7988 1395 0,'-5'-2'494'0,"5"2"-16"0,0 0-27 0,0 0-37 0,10-4-25 0,-4 3-28 16,1-1-33-16,4 0-18 15,1 0-41 1,3 2-16-16,3 0-5 0,1-2-89 0,3 1 28 0,2-1-16 0,-1 2-43 0,0-1-25 0,0 2-47 16,0-1-36-16,0 2-58 0,-5-1-39 15,2-1-64-15,-4 1-33 0,1-1-46 0,-3 1-97 16,-2-3-182-16,-3 4-482 0,-2 2 132 0,0-1 58 15,-4 1 97-15,0 1 59 0,-3-2 64 0</inkml:trace>
  <inkml:trace contextRef="#ctx0" brushRef="#br0" timeOffset="24097.98">11185 8282 1587 0,'-11'6'486'0,"-1"0"57"16,2-1-44-16,0 0-69 0,1-2-23 15,-1 3-39-15,2 1-38 0,0-1-28 0,-2-1-7 0,3 2-26 16,2-1-49-16,-3 0-13 16,3 1-10-16,2-3-28 0,-2 2-5 0,5-2-3 15,-2 1-10-15,2-1-28 0,2 1-5 0,0-2 2 0,1 0-12 16,3 1-14-16,1-1 1 0,1 0-39 0,-1-3-15 15,4 3-28-15,-1-2-21 16,3-1-48-16,0 0-46 0,0-1-39 0,4-2-33 16,-1 1-41-16,-1-2-26 0,-2 0-79 0,3 1-117 15,-2-5-206-15,0 2-391 0,-2 1 120 16,-3-1 64-16,1 0 146 0,-3-2 26 0,0 3 61 16</inkml:trace>
  <inkml:trace contextRef="#ctx0" brushRef="#br0" timeOffset="24258.41">11334 8265 1013 0,'-13'4'371'0,"8"2"54"16,0 0 15-16,-1 1-17 0,1 6 12 0,-5-1-97 16,3 5-18-16,-2 3-21 0,2 1-9 15,-1 1-29-15,-2-2-8 0,3 5-51 0,-1-6-5 16,2 4-20-16,1-6-82 0,0 0-49 0,0 1-67 16,0-5-68-16,4 0-73 0,-1 1-135 15,0-4-179-15,2 0-407 0,2-3 54 0,0 0 41 16,2-3 58-16,0-1 95 0,2-3 64 15</inkml:trace>
  <inkml:trace contextRef="#ctx0" brushRef="#br0" timeOffset="24570.36">11964 7750 1331 0,'0'0'447'0,"0"17"-34"16,2-10-35-16,-1 1-37 0,1 5-39 0,1-3-28 0,0 4-49 15,-1-1-33-15,0-1-59 0,2 1-43 0,0 3-72 16,-1-4-103-16,0 1-109 16,-1 0-600-16,3 0-12 0,-5-5 87 15,0 3 48-15,3-3 113 0</inkml:trace>
  <inkml:trace contextRef="#ctx0" brushRef="#br0" timeOffset="24760.5">11921 7914 977 0,'2'-6'418'0,"-2"6"9"0,5-3-64 16,0 0 70-16,0 1-57 0,1 0-28 0,4-1-25 15,2 2-18-15,-1 1-37 0,5-1-14 16,1-2-42-16,1 3-38 0,2-2-48 0,1 1-52 16,2 0-69-16,-2-2-38 0,-3 2-123 0,-1 0-277 15,4 0-514-15,-3-3 72 0,0 4 102 16,-2-3 71-16,-3 0 116 0,1-3 10 0</inkml:trace>
  <inkml:trace contextRef="#ctx0" brushRef="#br0" timeOffset="25170.69">13007 7658 1302 0,'-7'4'579'0,"-3"-2"-52"0,-1 3-48 0,-1 0-24 0,-1 3-68 0,-3-2-29 0,1 5-33 16,-1-3-17-16,2 2-47 0,-2-1-18 0,1 1 3 15,4-1-42-15,1 1-14 0,0-2-11 0,2-2-15 16,3 4-23-16,0-3-24 0,2 0 14 16,3-1-13-16,0 0-34 0,3 0 8 15,-1-2 8-15,4 1-10 0,1 0-37 0,6 2-4 16,-2-3-21-16,1-2-13 0,3 2-43 0,3-2-31 16,2 0-45-16,1 1-37 0,-3-3-44 0,1 0-45 15,1 0-77-15,3-9-197 16,-5 9-559-16,-2-2 98 0,-4 2 108 0,1-2 84 0,-3-2 84 15,0 1 62-15,-4-2 92 0</inkml:trace>
  <inkml:trace contextRef="#ctx0" brushRef="#br0" timeOffset="25369.57">13085 7694 1059 0,'-8'2'538'15,"0"1"-8"-15,1 0-49 0,-3 4-43 16,2 1-21-16,0 1-18 0,-2 2-7 0,2 1-49 0,0 2-26 15,1 0-28-15,1 2-17 0,-1-1-37 16,2 2-17-16,-1 0-24 0,1 1-50 0,-2-2-68 16,4 1-70-16,1-3-58 0,-1 1-81 0,0-1-54 15,6-2-207-15,-3-3-417 0,3 2-182 16,1-4 130-16,4 0 62 0,0-1 66 0,3-3 100 16,3-1 49-16</inkml:trace>
  <inkml:trace contextRef="#ctx0" brushRef="#br0" timeOffset="25562.48">13582 7680 1295 0,'0'0'481'0,"0"0"-25"0,0 0 35 16,0 0-46-16,-6 14-17 0,2-7-80 16,-4 1-13-16,0 3-20 0,-2 0-26 0,0 2-33 0,-5 1-15 15,-1 4-34-15,1-1-43 0,-9 4-41 0,-1 3-69 16,9-6-67-16,-2-4-82 15,3 1-94-15,-2-2-144 0,4 0-222 0,5-5-390 16,-2-1 82-16,2-1 83 0,3-2 53 0,0-2 100 0,2-2 89 16</inkml:trace>
  <inkml:trace contextRef="#ctx0" brushRef="#br0" timeOffset="25739">13333 7791 1057 0,'0'-3'422'0,"0"3"46"0,0 0-12 0,0 0-26 0,0 0-43 0,0 0-9 15,8 7-47-15,-5-1-27 0,1-1-17 0,0 2-31 16,0-1-18-16,4 2-38 0,0 1-55 0,-1-1-40 16,4-1-94-16,-1 2-39 0,3-3-75 15,0 2-161-15,-5-2-235 0,10-3-443 0,-4 1 98 0,2-3 89 16,-1-1 74-16,3 0 46 0,-2 0 110 16</inkml:trace>
  <inkml:trace contextRef="#ctx0" brushRef="#br0" timeOffset="25923.03">13893 7675 1594 0,'0'0'448'0,"0"0"-2"0,0 0-55 15,0 0-4-15,-14 13-49 16,9-7 38-16,-3 1-5 0,1 3-25 0,2 0-19 16,-3 2-30-16,3 4-31 0,-3-2-20 0,1 4-36 15,2-1-33-15,-3-1-21 0,0 3-36 0,0-1-79 16,4-2-82-16,-4-1-49 0,2 0-66 15,-1-1-64-15,4-3-220 0,0-1-610 16,1-3 98-16,2 3 92 0,2-4 128 0,-2-1 15 0,3-2 80 16,5 1 61-16</inkml:trace>
  <inkml:trace contextRef="#ctx0" brushRef="#br0" timeOffset="26181.86">14234 7948 1610 0,'0'0'483'0,"0"0"-32"16,-21 6-39-16,11-4-46 0,-1 5 0 0,-4 0-23 15,-6 5-23-15,-1-1-23 0,-7 6-31 0,-4-1-5 16,-1 6 36-16,-1-1-20 0,-1 3-37 0,-5 7-104 16,0-3-8-16,8-4-23 15,-4 7-21-15,4-6-17 0,3-1-42 0,-1 1-48 0,2-2-33 16,-1-2-62-1,4-2-43-15,5 0-16 0,3-6-48 0,5-3-95 0,1-4-156 0,2 1-458 0,2-2 23 16,2-3 112-16,4-1 49 16,0 2 107-16,2-3 62 15</inkml:trace>
  <inkml:trace contextRef="#ctx0" brushRef="#br0" timeOffset="26520.36">14100 8288 1261 0,'0'0'515'15,"-23"6"-47"-15,12-1-20 0,-3 0-15 16,-5 1-65-16,-1 2-22 0,-4 0 2 0,1 2-38 0,1-2-41 16,-9 6-29-16,8-3-14 0,0 2 50 15,7-2-15-15,-4 0-36 0,6-2-12 0,0 0-34 16,1 1-10-1,2-4-8-15,1 0 0 0,3 1 6 0,1-1-52 0,1 1 10 16,0 0 24-16,3 1-39 0,2-2-5 0,2-1 5 0,3 2-28 16,0 0 5-16,5-1-23 0,1 0-23 15,4-3 13-15,-2 2-16 0,5-2-51 0,0 1-35 16,0-3-37-16,0-1-38 0,5 0-48 0,-2-2-29 16,1-2-43-16,-3 2-23 0,1-3-72 15,1 0-164-15,-6-1-563 0,3 0 62 16,-2-2 135-1,-2 1 39-15,-1-4 130 0,-3 2 59 0,1-2 67 0</inkml:trace>
  <inkml:trace contextRef="#ctx0" brushRef="#br0" timeOffset="26716.42">14136 8345 1082 0,'-5'5'543'0,"0"2"-16"0,-3 0-87 0,0 5-48 0,-2 1 20 16,3 4-18-16,-2 2-12 0,2 4 91 15,-1 0-53-15,1 1-118 0,1 12-13 0,-4 0-45 16,5-2-29-16,0-4-44 0,0 7-12 0,-1-7-24 15,2-3-40-15,1-3-64 16,0 2-57-16,-2-3-56 0,0-2-56 0,3-2-46 0,-1-1-23 16,0-5-62-16,-1-1-118 0,0 1-84 15,4-4-504-15,-2-2 71 0,0-3 101 0,2 1 81 16,-1-2 85-16,1-3 68 0</inkml:trace>
  <inkml:trace contextRef="#ctx0" brushRef="#br0" timeOffset="27497.42">4106 8006 970 0,'-5'1'422'16,"5"-1"-15"-16,-3 4-61 0,3-4-16 15,0 0-54-15,8 5-22 0,-3-3-37 0,3 0-20 16,5-1-74-16,-1 1-33 0,4 0-39 0,-1-1-51 16,-2-1-90-16,5 0-120 0,0 0-171 0,-3 0-395 15,0 0 75-15,-2 3 61 0,-5-2 59 16</inkml:trace>
  <inkml:trace contextRef="#ctx0" brushRef="#br0" timeOffset="27715.95">4078 8204 1371 0,'0'0'438'0,"7"1"-31"0,-7-1-38 0,13 1-42 0,-5-1-30 0,2-1-30 15,3 0-55-15,0-1-10 0,0 0-64 16,2 2-40-16,2-2-50 16,2 1-43-16,-1-1-86 0,0 2-268 0,5 3-518 0,-5-2 83 15,5 0 104-15,0 1 14 0,0 2 82 0</inkml:trace>
  <inkml:trace contextRef="#ctx0" brushRef="#br0" timeOffset="44366.24">4275 9883 1131 0,'-2'-4'461'0,"2"4"-26"15,0 0-33-15,0 0-47 0,10-3-24 0,-10 3-34 16,13 3-11-16,-1-3-35 0,6-1-26 0,0 2 47 16,5 0-21-16,3-1-54 0,-1 1-39 15,2-1-53-15,1 1-46 0,-5-1-56 16,-1 3-49-16,-1-3-72 0,-5 2-100 0,2 4-120 16,-6 0-573-16,-4-1 49 0,-5 2 94 0,-1 0 74 15,-5 0 46-15,-1 3 88 0</inkml:trace>
  <inkml:trace contextRef="#ctx0" brushRef="#br0" timeOffset="44576.6">4227 10173 1369 0,'0'0'420'0,"0"0"-31"0,0 0-31 0,0 0-23 16,0 0-53-16,25-5-18 0,-14 2-95 15,4 1-21-15,5-1-30 0,0-1-11 0,1-2-40 16,7 3-1-16,0-2-32 0,-1 0-42 15,3 0-51-15,1 2-61 0,-3 0-175 0,5-1-565 16,-2 1 90-16,0 0 64 0,-3-1 86 0,3 1 42 16</inkml:trace>
  <inkml:trace contextRef="#ctx0" brushRef="#br0" timeOffset="45174.88">5693 9679 1246 0,'0'0'376'0,"0"0"-10"0,0 0-25 0,0 0-31 16,0 0 56-16,2 21-41 0,-2-11-26 0,0 4-30 15,0 0-3-15,0 7-102 0,-2 1-21 16,0 4-2-16,-2-1-13 0,2 4-28 0,-6 7-21 16,1-2 3-16,0 3-49 0,-2-5-30 15,2-3-26-15,2-7-26 0,-1 2-27 0,-1-5-6 0,2-1-44 16,-1-3-15-16,4-1-81 0,-1-2-106 0,1-2-453 15,2-1-43-15,0-3 72 16,0-2 117-16,2-1 36 0</inkml:trace>
  <inkml:trace contextRef="#ctx0" brushRef="#br0" timeOffset="45376.4">6016 9770 1016 0,'2'-1'478'0,"-2"1"-94"0,0 0-43 0,0 0-29 0,3 12-18 16,-6-2-27-16,1-1-45 0,-6 7 93 16,3-1-49-16,-5 4-22 0,-3 0-27 0,-4 9-17 0,-2 0-49 15,-1-2-16-15,1 2-81 0,-1-1-46 0,-2 1-39 16,3-5-56-16,4 0-102 0,0-9-190 16,2 4-502-16,3-5 47 0,2-1 89 15,-2-3 44-15,4-1 107 0</inkml:trace>
  <inkml:trace contextRef="#ctx0" brushRef="#br0" timeOffset="45575.73">5777 10000 926 0,'3'-8'392'0,"0"1"38"0,1 1-13 15,0 1-33-15,-2 1-18 0,3 3-36 16,-5 1-2-16,13 1-39 0,-6 3-20 16,4-2-8-16,-1 4-38 0,5 3-44 0,-2 0 15 0,5-3-30 15,0 7 5-15,0-2-26 0,0 0-20 16,0 2-54-16,2-3-23 0,-2 1-56 15,-2 2-61-15,-3-4-57 0,2 1-80 0,-2-1-268 16,2-1-471-16,-2-1 79 0,0-3 88 0,-2-2 35 16,-1 3 66-16,2-4 101 0</inkml:trace>
  <inkml:trace contextRef="#ctx0" brushRef="#br0" timeOffset="45908.31">6334 9887 1126 0,'-6'5'389'0,"-4"2"-26"16,3 0-15-16,-1 3-46 0,-2 2-28 15,2 1-13-15,3 2-35 0,0-1-11 16,2 3-28-16,1-4-18 0,2 5-21 0,3-1-30 16,1-2-8-16,-1 1-28 0,5-3-16 0,2 1 16 15,3-3-31-15,0-2 24 0,2 0-29 16,-2-4 18-16,0-1-8 0,-1-4-5 15,-1 0 11-15,2-2 19 0,-3-1-1 0,1-4 99 0,-1 0-18 16,-3-1-2-16,0-2-98 0,-1-3 6 16,-6 3 2-16,0-2-7 0,-3-3-11 0,-2 0-3 15,0-1-2-15,-2 3-2 0,-4 0-18 0,1 0-11 16,-3 1-36-16,0 1-25 16,3 3-36-16,-2 1-7 0,1 2-67 0,1 2-41 15,0 0-116-15,-1 3-240 0,1 0-412 0,2 0 100 16,0 5 90-16,0-4 91 0,1 4 83 0,2-3 27 15</inkml:trace>
  <inkml:trace contextRef="#ctx0" brushRef="#br0" timeOffset="46049.21">6590 9960 993 0,'0'0'345'0,"5"-3"-71"0,-5 3-77 15,0 0-140-15,0-4-237 0,0 4-465 16,0 0 44-16</inkml:trace>
  <inkml:trace contextRef="#ctx0" brushRef="#br0" timeOffset="46369.47">6847 9925 1433 0,'10'3'486'0,"-2"-2"-17"16,2 1-78-16,-2 2-48 0,-3-1-28 0,2 3-3 15,-1 1-50-15,-2 3 1 0,-4-2-27 0,0 4 7 16,-2 1-38-16,-3 0-11 0,0 5-2 0,-3 1-36 16,0 1-10-16,1-3-10 0,-1 0-21 15,1-3-13-15,1 1-17 0,3-5-6 0,-1 3-20 16,1-3 20-16,-2-2 3 0,3-1-7 0,-1 0-11 15,2-2-6-15,1 1 1 0,1-4-7 0,1 3 17 16,-2-5-21-16,8 4 11 0,-8-4-15 16,7 0-1-16,1 0-25 0,-3-3-10 15,6 1-31-15,-4 0-62 0,3-1-32 0,0-3-6 0,1 4-57 16,2-3-40-16,-5-1-33 16,5 3-128-1,-9-3-213-15,7 1-382 0,2 0 98 0,0-1 59 0,1-1 77 0,2-1 87 0,2-1 69 16</inkml:trace>
  <inkml:trace contextRef="#ctx0" brushRef="#br0" timeOffset="46712.57">7280 9925 1215 0,'-17'6'382'0,"3"-5"14"0,4 3-42 0,0-1-6 0,5 2-54 0,-1-1-25 0,4-2-26 0,0 4-20 0,4 0-23 15,0 0-1-15,1 1-17 0,2-1-16 0,1 4 6 16,1-1-8-16,1 1 7 0,0-1 6 16,0 0-16-1,1 4 0-15,-1-3 13 0,-1-1 0 0,-1 0-18 0,-1 1 8 0,0-1 3 0,-3 0-24 16,-2 0 11-16,0-2-26 0,-2 4-90 0,-3 0 6 16,0-2-1-16,-3 2-2 0,-4 0-26 15,2-2-7 1,-1 3-41-16,1-5-59 15,-1 3-24-15,1-3-60 0,2 0-55 0,-2 0-53 0,2-7-233 0,1 4-535 0,4-2 100 0,-2-1 141 16,5-1 32-16,-3 3 63 0,3-3 86 31</inkml:trace>
  <inkml:trace contextRef="#ctx0" brushRef="#br0" timeOffset="46886.27">7588 9839 1300 0,'0'0'589'0,"7"-2"-121"0,-7 2-35 0,6 7-16 0,-4-1-61 0,0 0 81 16,1 6-43-16,2 0-43 0,-2 2-36 0,-3 1-28 15,5 1-24-15,-5 3-22 0,0 0-44 0,0 3-10 16,0-1-44-16,0-2-56 0,0 3-84 16,0-2-52-16,-5-1-53 0,3 1-75 0,1-2-150 0,-7-3-257 15,6-1-460-15,2-2 120 0,0-3 76 16,-2-2 116-16,2-1 72 0,0-2 51 15</inkml:trace>
  <inkml:trace contextRef="#ctx0" brushRef="#br0" timeOffset="47120.49">7495 10078 1231 0,'0'0'463'0,"0"0"-43"16,0 0 7-16,0 0 34 0,0 0-46 15,13-3-16-15,-13 3-36 0,16 0-40 16,-8 0-34-16,4 0-112 0,-2 0 10 0,3 0-41 16,0 0-13-16,3 0-69 0,1 0-59 0,1 0-28 15,-2-2-46-15,1 0-59 0,4 0-62 16,-3 2-76-16,0-1-92 0,3-1-88 0,1-2-444 16,1 3 60-16,3-4 139 0,0 5 31 0,2-2 84 31</inkml:trace>
  <inkml:trace contextRef="#ctx0" brushRef="#br0" timeOffset="47594.28">8301 9880 1200 0,'5'-2'456'0,"5"-1"-55"16,2 2-14-16,2 2-52 0,3-1-15 15,4 4-10-15,0-1 0 0,2 3-62 0,0 1 8 16,-3 2-26-16,-4-2 26 0,-1 1-23 0,-5-2-13 15,-2 4-30-15,-1-1 20 0,-6 2-31 16,-1-3-31 0,-3 5-2-16,-4 0-20 0,-2 2 12 0,-1-2-41 0,-5 2-53 0,-1 0-11 15,-2-1-5-15,4-3-5 0,0-2 10 0,2 1 1 0,3-3-14 16,-1-1 13-16,3 1 6 0,2-2-11 16,0-2 8-16,-1 3 2 0,1-2 3 15,2-2-5-15,2 1-21 16,1-3 3-16,0 0 13 0,9 5 15 0,-3-2-20 0,1-2-11 0,3 0-5 15,0-1-35-15,1 0-9 16,5 0-42-16,-1 0-19 0,2 0-36 0,0 0-27 0,0-1 7 16,1 0-52-16,0 0-30 0,-2-3-61 15,1 4-156-15,-1 0-549 0,-1-1 101 0,0-3 61 16,-2 3 105-16,3-1 71 0,-4-1 45 16</inkml:trace>
  <inkml:trace contextRef="#ctx0" brushRef="#br0" timeOffset="47805.25">9056 9931 1505 0,'0'0'455'0,"-7"13"-43"0,4-8-41 0,-4 2-17 15,2 0-50-15,-1 4-17 0,-1-1-34 0,-1 1-17 16,-2 4-36-16,0-1-29 0,-3 3-22 0,-2-2-45 15,-1 4-68-15,3-1-54 16,-2-1-76-16,-1 0-57 0,1 0-244 0,0-5-506 0,2 1 103 16,0-3 53-16,3-2 126 0,2-2-21 0</inkml:trace>
  <inkml:trace contextRef="#ctx0" brushRef="#br0" timeOffset="48009.16">8880 10054 1336 0,'3'-3'396'0,"1"2"-9"0,-4 1-16 0,0 0-41 16,14 4 3-16,-10-1-41 0,2 2-23 0,1 2-47 16,-1 3 1-16,2-1-31 0,2-3-26 15,-3 5-15-15,6 0 18 0,-3-1-51 0,1 0-64 16,1 0-52-16,-2-1-40 0,-2-1-116 0,0-4-199 16,-1 4-571-16,1-1 79 0,0-1 95 15,-5 1 59-15,2-2 80 0,-1-1 58 16</inkml:trace>
  <inkml:trace contextRef="#ctx0" brushRef="#br0" timeOffset="48505.21">9200 9982 1364 0,'-7'5'425'0,"1"2"-29"0,2-1 47 16,-2 5-10-16,1 0-67 0,0 1-18 0,2-1-43 0,1 3-26 0,2 0-26 0,0 1-38 0,2-3-23 0,1 1-23 16,5 3-26-16,-3-3-25 0,8-1-16 0,-3-1-22 15,1-2-1-15,1-2-7 0,1-1-16 0,4 1-7 16,-1-3-8-16,-3-2 10 16,0-2 0-16,2-1-7 0,-2-3 12 0,-1 2-5 0,-1-4 8 15,-1 0 0-15,0-2 5 16,-4-2 13-16,-1 1-11 0,-2-2-7 0,-4-1 8 0,-1 1-24 15,-3 2 6-15,-1-3-3 0,1 1 13 16,-2 1-21-16,-1-1-7 0,-3 0-11 16,4 4-7-16,-6-4-13 0,3 5-23 0,0-1-23 15,2 1-28-15,-2 3-29 0,3 0-25 0,-2 0-15 0,2 0-62 16,2 2-71-16,-1 1-195 0,6 0-494 16,-8 0 10-16,4 4 100 15,4-4 98-15,-3 3 101 0,3-3 65 0,0 5 15 0</inkml:trace>
  <inkml:trace contextRef="#ctx0" brushRef="#br0" timeOffset="48630.02">9495 10013 1059 0,'0'0'346'0,"5"-3"-42"0,-5 3-48 0,5-4-117 16,-5 4-150-16,6 0-467 15,-6 0-147-15,0 0 1 0</inkml:trace>
  <inkml:trace contextRef="#ctx0" brushRef="#br0" timeOffset="48987.1">9797 9957 977 0,'16'0'410'0,"-6"3"-29"0,-2-1 8 16,3 2-71-16,-4-1 2 0,-4 3-3 15,1-2-43-15,-3 2 2 0,-1 1-17 0,-1 1-24 0,-1-2 47 16,-3 6 15-16,0-1-39 0,-3 1-35 16,3-1-39-16,-3-1 6 0,3 1-29 0,-2-2-10 15,2 2-13-15,-1-4-28 0,3 0-5 0,-1-2 16 16,1 2-27-16,0 0 14 0,1-2-98 16,-1-1 44-16,3-2-34 0,-2 5 9 15,2-4-1-15,0-3-8 0,0 6 8 0,2-3 11 16,-2-3-19-16,5 4-10 0,-2-1-7 0,2-3-16 15,-5 0-7-15,8 2-21 0,0-2-33 0,-8 0-31 16,10-2-39-16,-3 2-17 0,1-2-39 16,0 1-40-16,0-3-106 0,-1 3-189 0,3-4-468 15,3 2 109-15,0-1 63 32,-2-2 122-32,6 0 38 15,-2 1 74-15</inkml:trace>
  <inkml:trace contextRef="#ctx0" brushRef="#br0" timeOffset="49244.93">10175 9981 1249 0,'-8'0'442'0,"8"0"-52"0,-13 3-40 0,5-2-35 0,1 0-87 0,2 0-16 0,-1 5-45 16,2-4-6-16,1 3-23 0,0 1-10 0,0-2 8 16,3 2-21-16,0 0 8 0,0 0-5 0,0 1 35 15,1 1-30-15,1-2 28 16,-2-1-8-16,0 3 11 0,3-1 0 0,-3-1 89 0,0 0-26 15,0 1-2-15,0-1-18 0,-3 0-12 0,0 1-11 16,1-2-39-16,-5 2-1 16,1 0-1-16,-1-2-16 0,-1 1-37 15,-2 1-52-15,0-1-82 0,1 0-35 0,2-2-65 0,-4-1-71 16,4 3-152-16,-3-3-713 0,2-1 89 0,0-1 85 16,3-1 102-16,5 0 107 0,-10-1 96 15,10 1 9-15</inkml:trace>
  <inkml:trace contextRef="#ctx0" brushRef="#br0" timeOffset="49498.33">10672 9932 1418 0,'0'4'555'0,"2"2"-10"0,-2 1-61 0,-2 1-39 0,4 1-40 16,-2 1-29-16,-2 5-43 0,-1-1-44 15,1 3-23-15,-1-2-71 0,-2 4-57 0,2-3-46 16,-1 0-74-16,1 1-43 0,-4-3-88 0,-1 2-100 16,2-1-281-16,-1-2-471 0,-3-1 70 0,2 0 129 15,-2 0 96-15,2-4 35 16,0 1 64-16</inkml:trace>
  <inkml:trace contextRef="#ctx0" brushRef="#br0" timeOffset="49697.21">10464 10150 1497 0,'0'0'453'0,"0"0"-31"15,8 0-58-15,-8 0-6 0,10-2-43 0,-2 4-28 16,0-2-36-16,5 0-13 0,0 0-46 15,4 0-26-15,-2 0-46 0,3 0-35 16,-2 0-62-16,1 0-57 0,-1 0-68 0,2-3-108 16,-5 0-210-16,2 3-465 0,-2-1 99 15,-2 0 46-15,1-2 90 0,1 1 43 0</inkml:trace>
  <inkml:trace contextRef="#ctx0" brushRef="#br0" timeOffset="50167.66">11264 9880 1208 0,'10'2'391'15,"-2"2"-45"-15,3 2-29 0,-1 1-4 16,0 0-24-16,-2 1-15 0,-3 3-31 0,3-1-23 16,-6-1-13-16,-2 0-2 0,0 0-41 0,0 3 0 15,-2-1-31-15,-1-2-10 16,0 1-8-16,-1-1-18 0,3-3-23 0,-1 3-7 15,2-1-11-15,0-1 6 0,0-2-14 0,3 1-4 0,-1 1 4 16,3-1 4-16,0 0-6 16,-3 0 15-16,2 0 1 0,0 1 4 0,-1 0 11 15,0-2-3-15,-1 2-2 0,-2-2 5 0,-2 3-3 16,-2-1-18-16,-3-1 11 0,0 3-6 16,-4-1-33-16,1-2-17 0,-3 0-40 0,3 1-27 15,-3-4-62-15,2 3-17 0,-1-1-78 0,2-1-104 16,2-1-272-16,0-2-376 0,3 1 110 0,5-2 69 15,-8-2 62-15,8 2 94 16,-2-4 42-16</inkml:trace>
  <inkml:trace contextRef="#ctx0" brushRef="#br0" timeOffset="50387.39">11623 9963 1620 0,'1'4'514'0,"1"1"-32"0,-2-1-47 0,0 4-39 0,0 1-32 16,-2-2-26-16,1 6-41 0,-4-1-8 16,0 4-36-16,-1-1-68 0,-1 4-37 0,-3-1-74 15,-3 0-89-15,3 2-72 0,-3-1-187 0,0-1-732 16,-2-1 103-16,2-1 83 0,3-5 109 16,0 0 35-16,2-3 72 0</inkml:trace>
  <inkml:trace contextRef="#ctx0" brushRef="#br0" timeOffset="50542.45">11477 10106 1256 0,'0'0'461'0,"0"0"-10"0,0 0-73 0,13 6-24 0,-13-2-101 0,5 2-25 16,0 1-18-16,0 0-29 0,3 1-27 15,0-2-39-15,2 4-20 0,0-3-44 0,3 1-41 16,2 1-97-16,-1-2-123 0,0-1-440 0,2 1-159 15,2-2 80-15,-7-2 56 0,3-3 89 16</inkml:trace>
  <inkml:trace contextRef="#ctx0" brushRef="#br0" timeOffset="51041.04">11972 10024 1108 0,'0'0'466'0,"-13"7"-54"15,10-1-15-15,-1 1-8 0,-2 5-39 0,1 0-45 16,0 1 0-16,0 0-47 0,-3 4-45 0,3-2 14 16,0 1-37-16,-1-2-14 0,4-1-20 15,-3 2-25-15,5-4 7 0,-3 0-53 16,3 0-6-16,3-3-17 0,0-2 2 0,1 1-16 15,4-1 3-15,0-1-23 0,0-4 8 0,2-1-10 16,1 0 12-16,3-2 8 16,-1-2 6-16,1 0-1 0,-2-1-8 0,-1-5 19 0,1 3-1 15,-4-4 62-15,-3 2-8 16,2-2 6-16,-6-1-19 0,-2 3-25 0,-1-2 2 16,-3 0 8-16,0-1-2 0,-3 4-55 0,1-4-45 0,-4 5-47 15,1-4-66-15,0 5-38 0,-1 0-138 16,-9-1-267-16,13 5-461 0,-4 0 85 0,6 0 97 15,-3 1 64-15,3 0 106 0,5 1 52 16,0 0 58-16</inkml:trace>
  <inkml:trace contextRef="#ctx0" brushRef="#br0" timeOffset="51410.04">12208 10092 1315 0,'0'0'494'0,"0"0"-56"16,0 0-44-16,-8-1-79 0,8 1-80 0,0 0-68 15,0 0-67-15,-5-3-113 0,5 3-194 0,0 0-505 16,0 0-23-16,0 0 52 0,0 0 79 15</inkml:trace>
  <inkml:trace contextRef="#ctx0" brushRef="#br0" timeOffset="51719.37">12410 9969 1274 0,'11'1'402'0,"-1"4"-61"15,-3-1-62-15,1-2-16 16,-5 4-7-16,2 0-8 16,0 1 1-16,-5-1-4 0,-3 1-30 0,-1 4-12 0,0-1 12 0,-3 0 33 0,2 2-13 15,-3 0-4-15,3-5-11 0,-3 4-33 16,0-3-3-16,1 2-25 0,4-3 7 0,-2-2-94 16,0 1 2-16,0-1 0 0,2-1-25 15,1 1 30-15,-1-4-4 0,3 5-11 0,0-6 20 16,0 5-28-16,0-5 1 0,3 5-9 15,2-3-4-15,0-1-8 0,1-1-36 0,1 0-39 0,0 1-14 16,1-1-50-16,2 3-20 0,-2-3-18 0,0 0-45 16,0-3-58-16,2 3-147 15,0-1-134-15,-2 1-425 0,2 0 72 0,0-3 90 16,-2 0 56-16,0 1 51 0,2-2 85 0</inkml:trace>
  <inkml:trace contextRef="#ctx0" brushRef="#br0" timeOffset="52028.03">12717 9958 1238 0,'-14'3'405'0,"1"-2"-93"16,0 0-43-16,5 2-39 0,3 0-2 0,0-2-33 15,2 4-9-15,1-1-9 0,2-1-26 0,2 2-20 16,1 2 4-16,2 2-20 0,3-1 19 15,2 0-6-15,-2 2 20 0,2-2 11 0,-3 2 17 16,1-1 1-16,0-1-18 0,-3 3 92 0,1-5 7 16,-2 1-22-16,-1 3-19 0,-3-3-22 0,-3 0-11 15,1 0 0-15,-3 0-7 0,-3-2-49 16,-2 3-10-16,-3-1-54 0,5 0-29 0,-5 0-68 16,3-2-69-16,0 2-65 0,3-4-78 0,-1 1-298 15,0-1-524-15,3 0 114 16,0-2 106-1,5-1 49-15,-5 1 109 0,5-1 46 0,0 0 65 0</inkml:trace>
  <inkml:trace contextRef="#ctx0" brushRef="#br0" timeOffset="52224.32">13046 9923 1261 0,'5'5'587'0,"-4"-1"-114"0,3 3-66 0,-1 3-31 15,-3-1-30-15,3 3-24 0,-3 3-12 16,0 0-38-16,2 0-29 16,-2 2-15-16,0 2-42 0,-2-1-53 0,2 1-48 0,-3-3-54 0,0 2-75 15,-1-3-43-15,-2 4-84 0,1-6-229 16,0 5-542-16,-3-4 87 0,3 1 121 16,-3-6 20-16,0 2 69 0,4-4 64 0</inkml:trace>
  <inkml:trace contextRef="#ctx0" brushRef="#br0" timeOffset="52460.15">12933 10107 1223 0,'3'-1'563'0,"-3"1"-46"0,8-2-48 0,-4 1-47 0,2-1-41 15,-6 2-43-15,15-1-20 0,-5 1-42 16,1 0-12-16,2 0-52 0,-1-1-10 0,4 0-76 15,-1 0-42-15,1-2-61 0,-1 3-69 0,0-2-84 16,-2 0-198-16,0 0-128 0,5 0-457 0,-2-2 88 16,4 3 45-16,1 0 71 0,1-4 84 15,4 2 52-15</inkml:trace>
  <inkml:trace contextRef="#ctx0" brushRef="#br0" timeOffset="52858.5">13979 9976 1523 0,'-17'8'545'0,"-1"0"-28"15,0 0-36-15,-1-2-41 0,-1 5-58 0,0-2-9 16,-1 2-42-16,-2 2-114 0,3-3-17 16,1 1-36-16,4-1-3 0,0-3-18 0,5 2-2 15,0-2 0-15,2 1-26 0,3-2-5 0,1 0-13 16,0 1-15-16,4-1 10 0,0 0-17 0,2 1-19 15,4-2-2-15,-1 0-11 0,5 1-2 16,2 1-10-16,2-5-36 0,3 5-11 16,4-2-32-16,0-1-47 0,2-2-48 15,-1-1-24-15,-1 0-40 0,-1-1-93 0,6-8-191 16,-7 8-507-16,-2 0 143 0,1-2 23 0,-2-1 92 16,-2-1 31-16,-3 0 100 0</inkml:trace>
  <inkml:trace contextRef="#ctx0" brushRef="#br0" timeOffset="53085.34">14038 10013 1410 0,'-13'4'463'0,"6"-2"-40"0,-1 3-24 0,1 3 69 0,-1-2-35 0,0 4-16 0,-2 3-64 0,2 1-15 0,-2-1-49 16,3 2-15-16,-2 1-30 0,2 2-32 15,-3 1-28-15,1 1-22 0,2-2-34 0,-3 2-70 16,5-2-70-16,0 0-42 15,0 0-69-15,-1-2-72 0,1 0-130 0,3-3-729 0,2-2 122 0,0-3 80 16,0 1 112-16,2-3 72 16,3-2 74-16,1-1 36 0</inkml:trace>
  <inkml:trace contextRef="#ctx0" brushRef="#br0" timeOffset="53301.84">14477 9976 1231 0,'-13'10'547'0,"8"-5"-27"0,2 1-62 0,-2 3-23 0,0 2-45 0,-3 3-42 0,1-1-28 15,-1 4-39-15,-5 1-12 0,3 1-44 16,-3-1-120-16,-2-2-23 0,1 2-69 0,0 1-57 15,1-1-58-15,-1-1-67 0,0-2-136 0,3-3-207 16,1 1-394-16,-3-3 92 0,6-2 52 0,-1-2 129 16,0-2 55-16</inkml:trace>
  <inkml:trace contextRef="#ctx0" brushRef="#br0" timeOffset="53511.96">14228 10090 1095 0,'3'-2'402'15,"-3"2"-10"-15,0 0 2 0,0 0-23 0,0 0-51 16,10 5-8-16,-7-1 31 16,1-1-5-16,2 4-56 0,-2 2-21 0,4-2-18 0,2 1-41 15,-1 0-36-15,1 1-30 0,0-1-46 0,3 1-57 16,2 0-61-16,-2-2-18 0,3-1-123 16,-4 0-182-16,3 1-604 0,-1-3 54 15,0-2 123-15,2 1 67 0,-1-3 53 0,1-2 61 0</inkml:trace>
  <inkml:trace contextRef="#ctx0" brushRef="#br0" timeOffset="53817.77">14756 10044 1369 0,'-8'0'394'0,"8"0"-30"0,-12 7-27 0,4-2-40 16,0 0-15-16,-2 3-26 0,3 1-15 0,1 1-29 15,-2 0-23-15,1 3-15 0,2-1-17 16,2-1-17-16,1 1-6 0,2-2-22 0,2 3-38 15,1-3 16-15,4-1-8 0,-2 1-18 0,3-2 5 16,2-2 3-16,-2-2-19 0,2-1 47 16,0-1-33-16,1-2-3 0,-3 0 36 0,2-2 89 15,-2 1 29-15,2-5-37 0,-5 1-2 16,3-1-43-16,-3-1-3 0,-2-1 8 0,1 0-18 16,-4-1-26-16,0 0-2 0,0-1-49 15,0 2 3-15,-2-3-24 0,-3 4-63 0,2-1-36 16,-1 1-29-16,3 1-79 0,-6 1-56 15,4 1-169-15,-2 2-427 0,0 0-177 0,5 2 82 16,-8 1 125-16,8-1 105 0,-8 3 26 0,3-3 92 16,2 5 61-16</inkml:trace>
  <inkml:trace contextRef="#ctx0" brushRef="#br0" timeOffset="53936.16">14966 10150 1003 0,'0'0'430'0,"0"0"-41"0,8-4-74 0,-8 4-62 0,3-2-84 16,-3 2-128-16,0 0-310 0,2 0-429 0,-2 0 6 15,0 0 119-15</inkml:trace>
  <inkml:trace contextRef="#ctx0" brushRef="#br0" timeOffset="54289.71">15246 10038 1389 0,'16'3'461'0,"-6"-1"-41"0,0 0 30 0,-3 3-63 0,-1-1-18 15,1 2-21-15,-4 1-28 0,-1 1-8 0,-2-1-31 16,0 4-4-16,-5 0-29 0,-3 1 1 0,-1 1-37 15,-2 1-12-15,1-1-24 0,0-2-27 16,0 0-21-16,4-2-5 0,-1 1 2 0,1-3-20 16,4 0-10-16,-3-1-19 0,5-2-14 15,0 0-3-15,2-1-6 0,-2-3-6 0,6 3-12 0,1-2-27 16,-2-1 25-16,1 3-45 16,1-3-29-16,0-3-21 0,1 2-20 0,0 1-64 15,-3 0-5-15,5-1-53 0,-2 0-86 16,2-5-196-16,-2 6-569 0,0 0 67 15,0-1 195-15,2 0 7 0,-5-1 110 0,3 2 54 16,0 0 31-16</inkml:trace>
  <inkml:trace contextRef="#ctx0" brushRef="#br0" timeOffset="55599.81">15846 10044 1121 0,'0'0'453'16,"2"-3"-59"-16,-2 3-41 0,0-4-12 15,0 4-47-15,0 0-100 0,-5-5-17 0,-2 5-16 16,-1 0-20-16,-3 0 10 0,-1 2-28 0,-1 0-5 15,-2-1-24-15,0 3-6 0,1-1-19 16,2 2-3-16,-1 0 3 0,0 0-7 0,5-2-6 16,1 4-20-16,1-1 15 0,2 0-33 15,3 1 13-15,1-1-3 0,1 1 3 0,3 2-6 16,2-1-12-16,-1 1 5 0,2 0 0 0,1-1 25 16,0 1 1-16,0-1 4 0,-3 0 9 15,2-2-11-15,-4 0 49 0,2 0 2 0,-2 0-20 0,-3-1 138 16,-3-1-39-16,0 0 6 15,-1 2-28-15,-5-1 2 0,-3-1-41 0,-4 0-36 16,-2 2-28-16,-2-2-48 0,-1 1-41 0,1-1-72 16,-1 1-54-16,-2-1-79 15,-3 0-98-15,-5 1-179 0,1 1-488 0,-11 2 110 0,0-3 91 16,-5 1 80-16,0 3 146 0,-5-2-15 0</inkml:trace>
  <inkml:trace contextRef="#ctx0" brushRef="#br0" timeOffset="56377.08">4439 11684 1185 0,'5'-2'419'0,"3"0"-14"15,2 2-42-15,5-3-35 0,1 1-39 16,2 2-30-16,7 0-24 0,1 2-15 0,5-1-23 15,0 1-22-15,0-2-42 0,1 0-41 0,0 2-23 16,1 0-33-16,-2 0-62 0,-1-2-58 16,-4 1-93-16,-2-3-158 0,-2 4-533 0,-4 1 67 15,-3 0 105-15,-1 1 45 0,-4 0 99 0</inkml:trace>
  <inkml:trace contextRef="#ctx0" brushRef="#br0" timeOffset="56578.94">4565 11905 1310 0,'-5'2'410'0,"5"-2"-44"0,0 0-18 0,0 0-26 0,0 0-53 16,17 2-36-16,-8-2 18 15,3 0-41-15,1 0-26 0,2-2-7 0,3 2-6 16,0-2-45-16,3 0-24 0,0 1-33 0,1-1-36 0,-1 2-61 15,-3-1-54-15,0 1-92 16,0-1-176-16,-3 0-523 0,3-1 56 0,-6 2 116 16,2 0 81-16,-1 0 47 0</inkml:trace>
  <inkml:trace contextRef="#ctx0" brushRef="#br0" timeOffset="58488.52">6493 11982 1361 0,'-6'0'405'0,"6"0"-55"16,-14 2 14-16,6 1-49 0,0 3-24 0,-2 0-17 15,2 2-36-15,1 2 6 0,-3 2-37 0,4 1-48 16,-2 0-3-16,3 3-3 0,0 0-25 0,2 1-23 16,1-2-2-16,4-2-24 0,-1 3-15 0,4-3 15 15,0 2-17-15,5-4-14 16,-2 1 6-16,4-2-28 0,-2-3 15 0,1-2-26 16,2-2 16-16,-3 1-6 0,0-4 6 0,1-1-8 15,1-2 13-15,-3 0-21 0,1-2 6 16,0 0 17-16,-3-3-10 0,1 0-5 0,-2-1-5 15,1 0 5-15,-5-1-12 0,1-3-14 16,-3 3 18-16,0 0 14 0,-2-1 1 0,-1-1-43 16,0 1 11-16,-2-1-3 0,-2 3-28 0,-1-2-24 15,0 2-37-15,-3-1-45 0,-1-1-65 0,4 4-106 16,-12-2-100-16,12 4-509 16,1-1 49-16,-1 2 125 0,0 0 105 0,5 0 36 15,-2-1 56-15</inkml:trace>
  <inkml:trace contextRef="#ctx0" brushRef="#br0" timeOffset="58651.51">6739 11963 1131 0,'7'0'351'0,"-7"0"-49"15,0 0-49-15,0 0-112 0,0 0-128 0,3-2-154 16,-3 2-545-16,0 0 128 0,0 0-23 0</inkml:trace>
  <inkml:trace contextRef="#ctx0" brushRef="#br0" timeOffset="58978.71">7042 11965 995 0,'7'5'341'0,"-2"-1"48"0,0 2-10 0,-5 0-21 0,0-1-97 15,-2 2-2-15,-1-1-34 0,-5 5 13 16,-2-3-36-16,0 3-15 0,0 0-16 16,-3-1 1-16,3 0-24 0,0-1-7 0,2-2-8 0,0 0-12 15,0-1-1-15,3 1-15 0,0-2-3 0,0 0-5 16,0 1 21-16,0-3-13 16,2 1-20-16,1-1 7 0,1 0-13 0,1-3-5 15,0 0 16-15,4 6-13 0,-2-5-11 0,-2-1-2 16,10 2 0-16,-5-2-7 0,-5 0-32 15,14 0-30-15,-5-2-13 0,-1 1-33 0,0 1-36 16,1-2-33-16,-1 0-16 0,3 0-43 0,-1 2-52 16,-2-3-109-1,2 1-149-15,0 1-481 0,1-3 115 16,4 0 74-16,-5-1 118 0,5 0 34 0,4 0 73 0</inkml:trace>
  <inkml:trace contextRef="#ctx0" brushRef="#br0" timeOffset="59269.3">7467 11907 1059 0,'-12'0'371'0,"-1"2"-20"0,-1 0-13 0,0 1 18 0,3-2-18 16,1 2-18-16,0-2-34 0,0 3-20 16,2 1-38-16,5-1-33 15,0 1-11-15,1 1-12 0,4 0-19 0,1 1-9 0,-1 3-22 16,4-1-12-16,4 3 6 0,-3 0-1 0,2 1-15 15,0 0-72-15,-1-3 10 0,0 0 11 0,-3 0 17 16,1 0-14-16,-2-2 50 0,-1 0-43 16,-3-1-5-16,0 2 28 0,-3-2-31 0,-4 0 5 15,-1-1-2-15,0 1-13 0,-2-1-21 16,-3-1-17-16,0-1-39 0,-1 1-38 0,3-1-21 16,-2-3-56-16,-2 2-46 0,-1-1-110 15,3-2-436-15,-2 1-224 0,2-1 153 16,3-1 36-16,-3 1 76 0,3 0 109 0,0-2 42 0</inkml:trace>
  <inkml:trace contextRef="#ctx0" brushRef="#br0" timeOffset="60373.61">8044 11837 1295 0,'0'0'389'0,"0"0"-31"0,5 18-48 0,-5-7-13 0,0 3-31 16,0 0-31-16,0 2 62 0,0 0-33 0,-2 5-39 15,1-1-71-15,1 2-47 0,-2-2-7 0,-3 5-97 16,5-4-70-16,-5 0-166 16,2 3-655-16,-2-5 89 0,3 1 65 0,-4-4 135 15,1 0 36-15</inkml:trace>
  <inkml:trace contextRef="#ctx0" brushRef="#br0" timeOffset="60614.04">7890 12076 1305 0,'5'-2'430'0,"3"1"-36"0,0-1-25 0,5 0-49 0,2 1-11 15,1-1-58-15,6 0-25 16,-1 0-11-16,2 1-47 0,0-1-27 0,0-2-46 16,0 2-39-16,0-2-35 0,-2 0-47 0,-1 0-81 15,6-3-203-15,-8 1-576 0,5-1 124 16,0-1 29-16,-3-1 119 0,-1-2 43 16</inkml:trace>
  <inkml:trace contextRef="#ctx0" brushRef="#br0" timeOffset="62031.24">8918 11871 1203 0,'-5'6'384'0,"-3"2"-39"0,4 1-25 16,-4 2-41-16,2 2-102 0,2-2-14 0,-2 4-9 0,1 2-16 16,0 0-23-16,2-4-7 0,-2 1 15 0,3 0-34 15,1 1-4-15,1-2-1 16,1 0-30-16,4-2-3 0,-3 1 21 0,3-2-21 0,1 0-12 16,-1-2-1-16,5-4 5 0,-3 1 9 15,1-2-24-15,1-2 77 0,0-1 2 0,0 0-25 16,1-1 5-16,0-3 0 0,0-2-87 15,-3 3 21-15,1-5 9 0,0 0-4 16,-3 0 10-16,0-2-13 0,-3-1 5 0,2-1 0 0,-4-1 16 16,0-1-24-16,0 1 6 0,-3-2-16 15,2 2 8-15,-3 0 2 0,1 0 9 0,-2 0-6 16,0 2-8 0,-3 0-7-16,1 3-29 0,-1-1-15 0,0 2-23 0,-2 1-33 15,3 3-43-15,-2 0-60 0,2 2-117 0,2 1-589 0,-1 1 82 16,6-1 66-16,-10 3 129 0,8-2 48 0,2-1 36 15</inkml:trace>
  <inkml:trace contextRef="#ctx0" brushRef="#br0" timeOffset="62205.45">9175 11918 1075 0,'0'0'483'0,"0"0"-32"0,0 0-49 0,0 0-62 0,0 0-61 15,0 0-61-15,0 0-39 0,0 0-89 0,0 0-108 16,0 0-187-16,0 0-596 16,0 0 33-16,0 0 115 0,15 4 85 0</inkml:trace>
  <inkml:trace contextRef="#ctx0" brushRef="#br0" timeOffset="62518.25">9675 11867 1551 0,'-8'0'422'0,"0"-1"-23"0,-2 2-51 0,3-1-38 0,-4 1-10 15,6 0-32-15,-3 1-40 0,3 1-5 0,0 1-36 16,2-1-21-16,1 3 1 0,2-1-45 16,2 2 19-16,1 1-18 0,2 1-10 0,0 1 2 15,3 0-15-15,0 3-62 16,2 0-12-16,-2 0 7 0,-1 1 87 0,-1-2 13 0,-2 0-2 15,4-1-11-15,-5 0 31 0,0-1-41 16,-3 0 8-16,-3-1-8 0,-2 1-13 0,2 0 16 16,-5 0-18-16,-2-1-26 0,0 1 3 15,-3-1-3-15,-2-1-31 0,2-2-46 0,-3 2-30 0,1-3-47 16,5 0-71-16,-3 0-36 16,3-1-122-16,2 0-308 0,3-3-428 0,2-1 90 0,3 0 144 15,0 0 48-15,0 0 41 0,8-8 115 0,3 1 39 16</inkml:trace>
  <inkml:trace contextRef="#ctx0" brushRef="#br0" timeOffset="62700.43">9972 11853 1369 0,'3'3'499'16,"2"3"-2"-1,-2 0-49-15,1 3-36 0,-1 2-33 0,0 1-116 0,1 2-9 16,-1 3-27-16,0 1-22 0,0 0-26 0,2 2-40 0,-3 0-58 15,0-1-42-15,-2 0-57 0,0 2-56 16,-2-1-64-16,0-1-165 0,-4 0-206 0,1-3-369 16,2-1 87-16,-4 1 100 0,4-7 77 15,-2-2 40-15</inkml:trace>
  <inkml:trace contextRef="#ctx0" brushRef="#br0" timeOffset="62928.53">9836 12031 1369 0,'6'-2'489'0,"-6"2"-44"0,0 0-38 0,17 2-38 15,-7 1-103-15,4-1-30 0,1 0-19 0,3 1-25 16,4 0-20-16,-3 0 2 16,6-1-34-16,-2 1-24 0,3 0-45 0,-3-3-32 15,0 0-47-15,3 2-48 0,-3-4-121 0,-5 2-245 16,5-2-490-16,0-1 116 0,0 1 41 0,0-4 131 15,3 0 22-15</inkml:trace>
  <inkml:trace contextRef="#ctx0" brushRef="#br0" timeOffset="64378.99">11000 11912 926 0,'0'0'356'0,"-15"7"-41"16,7-2-23-16,0 4-34 0,1 1-17 0,-3 3-19 0,0-2 6 0,2 4-28 0,2 0-49 0,-1 1 15 16,1-1-38-16,2 2-25 15,1-3 9-15,2 1-30 0,1-1-15 16,1 0-3-16,4 0-13 0,-3 0 18 16,6-5-41-16,-3 1 23 0,3 0 16 0,2-3-36 0,0-2-11 15,-1-2 21-15,1-1-26 0,0-2 31 0,0-1 1 16,-5-2 81-16,6-2 7 0,-4 0-20 0,-2-2-61 15,3-1 8-15,-5-3-4 16,-1 0-19-16,0-1-1 0,1 2 8 0,-6-3 6 0,1 1-9 16,0-2-2-16,-4 2-10 15,2 1-3-15,1-1-13 0,-3 1-17 16,-1 1-37-16,-1 0-4 0,3 1-21 0,-3 2-39 0,-2 0-25 16,2 4-53-16,3 0-147 0,-7 1-74 15,6 2-481-15,2 0 64 0,4 0 120 0,-11 0 77 0,6 3 39 16</inkml:trace>
  <inkml:trace contextRef="#ctx0" brushRef="#br0" timeOffset="64547.15">11280 11993 1108 0,'0'0'499'0,"7"-3"-41"0,-7 3-59 31,0 0-15-31,0 0-69 0,3-3-51 0,-3 3-47 0,0 0-78 0,0 0-57 0,0 0-113 15,0 0-146-15,3-1-670 0,-3 1 110 16,0 0 53-16,0 0 70 0,0 0 69 0</inkml:trace>
  <inkml:trace contextRef="#ctx0" brushRef="#br0" timeOffset="64780.75">11572 11867 1156 0,'10'1'356'0,"-2"0"-28"16,-1 3 76-16,1 2-12 16,0 1-36-16,0-1-85 0,-1 4-28 0,-1 2 13 0,2 0-31 15,-4 2 1-15,4 2 53 0,-3 0-26 0,-5 2-15 16,3 0-48-16,-1-1 9 0,-4 2-50 16,-1-1-29-16,0 0-35 0,-1-1-42 0,0-1-33 15,0 1-15-15,1-3-74 0,-2-2-49 0,2 0-62 16,1 0-171-16,-3-2-611 0,2-1 38 0,1-3 224 15,-1 0-45-15,1-3 80 0,1 1 76 16</inkml:trace>
  <inkml:trace contextRef="#ctx0" brushRef="#br0" timeOffset="64993.82">11554 12104 1082 0,'0'0'456'0,"-2"-4"-62"0,2 4-38 0,0 0-34 16,5-6-20-16,0 5-38 0,0 0-11 16,5-1-55-16,0 0-45 0,3 1-38 0,0-1-46 15,0 0-40-15,2 1-60 0,0-1-138 0,3 1-184 16,-2-2-484-16,4 1 128 16,4 0-5-16,-1-4 143 0,5 2 43 0</inkml:trace>
  <inkml:trace contextRef="#ctx0" brushRef="#br0" timeOffset="65288.18">12067 11914 1049 0,'-13'-2'399'0,"0"2"-20"0,5 0-54 0,0 2-7 0,1 0-21 16,4 1-21-16,1 1 64 0,2 1-38 0,-3 0-28 15,8 2-36-15,-2 1 16 0,2 0-49 16,3 3-6-16,-1 0-61 0,3 2-17 0,1 0 9 15,-3-1 88-15,2 0-18 0,0 1 15 16,-4 1-11-16,1-4-55 0,-4 1 2 0,-1 1-13 16,-2-2 13-16,0-2-20 0,-5 3-21 0,-2 0 5 15,-1-2-13-15,-2 2-15 0,-1-3-38 0,1-1-39 16,-3 1-10-16,3-2-64 0,-3-2-59 16,2 2-23-16,4-2-69 0,0 0-123 0,-4-2-253 15,6 0-466-15,3-2 66 0,2 0 154 16,0 0 26-16,0 0 79 0,0 0 105 0,18-10 33 15</inkml:trace>
  <inkml:trace contextRef="#ctx0" brushRef="#br0" timeOffset="65493.89">12554 11938 1274 0,'5'0'556'0,"-5"0"-39"0,5 3-103 0,-2-1 4 0,-1 3-34 0,1 0-39 0,-1 2-53 0,-1 0-26 0,1 4 54 15,3 0-26-15,-4 1-35 0,1 0-6 16,-2 2-32-16,2 0-42 0,-2 0-46 0,0 0-56 16,0 0-65-16,-2 3-65 15,-1-4-55-15,-2 4-89 0,0-4-218 0,-1 2-619 0,2-4 90 0,-4 1 94 16,2-2 138-16,2-3 26 16,1-5 87-16,0 3 67 0</inkml:trace>
  <inkml:trace contextRef="#ctx0" brushRef="#br0" timeOffset="65662.14">12477 12088 1154 0,'0'0'435'0,"0"0"-25"0,0 0-42 0,0 0-25 0,0 0-36 16,16 9-25-16,-6-7-24 0,0 0-17 0,3 0-36 15,5 0-54-15,0-2-46 0,3 0-31 0,3-2-61 16,3 1-59-16,3-2-95 0,3-2-210 15,-2 4-514-15,0-4 82 0,13-3 87 0,-3 1 89 0,0-2 59 16</inkml:trace>
  <inkml:trace contextRef="#ctx0" brushRef="#br0" timeOffset="66988.75">13287 11900 854 0,'0'0'392'0,"0"0"-28"0,0 0-4 0,6 9-9 0,-6-4 38 15,0 3-18-15,-1 2-46 0,-1 2-23 16,-3 3-28-16,2 1-94 0,-4 3-19 15,1 2-10-15,-1 0-18 0,-1 2-10 0,0-2-16 16,0 1-17-16,1 0-31 0,-3-2-49 16,2 1-48-16,2-5-44 0,-1 1-31 0,4-3-76 0,-1-1-147 15,1 0-565-15,3-4 95 0,0 0 33 16,2-2 120-16,-1 0 85 0,3-3 46 16</inkml:trace>
  <inkml:trace contextRef="#ctx0" brushRef="#br0" timeOffset="67257.31">14307 11955 806 0,'8'1'266'0,"3"2"-115"0,1-1-123 16,2 2-227-16,-2-2-423 0</inkml:trace>
  <inkml:trace contextRef="#ctx0" brushRef="#br0" timeOffset="67487.48">14213 12159 1494 0,'0'0'453'0,"0"0"-61"0,0 0-21 15,12 3-25-15,-3-3-134 0,1 0-10 0,4 1-4 0,2-1-50 16,2 0-46-16,0-1-33 0,0 1-15 0,6-2-67 16,-2 0-40-16,-1 1-75 0,2 1-169 0,-3-1-520 15,1-1 16 1,-1 0 120-16,3-1 44 16,-7 1 76-16</inkml:trace>
  <inkml:trace contextRef="#ctx0" brushRef="#br0" timeOffset="68222.82">15277 11911 1039 0,'5'-4'373'0,"0"2"-22"0,2 2-21 0,1 0-33 15,3 2-20-15,1 1-52 0,-1 1 8 0,1 1-23 16,4 4 59-16,-4-1-49 0,-3 0-10 15,0 2-11-15,-3-2-17 0,-1 3-28 0,0-2 2 16,-5 2-33-16,0-1 7 16,-3 2-25-16,-2-1-3 0,-3 3-17 0,-1-1-3 0,-2-2 25 15,3 1-40-15,-4-2 12 0,2-2-2 0,2 2-8 16,0-3 5-16,0-1 34 0,3 0-29 16,0-1-79-16,0-1 26 0,0 0-3 0,2-1-31 15,1 1 41-15,2-1-20 0,0-3-5 16,2 5 20-16,4-2-15 0,-2-2-5 0,6 1-11 15,-2-1-33-15,3 0-15 0,1 0-16 0,2-1-38 16,-2-1-28-16,1 0-48 0,3 0-124 0,-9-1-197 16,6 1-478-16,2-2 130 0,-2 0 44 15,2-1 97 17,-2 1 66-32,0-1 47 0</inkml:trace>
  <inkml:trace contextRef="#ctx0" brushRef="#br0" timeOffset="68375.53">15607 12087 1300 0,'0'0'345'0,"-2"-5"-30"0,2 5-51 0,-2-3-72 0,2 3-59 16,0 0-92-16,0 0-149 0,2-5-570 0,-2 5-21 16,8-1 103-16</inkml:trace>
  <inkml:trace contextRef="#ctx0" brushRef="#br0" timeOffset="68693.75">16048 11960 1016 0,'-20'-1'363'0,"2"3"-15"0,2-1-23 16,1 0-30-16,2 1-11 0,3 0-33 15,2 0-26-15,1 1-25 0,-1-1-1 0,3 4-45 0,2-4-8 0,3 3 7 16,0 1 57-16,3-1-33 0,0 2-1 16,2 1-9-16,2 0-16 0,-2 2-49 31,3-1-28-31,0 0 1 0,-3 3 45 0,2-4-5 0,-4 3 6 0,2 0 14 0,-4-2-9 0,-1 1-21 16,-1-1 7-16,-4 2-7 0,2 0-26 15,-7 2 3-15,-2-2 0 0,-4 2-10 16,-4-1 5-16,4-2-31 0,-7 1-31 0,5 1-48 15,-2-2-26-15,4-2-51 16,-2 0-41-16,5-1-36 0,1-2-107 0,-9 1-290 0,11-1-417 0,5-3 111 16,3-1 47-16,2-1 145 0,0 0 73 0,0 0 39 15</inkml:trace>
  <inkml:trace contextRef="#ctx0" brushRef="#br0" timeOffset="68942.3">16503 12117 1310 0,'-4'6'486'0,"0"1"-25"15,-5 2-8-15,-3 1-36 0,-6 4-48 0,-2 0 41 0,-9 8-29 16,-4-2-43-16,-3 4-11 16,-7 3-37-16,-1 0-55 0,8-6-74 0,0-1-63 15,3 0-85-15,2-1-98 0,3-3-63 0,7 0-165 16,6-6-265-16,8-4-382 0,1 1 126 0,6-4 35 15,0-3 172-15,13 0 2 0,-2-3 75 16</inkml:trace>
  <inkml:trace contextRef="#ctx0" brushRef="#br0" timeOffset="69070.86">16528 12195 924 0,'0'0'491'0,"0"0"-30"0,-11 16-36 0,-1-5-23 0,-1 5-34 0,-10 8-17 16,-3 0-44-16,-12 8-89 0,1 2-37 15,-3 1-35-15,-2 0-33 0,-1 1-39 0,0 0-48 16,1-1-39-16,1 1-72 0,0-1-86 16,1 1-218-16,4-3-466 15,10-8 102-15,-2 1 14 0,5-2 122 0,3-7 77 0</inkml:trace>
  <inkml:trace contextRef="#ctx0" brushRef="#br1" timeOffset="113006.7">6239 10450 1185 0,'0'0'343'0,"-5"-3"-21"0,5 3-25 0,0 0-26 0,0 0-43 16,0 0-15-16,0 0 22 0,18-3-115 15,-8 3-12-15,5-1 40 0,1 0 34 0,7 0-28 16,0 1 2-16,5-4-18 0,6 4-15 0,-1 0-5 15,3 0-11-15,10 0-25 0,3 0-15 16,-9 0 25-16,-1 0-20 0,7 0-3 16,3 0-5-16,-8 0-18 0,-5 0 0 0,10 0 5 15,-5-1-5-15,-8 0-13 0,3 1 16 0,-3-3-6 0,1 2-2 16,0-1 11-16,-2 0-22 16,-1-1-9-16,-3 1 12 0,-4-1-2 15,-1 2 7-15,-5 1-15 0,0-2 3 0,-3-2-1 0,-2 4 9 0,-1 0 25 16,-2 0-8-16,1-1-23 0,-3 0 18 15,0 0-5 1,-3 1 28-16,-5 0 10 0,10-2-40 0,-10 2 4 0,7-2 1 0,-7 2 4 16,3-1-9-16,-3 1-8 0,0 0-11 0,0 0-5 15,3-4-27-15,-3 4-14 32,0 0-25-32,0 0-44 0,0 0-20 0,0 0-36 0,0 0-15 0,0 0-88 0,0 0-219 0,-13 7-503 15,13-4 101-15,0-3 81 0,0 0 73 0,5 3 132 16,0 0 18-16</inkml:trace>
  <inkml:trace contextRef="#ctx0" brushRef="#br1" timeOffset="113927.17">9249 10381 775 0,'-5'1'402'0,"5"-1"-33"0,0 0-39 0,0 0-10 0,20 5-31 15,-9-4-10-15,1-1-21 0,6 3-19 0,5-2-40 0,1 0-7 16,1 0-10-16,9-1-31 16,-3 0-79-16,4 0-6 0,-1 0-17 0,14 0-6 15,-7 0 1-15,-3 0-6 0,11 0-12 0,-8 0 10 16,6-1-13-16,-9 1 10 15,-5 0-7-15,-2 0-3 0,-3 0 7 0,-2 0-12 0,-3-2 8 16,-2 2 5-16,-3-1 15 16,0-1-11-16,-5 2-4 0,1 0 5 0,-3-1 8 0,-1 2-4 15,0-2 14-15,-2 2-8 0,0-1 8 0,0-1-13 16,-1 1 10-16,-7 0-7 16,13-1-11-16,-8 1 0 0,-5 0 1 0,8 0-11 0,-8 0-11 15,8-1-24-15,-8 1-45 16,5 0 6-16,-5 0-44 0,0 0-22 0,7-4-63 0,-7 4-127 15,0 0-171-15,3 0-449 0,-3 0 141 0,0 0 49 0,0 0 61 16,0 0 72-16</inkml:trace>
  <inkml:trace contextRef="#ctx0" brushRef="#br1" timeOffset="114774.66">11954 10412 796 0,'0'0'304'15,"0"0"-20"-15,0 0 49 16,18 0-13-16,-8 0-15 0,1 0-42 0,1 1-14 0,6-2-29 16,0 2-33-16,3 2-6 0,2-1-14 15,2-2-91-15,1 0-14 0,7 0 10 0,-2 0 2 0,3 1-5 16,-1-1-10-16,0 1-13 15,1 1-10-15,-1-4 23 0,-3 4-11 0,-4-2-20 0,-1 1 31 16,-1 0-26-16,-3-1-2 0,-4 2 0 0,-1-2-3 16,-1 0-5-16,-2 3 13 15,-1-3-18-15,-1 0 0 16,-3 0 20-16,0 0-17 0,-1 0-11 0,-2 2 31 0,-5-2-13 0,10 0-8 16,-10 0-12-16,6 0 0 0,-6 0-39 0,0 0-25 15,0 0-18-15,0 0-47 0,0 0-48 16,0 0-151-16,0 0-110 0,0 0-379 0,0 0 60 15,0 0 65-15,0 0 36 16,5 0 75-16</inkml:trace>
  <inkml:trace contextRef="#ctx0" brushRef="#br1" timeOffset="115767.32">14531 10525 765 0,'5'0'281'0,"2"0"-22"16,1 1-16-16,3-1-15 0,1 2-5 15,6-1-21-15,-3-1 56 0,4 0-17 0,6 1-26 16,-2 0-13-16,5-2-10 0,3 1-92 0,0-1-3 15,5 1-10-15,-1-3-10 0,14 2-10 16,2 1-1-16,-1-2 16 0,1 1-20 0,0-2 17 31,-2 2-33-31,0 0 3 0,-3-4 20 0,-8 5-8 16,-5-2-7-16,-2-1 25 0,-2 2 52 0,-4-1-16 0,1-1 18 0,-6 1-18 0,-2 1-17 16,0-3 12-1,-3 4-11-15,1-1 17 0,-6-1-14 0,0 2-2 0,1-3-69 0,-1 2-14 16,-5 1 14-1,3 0 15-15,-8 0-18 0,10 0 11 0,-5-1 2 0,-5 1-18 0,10-2 13 16,-10 2-8-16,6 0-18 0,-6 0 11 16,7-2-21-16,-7 2 5 0,0 0-39 0,5-2 11 0,-5 2-30 15,0 0-34-15,0 0-13 0,3-5-39 16,-3 5-17-16,0 0-36 0,0 0-56 16,-5-5-118-16,5 5-46 0,-3-3-494 0,-2 1 115 15,0 0 51-15,-1 0 90 0,-4 1 56 0</inkml:trace>
  <inkml:trace contextRef="#ctx0" brushRef="#br1" timeOffset="119695.11">6954 10506 867 0,'0'0'249'16,"0"0"-6"-16,-10 6-23 0,10 0-13 15,-2-3-20-15,-1 1 10 0,0 2-18 0,3 1-35 16,-2 0-16-16,2 3-16 0,-2 1 11 0,2 2-15 15,2 1-11-15,-2-1 18 16,0 4-25-16,2 3 7 0,1-2-15 0,-3 2-3 0,5 3-17 16,-2-3-14-16,2-1 85 15,-2-1-7-15,1 1-19 0,4 2-17 0,-3-1 7 0,3 2-87 16,-1-3 16-16,2 1-6 0,3 2-4 0,-2-2-3 16,4-1 25-1,0 0-28-15,7 4-2 0,-3-4 10 16,0-4 13-16,7 7-26 0,-4-7 33 0,3 6-20 0,-2-5 8 15,-1-3-8-15,-1 0-8 0,1 2 3 0,7 1-6 16,-5-4 1-16,0 0-6 0,-2-2 19 0,2 0-18 16,-2 1 14-16,1-3 4 0,2 1-16 15,-4-3-5-15,1 1 28 0,1-1-25 0,-1-1-3 16,7 0 23-16,-5-2-26 16,1 0 1-16,1 0-1 0,3-1 8 0,3-2-7 0,-3 0 22 15,3 0-30-15,0 0 23 0,2-1-6 0,1-3 1 0,-3 3 2 16,1-4 11-16,10 1-24 0,-6 0 3 15,-6-2 3-15,1 1-11 16,8-3-2-16,-6 2 18 0,-5 0-14 0,0 0 14 0,3 0-16 16,-2 0 6-16,11-2 7 15,-7 1 5-15,-4 2-20 0,10-6 13 0,-7 5-3 0,-3-1-6 16,1 2 17-16,-1-2-11 0,1 3-16 0,-4-4 19 0,2 3 15 16,-2 0-18-16,-1 0-16 0,1-2 19 15,-7 2 5 1,1 0 4-16,0-2-22 0,-5 2 5 0,3 0 10 0,0-2 3 15,-2 2-8-15,-1-1-5 0,-2 1 2 0,2-1 1 0,-2 1 2 16,3-4 15-16,-1 1-5 0,1 0-7 16,-2-1 10-16,0-1-6 0,-1 3-4 0,5-4 7 31,-4 5-2-31,3-3-3 0,0-1 0 0,-2 2 5 0,3 1-15 0,1-4-3 0,-4 1 26 16,3 1-28-16,0-2 0 0,2 1 7 0,-2-1 19 15,0 0-1-15,2 0-20 0,-2 1 2 16,0-1 6-16,1 0-3 0,-4 3-5 0,3-5 15 15,-2 5-2 1,1-2-13-16,-4-1 10 0,2 2 15 0,-2-1-17 0,2 0 10 0,1 0-6 16,-3 1-14-1,2 0 9-15,-2 0-10 0,2-1-9 0,-2 1 11 0,2 0 14 16,-2 1-18-16,0-3 7 0,0 3 16 0,-3 2-8 16,0-1 11-16,1-2-22 0,-3 2 6 15,2 1 11-15,-2-2-16 0,-1 1 2 0,3-1 26 16,-2-1-13-16,0 4-17 15,-3-1 19-15,2-1-9 0,-1 0-16 0,1 2 3 0,-2-2 5 0,1 4 10 0,-1-2 5 16,0-1-5-16,0 1-10 0,0-1 3 16,0 2 4-16,1 0 8 0,-2-1 19 15,2 0-42-15,-1 2 26 0,2-2-1 0,-4 1 1 16,2 2-21-16,-2-4 1 0,2 5 7 0,-2-3 84 16,-1 2 16-16,-2 2-36 0,5-5 13 15,-2 4-8-15,-1-3-15 16,-2 4-3-16,3-2-8 0,-3 2 14 0,5-5-6 0,-5 5 8 0,0 0-16 15,2-3 1-15,-2 3-16 0,3-3 13 16,-3 3-15 0,0 0 27-16,5-1-25 0,-5 1-15 0,0 0 5 0,0 0 0 0,0 0 5 15,3-2-18-15,-3 2 13 0,0 0-8 0,0 0-4 0,0 0 6 16,0 0-7 0,0 0-12-16,0 0 17 0,0 0-5 0,0 0-7 0,0 0-1 15,0 0 11-15,7 6 7 0,-7-6-10 0,1 5 3 16,-1-5-11-16,2 7 1 15,-2-4-3-15,0 4-1 0,2-2-14 0,-2 1 5 16,0 0 17-16,3 1-4 0,-3-1-11 0,3 3 23 0,-3 0-2 16,2-1-29-16,0 1 29 0,2-2-11 15,-2 1-17-15,0 2 5 16,1-1-3-16,0-3 0 0,1 5-3 0,-1-3-4 16,2 2-6-16,0-2 5 0,1 2 34 0,-1-3-23 0,0 3 2 15,0-2 10-15,2 0-27 0,-1 0-4 0,-3-2 11 16,4 1 3-16,1 0-3 0,-3-1 7 0,0 2 22 15,2-4-24-15,-1 2 10 16,-1-1 0-16,2 0-7 0,-4-3 17 0,3 4 14 0,1-1-32 0,-2-3 6 16,0 4 5-16,3-3 0 15,-3 0 10-15,0 2 0 0,1-1-10 0,1 0-5 16,1 1-6-16,-1-2 16 0,-1 2 0 0,2-1 3 31,4 1-8-31,-2-2 0 0,1 2-8 0,1-2 8 0,-1 1 0 0,4 1 12 0,-2-1-24 16,0-1 22-16,4 2-10 0,-4-2-1 0,5 2 14 15,-5 0 0-15,3-1-6 0,2 1 3 16,0 0 1-16,-1-1-6 0,1 2 12 0,2-3-17 16,-1 3 0-1,4-1-8-15,-5 0 26 0,5 0-8 0,-2-2-5 0,4 4 13 0,-2-1-23 16,0-1 23-16,0 0-21 0,0 1-2 0,1-3 5 16,1 3 5-16,1-1 17 15,-3 0-17-15,0-3-12 0,0 4 22 0,-2-3-5 16,1 0-2-16,1 2 4 0,1-3-7 15,-4 3-15-15,1-4 25 0,-1 5-7 0,1-5-1 0,-3 1 14 16,2 2-14-16,-5-4 6 0,6 4-11 0,-5-2 29 16,4 2-29-16,-5-2 16 15,1-1-18 1,-1 2 5-16,0-1 10 0,1-1-20 0,-1 2 18 0,-4-2-16 0,1 0-7 0,1-1 35 16,0 1-20-16,-3-1-5 15,1 0 10-15,1 0 18 0,-4 0-33 0,2 0 15 0,0 0-15 0,-2 0 10 0,0 0 2 16,0 0 4-16,-8 0-30 15,13 0 19-15,-6 0 21 0,-2-1-29 0,-5 1-5 16,11 0 28-16,-4 0-7 0,-2-1 4 16,3 0 1-16,0-1-13 0,-3 1 13 15,5 0 5-15,-2 0-13 0,2-1-11 0,0 0 22 0,0 0-9 16,4 1 1-16,-2-3-6 16,1 3 13-16,3-3 3 0,-2 3-15 0,2-2 2 0,-1 0 10 15,1 2-13-15,4-1 3 0,-4-2-2 0,2 3-9 0,-2-3 22 16,1 3 4-16,-1-1-30 0,4-1 25 15,-4 0-10-15,-2-1 10 16,2 3-12 0,-3-1 4-16,0-2 6 0,0 4-8 0,-1-2 5 0,-1-1-10 0,-1 1-5 0,0 1 12 15,1-3 3-15,-1 3 3 0,0-3-3 0,0 1 26 16,0 1-36-16,-2-1-3 0,2 1 21 0,-1-2-6 16,-2 1 11-1,3 0-20-15,0 0 27 0,-2-1-40 0,0 2-3 0,2-2 23 16,-2 1-10-16,2 0 13 0,-2-1-11 0,-1 1 3 15,3 1-13-15,-2-2 24 0,0-2 4 0,0 4-12 16,-1-1-16-16,1-2 15 0,0 2 4 0,0-2-12 31,-1 1 17-31,3-1-19 0,-2 1 0 0,0-2 13 0,0 2-15 0,-1 0 18 0,0-1 20 16,1 0-33-16,0 2-3 16,0-2 8-16,-1 0 5 0,1 2 3 0,0-1-21 0,2 1 26 15,-2-2-8-15,0 1 13 0,2 1-15 0,-3-1-11 16,3 1-2-16,1-2 12 15,2 1-2-15,-3-1-5 0,1 0 5 0,-1 1-13 0,0-1 18 0,0-1 1 32,1 1-6-32,-1-2-6 0,2 1 19 0,-1 3-15 0,1-4-1 0,-1 2 18 15,-1-1-27-15,0 1 1 0,1-1 22 0,-4 1-14 0,1-2-10 16,2 2 8-16,0 1-10 16,-2-2 25-16,-3 1-7 0,3 0-16 0,-2 2 18 0,3-1-8 15,-4-1 9-15,1 1-6 0,1 0-21 16,-2 0 34-16,3 1-21 0,-3-1 18 0,1 1-12 15,-2 0-1-15,4 1 8 16,-2-2-10 0,-2 3-5-16,-1-2 23 0,2 0-21 0,0 1 8 0,0-3-10 0,3 4-3 15,-3-4 18-15,0 5-7 0,0-4 2 0,-2 1-13 0,2 2 5 16,-5 1 18-16,8-4-2 0,-6 3 18 16,-2 1-24-16,8-5-4 0,-5 4 2 0,-3 1 10 15,5-5-18-15,-5 5 6 0,5-2-19 0,-3 0 21 0,-2 2-5 16,0 0 3-16,3-3-1 15,-3 3 0-15,0 0 14 0,3-2-4 0,-3 2-2 16,4-4-2-16,-4 4 7 0,4-2-20 0,-4 2 10 16,0 0-5-16,2-4 23 0,-2 4-13 0,0 0-2 15,2-3-1-15,-2 3-2 16,6-4 0-16,-6 4 13 0,2-3-11 0,-2 3-17 0,2-3 7 16,-2 3 3-16,0 0 3 0,1-4 9 15,-1 4 11 1,2-3-20-16,-2 3 22 0,0 0-4 0,5-4-19 0,-5 4 6 0,0 0-1 15,0 0 8-15,1-3-17 0,-1 3 12 16,0 0-15-16,0 0 15 0,0 0-16 0,0 0 17 0,0 0-14 16,0 0 21-16,0 0-13 0,0 0-11 0,0 0 19 15,0 0 2-15,0 0-10 0,0 0-5 16,0 0-10-16,0 0 10 0,-8 11 5 0,8-11 7 16,-1 7-12-16,-1-5 8 0,0 2-8 0,-1 1 20 15,0-1-28-15,3 1 24 0,-2-1-14 16,-3 2 6-16,4-2-9 0,-1 2 12 15,0-1 12-15,-1 2-24 0,3-1 12 16,-3 0-6-16,3-1 12 0,-2 2-19 0,0-2 25 0,2 1-24 16,-3 2 4-16,3-3 4 0,0 0-17 0,-3-1 20 15,3 2-5-15,0-1-10 0,0 0 7 0,0 0 6 16,0-2 23-16,0 3-26 0,0-3 2 16,3 1 11-16,-3 1-18 0,2 0 0 15,-1-2 2-15,1 3-2 0,0-2 8 0,1-1-19 16,0 3 11-16,-1-2 10 0,1 1-25 0,2 1 25 15,0-1-3-15,0 0 9 0,0 0-11 16,0 2 5-16,3 0-26 0,2 1 21 16,-2-2 18-16,2 2-2 0,3-2-27 0,0 2 14 0,3-1-13 15,1 1 12-15,-1 0-9 0,2 0 4 0,4 0-7 16,-1 4 25-16,0-2-23 0,4-1 11 16,-2 2 15-16,0-3-10 15,3 2-1 1,-3 0-4-16,3 0-3 0,5 3 2 0,-3-2-2 0,-3-3 8 0,1 3-16 0,-1-3 6 15,-1 3 17-15,1-3-10 0,1 1-20 0,-1 0 17 0,1-1-7 16,0 0-5-16,0 0 5 16,0-2 2-1,1 1-2-15,-1-1-5 0,0 1 18 0,-1-1-18 0,1 0 10 0,-1-1-29 16,-4 0 24-16,5-1-2 0,-5 1 1 0,1 0-6 16,2-1 17-16,-4-1-8 0,-2 3 1 0,5-3-9 0,-2 0 17 15,-1 2-6-15,-2-3-11 0,3 1 16 0,-1 0-2 16,1 1-13-16,-1-2 5 15,1 1 10-15,-1-1 5 0,0 0-10 16,-1 1-13-16,-1-1 31 0,2-1-18 0,1 3 5 16,1-3 5-16,-1 0-20 0,2 0 0 0,1 1 18 0,-2 0-3 15,4-1-5 1,-3 0 0-16,0 2 13 0,0-2-19 0,1 0 14 16,0 0 13-16,0 2-11 0,1-2-13 0,-4 0 3 0,2-1 16 15,0 0-24-15,-2 0 21 0,1 0-11 0,2 2-17 16,-3-2 2-16,-1 0 34 0,1 0-37 0,-4-2 6 15,7 2 15-15,-4-1 0 16,0 1-18-16,-4-1 6 0,7-2 7 0,-5 3-10 0,0-1 2 16,-2-1 16-16,4 0-14 15,-5 1 9-15,5-2-3 0,1-1-8 0,-6 2 11 0,3-2-3 16,-3 3-13-16,1-4-2 0,-3 2 2 0,2-1 8 16,-4-2 0-16,1 4-6 0,1-4 6 15,-3 1 3-15,0 0-19 0,1-1 29 0,-3 0-26 16,2 2 5-16,0-4 21 0,-2 1-3 0,0 0-18 15,2 1 8-15,-2-1 10 0,-1 1-18 0,-1 0 6 16,4 1 20 0,-2 0-26-16,-1 0 5 0,1-1-2 15,0-1 18-15,-1 2-16 0,3-2 3 0,-2 1 15 0,0-1-25 0,2 0 20 16,-2-2-5-16,2 3 7 0,-2-1-4 0,2-1 12 16,3-1-25-16,-3 0 20 0,6-2-15 0,-4-1 15 15,1-1-20-15,3 0 8 16,-2-1-6-16,2-2 11 0,-3 1-6 0,3-2 23 15,-2 2-30-15,0-2 28 0,-1 2 15 16,-1 3-30-16,-2-1 12 0,1 0 8 0,-3 2 0 0,0 0-7 16,-1 1 4-16,-2 2-2 15,0 1 0-15,0-1 3 0,0 3 14 0,-2-1 9 0,0 1-19 16,2 0 19-16,-3 1-34 0,-2 0 8 0,3-1 5 16,-1 4-18-16,-2-4 18 0,0 5-25 0,3-4 7 15,-3 4-20-15,3-4-6 0,-3 4-17 0,0-5-8 16,0 5-11-16,2-4-53 15,-2 4-41-15,0 0-82 0,-2-5-212 0,2 5-538 0,-3-4 61 16,3 4 109-16,-5 0 98 0,5 0 88 16,-5-5 46-16</inkml:trace>
</inkml:ink>
</file>

<file path=ppt/ink/ink7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45:12.72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8275 2617 225 0,'-3'-3'89'0,"-2"-2"-50"0,2 3 55 15,-2 1-27-15,5 1-6 0,-12 2-12 0,4-1 2 0,1 4-2 16,-1 0 7-16,0 1-10 0,-2 1-30 16,1 1-16-16,-1 2 15 0,0 2-5 0,0 1 8 15,0 1-31-15,0 1 42 0,2 1-60 0,-3 2 18 16,4 1-66-16,-3 0 63 15,2 1 1-15,0-3-41 0,0 4-1 0,1-4-7 16,2 1 46-16,0-2-23 0,-1 2-38 16,-1-3 48-16,4-2 26 0,-2 1-61 0,2-2 48 15,1-4-85-15</inkml:trace>
  <inkml:trace contextRef="#ctx0" brushRef="#br0" timeOffset="245.76">7659 2872 61 0,'-10'-3'33'0,"3"-3"0"16,-1 5 21-16,2-1-3 0,2 0-38 0,4 2 18 16,-11 2 59-16,3 1-1 0,-1 0-7 15,0 4-8-15,-3 3 0 0,-1 1-4 16,-2 6-47-16,-4 7-21 0,2 3 24 0,-1 5 2 0,0 0-43 15,-2 5-19-15,1-2-81 0,-3 12-338 16</inkml:trace>
  <inkml:trace contextRef="#ctx0" brushRef="#br0" timeOffset="1204.56">7614 3555 1402 0,'-1'-3'579'16,"1"3"-67"-16,-7-4-39 0,7 4-63 16,-3-2-11-16,3 2-41 0,0 0-50 15,-8 6-19-15,6 1-18 0,2-1-38 0,-3 4-20 0,0 3-11 16,1 2-118-16,0 3 13 0,-1 1-7 15,-2 4-16-15,0 1-20 0,0 1 5 0,-1 1-3 16,1-1-10-16,0-1-7 0,-2 2 14 0,1-1-22 16,-1-1-3-16,2-2-25 0,2-4-18 15,-2 0-16-15,2-3-28 16,-2 0-31-16,2-2 11 0,1-3-26 0,-3 0 18 0,4-2-38 16,-1-2-47-16,2-1-48 0,-2 0-67 0,-1-3-117 15,3 1-126-15,0-3-366 0,0 0 62 16,0 0 99-16,0 0 46 15,0 0 114-15</inkml:trace>
  <inkml:trace contextRef="#ctx0" brushRef="#br0" timeOffset="2291.03">9195 3635 1021 0,'3'-3'425'0,"4"-3"-23"0,-1 2-31 0,-1 2-18 16,5-2 0-16,0 4-58 0,1-1-16 16,1 2-21-16,1-1-7 0,-2 3 84 0,1 2-48 15,-1 0-16-15,-1 3-17 0,-2-1-37 0,-1 2-15 16,-4 2-2-16,-3 1-113 0,-3 1 5 15,0 0-20-15,-2 4 2 0,-5 2-12 0,-3-1-9 16,-4 9 4-16,-4-3 7 0,3-4-5 0,2-3-26 16,1-2 8-16,-1-2-10 15,4-1-11-15,-1-1 16 0,0 0-16 0,6-4 1 0,-3 1 7 16,4-3-5-16,1 1-36 0,-2-3 16 0,1 2-1 16,4-1 16-1,-1-2-20-15,3-2 14 0,0 5-19 0,0-5 12 0,8 5 3 0,-1-4 4 16,3 1-12-16,1-2 3 0,4 0 5 0,1 0-3 15,4 0-5-15,-2-1 0 0,6-1-21 16,-4 0-25-16,3 1-25 0,-3-2-32 0,-2 3-15 16,-2-3-22-1,1 2-24-15,-4 1-49 0,1-1-48 0,-2 1-130 0,-4-1-149 0,2 1-425 16,1 0 81-16,-1 1 114 0,0-1 76 16,0 0 121-16,1-1-3 0</inkml:trace>
  <inkml:trace contextRef="#ctx0" brushRef="#br0" timeOffset="3061.79">11641 3584 1154 0,'11'0'386'0,"1"0"-37"0,-2 4-9 16,-1-2-53-16,1 2-11 0,-3-1-17 0,1 1-9 0,0 1-42 16,-1-1 2-16,-4 1-23 0,-1 1 48 15,-2 0-17-15,-4 2-11 0,1 1-30 0,-2-2 9 16,-1 1-109-16,-1 1-8 0,1-2-15 15,-1 0-3-15,2 0-12 0,-1-1-26 0,1-1-3 16,3 0 3-16,-1-1-3 0,1 0-8 16,2 1-4-16,5-3 4 0,0 0 6 0,0 2-3 15,3 1-13-15,2-3 29 0,0 3 10 0,1 0-1 16,1-2 6-16,-1 2 13 0,-1 0 15 16,0 2-18-16,0 0 10 0,-2-2 31 15,-3 0-25-15,1 0 32 0,-4 0-9 0,0 1-8 16,-4 1-3-16,0-1-20 0,-6 3 7 0,-2-1-5 15,-3 0 75-15,-3-1-13 0,1 2-13 0,-3-2-16 16,-2-1-15-16,1 2-22 0,-1-3-27 16,0 1-53-16,1-1-10 0,1-2-70 15,0 1-33-15,3-1-51 16,0-2-53-16,4 1-124 0,4-2-276 0,-1 0-363 0,1 0 89 0,7 0 97 0,-5-3 92 16,5 3 85-1,-3-4 49-15</inkml:trace>
  <inkml:trace contextRef="#ctx0" brushRef="#br0" timeOffset="3687.2">13631 3587 1274 0,'0'0'522'16,"0"0"-35"-16,0 0-93 0,0 0-46 0,0 0 28 15,0 6-66-15,-8-3-21 0,-2 3-25 0,-3 0-21 0,-2 2-13 16,-1 2-45-16,1-1-1 0,-5 2-15 16,1 1-18-16,4-2-10 0,0-1-8 0,2 2-10 15,0-3-18-15,2-2-21 0,1 4 1 16,3-3-21-16,-1-1 20 0,3 1-20 0,0 0-10 16,5-2 7-16,0 1-9 15,4 0-9-15,0 0 3 0,6-2 21 0,0 4-34 0,8-3 90 16,-3-1-23-16,4 0-1 0,5-1-40 15,3 2 13-15,1-3-28 0,0 2-14 0,3-1-25 0,2-1-30 16,0-1-19-16,-2 0-12 0,-3-1-31 16,0-1-21-16,-2 1-30 0,-3-1 2 15,-2-1-40-15,-6-1-19 0,0 2-66 0,-4-2-151 16,-3 1-619-16,-1-3 101 0,0 2 70 0,-6-4 54 16,2 1 135-16,-3-3 49 0,-4 0 57 0</inkml:trace>
  <inkml:trace contextRef="#ctx0" brushRef="#br0" timeOffset="3887.21">13652 3560 1095 0,'-6'15'448'0,"3"-2"56"16,-2 2-2-16,3-2-46 0,-1 3-108 16,1 5-8-16,-1-1 36 0,1 6-20 0,-1 0-41 15,1 2-18-15,-1 1-33 0,2-2-49 0,1 3-23 16,0 0-21-16,-2-2-38 0,2 0-61 0,-2-2-49 0,-1 0-56 15,3-4-36-15,0-2-49 16,0-1-20 0,0-5-54-16,0 5-80 0,0-7-145 0,0 1-556 0,0 0 62 0,0-2 138 0,0 0 54 15,3-5 48-15,-3 1 65 0</inkml:trace>
  <inkml:trace contextRef="#ctx0" brushRef="#br0" timeOffset="5273.92">7198 4768 949 0,'-13'2'399'0,"5"-1"42"0,1 3-37 0,-1 2-33 0,0 1-33 16,-4 4-105-16,4-2-13 0,0 4-33 16,-2 2-8-16,2-1-17 0,3 4-24 0,-3 2-8 15,1-1-15-15,4-1-4 0,-2 2-42 0,5-1 0 16,-3 1-21-16,3-4-25 0,3 3 0 0,0-2-17 15,2-2-24-15,2-1 2 0,3-2-12 16,1-1 3-16,-1-4 12 0,3-1-8 0,0-1 3 16,2-5 0-16,-2 2-10 0,2-4 21 15,1-2-11-15,-3 1 20 0,2-6-4 16,-5 3 12-16,3-3 18 0,-3-1 3 0,-2 0 17 16,-3-1 19-16,0-2-8 0,-5-1 13 0,0-2-26 15,-2 2-3-15,-3-2-4 0,-1 1 9 0,1-2-20 16,-4 3 16-1,1 1-8-15,0 0-16 0,0 1 11 0,-3 0 5 0,1 1-36 0,0 4 13 16,-2 0-13-16,3 2-29 0,-3 0-19 0,4 2-27 16,-2-1-35-16,0 3-41 15,2 1-79-15,-2 1-126 0,2 3-404 0,1-1-74 16,1 2 78-16,1 0 68 0,0 0 84 16</inkml:trace>
  <inkml:trace contextRef="#ctx0" brushRef="#br0" timeOffset="5419.26">7457 4862 1141 0,'0'0'228'16,"0"0"-121"-16,0 0-176 0,0 0-586 0,0 0 112 0</inkml:trace>
  <inkml:trace contextRef="#ctx0" brushRef="#br0" timeOffset="5656.18">7621 4832 1149 0,'0'8'486'0,"0"3"-40"0,-3 2-37 16,3 1-15-16,0 2-56 0,-2 2-18 0,2 1-26 0,-2 1-48 15,1 0-13-15,1 2 5 16,-2-2-56-16,-1 0-67 0,3-1-43 0,0 0-21 16,-2-2-43-16,4-2-19 0,-2 1-45 15,0-2-64-15,0-1-136 0,-3-2-190 0,6 1-465 0,0-4 66 16,-1-2 116-16,1 0 84 16,-1-1 79-16</inkml:trace>
  <inkml:trace contextRef="#ctx0" brushRef="#br0" timeOffset="6563.18">9036 4800 821 0,'0'0'371'15,"0"0"52"-15,0 0-47 0,-5 14-15 16,2-6-26-16,1 3-48 0,0 2-13 15,1 0-26-15,-1 3-33 0,-1-3-8 0,3 3-27 16,-2 2-14-16,2 1-15 0,2 0-3 0,-2-3-27 16,3 1-29-16,-1-1-3 0,1 1-4 15,3-4-29-15,0 3 16 0,3-5-23 0,1-1-16 16,0-1 0-16,0-4 8 0,3 0-3 0,0-3-9 16,0 0-4-16,2-4-2 0,-2-1 8 0,-1-2 7 15,1 0 6-15,1-2 15 0,-4 0-18 16,-3-2 20-16,1-2 18 15,-3 0-25-15,-4-1 5 16,-1-1 15-16,0-1-104 0,-3-3 14 0,-3 3 14 0,-1-3-3 0,-1 3 2 0,-2 1 3 16,3-4-5-16,-2 5-16 0,-3 0 11 15,2 2 5-15,-4 0 3 0,4 3-19 0,-3 0 18 16,1 1-45-16,2 2-26 0,-1 1 4 16,1 2-50-16,0 1-21 0,0 1-66 0,2 0-100 0,-3 5-131 15,2-4-506-15,3 2 104 16,1-1 82-16,-1 1 60 0,6-2 101 0</inkml:trace>
  <inkml:trace contextRef="#ctx0" brushRef="#br0" timeOffset="6727.46">9359 4806 1274 0,'0'0'382'0,"0"0"-57"0,0 0-31 0,6 0-79 0,-6 0-74 0,0 0-113 15,0 0-292-15,0 0-486 0,0 0 70 0,8 2 81 16</inkml:trace>
  <inkml:trace contextRef="#ctx0" brushRef="#br0" timeOffset="6910.69">9611 4800 1538 0,'0'6'481'0,"0"4"-102"0,2-1-64 16,-2 0-16-16,0 2-22 0,0 0-34 0,3 2-13 16,-3-1-33-16,0-1-38 0,0 4-44 0,0-2-35 15,0 0-47-15,0 1-54 0,-1 2-50 0,-1-2-116 16,-8 5-212-16,10-2-444 16,-3 1 45-16,0-3 91 0,3 0 93 0,-2-1 51 0</inkml:trace>
  <inkml:trace contextRef="#ctx0" brushRef="#br0" timeOffset="7761.56">11444 4863 1182 0,'0'0'330'0,"0"0"-17"0,-13 6-14 0,13-1-48 16,-5 2-13-16,5-1-26 0,-3 3-7 0,3 1-28 16,-2 0-8-16,4 1-21 0,-2 2-20 15,0 0-8-15,1 1-15 0,3 1-12 16,-1-2-9-16,2 0-23 0,0-1-17 0,0-1-6 0,3 0-17 31,0-1 7-31,2-3-5 0,0 0-10 0,1-2 2 0,-1-1-5 0,2-4 8 16,-1 0 5-16,4 0 16 0,-4-4-3 0,3 1 2 15,-3-3 3-15,-1 1 74 0,0-2 13 0,-4-2 13 16,-2-1-87-16,-1-1-13 0,0 0 23 16,-3-1-26-16,-3-1 21 0,0 1-23 15,1 0 15-15,-3 1-18 0,0-1 3 0,0 0 2 0,-2 2 1 16,1 1-14-16,-2-1 22 0,1 3-37 15,-1 1-15-15,0 0-18 0,0 4-23 0,3-3-24 16,-4 3-9-16,1 0-34 0,0 2-40 16,8 0-62-16,-13 3-136 0,5-2-478 15,3 3-41-15,-2-1 107 0,4 1 79 0,-2-2 60 0,2 2 102 16</inkml:trace>
  <inkml:trace contextRef="#ctx0" brushRef="#br0" timeOffset="7914.82">11705 4912 941 0,'0'0'249'0,"0"0"-47"16,8 0-105-16,-5-5-191 0,2 5-528 0,-5 0 40 0</inkml:trace>
  <inkml:trace contextRef="#ctx0" brushRef="#br0" timeOffset="8248.93">11974 4771 1249 0,'11'-1'371'0,"1"2"-28"0,-2 3-23 16,1-2-13-16,4 3-43 0,-4 3 4 16,4 2 68-16,-5-1-32 0,0 3-35 0,-2 0-90 15,2 1-23-15,-4 1 6 0,-2 2-32 16,-1-3 3-16,2 2-25 0,-5 0-14 0,1-1-30 15,-1 0-20-15,0 2-34 0,-1-4-56 0,1 0-54 16,-2 1-28-16,-1 0-79 0,3-6-187 16,-3 4-528-16,3-3 101 0,-2 2 53 0,0-2 97 15,-1-3 75-15</inkml:trace>
  <inkml:trace contextRef="#ctx0" brushRef="#br0" timeOffset="8475.04">11959 5003 1328 0,'5'-3'499'0,"0"3"-38"0,5-4-49 0,1 4-38 0,4-2-54 0,1-1-21 0,4 0-17 16,1 2-49-16,2-2-13 0,-1 1-41 0,2-1-36 15,4-1-22-15,-5 1-63 0,0 2-27 0,0-1-36 16,-2-1-26-16,-1 1-56 15,-2 0-53-15,-2-1-160 0,-3 2-245 0,2-1-333 0,-2 2 49 16,-3-3 125-16,0 1 56 0,-2 1 70 16</inkml:trace>
  <inkml:trace contextRef="#ctx0" brushRef="#br0" timeOffset="9588.08">13605 4669 1241 0,'0'0'366'0,"-10"2"-33"0,10-2-29 16,-8 8-25-16,3-1-30 0,0 1-16 15,2 4-11-15,-5 1-32 0,4 2-21 0,1 0-34 16,-4 1 4-16,3 1 37 0,2 1-38 0,2-4 8 16,0 1-36-16,0 0-38 0,5-1 7 15,-2-2-22 1,2 2 2-16,-2-2-16 0,4 0-15 0,-2-1-5 0,3-4 13 0,0 2 2 16,2-3-14-16,0-2-7 0,1 1-6 0,-4-3-4 15,6-2 27-15,-3 0 12 0,-2-1-3 16,2-1-4-16,-2-3 25 0,2-1 0 31,-4-2-21-31,1-1 19 0,-4-3 4 0,1 0-12 0,-1-1 2 0,-3-1-2 0,3 2-11 0,-6-2-7 16,3 2 10-16,-3-1-7 0,1 0 2 0,0 1 2 15,-1 2-20-15,-2 1 11 0,-3-1-14 0,0 2 8 16,1 0-33-16,-1 3-3 0,0-1-7 0,0 1-41 16,-2 0-3-16,0 4-44 0,-1 1-17 15,1 0-67-15,0 0-156 0,0 4-540 16,0-2-5-1,2 2 46-15,1-2 117 0,1 3 101 0,2-3 7 0</inkml:trace>
  <inkml:trace contextRef="#ctx0" brushRef="#br0" timeOffset="9713.98">13936 4731 901 0,'0'0'353'0,"0"0"-74"0,0 0-110 0,0 0-174 16,0 0-658-16,0 0 48 0</inkml:trace>
  <inkml:trace contextRef="#ctx0" brushRef="#br0" timeOffset="9944.69">14113 4696 1407 0,'0'10'389'0,"-3"3"-46"0,0 1 6 16,1 2 40-16,-3 4-46 0,2-1-49 15,-1 3-25 1,0 1-36-16,0 1-57 0,1 0-53 0,0 1-41 0,1-5-51 0,-1 4-18 0,1-3-100 16,2 2-167-16,-6 0-166 0,6-4-445 15,-2-3 56-15,2 0 121 0,0-2 58 16,0-1 46-16</inkml:trace>
  <inkml:trace contextRef="#ctx0" brushRef="#br1" timeOffset="29927.78">6973 3521 1241 0,'-10'54'348'0,"-1"11"-13"0,-7 10-50 15,-3 28-4-15,-4 4-43 0,-4 6-8 0,-4 5-53 16,-5 1-21-16,-1 1-38 0,3-2-34 0,-2-3-25 16,-3-4-43-16,3-3-39 15,1-5-5-15,2-12-39 0,-2-7 23 0,13-20-99 0,0-8-77 16,3-1-110-16,6-17-438 0,3-2 59 0,1-10 110 16,3-5 46-16</inkml:trace>
  <inkml:trace contextRef="#ctx0" brushRef="#br1" timeOffset="31518.26">7387 3296 737 0,'24'0'222'0,"-4"0"-7"0,1 0 6 0,-1-1-101 15,3 0-20-15,3 1-21 0,8-1 80 0,16-3-13 16,0 1 12-16,6 1-45 16,0 0-3-16,3-1-8 0,0 2-22 0,11-3 2 15,-9 2 2-15,0 1-17 0,14-1-21 0,4-2 5 16,1 4-18-16,-1-3 21 15,4 1-21-15,-4 1 3 0,0 0 5 0,-2 0-15 0,5 1-6 0,0-3-7 16,0 1 10 0,0 4 10-16,-2-2-28 0,1 1 8 0,-3 1-5 0,-4-1 15 15,0 1-10-15,1 0-11 0,4 1 3 0,-2 1 11 16,0-2-21-16,-3-2 12 0,1 4 6 0,-1-3-26 16,-13 1 11-16,1-2 9 0,-1 0-14 15,16 0 12-15,-15 1-5 16,2-2-5-16,-2 1 15 0,-1 1-20 0,-2-1 10 0,-2 0 10 0,-3-1-18 15,-1 1 1-15,-2 0 17 0,-2-2-10 16,0 1 2-16,-10 0-2 0,-6 1 5 16,1 0-20-16,-2-2 25 0,-1 2-10 0,0-1-7 15,-1 0 27-15,1 0-15 0,3 1-10 16,-3-4 18-16,0 4-23 0,2-2 25 0,-2-1-17 16,2 2-6-16,-2-1 18 0,2 0-5 0,0-1 3 0,1 3 25 15,-3-1-23-15,2 1-10 0,3 0 16 16,-3-1 7-1,0-1 8-15,-2 1-8 0,3 1-16 0,-1-1 9 0,0 1 9 0,-2 0-2 16,5-1-20-16,-5 2 10 0,5-1 7 0,-1-1-20 16,1 1 0-16,-3 1 31 15,3-1-24 1,-2 0-7-16,2 0 16 0,-1 0-21 0,1 0 0 0,0 0 17 0,0-1-22 0,-3 1 20 0,16-1-12 16,-10 1 12-1,-3 0 13-15,-1 0-10 0,1 0-21 0,-2 0-2 0,4 0 28 16,6 0-3-16,-6 0-10 0,-2 0-10 0,-3 0 5 0,3 0-5 15,-3-3-10-15,1 3 12 16,-1 0 1-16,0-2 12 0,1 1-15 0,0 1 0 16,9-5-3-16,3 3 5 0,-7 2 19 15,-4-3-26-15,2 3 22 0,11-2-19 0,-7 1 19 0,8 1-17 16,-8 0 13-16,5-3 5 0,-5 3 5 16,-7 0-13-16,-1 0-5 0,3-1 0 15,-1-1-13-15,-1 2 21 0,2 0-13 0,12 0-3 0,-7-1 16 16,-5-1 7-16,-2 2-18 0,14-1 9 15,-1 0-6-15,-9 1 2 0,-2 0-7 0,-3-1 5 16,3 2 13-16,0-2-16 16,-3 1-2-16,1 0 15 0,2-2-12 0,-3 0 20 0,0 2-16 15,1 0 3-15,-1-1-5 0,-3 2 8 16,1-3-13-16,-5 2 15 0,2 0-15 0,0-1 8 16,-2 1-9-16,-3 0 4 15,0-2 2-15,0 1 8 0,-2 1-16 0,-3-2 16 16,4 1-24-16,-6-2 32 0,-1 3 2 0,1-1-18 0,-5 1 23 15,1-2-16-15,0 2 29 0,-3-2-15 0,1 0-4 16,-2 2 30-16,-1 0-12 0,0-2-19 16,1 2 12-16,-8 0 10 0,11 2 1 15,-4-2-6-15,-2 0 0 16,1 4 8-16,-1-1 0 0,0 3-23 0,0 0 15 0,0 5-7 0,-2 0 17 16,2 4-4-16,0 4-29 0,0 5 36 0,0 10-5 15,1 2 10-15,-2 5-23 0,-1 0 16 0,2 2 10 16,-5 4-59-16,2 3-31 15,-2 1 8-15,-4 12 10 0,1 4 10 0,-2 2-10 16,0 0 28-16,-3-3-15 0,1 1 8 0,1 0-13 16,1-4-1-16,0 1 6 0,2-1 13 0,1-10 0 15,0-2 27-15,2 1-12 16,0-2 21-16,2-2-36 0,-2-1 12 0,2 1 1 0,1-4 53 16,0-1-3-16,-1-4 19 0,1-1-31 0,-3-7-3 15,2-2-10-15,1-3 6 0,-1-3-14 0,-1 3-18 16,1-8-12-16,-2 2-3 15,3 0-25-15,-3-3-26 16,0-4-31-16,0 0-28 0,0 0-18 0,0 0-41 0,0-3-18 0,0 2-132 16,0-5-587-16,0 2 69 0,2 1 89 15,-2-4 106-15,-2-3 46 16</inkml:trace>
  <inkml:trace contextRef="#ctx0" brushRef="#br1" timeOffset="33685.68">6470 5406 540 0,'15'3'184'0,"1"1"-25"0,-1-4-11 16,1 1 6-1,1 3-8-15,1-3-29 0,5-1-9 0,1 0-6 0,4 2 8 0,3-2-5 16,4-2-23-16,11 2-23 0,-5 0 82 0,11 0-26 16,-1-1 5-16,5-1-30 0,1 0-1 15,-1 2 19 1,1-1-44-16,-1 1 18 0,-2-1 2 0,0 1-20 0,-3 0-13 0,3-3-7 15,-3 3 0-15,-2-1-24 0,4-1 3 0,-3 2 3 16,3 0 12-16,1-3-7 0,0 1-3 0,0 3-3 16,-1-3-7-16,-1 2 3 0,-1-3-8 15,3 1-1 1,-3 1 4-16,1 1 2 0,4-2-5 0,-4 2 2 0,3-3 0 0,2 3-12 0,0 0-6 16,-3-1 16-16,2 1-8 15,-3-3-7-15,-1 2 9 0,-1 0-4 0,-2 0-11 16,0 1 29-16,0-1-29 0,-9 0 8 0,9-2 8 15,0 2 15-15,0 0-8 0,2-3-10 16,0 3 5-16,2 0 3 0,-3 1-3 0,1-3-4 16,3 2-6-16,-3-2 10 0,2 0 10 15,-1 2-15-15,2 0-7 0,0 0 7 0,-1-3 23 16,6 3-5-16,-2 0-13 16,-1 0 1-16,3-2-1 0,-3 3 0 0,1-2-7 0,-1 2-1 0,1-5 14 15,0 5-27-15,1-1 14 0,-1-1 17 16,1-1-22-16,2 3 15 0,-1-2-16 15,-3 2 11-15,0 0 2 0,1 0-7 16,-4 0 7-16,2 2-8 0,-2-2 3 16,-2 1-7-16,-2 1 28 0,2-2-32 0,-2 1 6 0,-2-1 8 15,-1-1-5-15,2-1-6 0,-7 2 21 0,8-3-28 0,-2 3 15 16,-7 0 13-16,6 0-8 16,-5-3-20-16,8 2 20 15,-8 1 0-15,7 0-10 0,-1 0 5 0,-6 1-2 0,6-1 5 0,1 3 4 16,-4-3-4-16,-3 2 10 0,7-2-8 0,-2 3 1 15,0-1 19-15,-5-1-30 16,-7-1 10-16,1 2-7 0,2-2-11 16,8 3 6-16,-6-3 2 0,-6 0 10 0,3 2-10 0,-3 1 10 0,2-2-10 15,-2-1 13-15,3 1 5 0,-1-1-18 16,-1 1 8-16,1-1-13 0,2 3-3 16,-4-2 13-16,3 0 3 0,9 0-21 0,2 0 10 15,-8 1-4-15,-7-1 22 16,2 2-10-16,-3 0-2 0,2-1-11 0,0 2 5 0,-2-3-2 15,0 2 26-15,-1 1-11 0,1-2-7 0,-3 2 7 16,3-3 3-16,-7 3-1 0,1-3-12 16,1 2 23-16,-3 0-33 15,3-3 13-15,2 2 10 0,-1-2-13 16,-3 1-8-16,4-1 16 0,-2 0-6 0,2 0 3 0,1 0 8 0,-2 0-8 16,-1 0 3-16,0 0 25 0,-1 3-102 0,1-6 10 15,-3 2 8-15,3 1-8 0,-1 0 28 0,-2 0 1 16,1 0-9-16,1-1 21 15,1 0-2-15,-1 0 2 0,-1 1 3 0,1-2 9 16,1 2-19-16,-1 0 27 0,1 0-27 0,2 0 7 16,1-2 0-16,-1 2 3 0,-1 0 4 0,-3 0 6 15,1 0 0-15,2 0-10 0,-2-1-3 0,1 1 28 16,-3 0 0-16,3 0-5 16,-4 0 1-16,1-2-14 0,1-1 0 0,-1 3 13 0,-1 0-17 15,2 0 12-15,-3-1-6 0,-4 1 6 0,1 0-10 16,0-1 8-16,0-1-3 0,-3 2 15 15,1 0 3 1,2-1-19-16,-5 1 24 0,2-1-23 0,0 0 5 0,-4 0 5 0,1 1 21 0,-2-1-21 16,0-2 5-16,1 2 11 0,-3 0-34 15,2 0-15-15,-4-2-8 0,1 1-33 16,-2-2-44-16,0 2-94 0,-5 2-75 0,3-5-480 16,-1-1 45-16,-2 3 95 0,0-2 48 15</inkml:trace>
  <inkml:trace contextRef="#ctx0" brushRef="#br1" timeOffset="34342.97">12844 3494 941 0,'-3'29'323'0,"-4"10"63"0,1 7-32 0,-1 21-93 15,-4 10-36-15,1 4-10 0,-5 21-2 16,-1 6-19-16,1 1-38 0,2-2-7 16,-3 1 4-16,-1-3-40 0,4-2-21 15,0-1-54-15,-5-1-27 0,8-23-19 0,-3 1-28 0,3-6-38 16,-3-3-31-16,3-3-105 0,2-5-59 15,0-7-112-15,-1-12-367 16,3-5 45-16,-2-10 91 0,3-5 56 0</inkml:trace>
  <inkml:trace contextRef="#ctx0" brushRef="#br1" timeOffset="34883.98">10828 3402 911 0,'-10'57'386'0,"-3"11"-17"16,-2 8-34-16,-6 30-30 0,1 5-42 15,2 0-30-15,-6 5-15 16,2 6-36-16,-1-2-11 0,-1 0-56 0,4-4-33 0,-1-2-43 16,1-3-73-16,2-6-91 0,5-29-116 15,1 0-593-15,1-7 135 0,-1-5 57 0,1-5 43 0</inkml:trace>
  <inkml:trace contextRef="#ctx0" brushRef="#br1" timeOffset="35501.91">8511 3602 1302 0,'-16'74'274'0,"-4"25"-25"0,-3 4-27 16,2 1-37-16,-2 4-14 15,0-1-46-15,0 3 1 0,0-3-39 0,0-2-26 0,0-5-109 16,10-23-144-16,-3-2 0 0,-1-3-64 0,4-8-16 16,0-9-88-16,5-11-270 0,0-4 92 15</inkml:trace>
  <inkml:trace contextRef="#ctx0" brushRef="#br1" timeOffset="37134.08">6847 4382 494 0,'7'0'230'16,"2"-1"-33"-16,1-3-18 0,2 4-5 0,4 0-92 15,4 0-8-15,1 0 6 16,2 0-9-16,9 2-9 16,3-2-1-16,13 2-20 0,0 0 16 0,4-1 27 0,-4-1-28 0,7 3-22 0,-4-3 4 15,2 0-25-15,2-1 10 0,4 1 61 16,-1-2 21-16,14 0-18 0,2-3-25 16,-15 5 2-16,13-2-3 15,-13-2 6-15,0 2-24 16,0-3 13-16,-5 3-4 0,5-1-16 0,-2 0-3 0,2-1-15 0,10 1-5 0,-13-1 20 15,1 3-31-15,2-2 24 0,-4 1-6 0,2 2-2 16,-3-1 10-16,2 1-25 0,-2-4-6 16,1 2 3-16,3 1-10 15,-2-2 0 1,3 0 13-16,0 3-21 0,13-5 13 0,-15 3-18 0,0-1 17 0,-2-1-9 0,0 2 12 16,-2-1-20-16,1-1 3 15,0 2-11-15,-1-1 1 0,2 0 1 0,1 3-6 0,0-2 14 16,-2 0 6-16,0 1-24 0,0 2-17 0,-1-3-3 15,-1 2 5 1,-3 0-7-16,5-1-11 0,-3 1 6 0,2 1-11 0,2-2-20 0,-2-1 30 0,1 1-22 16,0 0 14-16,0 1-32 0,0-2-3 15,-3 2 43-15,0 0-28 0,0 0 34 0,-4-3 17 16,4 3-9-16,-5 3-42 16,-5-3 59-16,8 0 0 0,-3 0 26 0,0 0 10 0,0 2 0 15,-5-2-33-15,6 1 41 0,1 0 27 0,1-1 4 16,-3 2-6-16,3-4-2 0,-1 1-36 15,-1 1 17-15,1 0 9 0,4-1-11 0,-4-1 18 16,4 2 0-16,-4 0-7 16,1 0 7-16,0 0 3 0,2 0 10 0,-10 0 0 0,7 0-13 15,-1 0 5-15,-8 0 6 0,-4 2-11 0,-1-2 10 16,-1 0-7-16,-2 0-24 0,2 0 9 16,1 0 9-1,-2 0-12-15,-1 1-13 0,0-2 21 0,3 2-6 0,-1-2-5 0,0 1 13 0,3 0-30 16,0 0 17-16,10-2-8 15,-7 2 9-15,-4 0-29 0,1-3-8 0,-3 2 19 16,2 1-4-16,-3-1-2 0,4 1 21 0,-5-1-13 16,2 1-5-16,-2 0 33 0,0 0-36 15,-5-2-5-15,-1 4 33 0,3-4-2 0,-2 2-5 16,-1 0 12-16,1 2-20 0,0-2 13 0,-1 0 15 16,4 0-10-16,-1 0-2 0,-3 0-1 0,2-2 18 15,-2 2-5-15,1-1-20 16,2 0-3-16,-3 0-15 0,3 1 20 15,-2-1 13-15,-3 1-20 0,3 0-11 0,-3-1 13 0,2 1-5 0,1-2 16 16,-3 4-21-16,1-4 12 16,1 2 1-16,1 0-3 0,5 0-2 0,-3 0 2 0,5-1 2 15,-2 4 22 1,2-5-35-16,-2 2 29 0,2 2-2 0,-2-2-29 0,0 0 24 0,-6 1 2 16,3-1 5-16,-4-1-11 0,1 1 4 0,-2 1-9 15,3-1-9-15,-5-1-1 0,1 1 21 0,-1-2-10 16,-3 0 17-1,0 2-17-15,0 0 0 0,0-1-3 0,-3 0-5 0,3-2 5 16,-3 3 8-16,1-1 15 0,-1-1 5 0,1 0 3 16,0 1 10-16,-2 1-20 15,2-2-6-15,-1 1 14 16,-2 1-4-16,2-3-32 0,1 2 40 0,-1 1 6 0,1 0-1 0,-1 0-7 0,3 0-5 16,0 0 7-16,-3-1 6 0,3 1 2 15,-2 1-23-15,-1-1-21 0,1 0 9 16,-2 0 9-16,2 1-15 0,-3 2 10 0,-1-3-2 0,2 1-10 15,-4-1-8-15,1 2 2 16,-1-2 21-16,0 1-21 0,0-1 3 0,0 0 18 16,-2 0-7-16,-1 0 1 0,3 0 37 0,1 0-5 15,-3-1 2-15,2 1 30 16,-2-2-4-16,0 2 18 0,-1-1 2 0,-2 1-23 0,-5 0 10 16,13-3-7-16,-8 2 7 15,0 1-7-15,-5 0-16 0,10-2-4 0,-10 2 1 0,8 0-14 16,-6-4-9-16,-2 4 32 0,6 0-44 0,-6 0-26 15,0 0-2-15,0 0-34 0,10 0-20 16,-10 0-35-16,0 0-12 0,0 0-42 0,5 0-8 16,-5 0-29-16,0 0-2 0,0 0-41 0,0 0 18 15,6 3-386-15,-6-3-75 0,0 0 18 16,7 2 54-16</inkml:trace>
  <inkml:trace contextRef="#ctx0" brushRef="#br1" timeOffset="41012.21">2842 6932 1346 0,'0'0'412'0,"0"0"-41"0,-8 12-33 0,6-5-26 15,-1-1-28-15,3 5-40 0,-3-3-19 0,1 8-18 16,2-3-43-16,-3 1-10 0,1 1-26 16,2 1-8-16,-3-2-25 0,3 0 4 0,0 1-42 15,-2-2 9-15,2-4-35 0,0 1 2 16,0-2 3-16,0 2 10 0,0-5-15 0,2 1 0 16,-2-2-13-16,0 1 12 0,0-5-2 0,0 0-12 15,0 0-6-15,0 0 0 0,0 0 8 16,0 0 3-16,10-17 2 0,-7 9-16 15,2-3-4-15,-2 1 17 0,4-2-7 0,-4 0 0 0,3 0 2 16,1 0-7-16,-2 1-8 0,0 2 3 16,2-1 9-16,-1 2 19 0,-1 3-10 0,1 0 9 15,1 5-12-15,-2 0 13 16,-5 0-16-16,10 5 13 0,-5-1 6 0,-2 2-19 16,2-2 18-16,-2 5-28 0,0-3 11 0,-2 3 22 15,2-2-33-15,0 3 11 0,-3-4 2 0,2 2-6 16,-2-2 1-16,1-1-8 0,1 2 8 15,-2-2-15-15,0-3 27 0,3 3 8 0,-3-3 8 16,0-2 8-16,2 4-8 16,-2-4 3-16,0 0 2 0,0 0-13 0,0 0-10 0,13-7 8 0,-10 3 4 15,4-3-12-15,-1 1-7 0,1 1 15 16,3-1-14-16,-2 0-1 0,2 2 9 0,-2 0-4 16,0 3 7-16,-1 0-56 15,1 1 7-15,0 1 1 0,0 1 23 0,-1 3 9 0,-2 1 73 16,1 1-3-16,-2 1-3 0,-1 0-10 0,0 0-20 15,0 0-52-15,-1 2-20 0,0-3-18 16,-2 1-48-16,0 2-34 0,0-2-51 0,0-2-77 16,3 1-189-16,-3-1-577 0,2 0 83 15,-2-1 136-15,3-3 76 0,-3 3 36 0,2-4 79 16</inkml:trace>
  <inkml:trace contextRef="#ctx0" brushRef="#br1" timeOffset="41328.75">3268 7112 1126 0,'5'-11'343'0,"-3"4"-26"0,1 0-25 0,0 0 7 16,-3 1-40-16,0 1 5 0,0-1-11 0,0 1 41 15,-3 2-43-15,3 3 13 0,-1-5-29 0,1 5-38 16,-4-5-5-16,4 5-28 0,0 0-15 0,-8 7-1 15,3-1-102-15,2 0 0 0,-1 3 11 16,1 0 4-16,-3 2-33 0,4-2 11 0,-3 3-21 16,2-2-24-16,3-1-11 0,0 2 1 15,0-4-20-15,0 3-23 0,3-2-28 0,2-1-23 16,0 1-7-16,0-3 1 0,3 1-78 16,0-3-57-16,2-1-89 0,5-4-6 0,-4 2-473 0,4-3 43 15,1 3 90-15,1-2 23 0,1-2 103 16</inkml:trace>
  <inkml:trace contextRef="#ctx0" brushRef="#br1" timeOffset="41976.25">3570 7045 1341 0,'0'0'335'0,"-13"5"-12"0,3-4-9 0,0 3-14 15,-1-1-52-15,1 2-12 0,0 1 56 0,-2 1-49 0,1 0-18 16,1 2 10-16,0 0-32 0,1-1-32 0,0 0 6 15,1 1-34-15,3-1-15 16,-1 1 8-16,2-2-36 0,1 0-6 16,-2-1-27-16,5 0-19 0,-2-1-14 0,4 1 2 0,-2-4-8 15,2 4-15-15,1-5 17 0,2 2-14 16,-5-3-1-16,10 0 3 0,-10 0-3 0,13-3 3 16,-6 0-8-16,1-1 8 0,0-1 8 0,-1-1 2 15,1 0-15-15,0 2 10 0,-3-3 8 0,0 1 17 16,0 2-22-16,1-2 25 0,-2 1 13 15,0-1-15 1,0 4-6-16,-1-3 24 0,0 5-24 16,-3 0-2-16,4-6 26 0,-4 6-80 0,3-1-2 0,-3 1 20 0,0 0-26 0,0 0 21 15,0 0-5-15,0 10-5 0,0-10 12 16,0 7-4-16,0-4-8 16,0-3 10-16,0 6-8 0,0-1 13 0,0-5-2 0,0 5-14 0,0-5 22 15,0 6-16-15,0-6 2 16,3 2 13-16,-1 2 3 0,-2-4-3 0,3 2 21 0,-3-2-13 15,0 0-10-15,10 0 12 0,-10 0-20 0,8-2 3 16,-8 2-11-16,10 0 5 16,-4 2 1-16,-2-2 4 15,-4 0 6-15,10 1 7 0,-4 0-7 0,-3 1 25 0,1 0-33 0,2 1 8 0,-4-1 7 16,1 0-12-16,2 1-8 0,-5-3 13 16,5 3-24-16,-2 2 19 15,-1-4-6-15,-2-1 6 0,5 4-14 0,-2-1 19 16,-3-3 20-16,0 0-12 0,5 0 17 0,-5 0-15 0,5 3 10 15,-5-3 0-15,0 0 3 0,8-5 2 16,-3 1 75-16,0 3-11 0,2-1-5 0,-1-2-7 16,2 2-83-16,2-2-12 0,-3 4 23 15,3-2 5-15,-1 2-21 16,1 0 8-16,0 2-2 0,0-2 10 0,-2 1-3 0,2 2 8 16,-2-1-18-16,0 2-13 0,-1-2-15 0,3 2-31 0,-5-1-10 15,1 1-49-15,-1-1-33 0,0 1-49 16,-2 0-81-16,1-1-119 15,-1 2-488-15,3-4-64 0,-2 4 59 0,0-3 84 0,3 3 79 16,-2-4 108-16,0 0 11 0</inkml:trace>
  <inkml:trace contextRef="#ctx0" brushRef="#br1" timeOffset="42210.58">4180 7137 1484 0,'7'-6'456'0,"-1"5"-29"15,-1-3-63-15,0 3-26 16,3 1-11-16,-1-2-76 0,4-1-36 0,-1 3-46 16,0-2-67-16,3 1-48 0,-2-1-51 0,-1 2-129 15,-2-2-219-15,-1 2-500 0,1 1 82 16,-6 3 67-16,1-2 56 0,-3 3 67 0</inkml:trace>
  <inkml:trace contextRef="#ctx0" brushRef="#br1" timeOffset="42356.25">4198 7254 1205 0,'5'3'425'16,"-2"2"-21"-16,2-3 37 0,0 2-37 0,3-2-43 0,2 3-33 0,0-4-29 15,1 0-22-15,1-1-27 0,4 3-134 16,-3-3 1-16,2-3-50 0,3 2-36 0,-2 1-31 15,1-2-59-15,-2-2-67 0,1 4-145 16,-3-3-581-16,-1 0 27 16,-1 3 63-16,-1-1 106 0,-2 0 52 0</inkml:trace>
  <inkml:trace contextRef="#ctx0" brushRef="#br1" timeOffset="98127.81">5706 6881 1092 0,'0'0'431'0,"0"0"-40"15,0 0-25-15,2 18-36 0,-4-11-30 0,2 6-44 16,0-1-10-16,0 2-34 0,2 3-23 31,-2-3-17-31,0 8-36 0,0-2-21 0,0 0-33 0,-2 0-18 0,2-1-39 0,-1 0-35 0,0-1-36 16,0 1-31-16,1-3-18 0,-2-2 31 0,-1 0-71 15,3 0-157-15,0-4-7 0,0 0-538 16,-2-2 66-16,2-1 116 0,0-1 61 16,2-2 67-16</inkml:trace>
  <inkml:trace contextRef="#ctx0" brushRef="#br1" timeOffset="98364.05">6057 6884 1451 0,'0'0'440'16,"0"0"-46"-16,0 0-40 15,3 14-29-15,-6-7-28 0,0 2-34 0,1 3 32 0,-4 1-6 16,2 4-49-16,-4 0-48 0,0 4-38 0,-2 0-49 16,-1 0-64-16,1 1-21 0,2-2-58 15,-4 1-70-15,0 0-94 0,1-5-159 0,1 2-552 16,-3-2 111-16,5-2 47 0,-2 0 110 15,3-4 54-15</inkml:trace>
  <inkml:trace contextRef="#ctx0" brushRef="#br1" timeOffset="98574.12">5877 7068 1123 0,'3'-9'410'0,"0"5"-8"0,1 1 30 0,2 2-40 0,-1 1-3 0,-5 0-49 0,13 5-20 0,-3 1-46 15,1 0-13-15,1 2-33 0,4 2-8 0,-1-1-33 16,5 2-15-16,-2 3-16 0,-2-3-21 16,4 2-48-16,-2 0-41 0,-2-1-58 15,-4-1-34-15,1-2-62 0,-3 1-45 0,0-3-183 0,-1 1-619 16,0-2 42-16,-1 1 104 0,0-2 79 16,0-1 95-16,-1-2 57 0</inkml:trace>
  <inkml:trace contextRef="#ctx0" brushRef="#br1" timeOffset="98894.53">6398 6980 1315 0,'0'0'402'0,"-7"8"28"0,4-2-33 0,2 0-46 0,-1 1-32 0,0 5-32 15,-1-2-18-15,3 1-108 0,0 1-20 16,0 0-46-16,3 2-16 0,-1-2-25 0,4 0-13 15,-2 0-18-15,4-1-10 0,-3-2 12 0,5 1-9 16,-2-4-6-16,3 1 0 0,1-3 18 16,-2-2-10-16,1-1-8 0,-1-1 18 0,0-1-7 15,-2-1 22-15,2-2 24 0,-5-1 7 0,3 1 6 16,-5-5-9-16,1 3 11 0,-3-3-13 16,2-2 8-16,-6 0-36 0,2-1 18 15,-3-1-21 1,1 0 11-16,-2 0-13 0,-3 0-21 0,3-1-7 0,-5 2-31 0,2 2 10 0,0 2-48 15,-2 0-34-15,2 2-23 0,1 1-61 0,-1 0-95 16,-2 5-235-16,4-2-423 0,0 2 97 16,6 0 78-16,-9 2 86 0,4-2 100 31</inkml:trace>
  <inkml:trace contextRef="#ctx0" brushRef="#br1" timeOffset="99020.58">6554 6976 1466 0,'8'-1'423'0,"-8"1"-55"0,0 0-27 16,8 0-68-16,-8 0-73 0,0 0-62 0,0 0-76 16,0 0-90-16,7-2-213 0,-7 2-565 0,3 2 86 15,-3-2 55-15,0 0 69 0</inkml:trace>
  <inkml:trace contextRef="#ctx0" brushRef="#br1" timeOffset="99206.9">6765 6913 1579 0,'0'6'450'0,"0"3"39"0,0 0-43 16,0 0-42-16,0 2-38 0,0 0-38 0,0 2-95 0,0 0-21 0,0 1-30 0,2 2-46 16,-2-2-29-16,0-1-48 0,3-2-41 15,-3 2-57-15,0-2-40 16,0-1-57-16,2 0-91 0,-2-1-237 0,0 1-467 0,3-4 109 15,-3 2 57-15,5-1 112 0,-5-1 67 0</inkml:trace>
  <inkml:trace contextRef="#ctx0" brushRef="#br1" timeOffset="99611.3">7431 6862 1226 0,'0'0'432'0,"0"0"-7"0,0 0-20 16,0 0-42-16,0 0-25 0,3 15-36 0,2-8-44 16,-5 4 4-16,5-1-30 0,-3 2 40 15,4 1-26-15,-4 1-11 0,1 3-58 16,2-3-49-16,-2 3-29 0,2-2-58 0,-3 2-51 15,-2-3-31-15,1-2-61 0,1 2-57 0,-2 0-122 16,-5-2-175-16,5-1-473 0,0 1 64 16,0-5 117-16,0 3 26 0,-3-2 93 0</inkml:trace>
  <inkml:trace contextRef="#ctx0" brushRef="#br1" timeOffset="99859.02">7313 7040 1494 0,'0'0'443'0,"0"0"46"0,8-2-64 0,-1 1-21 0,4 0-45 16,-1 1-32-16,4-2-37 0,3 2-39 0,0-2-65 16,2 4-58-16,-1-2-43 0,0 2-70 0,2-2-56 15,-2 0-71-15,3 0-203 0,-4 1-602 0,7-2 52 0,-1 1 131 16,-5-2 27-16,2 0 106 15,-2 2 43-15</inkml:trace>
  <inkml:trace contextRef="#ctx0" brushRef="#br1" timeOffset="100330.98">8403 6865 1267 0,'0'0'432'15,"11"4"-25"-15,-4-3-43 0,-2 3-32 0,0-2-30 16,-2 3-5-16,-3 2-43 0,0 0 61 0,0 0-24 16,-6 4-35-16,1 1-30 0,-2 1-98 0,-3 0-3 15,1 0-20-15,-1-1 10 0,3 1-12 16,-6 0-29-16,5-2-5 0,1 0-8 0,-1-4 19 15,0 1-16-15,3 1-3 0,0-2 6 0,0-3 7 16,2 1 0-16,1 2-23 0,-1-2 6 16,3 1-1-16,0-1-5 0,0 0-5 0,3-2-10 15,-1 1 13-15,6-1 61 0,0 1-33 0,0-3-1 16,2-1-25-16,2 4-40 0,1-4-32 0,0 1-22 16,2-1-34-16,-2-1-56 0,3-1-44 15,-1 0-30-15,0 1-164 16,1 0-413-16,-3-3-221 15,0 4 139-15,2-5 57 0,-2 1 100 0,-1-2 64 0,4 0 100 0</inkml:trace>
  <inkml:trace contextRef="#ctx0" brushRef="#br1" timeOffset="100555.4">8801 6919 1269 0,'-3'6'428'0,"2"-1"-6"16,-1 1-46-16,0 2-48 0,2-1-18 15,-3-1-31-15,-2 7-13 0,0-3-38 16,2 3-31-16,-4 0-49 0,-1 0-20 0,-2 0-84 16,0 0-47-16,-1 1-74 0,1 0-94 0,0-4-216 15,-3 3-503-15,5-3 76 0,-2-2 79 0,2 1 64 16,1-2 80-16</inkml:trace>
  <inkml:trace contextRef="#ctx0" brushRef="#br1" timeOffset="100717.09">8644 7007 1379 0,'0'0'407'0,"10"1"-5"0,-10-1-56 0,11 5-32 16,-4 0-32-16,1-2-11 0,-1 5-33 0,3-1-28 16,1-1-20-16,-1 2-9 0,3-2-19 0,-2 2-29 15,1-1-74-15,-1 2-59 0,1-3-49 16,-2 0-82-16,1 1-96 0,-6-2-242 15,5-2-406-15,3 3 92 0,-3-2 74 0,0-1 66 0,0-3 49 16</inkml:trace>
  <inkml:trace contextRef="#ctx0" brushRef="#br1" timeOffset="101072.59">9075 6939 1576 0,'0'0'510'0,"0"0"-37"0,-16 7-48 0,13-1-28 16,-1-1-39-16,1 2-107 0,0-1-31 0,1 5-15 16,2-3-26-16,-2 3-12 0,2 0-32 15,0-3-20-15,2 0-30 0,0 4-26 0,4-3-3 0,-2 1-10 16,4-1-8-16,0-1 9 16,0-2-9-16,2-1 3 0,0-2-21 0,3 2-2 0,-3-5 28 15,-1 1-23-15,1-2 18 0,-5 1 26 0,4-1 23 16,-1-3-26-16,-3 1 0 0,-1-2-3 15,-2-1 29-15,-2 0-11 0,0 0 0 16,-2-2-5-16,1-2-4 0,-6 4-19 0,4-2-21 16,-5-2 17-16,0 1-12 0,-2 3-12 0,2-2-38 15,1 2-21-15,-3-2-46 16,-1 4-53-16,4-1-34 0,-1 0-49 0,-2 3-53 0,4-3-205 16,-1 5-523-16,1-1 98 0,2 2 52 15,4-1 124-15,0 0 80 0,-10 1 44 16</inkml:trace>
  <inkml:trace contextRef="#ctx0" brushRef="#br1" timeOffset="101228.34">9323 6933 1177 0,'0'0'525'0,"0"0"7"16,5-1-12-16,-5 1-67 0,0 0-72 0,0 0-43 15,6-2-87-15,-6 2-72 0,0 0-64 16,4-2-94-16,-4 2-85 0,4-3-228 0,-4 3-635 15,0 0 93-15,4 1 104 0,-4-1 47 0,0 0 66 16</inkml:trace>
  <inkml:trace contextRef="#ctx0" brushRef="#br1" timeOffset="101469.85">9528 6831 1643 0,'3'6'599'0,"-3"1"-44"0,5 2-56 16,-3 1-117-16,2 3-29 0,-2 0-33 0,0-1-38 15,4 6-26-15,-4-5-26 0,1 4-41 0,-1 1-68 16,1-2-45-16,-1 0-50 0,-1-2-87 16,1 0-57-16,-2-1-59 0,2 2-89 0,-4-1-195 15,4-1-488-15,-2-1 91 0,0-2 80 16,3-1 102-16,-3-2 36 0</inkml:trace>
  <inkml:trace contextRef="#ctx0" brushRef="#br1" timeOffset="101877.78">10134 6796 1425 0,'0'0'464'0,"4"-1"-29"0,-4 1 43 0,0 0-60 15,8 9-22-15,-5-4-32 16,2 4-29-16,-2 0-35 0,-1 3-32 0,3 0-19 0,-4 2-52 0,1 0-59 15,0 2-61-15,1-3-62 0,-1 0-81 16,-1 3-34-16,-1-2-77 0,0-6-209 0,0 7-590 16,-1-1 119-16,-1-2 43 0,-1 0 84 0,3-3 57 15,-2 0 77-15</inkml:trace>
  <inkml:trace contextRef="#ctx0" brushRef="#br1" timeOffset="102093.58">10044 6981 1395 0,'0'-5'453'0,"0"5"-21"16,0 0-35-16,5-3-28 15,0 0 40-15,0 3-58 0,5 0-21 0,3 0-31 0,0 0-37 16,3-2-45-16,-1 2-35 0,5-1-46 16,-1 1-62-16,6-2-87 0,-2 1-48 0,2 1-98 0,-1-1-302 15,1 1-501-15,-1-1 73 0,1 1 106 16,-2-1 69-16,0-3 74 0,0 3 44 15</inkml:trace>
  <inkml:trace contextRef="#ctx0" brushRef="#br1" timeOffset="102703.96">11297 6809 1318 0,'11'-3'432'0,"-1"3"-25"0,-2-1-36 0,0 2-38 0,2-1-8 15,-2 1-46-15,-3 3-30 0,2-1-19 0,-4 1-7 16,-1-2-39-16,1 4-18 16,-3-1-12-16,-3 2-8 0,0 0-13 0,-1 0-8 15,-1 2-27-15,2-2 7 0,-3-1-16 0,4 1-20 16,-2 0-5-16,3-2-13 0,1 0-10 0,0-1 11 16,1 2-27-16,3-1 14 0,-1 1-11 0,4-2-3 15,-1 0 16-15,1 1-10 0,1 0 0 16,0 1 5-16,-3 0 17 0,2-3-19 0,-1 2-4 15,2 0 9-15,-4-2 22 0,-1 2 70 16,-3 0 4-16,3 0-9 0,-6-1-34 0,0 4 5 0,-4-4-10 16,-1 3-23-16,-2-2-2 15,-3 1-27-15,0 1-14 16,-5-1-29-16,0-1-35 0,3 2-37 0,-3-1-30 0,3-3-51 16,-1-1-28-16,6-1-85 0,0 3-179 0,0-3-612 15,0-1 82-15,4 0 146 0,6 0 43 0,-11 0 75 16,7-1 100-16,4 1 40 0</inkml:trace>
  <inkml:trace contextRef="#ctx0" brushRef="#br1" timeOffset="102913.02">11754 6777 1246 0,'0'0'563'0,"0"0"-25"0,0 0-52 0,0 0-46 15,0 12-10-15,-2-5-74 16,-2 4-21-16,2 2-38 0,-2-2-23 0,0 3-43 16,0 3-50-16,-2 0-27 0,-1 3-70 15,-4 0-68-15,4-1-57 0,-3-1-74 0,-1 2-67 0,3-4-194 16,0-1-615-16,-1-1 113 0,0 1 59 16,3-6 92-16,0 1 67 0,1-2 107 15</inkml:trace>
  <inkml:trace contextRef="#ctx0" brushRef="#br1" timeOffset="103127.08">11595 6921 1343 0,'0'-3'466'0,"0"3"-20"0,0 0 35 0,0 0-38 0,0 0-59 0,0 0-23 0,12 14-36 15,-6-10-46-15,-1 3-103 0,3-1-20 16,0 1-5-16,2 1-43 0,-2 2-6 15,4-3-30-15,1 1-41 0,0 2-57 0,0-2-35 16,2-2-32-16,-5 2-45 0,3-3-46 0,-5 0-82 0,0 0-139 16,-1-2-519-16,1 3 82 0,-3-6 110 15,0 4 59-15,0-2 38 0</inkml:trace>
  <inkml:trace contextRef="#ctx0" brushRef="#br1" timeOffset="103528.86">12000 6820 1459 0,'0'0'488'0,"0"0"-111"0,0 0-45 0,-10 6-27 0,5 1-26 0,3-2-23 15,-2 3-38-15,2 2-6 0,-1 2-48 0,3-4-59 16,-2 5-23-16,-1-1-36 0,6 1-44 0,-3 0-9 16,2 0-4-16,1-2-1 15,3 1-9-15,1-2 6 0,0-3-1 0,1-1-9 0,2-3-6 0,1 2 26 16,-3-3 20-16,2-2 19 0,-2-1-1 16,-1 0 39-16,1-1 20 0,-1-2 15 0,-2-3 1 15,-1 1-14-15,0-1-1 16,-1-2-9-16,-3 1 3 15,0-3 8-15,-3 2-18 0,-1-3-3 0,-2 1-2 0,1-2-29 0,-1 6 21 0,-1-5-49 16,-3 4-12-16,2-2-44 0,1 3-56 16,-1 1-21-16,0 0-69 0,0 4-164 0,3-2-626 15,0 2 76-15,0 1 156 16,5 1 31-16,-8 0 92 0,8 0 51 0</inkml:trace>
  <inkml:trace contextRef="#ctx0" brushRef="#br1" timeOffset="103694.19">12087 6864 1476 0,'6'-2'479'0,"-6"2"-72"15,2-1-66-15,-2 1-78 0,2-4-76 0,-2 4-108 16,0 0-201-16,6-1-703 0,-4 0 93 0,-2 1 51 16,0 0 80-1</inkml:trace>
  <inkml:trace contextRef="#ctx0" brushRef="#br1" timeOffset="103960.48">12459 6705 1415 0,'8'2'463'0,"0"-2"-25"0,0 5-46 0,2-2-1 0,-3 3 34 15,-2-1-15-15,3 5-37 0,0-1-19 16,-6 2-34-16,3 2-36 0,-2-1-31 0,0 2-22 16,-3 0-45-16,0 1 12 0,-1-1-37 0,-1 1-118 15,-3 2-17-15,2 0-36 0,1-4-47 0,-3 0-42 16,2 1-53-16,-3-2-60 0,2 1-75 16,-2-8-222-16,4 6-515 0,0-3 103 15,-1 0 96-15,0 0 119 0,1-5 46 0,-1 0 48 16</inkml:trace>
  <inkml:trace contextRef="#ctx0" brushRef="#br1" timeOffset="104129.8">12405 6890 1505 0,'0'-2'558'0,"0"2"-29"15,0 0-40-15,5-6-53 0,1 5-22 16,1 1-61-16,1 0-33 0,2-1-38 15,3 1-67 1,-1 0-26-16,1 0-53 0,3-1-77 0,2 1-39 0,-3 0-76 0,3 0-59 0,0 1-90 0,-8-1-279 16,9-1-504-16,1 2 105 0,-2-2 123 15,-1 1 48-15,1 0 57 0,-1-3 64 0</inkml:trace>
  <inkml:trace contextRef="#ctx0" brushRef="#br1" timeOffset="104607.21">13397 6750 1492 0,'-2'6'435'0,"-6"2"-36"0,3 3-38 0,0 1-38 16,-3 2-11-16,-2-1-46 16,3 3-18-16,-1-2-58 0,0 0-42 0,0 2-56 0,-2-2-66 15,0 0-49-15,2 1-87 0,0-1-108 16,-10-1-204-16,11-1-435 0,2-1 94 0,-3-3 23 15,2 0 136-15</inkml:trace>
  <inkml:trace contextRef="#ctx0" brushRef="#br1" timeOffset="104805.75">13179 6846 1162 0,'0'0'488'0,"0"0"-11"31,14 6-37-31,-10-1-25 0,4 0 30 0,2 2-20 0,3 1-57 0,0 3-9 0,2 0-47 16,3 1-2-16,1-2-41 0,3 1-54 0,-1 1-11 15,2 0-40-15,-5-1-61 0,2-1-32 16,-2 0-45-16,-2-3-93 0,-1 1-33 0,-5 1-45 16,0-3-63-16,1 1-212 0,-4-1-588 15,-1 0 63-15,-1-3 83 0,0 1 84 0,0-2 115 16,0-2 46-16</inkml:trace>
  <inkml:trace contextRef="#ctx0" brushRef="#br1" timeOffset="105793.3">14274 6673 1318 0,'-8'3'425'0,"0"1"-29"0,-2 3-37 16,0 0-32-16,-3-1-25 0,-2 5-48 0,0-2 2 15,2 2-21-15,-3-3-32 0,-2 5-9 16,1 2-17-16,1-6-26 0,1 4-16 16,0-1-25-16,4-2 0 0,-1-1-10 0,4 1 3 15,0-2-16-15,0-1-10 0,4 4-3 0,1-5-10 16,0 1-8-16,3 0-7 0,3-2-21 15,-1 2 31-15,1-2-18 0,4 1-11 0,1-4-17 16,0 5-13-16,5-4-23 0,0 0-8 0,-1 0-50 16,4-1-1-16,-1-2-23 0,3 1-39 15,0-1-32-15,0 0-65 0,3-1-197 16,-4-1-501-16,-1-1 61 0,0 2 174 0,-1-3-7 0,0 1 71 16,-4-2 110-16</inkml:trace>
  <inkml:trace contextRef="#ctx0" brushRef="#br1" timeOffset="106036.85">14243 6749 1254 0,'-7'6'504'0,"2"1"-102"15,-1 0-41-15,1 6-11 0,0-2-24 0,3 2-35 0,-6 1-9 16,3 4-39-16,2 0-18 0,-1 0 3 0,-2 3 31 0,-2 3-8 15,3-4-42-15,-2 3-40 0,2-2-38 16,-1 1-47-16,-2-1-32 0,6-4-63 16,-1-4-32-16,-2 0-29 0,3 0-74 0,0-3-61 15,1-6-203-15,1 5-557 0,1-1 76 0,1-4 128 32,3-1 16-32,0 0 76 0,1-3 116 0</inkml:trace>
  <inkml:trace contextRef="#ctx0" brushRef="#br1" timeOffset="106210.19">14556 6781 1663 0,'0'0'425'0,"-8"13"-20"0,4-6-67 16,-2 4-13-16,1 0-34 0,-5 2-30 16,2 1-22-16,-4 5-19 0,-2 0-36 0,-1 7-30 15,-3 2 9-15,3-7-65 0,2-3-47 16,0 1-84-16,0 0-80 0,0-2-197 0,0-2-586 15,1-2 57-15,4 1 68 0,0-5 83 0,3-1 66 16</inkml:trace>
  <inkml:trace contextRef="#ctx0" brushRef="#br1" timeOffset="106408.28">14392 6919 1105 0,'0'-2'433'16,"3"-2"-8"-1,-3 4-28-15,2-2-26 0,-2 2-31 0,0 0-30 0,0 0-23 0,10 6-31 0,-7-4-24 16,0 2-27-16,2 0-10 0,0 1-70 16,0-1-43-16,2 0-56 0,1 2-70 0,0-3-58 15,-1 0-52-15,1 1-89 0,3-3-126 0,1-1 9 16,-1 2-460-16,2-2 32 0,-1 0 156 16,4-2 10-16,-1 1 33 0</inkml:trace>
  <inkml:trace contextRef="#ctx0" brushRef="#br1" timeOffset="106661.29">14685 6924 883 0,'4'-4'350'0,"0"3"-86"15,-4 1 17-15,0 0-25 0,0 0-7 0,0 0-6 0,0 0 44 16,-1 9-29-16,1-9-20 16,-5 9-5-16,5-4-46 0,-2-1-18 0,2 1 2 15,0 0-20-15,2 2-30 0,0-3-4 0,4 2 6 16,1-2-31-16,1 0 6 0,2-1-4 0,5 1-1 16,-2-4-81-16,1 1 9 0,-2 2 20 0,-1-6 33 15,1 2 77-15,1 0 21 16,-5-3-14-16,0 1 32 0,-1-2-26 0,-4 0-8 15,2-1-97-15,-2-1 10 0,-3 2 13 0,-3-1-1 16,0 0-17-16,0-1-35 0,-4 2-19 0,-1-2-18 0,1 3-30 16,-1-4-59-16,-2 4-42 15,0-1-40-15,2 3-28 0,0-1-111 0,-7-2-240 16,9 4-422-16,1 0 66 0,5 1 126 16,-10 0 58-16,10 0 67 0,-8 0 72 0</inkml:trace>
  <inkml:trace contextRef="#ctx0" brushRef="#br1" timeOffset="106847.76">15110 6851 1259 0,'0'0'499'0,"3"-3"-46"0,-3 3-66 0,2-4-57 16,-2 4-67-16,0 0-89 0,0-5-61 0,0 5-100 15,0 0-149-15,0 0-557 0,0 0-96 0,0 0 103 16,0 0 67-16,0 0 61 0</inkml:trace>
  <inkml:trace contextRef="#ctx0" brushRef="#br1" timeOffset="107070.9">15369 6780 1348 0,'-3'7'515'0,"3"0"-26"0,-2 3-34 0,0 0 22 0,-2 2-32 0,2 4-35 16,0-2-67-16,-1 0-62 0,3 2-68 0,-3-2-65 16,-1 5-66-16,3-2-59 0,-1-1-59 15,-1-1-92-15,0 2-153 0,-1 0-449 0,1-4-166 16,0 0 57-16,-2-1 86 0,3 0 98 0,-3 0 20 15</inkml:trace>
  <inkml:trace contextRef="#ctx0" brushRef="#br1" timeOffset="107972.26">4960 8358 1192 0,'0'0'392'0,"5"-1"-46"0,-5 1-11 0,8-3-48 16,-1 3-52-16,0-2-25 0,2 2-39 16,3 0-35-16,-2 0-59 15,4 0-62-15,0-2-79 0,0 2-115 0,-4 0-146 0,0 0-461 0,3 0 85 16,0 0 43-16,-5 0 97 0</inkml:trace>
  <inkml:trace contextRef="#ctx0" brushRef="#br1" timeOffset="108157.51">4911 8495 1233 0,'-5'3'369'0,"5"-3"-18"16,-3 2-14-16,3-2 50 0,0 0-44 0,0 0-41 0,8 6-15 15,-1-6-36-15,1 0-6 0,2 0-58 16,6-2-21-16,-1-2-43 0,1 4-38 16,7-3-44-16,-3-1-18 0,3-1-54 0,1-2-28 0,-4 2-76 15,1 2-109-15,-3-3-181 16,4-4-432-16,1 2 48 0,1-3 113 0,-3-3 51 16,6-5 105-16</inkml:trace>
  <inkml:trace contextRef="#ctx0" brushRef="#br1" timeOffset="109278.77">6498 8213 1167 0,'-3'-5'371'15,"3"5"-20"-15,0 0-42 0,-7 0-12 16,7 0-41-16,-3 8 51 0,-2-3-10 0,2 1-41 16,1 4-31-1,0-2-30-15,1 2-3 0,-1 3-31 0,2 0-12 0,2 0-6 0,-1 0-10 16,1 3-25-16,0-2 4 0,1-1-43 0,2 1-7 15,0-1-1-15,0-1-7 0,3 0-3 0,-3-1-25 16,5-3-1-16,-2-1-2 0,3-2-12 16,1-1-1-1,1-2 10-15,0-2-17 0,0-3 5 0,2 0 35 0,-2 1-30 0,-1-3 2 16,-1-1 24-16,-1 0-6 0,-2-1 0 0,0 0 1 16,-3-3 6-16,-3 3 4 0,1-1-16 0,-1-2 8 15,-2 3-10-15,0-3 2 0,-2 1 0 31,0 1-10-31,-1 1-13 0,-2-2 8 0,-1 2 2 0,-1 1-20 0,1-1-28 0,-4 4 5 0,2-2-39 16,-2-1-38-16,-2 1-31 0,4 4-76 0,-2-1-121 16,2-1-230 15,0 3-394-31,1 1 102 0,7-1 72 0,-13 2 107 0,8-1 49 0</inkml:trace>
  <inkml:trace contextRef="#ctx0" brushRef="#br1" timeOffset="109441.3">6734 8243 1092 0,'0'0'443'0,"3"-2"-43"0,-3 2-34 16,0 0-31-16,2-3-51 0,-2 3-51 15,0 0-51-15,3-3-67 0,-3 3-87 0,0 0-77 0,0 0-186 16,2-3-566-16,-2 3 61 0,0 0 72 16,8-2 66-16</inkml:trace>
  <inkml:trace contextRef="#ctx0" brushRef="#br1" timeOffset="109594.43">6942 8242 1423 0,'2'14'414'0,"0"0"-30"0,-2 2-36 0,0-4-20 0,0 1-46 0,0 0-21 0,0 0-23 0,0 0-26 0,0 1-43 15,0-1-46-15,0 1-51 16,0-4-19-16,-2 3-70 0,2-2-70 15,0 0-113-15,-2-1-325 0,4 0-314 0,0-3 89 0,-2 4 48 16,3-4 98-16,2-1 49 0</inkml:trace>
  <inkml:trace contextRef="#ctx0" brushRef="#br1" timeOffset="110029.97">7897 8154 1433 0,'0'0'479'16,"0"0"-124"-16,0 0 1 0,4 12-49 0,-4-4-28 16,2 0-30-16,-2 4-16 0,2 1-29 15,1 1-9-15,-3 1-19 0,3 0-40 0,-1 1-26 16,-2-1-41-16,3-3-56 0,-3 5-36 0,2-2-31 15,1-3-53-15,-3 0-93 0,0-6-168 0,3 5-518 16,-3-2 90-16,2 0 46 0,-2-3 113 16,2-1 73-16</inkml:trace>
  <inkml:trace contextRef="#ctx0" brushRef="#br1" timeOffset="110181.36">7824 8313 1459 0,'0'0'404'0,"0"0"-23"0,0 0-30 0,4-6-41 15,-4 6-21-15,14-1-23 0,-4 0-35 0,2 0-34 0,4-1-36 16,-1 2-25-16,3-1-37 16,0 1-60-16,0 0-39 0,0 0-92 0,0 0-187 15,0 0-617-15,0 0 66 0,0 1 101 0,-3 1 56 16,1-4 66-16</inkml:trace>
  <inkml:trace contextRef="#ctx0" brushRef="#br1" timeOffset="110739.79">8608 8226 1172 0,'0'0'450'0,"0"0"-32"0,0-2-34 0,0 2-44 16,0 0-23-16,0 0-25 0,-7 15-18 0,4-6-44 16,2 0-30-16,1 3-3 0,-2 0-30 0,2 1-14 15,0 3-38-15,2-2-5 16,-2 0-25-16,4-2-11 0,0 4-2 0,2-5-29 0,-1 3 6 15,3-1-3-15,2-4-15 0,0-2-18 0,0 0-1 16,1-2 27-16,1 1-19 0,-2-6-2 16,1 0 3-16,2 0 12 0,-3-5-2 0,0 3 7 15,1-4 23-15,-6-1 1 0,2-3-3 16,-2 2 5 0,-2-4-13-16,-1 0 8 0,-2 3-11 0,0-4-4 0,-2-2-8 0,-3 2 0 0,2 1-3 15,-5 2-15-15,0-2-3 16,-2 1-10-16,0 0-41 0,0 4-2 0,-1-1-44 0,1 3-36 15,-2 0-53-15,1-1-36 0,1 5-103 16,-8 1-220-16,10 0-453 0,1 0 115 0,2 0 93 16,0 4 76-16,-1-1 56 0</inkml:trace>
  <inkml:trace contextRef="#ctx0" brushRef="#br1" timeOffset="110891.78">8777 8250 1400 0,'0'0'427'16,"0"0"-66"-16,0 0-77 0,3-4-87 0,-3 4-99 16,3-7-252-16,-3 7-560 0,2 2 30 0,-2-2 52 15,0 0 92-15</inkml:trace>
  <inkml:trace contextRef="#ctx0" brushRef="#br1" timeOffset="111175.59">9100 8214 1333 0,'21'5'374'0,"-6"0"-16"15,-5 1-25-15,0 0-13 0,-2-1-13 0,-5 0-25 0,-1 4-26 16,-4-1-3-16,0-1-5 0,-1 5-48 16,-3-1 0-16,-1-2-31 0,2 2 66 0,-5 2-17 15,4-1-32-15,1-3-9 0,0 1 5 0,0 0-13 16,0-3-16-16,2 1-7 0,-2-2-25 0,3 1-1 15,1-1 0-15,1 0 3 0,0 0-10 16,0 0-16-16,3-3-13 0,0 0-15 0,2 1-33 16,1-1-23-16,3-3-54 0,2 1-13 15,-1-1-56-15,2 0-20 0,1 0-44 0,3-1-72 0,-1-1-181 16,3-3-677-16,-2 2 119 16,2-1 107-16,-3-1 82 0,3-2 100 0,-3 1 43 15,6-6 103-15</inkml:trace>
  <inkml:trace contextRef="#ctx0" brushRef="#br1" timeOffset="111369.93">9677 8174 1587 0,'0'0'555'0,"0"0"-122"31,0 0-29-31,3 13-43 0,-3-6-13 0,0-1-43 0,3 7-21 0,-1 0-33 0,3-1-18 0,-2 4-42 0,-1-1-60 0,3 2-62 16,-2-1-77-16,-1 0-56 15,-1-1-81-15,1 1-150 0,-2-2-590 0,0-1-9 16,0 0 93-16,0-1 82 0,-3-1 117 0,3-4 72 16</inkml:trace>
  <inkml:trace contextRef="#ctx0" brushRef="#br1" timeOffset="111587.98">9523 8338 1323 0,'0'0'445'0,"0"-6"-30"0,0 6-29 16,8-2-17 0,-5 1-29-16,2-2-25 0,2 2 18 0,1 0-3 0,2-2-51 15,1 2-43-15,-1 1-49 0,5-2-49 0,1 0-56 16,-1-1-54-16,3 3-74 0,0-1-51 0,0 0-98 16,5 0-174-16,0 1-573 0,-2-3 62 15,2 6 102-15,2-2 66 0,3-2 93 0,3 1 58 16</inkml:trace>
  <inkml:trace contextRef="#ctx0" brushRef="#br1" timeOffset="112326.83">10613 8138 1287 0,'15'-2'463'0,"-1"-2"-22"0,-2 4-27 0,-1 0-17 16,1 1-36-16,-2 2-103 0,0-1-32 16,-2 2-19-16,2-2-15 0,-2 5-10 0,-3-2-26 0,1 1 5 15,-6 0-25-15,0 2-8 16,-3 1-16-16,-2 0-19 0,-3 4 9 0,-5-1-28 16,1 1 3-16,-4 3-16 0,1-3 9 0,-3 0-12 15,5-4 22-15,0 2-29 0,0-1 5 0,3-1 1 16,0-2 17-16,0-1 8 0,2-1-3 15,3 0-15-15,-1-2 82 0,2 2-21 0,1-2 8 16,-2 0-7-16,3 1 2 0,2-4-36 16,2 4 13-16,-2-4-10 0,5 5-19 0,0-2-12 15,0-1-15-15,3-1 2 0,5-1-46 0,-3 0-33 16,3 0-33-16,2 0-54 0,1 0-41 0,-1-2-59 16,1-2-44-16,1 4-166 0,-2-3-688 0,1 0 76 15,-1-2 133 1,-1 1 131-16,0 0 18 0,-1 0 90 0,3-3 68 0</inkml:trace>
  <inkml:trace contextRef="#ctx0" brushRef="#br1" timeOffset="112460.9">10952 8237 1100 0,'-3'-5'382'0,"3"5"-70"0,0-3-69 15,0 3-71-15,0 0-121 0,0 0-169 16,0-5-576-16,3 2 36 0,-3 3 59 15</inkml:trace>
  <inkml:trace contextRef="#ctx0" brushRef="#br1" timeOffset="112649.47">11115 8132 1226 0,'0'0'442'0,"0"0"-29"0,0 0-45 16,3 12-30-16,-3-5 51 15,0-1-20-15,0 0-49 0,0 5-52 0,0-3-4 0,0 4-16 0,0-1-43 16,3 1-44-16,-3 1-40 0,0-2-62 16,0 3-54-16,0-6-51 0,0 4-100 0,0-4-192 0,-3 7-596 15,3-6 61-15,0 0 82 0,0 0 64 16,3-3 82-16,0 1 51 16</inkml:trace>
  <inkml:trace contextRef="#ctx0" brushRef="#br1" timeOffset="113014.69">11793 8076 1648 0,'2'-2'520'0,"-2"2"-65"0,0 0-66 0,0 0-15 0,5 11 25 15,-5-7-20-15,5 6-54 0,-3-3-13 16,1 6-53-16,0 0-26 0,-1-1-41 0,1 1-56 0,0 0-75 15,-1 0-38-15,-2 2-64 16,1-2-38-16,1 2-108 0,-4-3-248 16,4 0-517-16,-2-2 20 0,-2-1 113 0,2 2 89 0,-1-5 70 15,1 2 30-15</inkml:trace>
  <inkml:trace contextRef="#ctx0" brushRef="#br1" timeOffset="113237.42">11595 8227 1346 0,'0'0'496'16,"0"0"-40"-16,0 0-39 0,15-3-38 0,-4 2-44 16,-1 1-30-16,5 0-21 0,3-2-43 0,0 0-13 0,3 2-42 15,0 0-42-15,3 0-49 0,0 0-52 0,1 0-20 16,-1-1-66-16,-3-1-62 0,-1 2-75 15,-7-2-224-15,7 2-530 0,-7-1 79 0,4 1 133 16,-4-2 39-16,-3-1 55 0</inkml:trace>
  <inkml:trace contextRef="#ctx0" brushRef="#br1" timeOffset="113797.43">12595 8074 1136 0,'-5'-1'486'0,"5"1"-38"16,0 0-43-16,-8 6-42 0,3-3-27 0,3 3-45 16,1 1-14-16,-1-1-111 0,-1 1-2 15,3 4-39-15,0-3-22 0,0 3-26 0,0 0-44 16,3 0-28-16,2 0-20 0,0-1-11 0,3 2-15 16,-1-5-5-16,3 4 13 0,1-5-13 15,2 1 30-15,0-2-17 0,2-2 2 16,-5 2 3-16,3-4 13 0,-2-1 10 0,1 0 23 0,-2 0 10 15,-2-2 20-15,0-2-4 0,-1-2-8 16,-1 1 23-16,-4-3-1 0,0 2-29 16,-2-3 32-16,0-1-30 0,-4 2 12 0,1-2-9 0,-2-3-6 15,-3 5-3-15,3-3-9 0,-3 0-32 16,-2 3 1-16,2 0-46 0,-2 1-21 0,0-1-62 16,2 3-178-16,-2 2-446 0,3-3-62 15,-1 4 65-15,-2-2 146 0,4 4 30 0</inkml:trace>
  <inkml:trace contextRef="#ctx0" brushRef="#br1" timeOffset="113980.64">12803 8063 1174 0,'7'0'428'0,"-7"0"-95"16,0 0-90-16,0 0-120 0,3-6-221 15,-3 6-634-15,0 0 92 0,0 0 39 0</inkml:trace>
  <inkml:trace contextRef="#ctx0" brushRef="#br1" timeOffset="114304.08">13321 8013 1412 0,'-4'3'507'0,"-3"1"-130"0,2 0-9 15,-3 1-43-15,1-2-30 0,-4 4-45 0,1-1-6 16,0 1-27-16,-1 2-25 0,1-2 0 16,0 1-25-16,0-2-14 0,2 4-33 0,1-2 6 15,1-3-24-15,1 2-15 0,-2 0 3 0,4-2-19 16,0 2 9-16,3-2-8 0,0 1-26 15,0 0 10-15,5-3-2 0,-2 2-6 0,3-1-17 16,1-1-8-16,-2 2-10 0,5-2-8 0,3 1 8 16,0-3-54-16,5-1-36 0,-3 0-18 15,1 0-43-15,1-2-51 0,-1-1-93 0,-1 2-212 16,1-1-417-16,-1-3 56 0,0 3 61 16,-2-3 111-16,-3 0 64 0,1-2 94 0</inkml:trace>
  <inkml:trace contextRef="#ctx0" brushRef="#br1" timeOffset="114487.01">13305 8032 1515 0,'-10'12'507'0,"5"1"-126"0,-3-1-17 0,1 1 2 0,4 0-64 0,-3 3-31 15,2 2 44-15,-2 2-21 0,2-2-28 0,-2 3-25 0,4-2-52 16,-1 1-45-16,-2-1-62 0,2 0-57 15,1-1-50-15,-1 0-60 0,0 1-79 0,-1-4-189 16,0 0-612-16,-3 1 74 0,2-1 100 16,-3-1 105-16,-2-2 62 0,-2 1 81 0</inkml:trace>
  <inkml:trace contextRef="#ctx0" brushRef="#br1" timeOffset="115148.87">6075 9747 1484 0,'0'0'469'0,"0"0"-9"0,0 0-66 15,0 0-53-15,0 0-8 0,0 0-34 0,21 0-56 16,-11 0-17-16,0 1-63 0,0 1-40 15,0-1-31-15,1-1-94 0,2 0-60 16,-3 3-117-16,-7-1-292 0,7-1-420 0,-2 3 70 16,2-3 94-16,-7 1 118 0,1 3-1 0</inkml:trace>
  <inkml:trace contextRef="#ctx0" brushRef="#br1" timeOffset="115324.1">6016 9936 1197 0,'0'0'469'0,"-5"2"-29"0,5-2-30 0,0 0-37 0,2 5-24 15,-2-5-50-15,9 1-15 0,-2-1-20 0,3 3-42 0,0-2-14 0,3 0-16 16,-3-1-26-16,3 0-38 0,-3 0-49 16,3 0-7-16,0 0-72 0,-2 0-23 15,1 0-59-15,4-2-161 0,1-1-274 0,-1 3-407 16,2-2 84-16,3-2 95 0,1-2 118 0,-1 4 13 15</inkml:trace>
  <inkml:trace contextRef="#ctx0" brushRef="#br1" timeOffset="115809.03">7080 9684 1538 0,'7'-3'422'0,"-1"-2"-20"0,4 1-41 0,3 0-46 0,0 2 0 16,4-2-44-16,1 4-28 0,1 0-33 15,1 0-5-15,1 0-21 0,-1 4-10 16,-1-1 0-16,-2 1-30 0,-4-1-11 0,-1 6 15 16,-4-1-30-16,-3-1-18 0,-2 4 10 0,-3-3-28 0,-5 5 10 15,-3 2-26-15,-5 0 1 16,-2 4 71-16,-2-2-33 0,-2-3 15 0,3 0-17 16,-1 2-19-16,-1-4-68 0,5-3 22 0,0 2 8 15,3-3 3-15,0-2-6 0,2 0 16 16,1 1-26-16,1-2 3 0,1-1 10 0,0 0 16 15,2 1-3-15,1-4 5 0,-1 4 23 0,3-5-23 16,5 5 15-16,0-4-23 31,1 0-12-31,4 2-8 0,2-3-21 0,4 0-30 0,2 0-21 0,0-4-49 0,5 4-30 0,-2-3-28 0,1-2-67 0,-1 1-38 16,0-1-80-16,1 0-186 16,-3 2-513-16,1-2 70 0,-2-2 69 0,-2 0 91 15,-1 1 83-15,0-1 41 0,0 0 84 0</inkml:trace>
  <inkml:trace contextRef="#ctx0" brushRef="#br1" timeOffset="115986.83">7626 9762 1622 0,'-5'-1'464'0,"5"1"-29"0,0 0-44 0,0-5-48 0,0 5-43 0,0 0-70 15,0-5-56-15,0 5-64 0,0 0-56 16,0 0-97-16,5-1-98 0,-5 1-374 0,0-2-347 15,6 1 102-15,-6 1 63 0,12-2 68 16</inkml:trace>
  <inkml:trace contextRef="#ctx0" brushRef="#br1" timeOffset="116497.49">7870 9554 1499 0,'-5'2'433'0,"2"3"-8"0,0 1-39 0,3 1-22 0,0 1-16 0,3 2-15 15,-1 3-41-15,1 1-16 0,3 2-12 16,1 5-24-16,3 2 91 0,5 4-52 0,1 4-6 16,-3-1-42-16,-1-5-29 0,-4-4-28 15,2 2-5-15,-4-4-18 0,-4-1-23 0,-1-4-38 0,-2 0 9 16,-4 4-27-16,0-6-10 16,0-1 7-16,0-3 2 0,-3 2-22 0,3-4-6 15,-2-2 9-15,3-1-22 0,0-1 6 0,4-2-23 16,0 0-10-16,-8-7-3 0,6 1 10 0,4-1-28 15,0-1-3 1,1-4 6-16,4-4-3 0,1 3-13 0,2-6 16 0,1 0 5 16,7-7 0-16,-5 2 4 15,0 4-11-15,4-9 9 0,-3-2 21 0,-2 7 5 0,-4 4 25 0,-3 2-12 0,0 0 43 16,-3 4-13-16,-4 0-4 0,-1 0 4 16,-1-1-17-16,-2 5-6 15,-4-1 6-15,-3 0 2 0,3 5-3 0,-3-1-27 0,0 1-42 16,-2 4-23-16,2-1-71 0,0 2-31 0,3 2-36 15,-1 4-61-15,-1-2-85 0,1 4-250 16,3-1-554-16,1 2 93 0,2 0 145 16,0 2 78-16,2-1 63 0,-1 2 92 0,3 0 73 15</inkml:trace>
  <inkml:trace contextRef="#ctx0" brushRef="#br1" timeOffset="116929.15">8716 9635 1604 0,'-15'19'487'0,"-6"3"-62"0,-7 7-3 16,-10 7-46-16,-1 4 62 0,-5 5-110 0,-4 1-62 15,-17 14 5-15,-4 2-48 0,-3 0-23 0,0-5-14 32,-1 2-47-32,0-6-50 0,15-9-35 0,3 0-41 0,-1-3-64 0,8-2-19 0,1-3-40 15,6-8-20-15,11-3-31 0,3-6 2 0,10-8-189 16,9-1-597-16,1-3 85 0,6-5 108 0,1-2 22 16,0 0 80-16,21-13 115 0</inkml:trace>
  <inkml:trace contextRef="#ctx0" brushRef="#br1" timeOffset="117127.84">8854 9762 1310 0,'-16'18'540'0,"-6"3"-20"0,-7 9 28 0,-9 2-49 15,-5 6-46-15,-4 4-41 0,-1 2-51 0,-1 4-26 16,-2-2-35-16,-3 4-73 15,-10 10-6-15,13-13-91 0,-14 15-53 0,14-15-100 0,2 0-41 16,0 0-123-16,6-2-261 0,2 0-571 0,3-2 90 16,4-4 90-16,1-1 76 0,12-8 92 15,-2 0 70-15</inkml:trace>
  <inkml:trace contextRef="#ctx0" brushRef="#br1" timeOffset="126647.16">8405 13229 212 0,'62'-12'26'0,"2"-2"-134"0</inkml:trace>
  <inkml:trace contextRef="#ctx0" brushRef="#br1" timeOffset="127101.87">9690 13485 1080 0,'-13'6'412'0,"5"2"-36"0,6-1-30 0,2 0 9 0,6 1-109 0,6-2 66 0,6 1-25 15,10-3-10-15,16 2-39 0,5-2-13 0,4-1-25 16,6-2-16-16,0-2-5 0,15-2-33 0,1 2-26 16,-1-2-23-16,-2 0-17 31,-13 0-11-31,10-1-26 0,-12 1-27 15,-1-1-24-15,-5 0-30 0,-2 2-34 0,0-4-92 0,-6 1-176 0,-7 0-602 0,-8 2 64 0,-2-3 107 0,-8 4 47 16,-3-1 53-16,-7 2 98 0</inkml:trace>
  <inkml:trace contextRef="#ctx0" brushRef="#br1" timeOffset="127358.76">9636 13858 1149 0,'31'7'348'0,"2"-4"-46"0,13 0-10 0,3 1-29 0,5 0-19 0,-3-1-22 16,1 0-27-16,1 1-8 0,-2-1-29 0,-2 1-12 0,0 0-23 15,-5-2-23-15,-6 0-13 0,-7 0-15 16,0-2-31-16,-3 1-36 0,-5-1-28 15,3 0-39-15,-4-1-22 0,2-1-70 0,-3 1-45 0,-6-1-32 16,2 0-81-16,-8-1-128 0,6-1-269 16,0 1 33-16,-2-3 105 0</inkml:trace>
  <inkml:trace contextRef="#ctx0" brushRef="#br1" timeOffset="130303.48">15046 4850 1087 0,'-3'-4'453'16,"3"4"-30"-16,0 0-44 0,-7-2-29 16,7 2-27-16,0 0-44 0,0 0-18 0,0 0-28 15,0 0-18-15,0 0-5 0,0 0-18 16,0 0-39-16,15 8-25 0,-8-5-7 0,1-2-39 15,2 1-29-15,-1 0-25 0,3 1-28 0,1-3-56 16,-3 0-33-16,3 0-14 0,-2 0-58 0,1 0-110 16,1-5-152-16,0 5-432 0,-3 2 59 15,1 0 54-15,-4-1 110 0,-2 0 45 0</inkml:trace>
  <inkml:trace contextRef="#ctx0" brushRef="#br1" timeOffset="130471.64">14969 4984 1218 0,'0'0'407'0,"0"0"-72"0,13 3-20 16,-6-3-28-16,1-1-36 0,2-1-8 0,3 4-26 16,0-5-40-16,0 2-18 0,3 0-49 15,1-1-46-15,-1 0-44 0,-1 0-58 0,3 2-159 0,0-4-218 16,0 2-366-1,0-3 29-15,2 4 104 0,-4-3 49 0</inkml:trace>
  <inkml:trace contextRef="#ctx0" brushRef="#br1" timeOffset="130974">15815 4856 796 0,'0'0'355'0,"0"0"-37"0,2-6-14 16,-2 6-12-16,3-6-13 0,2 3-15 0,-2-1 61 16,0 0-26-16,2-2-17 0,0 3-3 15,0-2-31-15,0-1 21 0,2-1-62 16,1-2 13-16,0 1-12 0,0-1-32 0,-1-1-19 16,4 1 6-16,-4 0-4 0,1 1 2 0,0-1-12 15,-3 2-70-15,0 3 8 0,0-2-5 0,1 1-13 16,-4 0-5-16,3 3-25 15,-5 2 27-15,3-3-25 0,-3 3 5 0,0 0-10 0,4 9 36 16,-4-6-36-16,0 2 10 0,-2 3-11 0,2 2 6 16,-5 2-18-16,5 0 70 0,-3 1-4 15,-1 1 3-15,3 3-15 16,-4-1-15-16,3 0-4 0,-1-1-27 16,1 0-21-16,-1-2-20 0,0 0-46 0,3 1-29 15,0-2-4-15,-2-1-37 0,2 2-20 0,-3-4-25 16,3 2-8-16,0-1-26 0,0-1-28 0,0-1-49 0,0 1-84 0,0-3-166 15,0 1-448-15,0-2 109 0,3-1 55 0,-3 0 97 16,0 1 97-16,0-5 58 0</inkml:trace>
  <inkml:trace contextRef="#ctx0" brushRef="#br1" timeOffset="131283.5">15748 5065 998 0,'-5'0'461'0,"5"0"-47"0,0 0-30 16,0 0-20-16,0 0-9 0,0 0-40 15,0 0-28-15,0 0-8 0,26-3-21 16,-16 3-12-16,3 0-15 0,5-1-16 0,-3-1-11 16,4 1-111-16,1 0 4 0,1-1-8 0,1-1 1 15,-1 1-21-15,2 2 3 0,-2-3-21 0,-6 2 21 16,3-1-34-16,-3 0-10 0,0 1-10 15,-2-1-31-15,-3 2 3 0,1-1-44 0,-3 1-30 16,2 0-24-16,-3 0-30 0,-1-1-36 0,-6 1-61 16,10-3-180-16,-5 5-550 15,0-1 95-15,-2 0 81 0,-3-1 85 0,0 0 98 0,8 4 58 16</inkml:trace>
</inkml:ink>
</file>

<file path=ppt/ink/ink7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47:58.113"/>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7831 4604 1231 0,'0'0'292'15,"0"0"-34"-15,0 0-15 0,0 0-5 0,-18 5-18 0,10-1-20 0,-2 2 46 0,0-3-6 0,-3 3-12 16,3 0-20-16,-3 0-27 0,3 3-25 0,2-2-17 16,-2-1 1-16,2 1-22 0,-2-2-13 15,4 2-15-15,2-2-3 16,-1-1-5-16,4 1 5 0,-1 0-8 0,4 1-30 0,-2-3 4 16,6 1 11-16,-2-1-23 0,2 0 18 0,2 2-25 15,2-2 14-15,0 1-7 0,1 0-31 0,1 0 16 16,1 1 10-16,0-3-26 0,2 4 21 15,-2-1-11 1,0-1 11-16,-3 0-26 0,1 0 8 16,-4-1 7-16,1 1 21 0,-3 1 3 0,-2-1 20 0,-1 0 5 0,-2 1-74 0,0-5 2 15,-8 8 26-15,3-2-15 0,-7 0 12 16,1-1-14-16,-2 1 78 0,-2 1 3 0,0-2-31 16,0-2 6-16,1 1-24 0,-1-1 6 0,-1 1-8 0,4-2-34 15,-1 1-4 1,0-1-27-16,3-1-30 0,2 0-10 0,-2-1-41 15,3 0-38-15,7 0-44 0,-11-1-59 0,9-1-133 0,-1 0-543 16,3-2 9-16,3 0 101 0,1 0 72 0,4-3 90 16,5-3 76-16</inkml:trace>
  <inkml:trace contextRef="#ctx0" brushRef="#br0" timeOffset="297.16">8021 4627 1241 0,'0'0'376'0,"-16"12"-23"0,12-6-45 16,-2 1-14-16,-2 3-25 0,4-3-34 0,-2 3-17 16,2 1-19-16,1-1 50 0,0 2-29 0,3-4-20 15,0 3-6-15,3 0-71 0,0-2 15 16,4 2-25-16,0-4-13 0,3-1 15 16,-1 0-23-1,3-2-13-15,1 0 13 0,-2-4-17 0,-1 1 9 0,2-2 11 0,-1 0 2 0,-1-3 6 0,-2 1 17 16,0-3-82-16,-3 0 31 15,0-1 0-15,-2 2-10 0,-1-3-10 0,0-2 12 16,-2 2-4-16,-2-3-6 0,-1 4-10 0,-2-6 0 16,0 3-8-16,-3 2-15 15,1 0-3-15,2 1-17 0,-3-1-47 0,3 5-40 0,-3-2-24 16,3 3-38-16,0-2-46 0,-1 4-21 0,6 0-51 16,0 0-227-16,-12 5-487 0,12-2 105 0,-3 2 74 15,3 0 126-15,0-2 30 16,0 2 52-16</inkml:trace>
  <inkml:trace contextRef="#ctx0" brushRef="#br0" timeOffset="738.25">8265 4806 1361 0,'0'0'474'0,"0"0"-29"15,0 0-53-15,0 0-34 16,0 0-10-16,0 0-38 0,-3-11-115 0,3 11 12 0,2-7-10 16,1 0-13-16,0-2-38 0,-1 2 5 0,-2-1 0 15,3-3-20-15,-1 3 22 0,1 1-35 16,0-2 18-16,-1 1-29 0,0 2-9 16,1 1-6-16,0 2-21 0,-1-1 9 0,-2 4-16 0,6 0 0 15,-6 0 2-15,0 0-20 0,10 6 3 0,-7-2-8 16,1 2-3-16,1-3-17 0,0 2-11 15,1 0-7-15,-1 1-1 0,0-3-2 32,0 2 8-32,2 0 12 0,1-5-17 0,0 2 38 0,0 1-3 0,-3-2 8 0,3-2 0 15,0-2 29-15,-1 1-34 0,1 0 89 0,-1-2 3 16,1-1-2-16,0-1-1 0,-1-2-40 0,-1 2 12 16,1-4-10-16,-2 3-12 15,1-2 4-15,-3 1-12 0,1 0-41 0,-1 1-21 0,0 1-18 16,-3 0-43-16,2-1-69 0,0 2-26 0,1 2-64 15,-3-2-77-15,0 5-35 0,0-7-190 0,-3 4-561 16,3 3 70-16,0 0 161 0,0 0 12 16,0 0 68-16,0 0 114 0,0 0 39 0</inkml:trace>
  <inkml:trace contextRef="#ctx0" brushRef="#br0" timeOffset="1071.58">8562 4594 1016 0,'0'0'527'0,"0"0"-2"15,0 0-98-15,5 8-20 0,-5-3-56 16,3 1-31-16,-3 0-21 0,2 1-25 0,-1 4-23 16,3-3-26-16,2 3-15 0,-2-4-31 0,4 2-15 15,0 1-38-15,2-5-9 0,0 2-40 16,1-1-10-16,2-1-31 0,4-3-21 0,-1-2-5 16,1 0-20-16,2-2 18 0,1-3-1 15,0 0-14-15,4-3 9 0,-3-3-4 0,-4-1 9 16,1 1 19-16,-2 2-6 0,-3-1 8 0,2 1 8 15,-5 3 26 1,-2-1-8-16,-1 3-3 0,-1 2 5 0,-3 0-5 0,-3 2 6 0,0 0-9 16,-1 11-7-16,-1-1 15 0,-4 3-22 15,-2 1 9-15,-2 5-10 0,-2 0 19 0,1 4-19 16,-7 6-13-16,0-1 60 0,1 2-32 16,-1-5-25-16,0 1-53 15,5-5-44-15,0-4-47 0,6 1-81 0,-3-4-46 0,2-1-195 0,2 2-607 16,1-4 108-16,3 0 82 0,-4 0 128 0,6-5 28 15,-2 2 70-15</inkml:trace>
  <inkml:trace contextRef="#ctx0" brushRef="#br0" timeOffset="2824.64">13195 4556 1103 0,'-16'3'363'0,"3"3"-25"0,-2 4-28 0,-5 0 66 0,-11 6-46 16,0 4-12-16,0 0-27 0,1 2-32 15,-1 1-21-15,2 0-23 0,6 1-26 16,-2-3-25-16,9 0-20 0,1-5 9 0,5-1-12 0,5 0-28 16,-3-2 2-16,6-1-20 0,-1-1-6 0,3-2-4 15,5 2-14-15,0-3 6 16,0 1-36-16,5-3 28 0,1 1-112 0,2-3-3 16,2-2-11-16,1 0-32 0,-1-1-4 0,5-2-19 15,1-2-52-15,2-1-18 0,-2 2-89 16,2-8-180-16,2 2-470 0,-1 1 74 0,-2-4 74 15,-1 0 115-15,2-1 102 16</inkml:trace>
  <inkml:trace contextRef="#ctx0" brushRef="#br0" timeOffset="3179.76">13369 4658 1351 0,'-5'4'384'15,"0"0"-41"-15,-2 2-5 0,-1 3-123 16,0 0-15-16,3 1-9 0,-5-1-14 0,2 4-31 15,2-2-8-15,-1 0-12 0,0 2-14 16,-1-2-20-16,2-2-25 0,2 3 0 0,1-2-27 16,0-1-1-16,0-3-16 0,1 1 26 0,2-2-8 15,-2 1 17-15,2-5 11 16,0-1-17-16,0 0 30 0,0 0 87 0,0 0 28 0,0 0-31 16,12-12 23-16,-7 3-25 0,0-3 10 0,3-4-18 15,0-3 6-15,2-2 2 0,1 1-21 47,4-8-5-47,1 4-41 0,-6 5 13 0,2 4-89 0,-1 2-8 0,-3 1 0 0,2 6 30 0,-3-1-35 0,1 4 10 0,-1 3 0 0,-7 0 7 16,11 10-2-16,-6-4 0 0,0 6-13 15,-3-3-4-15,2 6 9 0,-4-1-30 16,2-1-49 0,-4 4-18-16,4-3-34 0,-2 3-24 0,-2-3-32 0,4-1-45 0,-4 1-37 0,4 1-73 0,-2-2-175 15,0-4-453-15,0 2 72 0,0-3 66 16,0-2 98-16,-2 0 74 0,-2 1 90 0</inkml:trace>
  <inkml:trace contextRef="#ctx0" brushRef="#br0" timeOffset="3369.95">13326 4784 1208 0,'-3'-4'355'0,"3"4"-24"0,0 0-27 15,0-5-22-15,0 5-19 0,8 0-24 0,-3-3-37 16,3 2-10-16,2 0 5 0,0 0-54 15,1 1-23-15,6-3-50 0,-4 2-42 0,3-2-56 16,-1 3-52-16,3-1-142 0,-3-2-155 0,1 3-452 16,2 0 51-16,-4 0 151 0,0 0 74 15</inkml:trace>
  <inkml:trace contextRef="#ctx0" brushRef="#br0" timeOffset="3733.56">13644 4814 1228 0,'-3'-1'428'0,"0"-4"-16"0,3 0-49 0,0 1-17 15,0-1-39-15,0-1-15 0,0-2-47 16,5-1-17-16,-4 3-2 0,3-1-37 0,0-1-18 16,0 2-12-16,-1 0-28 0,4 1-21 15,-4 3 13-15,2-1-21 0,-2 2-10 0,-3 1-7 0,8 4-29 16,-3-1 16-16,-2 1-6 0,1 0-20 0,-1 0-7 15,2 1 12-15,0 1-18 16,0-2-10-16,-2 0 28 0,2 0 6 0,-2-1 9 16,2 0 34-16,-2-1 95 0,1-1 12 0,-4-1-41 15,10 0 42-15,-10 0-37 0,11-3-81 0,-4-2-8 16,-1 0-8-16,-1 1 23 0,2-5-23 16,-1 1 24-16,-1-2-11 0,0 1-18 15,2-2-16-15,-4-1-17 0,4 0-8 0,-3 1-17 0,1-1-55 16,0 1-30-16,-3 0-59 0,3 3-41 0,-2-2-82 15,2 4-56-15,-3 0-52 0,4 2-89 16,-2 1-625-16,0 2 80 16,0-2 118-16,-4 3 63 0,10-2 131 0,-10 2 49 0,11 0 61 15</inkml:trace>
  <inkml:trace contextRef="#ctx0" brushRef="#br0" timeOffset="4040.51">14085 4626 1154 0,'-3'5'502'0,"-2"1"-47"0,2-2-30 0,-2 4-26 0,0-1-68 0,3 0 4 16,-4 1-56-16,4 0-15 15,0 0-29-15,1-1-22 0,-2 1-32 0,3-1-12 0,4 2-25 16,-2-2-9-16,0-1-12 0,4 0-10 0,1-2 2 16,0-1-18-16,1-1-2 0,-3 1-62 15,3-3 16-15,0 0-3 0,0-2 38 0,-3 1 103 16,0-1 0-16,0-3-21 15,0 0-12-15,-2-1-39 0,-1-2 13 0,1 1 8 0,-3-1-26 16,0-1-23-16,0 0-5 0,-3-1-13 16,1 2-33-16,-1-2-26 0,1 2-38 0,-1 1-49 15,0 1-66-15,-1-1-21 0,1 1-97 16,0 2-44-16,1 2-89 16,-4 2-241-16,6 0-450 0,-4-1 148 0,4 1 118 0,0 0 69 15,-6 4 56-15,6-4 108 0,0 8 44 0</inkml:trace>
  <inkml:trace contextRef="#ctx0" brushRef="#br0" timeOffset="4354.99">14189 4775 1233 0,'0'0'484'0,"6"1"-82"0,-6-1-26 0,5 0-30 0,-5 0-19 16,10-1-9-16,-10 1-39 0,7-7-21 0,-1 1-17 15,-1 1 5-15,1-2-36 0,1-1 53 16,3 0-32-16,-3 1-11 0,-1 0-8 0,-1 1-25 15,2 1-8-15,-1 1-10 0,-3 0-2 0,1 3-37 16,2-3-15-16,-4 3 11 0,-2 1-14 16,8-1-17-16,-8 1 5 0,8 0-8 0,-8 0-8 15,0 0-7-15,10-4 18 0,-7 4 5 16,4-2-26-16,-2-2 36 0,3 2-33 0,0-5-13 16,2 1 18-16,-2-3-18 0,4-2-10 0,1-4-31 15,3-1-31-15,-4-3-13 0,4 1-66 0,-3-1-56 16,-3 1-39-16,0 1-48 0,-2 3-44 15,-1-2-89-15,-1 2-308 16,-1 3-432-16,-3 1 92 16,-1 0 107-16,-1 4 82 0,-3-1 121 0,0 1 30 0,-2 0 95 0</inkml:trace>
  <inkml:trace contextRef="#ctx0" brushRef="#br0" timeOffset="7947.25">8362 5269 939 0,'0'0'322'0,"3"-1"-14"0,-3 1-17 0,0 0-24 0,0 0 55 16,0 0-25-16,0 0-36 15,0 0-18-15,0 0-23 16,0 0-5-16,0 0-15 0,0 0-23 0,0 0-3 0,0 0-16 0,-19 6-12 16,17-3-28-16,0 2 10 0,2 0-33 15,0 2-6-15,0-1 19 0,2 3-21 0,1 2-41 16,2 3 28-16,-1-2-81 0,4 3-19 15,-2 0 23-15,1 2-12 0,-1-1 0 0,1 0 12 16,-2-1 1-16,-2 1 7 0,2-3-8 16,-5-1 3-16,0 1 3 0,-5 0-8 0,2-1 15 15,-4-1-15-15,-1-2 15 0,1 1 5 16,-1-3 1-16,0 0-19 0,0-1 29 0,1-1-16 16,-1-3 10-16,0-1 6 0,3-1-13 0,5 0 2 15,-10-1-2-15,7-3 2 0,3 1-10 0,0-3-2 16,3-1 5-16,0-4-16 0,4 1 5 0,0-4-2 15,4-1 0-15,-1-2 15 16,3 2-20 0,0-4 18-16,0 1-3 0,0 0 15 0,0-1 16 0,-1 1-8 0,1 1 13 0,-6 2 11 15,-1 1 12-15,-4 2-6 0,1 0 17 0,-1 1 2 16,-2 0-16-16,-3 3-5 0,1 0-2 0,-3 0-26 16,-2 1-48-1,-1 4-39-15,2-3-31 0,-4 3-71 0,3 1-72 0,-3 2-92 0,-1 2-269 0,1 2-379 16,2-2 147-1,-2 6 37-15,0-3 75 0,0 3 84 0,-1 0 26 0</inkml:trace>
  <inkml:trace contextRef="#ctx0" brushRef="#br0" timeOffset="10380.62">8375 5956 1241 0,'-3'-6'479'0,"1"2"-26"15,2 4-126-15,0 0-20 0,0 0-20 16,-16 12-39-16,9-3-33 0,-1 2 3 15,0 6-31-15,-2 2-10 0,-3 3-9 0,0 7-29 0,-2 4 4 16,5-1-46-16,-5-4 1 0,6-3-27 0,2-3-22 16,2-7-3-16,2 3-10 0,3-4-16 15,-3 1 6-15,3-5-26 0,3 1 5 0,0-4-5 16,-1-1 0-16,4 1 5 0,-1-2-10 16,2-4 10-16,1-1 5 0,-3 0 1 0,-5 0 6 15,16-5-4-15,-11 1 3 0,2-1 14 16,1-5-1-16,-5 4-4 0,2-2 14 0,-3 0-1 15,1-2-10-15,-3 2 0 0,0 1 0 0,0-3-5 16,-3 3 3-16,1 1-34 0,-3-1-38 0,2 1-33 16,-5 2-36-16,1 2-62 0,2 1-89 15,-5 2-205-15,1 0-443 0,0 3 121 16,-2 2 40-16,1-1 70 0,-3 3 81 0</inkml:trace>
  <inkml:trace contextRef="#ctx0" brushRef="#br0" timeOffset="12444.32">8177 6689 1005 0,'0'0'359'0,"-4"3"-14"0,4-3-30 0,0 0-13 0,0 0-38 16,0 0-31-16,0 0-98 15,20 2-17-15,-12-2 3 0,2 0-29 0,0-1 0 16,5 0 5-16,1-2 57 0,-3 2-26 0,2 0-11 16,0-2-9-16,-2 2-11 0,0-1 11 15,-3 2-24-15,-2-1-4 0,0 1 27 0,-1 0-7 16,-2 1-5-16,-5-1 15 0,8 6-16 0,-5 1-25 15,-3-1 21-15,0 2-59 0,-3 3-26 0,0 1 8 16,-2 2 20-16,1 4 8 0,-2-1-3 16,-1 4-12-16,1-2-13 0,-2 0 7 0,1-1 6 15,4 1-8-15,-4 0-16 0,1-2-27 16,2-1-1-16,0 1-17 16,-3 0-27-16,4-3-6 0,1-1-37 0,-3-2-23 0,5 0-45 0,0-3-106 15,-3 0-66-15,-1-3-100 0,4 2-405 16,0-1 83-16,0-3 73 0,0-3 85 0,2 3 67 15</inkml:trace>
  <inkml:trace contextRef="#ctx0" brushRef="#br0" timeOffset="12665.37">8039 6994 1246 0,'0'0'351'0,"0"0"-13"0,0 0-24 15,0 0-29-15,0 0-65 0,0 0-36 0,25 4-33 16,-12-4 3-16,3 0-24 0,2 0-35 16,2 1-3-16,3-4-28 0,3 3-13 0,-3-1-23 15,6 0-40-15,-4 1-19 0,3-5-61 0,-2 4-64 16,-3 1-141-16,-2 0-441 0,1-1-1 16,-2 0 83-16,-4 1 55 0</inkml:trace>
  <inkml:trace contextRef="#ctx0" brushRef="#br0" timeOffset="16663.49">13782 5308 1144 0,'2'-7'338'0,"-2"6"-18"0,0 1-16 0,0-6-15 0,0 6-97 16,-2-6-10-16,2 6-10 0,-5-2-16 15,5 2-15-15,0 0-14 16,-13 4-14-16,8 0 7 0,0 1-7 0,-3 1 66 16,0 2-25-16,-2-2-6 0,-1 6-10 0,1-4-20 0,3 0-20 15,-3 2 14-15,4-1-50 0,-1 0-4 0,2 1-4 16,2-2-64-16,0-1 7 0,1-1-7 16,2 1 5-16,3-4-3 0,2 0-4 15,0-1-4-15,5-2-2 0,-2-2 13 0,7 1-8 16,-2-4-2-16,5 0 2 0,-3-3 13 0,1 2-18 0,-1 1 26 47,-2 1-5-47,-3 1-3 0,1 1 25 0,-4 2-12 0,-1 1 10 0,1 5 0 0,-4 1 5 0,-1 5-12 0,-2 1-6 0,-2 8-10 15,-4 3-3 1,-4 14-30-16,0 2-8 0,-3 1-97 0,-2 12-116 0,2-14-235 16,2 2-396-16,-1-1 135 0,2-2 20 0,2-1 55 0,3-9 81 15</inkml:trace>
  <inkml:trace contextRef="#ctx0" brushRef="#br0" timeOffset="19944.66">13748 6194 1231 0,'0'0'356'16,"0"0"-57"-16,0 0-17 0,0 0-24 0,0 0-99 0,0 0 17 0,-14 15-48 15,8-10-5-15,-4 1-20 0,2 1-11 0,-2 2 13 16,2-1-5-16,-5-2-19 16,3 2 9-16,-1 2-21 0,-1-2-10 0,2-2 0 15,2 1-18-15,-2-1 2 0,2 0-4 0,3-1 2 16,-3 2 7-16,4-1-7 0,-2-2 5 15,4 0-20-15,1 1 0 0,1-1 20 0,1-1-21 16,1 1 9-16,4-1 24 0,1 2-40 0,3-1 57 16,1-2-1-16,1 1 0 0,3 1-7 15,3-1 17-15,1 0-33 0,3-1-12 16,2 0-4-16,-1-1-32 0,0-1-31 0,0 0-8 16,-2-3-18-16,-1 1-30 0,-5 2-70 0,3 0-99 15,-5-5-123-15,0 4-436 0,-3-1-25 0,1-1 141 16,-1 1 41-1,-7 0 45-15</inkml:trace>
  <inkml:trace contextRef="#ctx0" brushRef="#br0" timeOffset="20131.28">13843 6295 760 0,'-5'18'358'15,"1"1"-58"-15,1 0-6 0,-3 5-28 0,2 1-38 16,-2 1-133-16,-4 11-67 0,0 1-113 0,-6-1-142 16,9 1-477-16,-3-2 82 0,4-2 94 15</inkml:trace>
  <inkml:trace contextRef="#ctx0" brushRef="#br0" timeOffset="22554.84">13817 6300 563 0,'0'0'253'0,"0"0"-23"0,-2-5-4 16,2 5-29-16,0 0-3 0,0 0-20 0,0 0-7 15,0 0-3-15,0 0-16 0,0 0 57 0,0 0-3 16,0 0-30-16,0 0-14 0,0 0-20 16,0 0-15-16,0 0 21 0,0 0-9 0,0 0-17 15,3 16-10-15,-3-8-1 0,3 3-10 0,-3-1-15 16,0 5 3-16,2 0-29 0,-4 2-79 0,2 3 0 16,-3 0-26-16,2 4-33 15,-1 3-79-15,-3 1-51 0,0-4-134 0,0 3-445 16,0 9 13-16,-3-8 146 0,3-3-8 0</inkml:trace>
  <inkml:trace contextRef="#ctx0" brushRef="#br0" timeOffset="24404.57">13703 6899 898 0,'0'0'379'16,"-13"7"33"-16,8 0-41 0,-1 4-33 16,3 1-33-16,-6 3-26 0,4 2-13 0,-3 3-31 0,2 3-112 0,-1-2 0 15,2 2-23-15,0 0-5 16,2-2-8-16,1 0-8 0,1-3-5 0,1 1-7 16,1 0-1-16,4-3-38 0,-2 0 13 0,6-3-10 15,-1-1 18-15,0-2-26 0,0-2 7 0,2-3-4 16,-2-2 12-16,0 0-12 0,-1-3 20 15,0-1-10-15,1-3 13 0,-2 1 4 0,-1-2-17 16,-3 0 10-16,1-1-15 0,-3 0 20 0,0-1-20 16,-3 0-8-16,0 0 0 15,-4 1-26-15,2-1-38 0,-5 1-5 0,2 2-64 16,-2-2-48-16,-3 5-91 0,3 0-199 0,-4 2-463 0,2 0 92 16,-1-1 92-16,0 5 69 0,-2-3 62 0</inkml:trace>
  <inkml:trace contextRef="#ctx0" brushRef="#br1" timeOffset="96292.99">16284 685 895 0,'-2'17'267'0,"-1"0"1"16,1-1-50-16,1-2-52 0,-1 1-45 15,0-1-50-15,-1 3-45 0,0-1-65 0,1 0-73 16,0-2-42-16,2-1-94 0,-4 0 53 0,4-2-45 0,0-2 25 16,-2 1 13-16,2-3 168 15,0-1 73-15,0 0 25 0,0-2 48 0,0-4 42 0,0 4 28 16,0-4 12-16,0 0 24 0,0 0 25 15,6-11 10-15,-4 2-15 0,0-3 11 0,4-6-16 16,-1-3 5-16,0-3-18 0,5-13-18 31,1 0-7-31,-1 1-78 0,4-2 4 0,0 3-11 0,1-1-10 0,1 2 15 16,-2 4-5-16,0 8 13 0,-4 3-6 0,0 1 4 0,1 4-19 16,-4 3-2-16,1 2-3 0,0 1 8 0,-1 4-20 15,-2 2 4-15,1 2 85 0,-6 0-23 0,10 8-10 16,-8 3-13-16,1 2-18 0,2 5-8 15,-5 4 6-15,2 4-1 0,-4 2-9 16,2 0-27-16,-3 2 4 0,-2 8-22 0,0 0-17 16,0-1-28-16,0-8 7 0,2-4-35 0,-1 1-29 0,0-1-17 15,0-5-42-15,1 0-7 16,0-1-44-16,1-4-17 0,0-1-50 16,-1-1-58-16,3-3-95 0,0-1-319 0,-3-1-252 15,3-2 116-15,0-2 86 0,0-1 75 0,0-3 56 0</inkml:trace>
  <inkml:trace contextRef="#ctx0" brushRef="#br1" timeOffset="96491.81">16303 805 1356 0,'0'0'420'0,"2"-4"-26"0,-2 4-41 0,5-3-22 0,-5 3-22 16,10-1-25-16,-3 0-23 0,2 1-7 0,1 0-54 15,2-1-14-15,2 2-14 0,1-2-57 0,1 1-28 16,1-1-69-16,-1 0-49 0,2 0-43 16,-3 0-120-16,2-1-144 0,-1 0-556 15,-3 0 52-15,0 0 123 0,2-2 30 0,-4 1 57 0</inkml:trace>
  <inkml:trace contextRef="#ctx0" brushRef="#br1" timeOffset="96803.37">16684 758 1041 0,'-2'8'341'0,"4"1"-65"16,-2 0 1-16,3 0-34 0,-1 0-3 15,1 0-50-15,2 0 4 0,0 0-14 16,0-3-4-16,1 0-9 0,1 1-50 0,3-1 6 0,-2-2 100 16,0-2-26-16,2 0 8 0,-2-2-44 15,0-2-5 1,-1 1 18-16,1-4 5 0,0 2 65 0,-1-3-35 0,-2 0-17 0,3-3-23 15,-3 1 0-15,3-2-18 0,-3 1-18 0,0 0-23 0,1-1-2 16,-2 3-62-16,-1-1-15 16,0 2-67-16,-1 1-49 0,0 1-43 0,2 0-48 15,-2 0-42-15,0 2-143 0,-2 2-171 0,6-2-474 16,-6 2 105-16,7-1 107 0,-7 1 55 0,8 0 89 16,0-1 107-16</inkml:trace>
  <inkml:trace contextRef="#ctx0" brushRef="#br1" timeOffset="97110.98">17053 703 1451 0,'-7'4'461'0,"-3"2"-29"15,1 2-120-15,-3-1-7 0,2 1-18 0,0-1-42 16,1 2-24-16,2-1-27 0,-3-1-12 16,5 2-13-16,-1-2-39 0,4 0-14 0,0-2-6 0,4 1-23 15,0-1 15-15,4-1-15 0,2 0-13 16,2-2-10-1,0 0 0-15,3 1-5 0,2 0 15 0,0 0-2 0,-2-1 0 0,0 4 17 16,4-2 16-16,-3 2-18 0,-1 2 16 0,-1 1 2 16,-1 2 5-16,-3 2 0 0,-3-2 54 15,-1 2 2-15,-4 0-15 16,0-2 5 0,-4 2-2-16,1-1 12 0,-2 0-125 0,0-2-31 0,2 0 72 0,-2 0-43 0,2-3-9 0,-1-2-14 0,3 0-6 15,1-2-31-15,0-3-9 0,0 0-21 16,0 0-29-16,0 0-12 0,8-11-56 15,-3 5-47-15,0-3-30 0,8-1-26 16,-5-3-23-16,2 2-46 0,3-2-36 0,-3-1-184 0,3-3-456 16,0 5 126-16,0 0 54 0,-3 2 145 15,0 1 59-15,-2 2 62 0</inkml:trace>
  <inkml:trace contextRef="#ctx0" brushRef="#br1" timeOffset="97516.36">17820 651 1476 0,'0'0'418'16,"0"0"-39"-16,18 0-47 0,-10 0-60 0,0 0-68 15,-1 0-60-15,4 0-78 0,-1 0-94 0,0-3-228 16,-3 3-558 0,4 1 123-16,-4 1 20 0,-1-2 98 0</inkml:trace>
  <inkml:trace contextRef="#ctx0" brushRef="#br1" timeOffset="97673.65">17833 790 988 0,'8'0'404'0,"2"1"-41"0,0-1-58 0,3-1-54 0,0 1-74 16,2-1-83-16,-2 1-155 0,0-2-584 15,2 1-34-15,-2 0 68 0,1 0 50 0</inkml:trace>
  <inkml:trace contextRef="#ctx0" brushRef="#br1" timeOffset="103463.33">18664 434 1105 0,'0'0'354'0,"0"0"-45"0,0 0-14 16,0 0-42-16,0 0-17 0,28-4-21 0,-18 3-16 0,1-1-17 16,1 1-21-16,1-2-20 0,3 2-5 15,-4-1 2-15,4-1-5 0,-6 2 18 16,3 0-3-16,-3-1 9 0,-2 0-29 0,2 0 10 15,-5 2-13-15,3 0 6 0,-1 1 2 0,-4 1-13 16,4 2 6-16,-4 1-21 0,2 1 17 0,-4 3-22 16,-1 4-5-16,0 1 18 0,-1 1-21 0,-2 5 0 15,1 0-5 1,-2 3-10-16,-2 2-8 0,1 0-10 0,0 0-6 16,0-1-12-16,-1 0-38 0,1-3-18 0,-2 0-42 0,4-4-27 0,-2 1-31 15,2-2-24-15,-2-3-32 0,3 0-59 16,-1 0-39-16,0-2-41 0,0-1-184 15,-1-2-468-15,1 0 102 16,1-2 94-16,2-1 75 0,-3-1 110 0,3-1 23 0</inkml:trace>
  <inkml:trace contextRef="#ctx0" brushRef="#br1" timeOffset="103682.71">18707 741 1049 0,'0'-5'420'15,"3"2"-41"-15,2-2 38 0,0 0-23 16,5 2-23-16,1-1-41 0,2-1-30 16,5 1-44-16,2 0-95 0,3 0-15 0,5-1-18 15,0 0-59 1,0 1-48-16,3 2-24 0,-3-1-48 0,0 2-23 0,3 1-95 0,-2-1-174 16,-3 2-520-16,-1 0 100 0,-2 1 36 0,0 1 75 15,-2 0 78-15</inkml:trace>
  <inkml:trace contextRef="#ctx0" brushRef="#br1" timeOffset="112777.08">22033 375 1407 0,'0'0'448'0,"0"0"-30"0,-11 7-42 0,6-1-43 15,-3 5-39-15,-2 2-15 0,3 3-33 0,-1 3-36 0,-2 3-18 16,-3 10-21-16,0-1-23 15,4 2-4-15,-3-1-6 0,4-4-18 0,4-2-40 0,2-3-4 16,1-2-6-16,2 0-12 16,3-2-17-16,-2 0 18 0,6-3-25 0,0 0 7 0,2-1 7 15,0-4-15-15,1-1 6 0,-1-2-19 16,2-3 6-16,-1 0 17 0,-1-3 6 0,0-2 18 16,1 0-16-16,-4-2 26 0,-1-1-8 0,1-4 0 15,1 1-13-15,-2-2 23 0,-2-3 3 16,0 1-25-16,-2-1-19 0,0-3 16 15,-2 4-6 1,0-4-7-16,-2 2-20 0,1 0-6 0,-4-1 1 0,2 4-39 0,-1-2-44 0,-1 2 0 16,-1 1-30-16,3 3-61 0,-4-1-32 15,2 2-48-15,2 1-44 0,-2 1-132 0,-7 1-106 16,12 1-422-16,0 0 82 0,0 0 108 0,0 0 48 16,0 0 66-16</inkml:trace>
  <inkml:trace contextRef="#ctx0" brushRef="#br1" timeOffset="112893.43">22066 678 870 0,'5'-3'386'0,"-5"3"-9"0,3-3-6 0,-3 3-123 0,4-2-10 16,-4 2 0-16,3-2-41 0,-3 2-25 0,0 0-6 16,5-2-64-16,-5 2-53 0,0 0-49 15,0 0-120-15,8-5-192 0,-4 6-472 0,-4-1 65 0,0 0 53 16,9 3 80-16</inkml:trace>
  <inkml:trace contextRef="#ctx0" brushRef="#br1" timeOffset="113691.58">22592 514 954 0,'4'-3'394'0,"-4"3"54"16,6-2-51-16,-1 1-28 0,-5 1-26 0,10-2-34 16,-4 2-30-16,-6 0-15 0,12 3 2 0,-4-1-12 15,-3 1-9-15,2 0-47 16,-1 2 4-16,-1 0 5 0,1 0-41 0,-4 2 11 15,0 0-34-15,2 1-17 0,-4 0 15 0,-2 2-31 16,0-1 0-16,-3 1-10 0,-1-1-11 16,-3 1 8-16,3-1-25 0,-1 0-3 0,-1-2 3 15,3 1-8-15,-2-3-31 0,3 1 21 0,0-1-13 16,2 0 2-16,-2-3-7 0,4 2-13 0,3 1-5 16,0-2 13-16,1 0-18 0,4 1 5 15,0 1-3 1,4 0-5-16,-3 1 8 0,6 2-15 0,-2-2 7 0,-1 0 18 0,1 2-92 15,3-1 39-15,-6 2-4 0,2-1 4 16,-4-1 48-16,0 2-31 0,-3-1 34 0,0-1-21 0,-5 1 26 16,0-2-11-16,-5 3 11 0,2-2-1 15,-6 0 1-15,1 1-33 16,-7 1-3-16,-1-2-19 0,-2 2-65 0,-5-1-49 0,2 1-21 16,-3-2-77-16,0 1-45 0,1 0-106 15,-5-2-217-15,11-2-381 0,1 0 53 0,2 1 108 0,3-2 82 16,-1-2 63-16,2 1 106 15</inkml:trace>
  <inkml:trace contextRef="#ctx0" brushRef="#br1" timeOffset="114122.35">22365 726 1819 0,'3'-4'494'0,"-3"4"-58"15,4-4-73-15,-4 4-94 0,2-3-95 0,-2 3-125 16,0 0-193-16,7-1-729 0,-7 1 123 16,0 0 59-16,8 7 143 0,-5-4-10 15</inkml:trace>
  <inkml:trace contextRef="#ctx0" brushRef="#br1" timeOffset="115483.8">18762 746 174 0,'-4'-3'66'0,"4"3"-2"0,-2-2 26 0,2 2 20 16,-2-5 8-16,2 5 117 0,-3-3-40 15,3 3 40-15,-6-3-5 0,6 3-68 0,-7-3-14 16,2 2 26-16,1-1 46 0,-2 1 54 16,0 0 3-16,-1-1-9 0,-1 1-68 0,2 0-16 15,-4 1 1-15,0-1-14 0,5 0-12 0,-3 1-3 16,8 0-15-16,-12 0-13 0,12 0-26 0,-10 0-12 16,10 0-3-16,-6 3 5 0,6-3-28 15,-2 3-13-15,2-3-33 0,0 4-23 16,0-4-18-16,8 6-23 0,-3-4-21 0,3 0-38 15,1 1-12-15,0-1-63 0,3-1-63 0,0 0-97 16,-1 0-88-16,5 0-414 0,-4 0 90 16,4 0 66-16,-3-1 56 0</inkml:trace>
  <inkml:trace contextRef="#ctx0" brushRef="#br1" timeOffset="116939.06">18796 1267 1008 0,'-7'-3'394'16,"7"3"-30"-16,-5-3-29 0,-3 3-30 0,8 0-42 15,-12 3-7-15,2-3-25 0,2 2-29 16,-1 1-18-16,1 0-7 0,-1 1-21 15,-1-1-20-15,2 1-8 0,0-2-6 0,0 2-29 0,1-1-12 16,2 1-4-16,-1 1-5 0,2-1 0 0,1 1-1 16,0-1 1-16,3 0-34 15,4 0 16-15,-2 0-21 0,2 2 8 0,2-1-5 16,2 0-10-16,-1 0-6 0,3 2 6 0,1-1-11 16,-1 0 18-16,0-2 49 0,-2 1-7 15,0-1-9-15,0 1-10 0,1-1 8 0,-4 0 23 16,-1-1-12-16,0-1 7 0,-1 2 12 15,0-1-2-15,-3 1 19 0,0-4 11 0,-6 8-35 16,2-3-5-16,-4-1-36 0,0 0 6 0,-2 2 17 16,-3-2-18-16,0 1-5 0,0-1-8 15,2-1-7-15,-3 0-39 0,3 2-30 0,-4-3-8 16,2 2-15-16,0-2-29 0,3 1-15 16,3-1-43-1,-2-2-60-15,0 2-53 0,3 0-161 0,1-2-213 0,0 2-335 0,5-2 123 0,0 0 50 16,0 0 81-16,0 0 78 0,10-8 62 0</inkml:trace>
  <inkml:trace contextRef="#ctx0" brushRef="#br1" timeOffset="117260.35">18856 1327 1215 0,'0'0'369'0,"0"0"25"15,0 0-30-15,0 0-29 0,0 0-38 0,0 0-16 16,-2 12-43-16,2-7-10 0,-1 1-31 15,2-1-28-15,-1 2-28 0,0-2-10 0,2 2-19 0,0-1-17 16,2 0 2-16,-2 1-30 16,5-2 2-16,-2 0-13 0,1-1-5 0,1 0-10 15,1-1 34-15,0-3-6 0,0 3 8 0,-1-4 25 16,-7 1-10-16,15-2 28 16,-9 0 31-16,-1-1-30 0,0-1-80 0,-2 0 12 0,-1-1 16 15,-2-2-10-15,0 2-20 0,0-4 4 0,-2 1-12 16,-1 1 2-16,-2 0-2 0,2 0 7 0,-2 0-15 15,2 0 8-15,-2 1-44 0,0 1-28 16,0 1-28-16,0-1-28 0,-3 2-59 16,5 1-44-16,-4 0-56 0,7 2-125 0,-11 0-630 15,7 3 92-15,-2-2 115 0,6-1 90 0,-8 2 31 16,6 0 101-16</inkml:trace>
  <inkml:trace contextRef="#ctx0" brushRef="#br1" timeOffset="117615.96">19030 1320 1174 0,'3'4'382'0,"-1"1"-34"0,-2 1-33 16,2 0-31-16,-1-1-18 0,2 1-38 0,-1 0 7 16,-2-1-38-16,2-1-81 0,-1 2 12 15,-1-2 5-15,0 1 23 0,0-2 0 16,2 0 59-16,-2-3 21 0,0 6 7 0,0-6-3 15,3 2-22-15,-3-2-16 0,0 0-89 16,0 0 2-16,0 0 5 0,12-8-7 0,-9 4-24 16,2 0 22-16,-2 1-35 0,1-1 11 0,0 1 16 15,0 0-9-15,-1 0-17 0,0 1-10 0,-3 2-1 16,7-2-7-16,-7 2-10 0,8 0-3 16,-8 0-3-16,8 3 9 0,-3-1-27 0,0 0-4 15,0 1-16-15,-2 1-10 0,2 0-47 0,0 0-35 16,-2-1-41-16,-1 1-20 0,3 0-52 15,-2-1-45-15,-1-1-57 16,3 1-164-16,-2 0-149 0,-1 0-365 0,2-2 71 0,0 0 134 0,-4-1 32 16,8 1 114-16,-8-1 32 0</inkml:trace>
  <inkml:trace contextRef="#ctx0" brushRef="#br1" timeOffset="117878.45">19256 1385 870 0,'0'6'253'0,"-2"-1"-30"0,4-2 0 16,-2 1-57-16,2 0 13 16,2 0-7-16,-2-1-29 0,2-1 77 0,2 1-2 0,-1 0 2 15,0-3 5-15,-5 0-76 0,15-1-4 0,-5 0 9 16,-2 0 18-16,0 1-11 16,2 0 74-1,-5 0-7-15,3 2-33 0,0 1 22 0,0 1-2 0,-1 3-23 0,-2 3-82 0,-2 2-12 16,2 2 1-16,-5 4-12 0,0 3 11 15,-5 6-19-15,-2 10-18 0,-3 0-22 0,-4-1-42 16,3 1-50-16,-3-5-35 0,0 0-55 0,2-2-69 16,2-6-159-16,1-5-602 15,-1 0 77-15,4-3 67 0,-2-2 112 0,2-2 77 0,1-2 64 16</inkml:trace>
  <inkml:trace contextRef="#ctx0" brushRef="#br1" timeOffset="120885.31">22302 1308 1116 0,'-3'-3'445'0,"3"3"-48"0,-13 2-108 0,8 0-20 0,-3 0-18 16,-1 2-24-16,-2 1 1 0,-2 2-28 0,-2 2-26 0,4 2 0 15,-1 0-23-15,-2 1-5 0,0 3-10 0,3 1-32 16,-2-1-14-16,3-2 12 0,5 0-27 16,-5 2 1-16,7-3-12 0,-2-1 70 0,2 0-4 15,1-1-10-15,2-1-22 0,0-2-19 16,2 2-10-16,1-1-23 0,3-2-23 0,-2-1-28 15,6-2-18-15,0 2-36 0,-1-3-25 16,6-2-34-16,-2 2-18 0,2-3-66 0,1 0-74 16,2-1-85-16,-4 0-123 0,5-2-343 0,1-1 85 15,1-1 25-15,2 2 93 0,-3-3 107 0</inkml:trace>
  <inkml:trace contextRef="#ctx0" brushRef="#br1" timeOffset="121649.2">22619 1365 1169 0,'-4'-7'290'0,"2"5"-11"0,-4 0-11 0,1 2-40 0,5 0 2 16,-14 0-32-16,4 1 1 0,0 4-30 15,0-2 0-15,-3 1 64 0,1 2-28 0,1 0-16 16,-4 2-22-16,2 0-6 0,0-1-20 0,5 1-24 16,-1-1 1-16,-2 2-8 0,5 0-15 0,-2-3-13 15,2 1 2-15,0-1-27 0,2-1 9 16,0 3-12-16,2-3-8 0,2-1 10 0,0 0-2 15,2 0-16-15,-2-4-2 0,8 5-2 16,-2-5-17-16,0 0 22 0,-6 0 7 0,14-3-31 16,-6 1-12-16,3-3 5 0,-2 0 7 15,-1 0 39-15,2-3-42 0,-2 1 4 0,0 1-11 16,-1-1 13-16,-2 1 10 0,1 2-20 0,1 0 30 16,-4-2-12-16,2 3-19 0,-3 1 19 15,3-2-16-15,-4 2-7 0,-1 2 22 16,0 0-17-16,0 0 2 0,0 0 16 0,0 0-21 0,0 0 18 15,0 0 10-15,0 0-25 0,0 0-3 16,-6 12-7-16,6-8-1 0,-2-1-2 16,2-3 5-16,-1 6-21 0,-1-3 14 0,2-3-16 15,-2 4 48-15,-1-1-35 0,3-3 7 0,0 5-4 16,0-5 7-16,0 0-16 0,0 4 24 16,0-4-5-16,0 5 7 0,0-5-5 15,0 0-13-15,3 4 1 0,-3-4 12 0,4 3 0 0,-3 0-13 16,-1-3 8-16,2 3-2 0,-2-3-6 15,3 4 8-15,-3-4-13 0,3 3 3 0,-3-3 10 16,2 3 5-16,-2-3-15 0,3 3 30 0,-3-3-22 16,3 2 7-16,-3-2-3 0,0 0 16 0,0 0-28 15,2 4 23-15,-2-4 18 16,2 2-26-16,-2-2 15 0,0 0-10 0,0 0 16 0,0 0 0 16,13-2 4-16,-13 2 1 0,7-4 2 15,-3 2-4-15,3-1-76 0,-2 0 19 0,0 0-15 0,3-1 20 16,-2 3-3-1,1-1 8-15,-2-1-5 0,0 1 23 0,-5 2-2 0,10 0-6 16,-4-1 5-16,-6 1-9 0,12 2 17 0,-6-1-10 16,0 2-3-16,-2-3 21 0,1 2-3 15,0 0-7-15,-1 1-1 0,0-1 1 16,0 0 22-16,-4-2 49 0,6 4 16 0,-4-1 0 16,1-1 20-16,-3-2-16 0,6 3 4 0,-6-3 12 0,2 2-110 15,-2-2 18-15,5 2 15 16,-5-2 10-16,0 0-22 0,5 1 12 0,-5-1 0 0,0 0 3 15,4 4 5-15,-4-4-13 0,0 0-17 16,0 0-1-16,4 3-36 0,-4-3-2 0,0 0-38 0,0 0-39 16,0 0-44-16,0 0-15 15,0 0-40-15,12-5-37 0,-9 2-59 0,0 0-101 16,2-1-65-16,2-1-471 0,0 2 77 16,1-4 107-16,0 3 14 0,2-3 137 0,1 2 36 15</inkml:trace>
  <inkml:trace contextRef="#ctx0" brushRef="#br1" timeOffset="122175.28">22927 1384 729 0,'0'0'356'0,"0"0"-116"16,0 0 4-16,0 0-24 0,-8 12 41 16,6-7 2-16,-1 0-35 0,-2 1-2 15,3 2-40-15,1-1-24 0,-1 1 4 0,0 1-23 0,2-2-17 16,0 0-21-16,4 1 12 16,-3-1-24-16,1 0 6 0,3-1-27 0,-2-1-5 15,4 0 15-15,0 0-6 0,-3-2 11 0,4-1 0 16,-3-2 3-16,2 0 25 0,-7 0-20 15,13-2 10-15,-7 0-3 0,0 0 19 0,-2-3-11 16,2-1-95-16,-5 2 16 0,0-1-13 0,-1-1 17 16,0 1-19-16,-1 0 9 0,-4-1 16 0,3-1-38 15,-2 1 5-15,-2 2 7 16,-2 0-7-16,3-1 7 0,-1 2-35 0,-1 0-6 16,2-1-2-16,-3 2-26 0,4-1-18 0,-2 2-15 0,6 1 3 15,-8-2-1-15,8 2 9 0,-5-2-22 16,5 2 11-16,0 0 10 0,0 0 14 15,0 0 4-15,0 0 13 0,0 0 5 0,0 0 5 16,0 0 18-16,21 4-18 0,-14-2 16 0,1 1 4 16,1-2-15-16,0 2 16 0,-1 0 13 0,2 0 17 15,0 1 8-15,-2 0-5 0,-1 1 7 16,1-1-9-16,0 0 25 0,-1 1-8 0,-2-1 5 16,1 0-2-16,-1 1 3 15,0-2-1-15,-1 2 6 0,0-3 14 0,0 1 24 0,-1 0 0 16,1-2 0-16,-4-1 13 0,6 4 10 0,-6-4 13 15,8 0-13-15,-8 0-11 0,12 0 1 16,-6-2-16-16,2 2 3 0,-1-2-5 0,-1 1-8 16,4 0-2-16,-2-1-8 0,2 1-11 15,-2 1 8-15,-1-1-53 0,1 1-52 0,0-1-17 16,0 1-60-16,-8 0-43 0,13 0-86 0,-6 1-257 16,0 0-502-16,-2 0 126 0,2 0 112 15,-3 0 80-15,-4-1 59 0,10 1 132 0</inkml:trace>
  <inkml:trace contextRef="#ctx0" brushRef="#br1" timeOffset="122343.67">23439 1517 1169 0,'0'0'389'0,"6"0"-28"0,-6 0-79 0,0 0-72 0,0 0-75 0,8-1-101 16,-8 1-221-16,0 0-504 0,0 0 61 15,0 0 34-15</inkml:trace>
  <inkml:trace contextRef="#ctx0" brushRef="#br1" timeOffset="134946.41">2111 8519 1044 0,'0'0'415'15,"3"-5"-39"-15,-3 5 0 0,2-3-51 0,-2 3-89 16,0 0-16-16,0 0-13 0,0-4-10 0,0 4-10 16,0 0-5-16,0 0-26 0,-18 6-13 0,11 0-4 15,-3-1-14-15,-1-2-15 0,1 6 56 16,-3-3-15-16,2 1 3 0,-1 0-29 15,0 2 1-15,3-2-31 0,-1 2 9 0,0-2-27 16,2-1-2-16,0-1-12 0,1 1-19 0,4 0 7 16,-1-1-20-16,1-1-18 0,3 1 12 0,-3-1-2 15,3-4-20-15,6 7 25 0,1-4-23 0,0 2 0 16,1-1 3-16,2-2-13 0,1 5 15 16,2-4-7-16,2 0-1 0,-2 2 3 15,2 0 16-15,-2-2-3 0,-3 1-13 16,1-2 5-16,1 4 5 0,-4-6 3 0,0 5 21 0,0-3 7 15,-6 2 8-15,0-2 4 0,-1 3 4 16,-2 1 25-16,-3 0-85 16,-4-1 1-16,0 1-13 0,-5 1 20 0,1 1-5 0,-4-1-10 15,1-1 10-15,-1 0 0 0,1 1-23 0,-3-1 16 0,5-1-16 16,0 1-15-16,-2-1-19 16,2-2-12-16,0 2 0 15,1-1-33-15,-2-1-46 0,4 1-18 0,3-2-34 0,-1 3-30 0,1-4-49 16,4 4-105-16,3-5-105 0,-5 0-419 15,5 0 58-15,0 0 118 0,0 0 64 0,0 0 64 16</inkml:trace>
  <inkml:trace contextRef="#ctx0" brushRef="#br1" timeOffset="135271.57">2196 8659 1267 0,'0'0'373'0,"0"0"-58"0,0 0-13 31,0 0-31-31,-8 12-27 0,6-7-17 0,1 1-29 0,1 0-17 0,0-1-89 0,0 2-12 16,0-1 4-16,1 0-17 0,1 0-8 16,3 1-3-16,-2-3-10 0,2 1-5 0,0-1 5 15,-2-3-13-15,4 1 21 0,-4 0 18 0,-3-2-6 16,10 0 19-16,-10 0 86 0,10-2-9 16,-6-1 7-16,-4 3-6 0,7-6-7 0,-7 5-2 15,2-5 10-15,-2 6-11 0,0-6-25 0,0 2-2 16,-2 1-6-16,2-2-35 0,-5 2 22 15,2-1-33-15,-3 1-30 0,2-1-26 16,-2 2-16-16,-1-1-43 0,-1 2-38 0,3 0-18 16,-5 0-29-16,10 1-37 0,-11 0-88 0,3 0-136 15,4 1-593-15,-2 0 71 0,6-1 105 16,0 0 19-16,0 0 91 16,0 0 80-16</inkml:trace>
  <inkml:trace contextRef="#ctx0" brushRef="#br1" timeOffset="135596.94">2326 8616 944 0,'9'2'371'0,"-9"-2"-20"0,7 2-34 15,-4 2-15-15,2-2-15 0,-3 2-108 0,1-2-5 16,-1 2-15-16,1-1 12 0,0 2-30 0,-1-1-18 16,0-2 13-16,-1 4-16 0,-1-3 5 0,2 1-7 15,1 0 77-15,-3-4 15 0,2 4 23 0,-1-1-95 16,1-1 5-16,-2-2 8 15,0 0 0-15,0 0-20 0,0 0-3 0,0 0-5 16,0 0-1-16,13-7-17 0,-10 5-23 0,1-2-5 16,-1 2-10-16,0-2 17 0,1 4 6 0,-4 0-34 15,8-5 3-15,-5 3-8 16,-3 2 0-16,7 0 70 0,-7 0-1 0,0 0-18 16,13 5-17-16,-8-3 2 0,1-2-36 0,-2 4-25 15,2-2-47-15,-1 1-7 0,0 0-49 0,0-1-38 0,1 3-39 16,-2-3-32-16,2 0-47 0,-2 0-49 15,2 2-153-15,-1-3-223 16,0 0-361-16,0-1 108 0,1 0 94 0,-6 0 116 0,12 0 51 0,-7 0 59 16</inkml:trace>
  <inkml:trace contextRef="#ctx0" brushRef="#br1" timeOffset="135893.63">2604 8631 1062 0,'0'0'322'0,"0"0"-20"0,-10 6-41 0,10-6-20 15,-6 2-31-15,3 2-8 0,3-4-18 16,-2 4-15-16,2-4-30 0,0 3-11 0,0-3-18 16,0 0-18-16,0 7 13 0,0-7-23 15,0 0 7-15,8 0 9 0,-8 0-11 0,0 0 7 16,0 0 19-16,13-3-8 0,-9 1 7 16,-4 2 1-16,8-2-8 0,-8 2-13 0,8 4 85 15,-5-2-26-15,2 1 20 0,-1 1 3 0,2 2-25 16,-3 1-26-16,2-1 10 0,-2 1-113 15,1 5 6-15,-1-2-18 0,0-1-26 0,1 3-23 16,-1 0-28-16,0-2-13 0,-1-1-5 0,0 1-49 16,-1-2-20-16,2 0-44 15,-1 0-99-15,0-5-124 16,1 4-511-16,0-1 100 0,-1 0 66 0,0-1 115 0,1-1 69 0</inkml:trace>
  <inkml:trace contextRef="#ctx0" brushRef="#br1" timeOffset="136157.34">2991 8592 1584 0,'0'0'537'0,"-6"-3"-30"0,6 3-61 16,0 0-37-16,0 0-50 0,0 0-11 15,0 0-62-15,0 0-55 0,0 0-75 16,18-1-41-16,-10 1-28 0,3-2-46 0,1 2-49 0,-1-1-43 16,1 0-64-16,1-1-87 0,0 2-169 15,-2 0-520-15,1 0 49 16,-2 3 105-16,0 0 17 0,-4-3 103 0</inkml:trace>
  <inkml:trace contextRef="#ctx0" brushRef="#br1" timeOffset="136326.84">2957 8719 890 0,'-4'3'392'0,"4"-3"-39"0,-3 3-15 0,3-3-38 0,0 0-14 0,0 0 44 0,0 0-28 16,12 0-23-16,-12 0-61 0,16-2-36 16,-6 1-13-16,3-2-59 0,0 3-64 0,2-2-41 15,-2-1-66-15,2 2-129 0,-5 0-178 16,4 0-472-16,-4 1 49 15,0-1 95-15,0 1 87 0,-2 2 58 0</inkml:trace>
  <inkml:trace contextRef="#ctx0" brushRef="#br1" timeOffset="137323.41">4514 8451 1005 0,'-3'-3'479'0,"3"3"-54"0,-3-4-38 0,3 4-19 0,-5-1-48 15,5 1-18-15,0 0-36 16,-10 8-7-16,4-3-31 0,4 2-39 0,0 0 3 16,-1 3-26-16,0 2 1 0,1-2-29 0,2 1-30 15,-2 0-1-15,4 1-17 0,-2 0-16 16,3-2-5-16,2 1 0 0,-2 2-18 0,4-4-12 16,-2-1-16-16,3 0 7 0,-3-2-12 15,5 1 16-15,-2-3-22 0,2-2 4 0,0 1 4 0,1-2-12 16,-1-2 5-16,0-2-6 15,-2 2 9-15,0-4 20 0,-1 1-21 0,1-1 13 16,-5-1 18-16,-1-1-15 0,0-2 5 0,-2 1 15 0,-2-4-18 16,-1 0-5-16,1 0-25 15,-5 2 20-15,1-4 23 16,-1 3-5-16,1 0-33 0,-2 1-21 0,1 1-5 0,-1 0-28 0,-2 1-18 16,2 2-44-16,0 0-7 0,1 4-69 0,-3-1-105 15,2 1-154 16,3 2-543-31,-3 0 88 0,8 0 120 0,-7 4 64 0,3-3 63 0,4-1 86 0</inkml:trace>
  <inkml:trace contextRef="#ctx0" brushRef="#br1" timeOffset="137475.01">4644 8470 1313 0,'8'1'425'0,"-8"-1"-49"0,0 0-51 0,0 0-41 0,5 2-54 0,-5-2-53 0,0 0-77 16,0 0-116-16,0 0-168 0,8 1-607 15,-3 1 69-15,-5-2 54 0,5 0 67 0</inkml:trace>
  <inkml:trace contextRef="#ctx0" brushRef="#br1" timeOffset="137782.84">4906 8388 1149 0,'-8'0'356'0,"8"0"-6"0,-11 0-43 0,11 0-28 16,-12 5-20-16,7-3-18 0,-3 1-34 0,3 0-15 0,0 1-18 16,0-1-15-16,2 2-16 0,-2 1-25 15,3 0-8-15,1 0 0 0,1-1-21 16,1 3-19-16,1-1 4 16,3-1-8-16,-3 1 6 0,4 2 0 0,-1-1-3 0,0 0 5 0,0 0 0 15,1 0-2-15,-4-2 0 0,3 0 12 16,-2 1 103-16,0-2-33 0,-2 2 4 15,0-4-2-15,-1 3-17 0,-1 0 12 0,-1-1-29 16,-3 1-27-16,2 1 2 0,-7-1-17 0,3 0-21 0,-4-1-26 31,1 1-43-31,-3-2-13 0,1 1-49 0,1 0-36 0,-1 1-50 0,-1-4-47 0,5 4-97 16,-2-3-156-16,-1 0-528 16,4 1 52-16,-1-3 133 0,3 1 23 0,0 0 99 15,5-2 65-15</inkml:trace>
  <inkml:trace contextRef="#ctx0" brushRef="#br1" timeOffset="137996.15">5049 8376 1136 0,'0'0'504'0,"0"0"-51"0,5 4-30 0,-4-2-21 15,-1 4-67-15,2 2-25 0,-2 1-21 16,0 1-8-16,0 0-66 0,0 3-15 0,0 0-36 15,0-1-51-15,0 4-57 0,-2-1-59 0,0-2-58 16,-2 3-118-16,1-2-203 0,2-1-544 0,-2 0 109 16,0-1 90-16,0-2 57 0,1-1 50 15</inkml:trace>
  <inkml:trace contextRef="#ctx0" brushRef="#br1" timeOffset="138203.34">4934 8452 1348 0,'-2'-1'390'16,"2"1"-4"-16,0 0-35 0,0 0-26 0,0 0-33 15,0 0-34-15,10 12 1 0,-5-5 22 16,5-1-30-16,-2 0-5 0,2 1-44 0,1 1-13 16,4 0-45-16,-2 0-24 0,2-2-18 15,2 1-20-15,-1-1-48 0,-1 0-34 0,-1 1-57 0,-2-1-22 16,-2-1-62-16,-1-3-140 15,-2 3-134-15,1-1-514 0,-1-2 89 0,1-2 147 0,0 3 27 16,-3-2-10-16</inkml:trace>
  <inkml:trace contextRef="#ctx0" brushRef="#br1" timeOffset="138819.6">5322 8304 1197 0,'0'0'456'0,"-4"-3"-39"16,4 3-48-16,0 0-47 0,0 0-22 15,0 0-13-15,0 11-26 0,3-3-18 0,2 1-33 16,-2 0-21-16,4 3-2 0,1 2-21 0,-3 1-17 15,3 1-6-15,-2-1-35 0,-2 0-6 0,1-1 11 16,-2-1-21-16,-1-1-15 16,-2 0-1-16,0-1 1 0,-2-3-33 0,-3 4 20 15,2-6-18-15,-1 2-5 0,1-3 18 0,-3 1-11 16,4-1-9-16,-3-4-14 0,5-1-2 16,-8 1-7-16,8-1-4 0,0 0 4 0,-2-7-9 15,2 7 4-15,5-13 9 0,0 5-15 0,2-3 3 16,1-1 2-16,0-1-5 0,0-1-5 0,1-3 18 15,-1 4 3-15,1 0-16 0,-2-4 18 16,0 3 10 0,-4 1 8-16,0 2 13 0,-3-2-72 0,-2 3-15 0,-2 1 12 15,0 1 21-15,1-1-7 0,-7 2-1 0,2 1-2 0,-2 1-16 16,0 3 3-16,0-3-3 0,1 4-30 16,-1 1-13-1,0 1-31-15,0 2 0 0,2-1-53 0,0 3-26 0,1-2-70 0,-1 2-135 0,3 2-355 16,2 2-168-16,1-2 86 15,2-1 73-15,0 0 91 0,2 0 73 0</inkml:trace>
  <inkml:trace contextRef="#ctx0" brushRef="#br1" timeOffset="139341.54">6070 8217 1167 0,'0'0'496'15,"0"0"-20"-15,2 12-38 0,-2-3-41 0,1 2-39 16,1 1-20-16,0 2-41 0,1 4-33 0,-3-1-6 16,5 2-45-16,-3 0-9 0,2-1-50 0,0 2-36 15,-3-1-41-15,4-1-29 16,-3 0-45-16,0-3-31 0,1-1-67 0,0-1-20 0,-1-1-77 15,-1 0-80-15,-1-1-158 0,2-3-494 16,-2 1 82-16,0-3 118 0,0-1 38 0,0 0 59 16</inkml:trace>
  <inkml:trace contextRef="#ctx0" brushRef="#br1" timeOffset="139585.09">5885 8415 1098 0,'0'0'396'0,"-2"-2"-22"0,2 2 61 16,0 0-43-16,0 0-26 0,0 0-54 0,0 0 0 15,23 1-22-15,-11 0-37 0,4 1-30 16,-1 0-18-16,1-2-26 0,6 0-23 0,-1 1-23 16,3-1-28-16,-1 0-8 0,2 0-64 0,-1 2-27 15,0-4-14-15,0 2-69 16,-6 0-33-16,-1 0-74 0,2 0-169 0,-3 0-362 0,-4 2-183 15,0-2 104-15,-1 0 83 0,-3 1 81 0,0-1 34 16</inkml:trace>
  <inkml:trace contextRef="#ctx0" brushRef="#br1" timeOffset="140439.17">7303 8236 1195 0,'-5'-4'417'0,"5"4"-43"0,0 0-21 15,0 0-30-15,-10 13-44 0,9-9-29 0,-1 3-14 16,0 1-16-16,-1 3-31 0,3 0-12 16,-3 1-11-16,3-3-30 0,0 5-33 0,3 0-9 15,-3-2-27-15,5-1-11 0,-2 0-5 0,4 2-12 16,-1-3-14-16,1-1 3 0,1-2-28 16,0 0 13-16,-1-2-5 0,1 0-13 0,2-5 20 15,0 2 3-15,1-2-18 16,-1-2 23-16,-2 0-5 0,1-2 26 0,2-1-4 0,-3-2 19 15,0 1 0-15,-4 0 8 0,0-2 2 0,-2-3-8 16,-2 1-15-16,0 1 18 0,0-4-2 16,-5 2-11-16,2-1-13 0,-2 1 19 0,-2 0-19 0,1 0 1 15,-4 2-11-15,2-1-8 16,1 1 13-16,-3 0-20 0,0 3-31 0,1-1-10 0,-3 1-36 16,4 4-8-16,-2-2-43 0,2 2-49 15,0 2-91-15,1-1-222 16,1 2-472-16,1 1 73 0,5-2 142 0,-7 4 30 0,7-4 72 15,0 2 89-15</inkml:trace>
  <inkml:trace contextRef="#ctx0" brushRef="#br1" timeOffset="140562.9">7477 8229 1026 0,'0'0'307'0,"3"-3"-74"0,-3 3-85 0,0 0-148 0,5-7-168 0,-3 7-480 15,-2 0 26-15</inkml:trace>
  <inkml:trace contextRef="#ctx0" brushRef="#br1" timeOffset="140967.6">7687 8194 1057 0,'10'3'442'0,"-4"-1"-35"0,-3-1-112 15,-3-1-6-15,5 6-36 0,-3-1-20 16,-4-3-7-16,2 3-16 0,-3 1-31 0,1-3 13 16,1 2-49-16,-1 1-15 0,0-3-13 0,-1 1 3 15,3 1-34-15,-1-1-2 0,1-4-13 0,0 7 1 16,0-4-19-16,4 2 15 0,-2-4-12 0,0 4-8 15,4 0-2-15,-3-2 2 0,4 2 0 16,-2 1-5 0,0-1 7-16,-2 2 9 0,2 0-6 0,-2-2 26 0,-1 3-24 0,-2-1 22 0,-2 3-14 15,-1-3-17-15,-2 3 9 0,-1-1 1 0,-1 1 0 16,-1-1-13-16,-2-1 0 0,-3 2-13 16,3-1-8-16,-3-1-25 15,3 0-7-15,-1-3-32 0,-1 1-20 0,-1-2-31 0,5 1-45 0,0-4-50 16,0 2-130-16,-2-1-174 15,6-2-453-15,-2 0 107 0,6 0 67 0,0 0 113 16,0 0 56-16,-7-1 110 0</inkml:trace>
  <inkml:trace contextRef="#ctx0" brushRef="#br1" timeOffset="141292.68">8103 8182 1238 0,'0'0'474'0,"0"0"-41"0,0 0-34 15,0 0-13-15,0 0-53 0,-6 12-39 0,4-6-2 16,0 1-59-16,-4 5-23 0,2-1 8 15,-2 1-19-15,1 2-53 0,-3 2-28 16,1-2-54-16,-1 1-46 0,1-2-31 0,-1 3-43 0,2-4-62 16,2-2-79-16,-2 1-128 0,2-1-553 0,1-2 51 15,0-1 69-15,1 0 60 16,1-2 94-16,-1-1 25 0</inkml:trace>
  <inkml:trace contextRef="#ctx0" brushRef="#br1" timeOffset="141499.9">7928 8226 1123 0,'0'0'497'0,"0"0"-44"0,0 0-54 16,0 0 16-16,0 0-72 0,6 17-28 16,-1-11-34-16,2 1-25 0,1 0-15 15,2 0-18-15,1 3-32 0,1-2-22 0,-1 2-38 0,2-1-29 16,0-3-56-16,-1 2-12 15,-1 1-65-15,1-3-23 0,-1 1-66 0,-1-2-110 16,-3-1-157-16,1 2-534 0,2 0 43 0,-4-1 122 16,1 0 47-16,-1 0 72 0</inkml:trace>
  <inkml:trace contextRef="#ctx0" brushRef="#br1" timeOffset="142214.6">8473 8132 1151 0,'-3'-3'374'0,"3"3"-46"0,-6-4 43 16,6 4-5-16,0 0-31 0,-12 5-51 0,6-3 6 16,2 4-104-16,-4 0-11 0,2 4-9 0,-1 0-20 15,0 5-21-15,1-1-15 0,3 0 11 16,-1 3-29-16,1 1 2 0,2-3-17 0,1 1-13 16,4-1-18-16,-2-2-7 0,6 3-6 0,-3-2 3 15,5-1-23-15,0-2-3 0,1-3 10 0,1 2-15 16,1-6 13-16,0 1-2 15,-1 0 4-15,-1-4 16 0,-1-1-13 0,-2 0 13 16,0-2 7-16,-3-2 6 0,0-1 5 0,-2 2-3 16,-3-2 0-16,-1-1-18 0,-1 0-2 0,-4-1 5 15,0 1-3-15,-3 0 1 0,-1 0-9 16,-2 0 11-16,-2 4-28 0,2-2-19 0,1 0-24 16,-1 1-35-16,2 3-11 15,0 0-42-15,-1 0-44 0,3 0-66 0,0 3-151 0,0 1-560 16,1-3 58-16,2 4 134 0,0-1 48 0,2-1 87 15,1 2 46-15</inkml:trace>
  <inkml:trace contextRef="#ctx0" brushRef="#br1" timeOffset="142786.54">9426 8152 1113 0,'0'0'404'0,"0"0"-30"15,0 0-10-15,0 0 12 0,5 15-23 0,-2-7-53 0,1 3 4 16,0-2-56-16,0 3-25 0,2 4-33 0,-2-2-11 16,-1-1-31-16,2 2-58 0,-2 2-49 15,-1-5-23-15,1 4-59 0,-2-2-49 16,-1 0-104-16,2-3-142 0,-2 0-539 0,-2-2 53 0,1 2 116 16,-2-3-11-16,3-1 154 0</inkml:trace>
  <inkml:trace contextRef="#ctx0" brushRef="#br1" timeOffset="142998.22">9234 8283 1123 0,'0'0'464'0,"0"0"-24"0,-2-2-28 0,2 2-44 0,0 0-25 0,0 0-30 0,15 1-34 0,-5-1-28 0,2 0-16 16,6 1-33-16,-2 2-20 0,4-3-28 15,1 2-26-15,2-1-29 0,0 1-37 0,2 0-62 16,-4-1-26-16,2-2-53 0,-2 2-105 0,-1-6-185 16,1 7-575-16,-4-2 91 0,1 2 65 0,-2-3 143 15,-3 1 20-15</inkml:trace>
  <inkml:trace contextRef="#ctx0" brushRef="#br1" timeOffset="143712.21">10538 8131 1062 0,'0'0'379'0,"-7"0"-18"16,7 0-34-16,0 0-30 0,-8 8 41 0,3-3-21 15,2 3-35-15,-1 1-31 0,1 0-21 0,-2 2-10 16,2 2-23-16,0 0-35 0,1-1-6 16,2 1-15-16,-2 3-29 0,2-2-25 15,2-2-20-15,0 2-13 0,1-3-19 0,2 0-1 0,1-1-9 16,1 0-9-16,-1-2 4 0,1-2-2 16,4 0-3-16,-4-2 6 0,3-1 7 0,0-3-28 15,1 0 31-15,-1 0-34 0,0-2 13 16,1-3 6-16,-1-1-6 0,-3-1 5 0,-1 0 3 15,-2-3 5-15,0 2 13 0,-2-3-15 16,-2 1 25-16,-2-2-21 0,-2 0-7 0,0 0 5 16,-2-1-7-16,1 1-4 15,-3 1 17-15,1 0-14 16,-1 3 10-16,-2 1-7 0,2-1-10 0,-2 2 5 0,0 0-23 0,-3 3-8 0,5-3-44 16,-5 5-14-16,6 1-65 0,-3 0-54 0,-1 0-117 15,4 1-205-15,-3 3-415 0,4-1 64 16,-2 2 141-16,3-1 62 0,0 1 51 15</inkml:trace>
  <inkml:trace contextRef="#ctx0" brushRef="#br1" timeOffset="143837.72">10687 8219 911 0,'0'0'333'16,"6"-2"-67"-16,-6 2-74 0,2-3-141 0,-2 3-166 15,2-1-520-15,-2 1-8 0</inkml:trace>
  <inkml:trace contextRef="#ctx0" brushRef="#br1" timeOffset="144188.46">10890 8149 1254 0,'13'0'455'0,"-1"2"-40"0,1-2-95 0,-5 4-10 16,2-2-21-16,-2 4-31 0,0-3-9 0,-3 2-27 15,0 3 73-15,-5-1-32 0,0 1-19 0,-3 0-34 16,-2 3-16-16,-3 2-33 0,-2 0 8 16,0 2-23-16,0-2-5 15,-1 0-10-15,1-2-14 0,0-1-17 0,2 2 5 0,1-4-15 0,1 1-6 16,-1 0 3-16,2-3-23 0,0 1 0 15,4-1-18-15,-1 2 11 0,0-3 19 0,2 0-27 0,2 0 2 16,0 0-2-16,1-3-1 16,2 2-25-16,0-1-10 15,3-2 3-15,2 2-32 0,0-3-27 0,0 1-14 0,1-1-14 0,2 0-29 16,-2-1-23-16,1-2-56 0,1 2-28 0,2-3-75 16,-2 1-140-16,-1 1-602 0,-3-2 77 15,3 1 84-15,1 0 121 0,-2-4 92 16,-1 5 51-16</inkml:trace>
  <inkml:trace contextRef="#ctx0" brushRef="#br1" timeOffset="144372.59">11367 8183 1174 0,'0'0'510'0,"0"0"-29"0,0 0-41 0,0 0-104 0,-13 11-39 16,11-5-29-16,-4 1-45 15,4-1-13-15,-4 5-13 0,1 0-13 0,-2-1-33 0,-1 1-38 16,3 2-52-16,-3 0-48 0,0-1-49 0,-2 1-71 16,3 0-83-16,-4 0-237 0,6-2-469 15,-3 0 97-15,1-2 57 0,2 1 151 0,-1-3 2 16</inkml:trace>
  <inkml:trace contextRef="#ctx0" brushRef="#br1" timeOffset="144590.94">11154 8307 1154 0,'0'0'486'0,"-2"-3"-15"0,2 3-25 0,0 0-108 15,0 0-26-15,0 0-20 0,0 0-29 0,0 0-35 16,0 0-10-16,14 9-19 16,-11-2-4-16,3-2-13 0,1 0-26 0,1-2-23 0,-1 3-31 15,3-1-17-15,1 1-37 0,-3 1-20 0,2-1-35 16,0 0-60-16,0-1-48 0,-2 0-41 15,-3-2-64-15,3 3-141 0,-2-3-246 0,1 1-235 16,-2-1 43-16,3 0 83 0,-3-3 53 16,2 3 61-16</inkml:trace>
  <inkml:trace contextRef="#ctx0" brushRef="#br1" timeOffset="145023.26">11526 8088 1077 0,'0'0'405'0,"7"-6"-29"0,-2 6 31 0,3-2-49 16,2 1-23-16,-2-1-2 0,5 1-54 15,-3 1-77-15,3 0-25 0,0 0 15 0,-2 3-10 16,3-1 0-16,0-1-1 0,-2 5-14 0,-2-1-4 16,1 1-6-16,-3 0-4 0,2 2 62 0,-3 3-28 15,-2-2-5-15,1 2-11 16,-3 2-15-16,1 1 3 0,-1 1-18 0,-3-1-31 15,0 2 3-15,-3 0 2 0,3 1-15 0,-2-1-26 16,-1 0-43-16,1-3-11 16,-1 3-56-16,1-3-48 0,1 0-29 0,-1-1-28 0,-1-2-22 15,3 1-50-15,-2-1-79 0,1-2-176 0,-1 0-559 16,2-3 103-16,0-1 57 0,0-4 50 0,0 4 134 16,0-4 45-16,0 0 80 0</inkml:trace>
  <inkml:trace contextRef="#ctx0" brushRef="#br1" timeOffset="145215.9">11546 8294 1548 0,'0'0'453'0,"0"0"-51"16,0 0-15-16,0 0-39 0,0 0-118 0,0 0-10 15,18-1-25-15,-10 2-34 0,3-1-15 0,1 0-49 31,1 0-35-31,5 0-55 0,0 0-35 0,2 0-61 0,-2 0-155 0,-5 0-150 0,10-2-466 16,-3 1 77-16,4-2 81 0,-1 3 101 16,0 0 56-16</inkml:trace>
  <inkml:trace contextRef="#ctx0" brushRef="#br1" timeOffset="145783">12741 8211 1371 0,'0'0'466'0,"0"0"-48"0,0 0-19 0,0 0-56 16,0 0-26-16,0 0-40 0,18 3-26 16,-11-3-24-16,2 3-99 0,1-1-30 0,0-2-27 15,2 0-27-15,-1 0-24 0,2 2-25 0,-3 1-59 16,1-1-36-16,1-2-40 16,-1 0-173-16,-1 1-119 0,0 1-423 0,-2 0 97 15,2-1 57-15,-5 2 66 0</inkml:trace>
  <inkml:trace contextRef="#ctx0" brushRef="#br1" timeOffset="145990.16">12693 8369 1323 0,'0'0'391'0,"0"0"-48"0,-1 5-35 15,1-5-27-15,0 0-9 16,0 0-42-16,15 2-20 0,-7-2 2 15,0 3-58-15,3-3-24 0,3 1-55 0,0-1-29 0,3 1-67 16,-1-1-71-16,2 0-164 0,-3-1-138 16,3 1-430-16,0 0 53 0,0-3 124 15,-3 2 37-15</inkml:trace>
  <inkml:trace contextRef="#ctx0" brushRef="#br1" timeOffset="146524.54">13562 8044 949 0,'0'0'428'0,"0"0"-121"0,0 0-33 0,0 0-13 16,0 0-18-16,23-1-31 0,-13 1-43 0,2 0 8 16,2-1-31-16,-2-1 2 0,3 2-22 0,1-1-3 15,-1 1-21-15,1 0 23 16,-1 0-9-16,-2 1-17 0,0 1 22 0,-3 0-11 0,3-2-8 16,-3 5 24-16,0-2-14 0,-2 2 65 15,2 1-6-15,-4 0-15 0,1 4-17 0,-4-1-9 16,-1-1 1-16,1 3-93 0,-3 1-10 15,0 1 13-15,0 3-28 0,-3-1 28 16,1 2 18-16,-1-3-41 0,0 3 0 0,1-2-8 0,-3 0-10 16,2-1-18-16,1 0-46 0,-1-2-10 15,-2 0-44-15,3 0-20 0,-1-4-21 0,0 2-81 16,1-3-160-16,1 0-263 0,-1-2-220 0,0-2 46 16,2 1 108-16,0-4 109 0,0 5 29 15</inkml:trace>
  <inkml:trace contextRef="#ctx0" brushRef="#br1" timeOffset="146753.9">13679 8282 1108 0,'0'0'404'16,"0"0"-15"-16,0 0-35 0,0 0-32 15,0 0-4-15,0 0-47 0,0 0-13 0,0 0-27 0,18 0-11 16,-18 0-20-16,16 0-14 0,-6 0-37 0,1 1-19 15,1-2-9-15,-2 2-34 0,3-1-26 16,0-1-15-16,0 1-38 0,-1 0-31 0,2-1-39 16,-1-1-50-16,1-2-39 0,0 3-113 15,-2-8-153-15,1 7-489 0,-3 1 135 0,0-1 52 16,1-2 74-16,-3 4 79 0</inkml:trace>
  <inkml:trace contextRef="#ctx0" brushRef="#br1" timeOffset="147026.53">14136 8127 1348 0,'0'0'492'0,"0"0"-54"0,-3-3-70 0,3 3-35 0,-2-4-72 16,2 4-48-16,0 0-96 0,0 0-73 0,0 0-149 15,0 0-190-15,-5 0-529 0,5 0 64 0,0 0 112 16,0 0 55-16</inkml:trace>
  <inkml:trace contextRef="#ctx0" brushRef="#br1" timeOffset="147324.63">14320 8029 1346 0,'8'0'448'0,"0"1"-23"0,0 0-21 15,0 3-40-15,-2 0-32 0,0 1-7 16,-1 1-35-16,0 1-106 0,-2 3 0 0,-1-1-17 15,-2 1-11-15,-3 0-13 0,-1 2-15 16,-2 2 64-16,2 0-13 0,0-2-23 0,0-3-12 16,2 2-11-16,1 0-36 0,-2-3 11 15,3-1 4-15,-2 1-20 16,4 1-7-16,2-6-19 0,0 2-2 0,4-1-23 0,0-3-10 0,2 1-15 16,3-2-37-16,2-2-2 0,8-1-49 0,-2 1-4 15,2-1-14-15,7-2-41 0,11-1-81 16,-5 0-139-16,-7 1-227 0,2 1-382 0,9-5 87 15,-9 3 44-15,-5-1 92 16,-3 1 91-16,-3-1 53 0</inkml:trace>
  <inkml:trace contextRef="#ctx0" brushRef="#br1" timeOffset="149306.81">2032 9687 1116 0,'-8'-1'422'0,"8"1"-36"0,-13 5-43 15,3-2-89-15,0 7-26 0,-3-1-13 16,0 2-16-16,-5 2 67 0,3 4-35 16,-9 4 2-16,1 5-26 0,-2-1-15 0,2 4-23 15,2-2-5-15,0 0-5 0,3 0-19 0,6-6-14 16,0-2-19-16,3 0-17 0,4-3-8 16,2-2-21-16,1-1-10 0,2 0-7 0,1-3 2 15,3 1-33-15,1-2-11 0,3-4-4 16,0 1-37-16,5-4-9 0,-1 3-9 0,4-5-42 15,2-1-24-15,0-4-21 0,8 0-17 0,2-4 0 16,7-4-26-16,-1-2 5 16,1 0 11-16,-3-2 27 0,-2 1 19 15,-6 0 30-15,-4 3 49 0,-5-1 26 0,3 1 17 0,-7 1 34 16,-1 2 41-16,-3 3 17 0,-1-4 8 0,-1 5 16 16,-3-1-8-16,-2 4-8 0,0-1 21 0,0 4-23 15,-8-1-3-15,8 1 5 0,-15 1-28 16,6 4 3-16,0 0 7 0,-3 2-20 0,1-1 18 15,-2 3-5-15,1 2-8 0,2-3-13 0,1 3-10 16,-1 0 0-16,0-1-3 0,2 1-2 16,3 0-23-1,0-3-21-15,2-1 8 0,1 1-8 0,0-1-7 0,2-1 5 0,0-2-8 0,2 1 5 16,0-1 0-16,1-2 0 0,3-1-2 16,1-1 23-16,-7 0-11 0,13-1 3 15,-6-1-20-15,1-2 20 0,0 2 7 0,0-1-12 0,-1-3 10 16,1 4-2-16,-3-3 7 15,3-1-2-15,-3 3 2 0,2-1 0 0,-1-2 8 0,-2 4-2 16,2-2-6 0,-4 3 10-16,4-1-7 0,-6 2-8 0,3-4 13 0,-3 4-28 0,7 0 13 15,-7 0 7-15,0 0-8 0,0 0-12 0,7 0 23 16,-7 0-11-16,3 6 11 0,-3-6-2 16,3 4-17-16,-3-4 6 0,-3 7 8 0,3-5-10 15,0-2 12-15,-2 7 8 0,2-4-3 0,0-3 13 16,0 0-12-16,-1 6 30 0,1-6 7 15,0 0 6-15,0 3 15 0,0-3-2 16,0 0-18-16,0 0 15 0,0 0-18 0,1 4-7 0,-1-4-1 16,0 0 8-16,5 3-20 0,-5-3 25 15,0 0-20-15,8 3 0 16,-8-3-26 0,5 2-2-16,0-2-23 0,-5 0-26 0,7 1-51 0,-7-1-42 0,6 0-29 0,-6 0-78 0,10-1-140 15,-5 1-613-15,2 0 45 0,-1 0 109 16,-6 0 77-16,10-1 52 0,-5 1 86 0</inkml:trace>
  <inkml:trace contextRef="#ctx0" brushRef="#br1" timeOffset="149914.34">2381 9935 839 0,'0'0'356'0,"-14"6"-13"16,12-3-46-16,-3 2-16 0,0 0-9 0,0 1-37 0,0 0-17 16,2 2 4-16,-3-1-42 15,2 4-11-15,-1-3-11 0,2 2-20 0,0-2-17 0,1-1-3 16,2 2-39-16,0-2 8 0,0 0-8 15,2-3-15-15,1 0-18 0,-1 1 3 0,1-4-11 16,2 1-7-16,0 1 13 0,-5-3-19 0,11-1 3 16,-7-3 1-16,2 4-12 0,-3-3-9 15,2 0 13-15,0-2 4 0,-1 1-17 16,0 0 20-16,0-2-15 0,-3 3 0 16,4-2 7-16,-3 1-5 0,-1 1 3 0,1 0-10 0,0-1 2 15,1 2 16-15,-3 2-13 0,5-6 2 0,-5 6 8 16,6-1-15-16,-6 1 2 15,0 0 13-15,9 1 8 0,-9-1 76 0,8 4 8 16,-3-2-10-16,-4 1-5 0,3 0 3 0,0 0-1 0,-2-1-71 16,3 0 10-16,-3 2 12 15,-2-4 14-15,3 5 10 0,-1-3 23 0,-2-2-11 16,5 4 65-16,-5-4 7 0,5 2-10 0,-5-2-26 16,3 1 24-16,-3-1 12 0,0 0-74 15,7 0 16-15,-7 0-1 0,0 0-2 0,0 0-8 16,8-3-5-16,-8 3-15 0,6-4-1 0,-6 4-32 15,5 0 2-15,-5 0 18 0,7-3-42 0,-4 1-19 16,2 1-24-16,-5 1-38 0,8-2-30 16,-8 2-22-16,7-3-32 15,-1 2-26-15,-1 1-21 0,2-1-43 0,1 0-38 0,-8 1-100 16,8-1-234-16,2-2-454 0,1 3 124 0,-1 0 85 16,0 0 87-16,3 0 121 0,-1 0 63 15,-1 0 21-15</inkml:trace>
  <inkml:trace contextRef="#ctx0" brushRef="#br1" timeOffset="150082.41">2991 10003 1192 0,'0'0'364'0,"0"0"-29"16,-10-9-41-16,14 7-32 0,4-3-81 0,-3 4-50 0,3-3-65 15,2 3-145-15,-2-4-149 0,2 5-529 16,0-1 78-16,-2 1 106 0</inkml:trace>
  <inkml:trace contextRef="#ctx0" brushRef="#br1" timeOffset="150287.26">3008 10107 1036 0,'-2'5'453'0,"2"-5"-125"16,5 1-34-16,-5-1-20 0,5 3-8 0,-5-3-46 0,10 2-7 16,-2-2-34-16,-3 0-18 0,6 0-58 15,-4 0-39-15,3-2-59 0,0 2-82 0,-1 0-120 16,0 0-126-16,2-3-480 0,-1 3 142 16,-2 0-14-16,0 0 68 0</inkml:trace>
  <inkml:trace contextRef="#ctx0" brushRef="#br1" timeOffset="152987.64">4614 9844 980 0,'-3'-7'345'0,"3"5"-35"0,0 2-10 0,-5-3-21 16,5 3-31-16,0 0-38 0,-8 10 2 16,6-7-45-16,-1 5 71 0,1-1-23 0,-1 2-26 0,0 0-10 15,1 1-17-15,-1 3-19 16,0-2-7-16,3 2-26 0,-2 1-16 0,2-3-7 16,0 2-10-16,0 0-18 0,2-2-13 0,-1 2-5 15,1-3-10-15,1-1-13 0,0 2 2 0,2-4-2 16,-1 0-20-16,2-1 19 0,-1-2 1 15,0-2 3-15,2 1-3 0,1-2-11 0,-2-2 11 16,1-2 3-16,1 1 10 0,0-2-3 0,-1-2 18 16,1-1 20-16,-1 2-20 0,-4-3-2 15,4-1 12-15,-3 0-17 16,0 0-14-16,-3-3 9 0,1 3-4 0,-2-5-12 16,0 5 10-16,0-1-10 0,0-2-10 15,-2 4 7-15,-1-3 16 0,1 3-11 16,-3-1 6-16,2 1-39 0,-3-1-10 0,2 3-31 0,-2 0-10 15,1 0-30-15,-3 2-42 0,0 2-17 0,4-2-124 0,-4 4-81 16,3 0-577-16,-2 0 73 0,1 4 81 16,1-2 134-16,0-1 22 0,2 2 41 0</inkml:trace>
  <inkml:trace contextRef="#ctx0" brushRef="#br1" timeOffset="153113.04">4695 9891 1220 0,'3'-3'336'0,"-3"3"-32"0,5-2-19 0,-5-2-58 16,0 4-50-16,5-2-41 0,-5 2-93 0,6-4-109 16,-2 3-88-16,-1 1-529 0,-3 0 40 15,0 0 11-15,13 0 84 0</inkml:trace>
  <inkml:trace contextRef="#ctx0" brushRef="#br1" timeOffset="153486.2">5029 9813 1254 0,'0'0'391'0,"0"0"-32"0,-21 6-60 0,16-2 3 0,-3-1-43 0,0 2-101 16,1 0-12-16,0 0-20 0,1-2-6 0,1 3-12 15,-3 0 2-15,3 1-34 0,1-1-9 16,1-1-21-16,0 2 23 0,1-1-33 0,2 0 13 15,2 1 12-15,-2-1-25 0,3 0-13 0,-1 2-3 16,3 1 6-16,-1-2-3 0,3 1-2 16,-2 1 4-16,0 0 3 0,3-2-10 0,-3 0 33 15,0 1-30-15,0 0 20 0,-2-2 0 0,-1 2 18 16,1-1-6-16,-3-1-1 0,0 0-4 0,0 3 21 31,-5-2-17-31,2 0-6 0,-2 1 7 0,-3-2-12 0,1 1-7 0,-1 2 22 0,-2-2-51 16,-1 0 0-16,1 0-15 0,-2-3-31 0,1 2-26 15,3-2-20-15,-4 2-53 16,4-3-150 0,0-3-129-16,0 3-482 0,3-2 112 0,0 0 90 0,5-1 60 15,0 0 50-15</inkml:trace>
  <inkml:trace contextRef="#ctx0" brushRef="#br1" timeOffset="153712.26">5170 9856 1174 0,'0'0'466'0,"0"0"-51"15,7 8-41-15,-7 1-31 0,0-2-26 0,1 1-33 0,1 4-25 16,-2 0-24-16,0 1-33 0,0 1-12 16,0 3-60-16,-2 1-37 0,1 1-60 0,-1-1-49 15,0 1-106-15,-1 0-201 0,3 0-552 0,-3-6 35 16,1 3 128-16,0-3 34 0,1-3 64 15</inkml:trace>
  <inkml:trace contextRef="#ctx0" brushRef="#br1" timeOffset="153891.26">5111 10000 1136 0,'0'0'461'16,"0"0"-31"-16,0 0-49 0,0 0-28 0,0 0-28 15,0 0-30-15,7 10-21 0,-3-5-29 0,3-1-19 16,0 3-32-16,1 3-32 0,0-3-40 16,2 1-22-16,-2 1-49 0,7-1-53 0,-5-1-47 15,1-1-92-15,-1 1-196 0,3-1-129 0,0 0-433 16,-1-2 129-16,1-1 99 0,0-1 6 16,0 0 71-16</inkml:trace>
  <inkml:trace contextRef="#ctx0" brushRef="#br1" timeOffset="154253.47">5542 9919 1200 0,'-18'0'491'0,"5"6"-40"0,-2-1-47 0,4-4-32 16,3 4-29-16,1-2-36 0,-1 2-44 15,0-1-35-15,3-1-13 0,0 3-36 0,3-2 16 16,-1-2-39-16,1 4-38 0,2-6-11 16,7 4-17-16,-2-3-3 0,3-1-15 0,2-2-3 15,0 0-8-15,4-1 1 0,-4-1-1 0,0 3 13 16,3-1 21-16,-3-1-5 0,0 2-29 16,0-1 34-16,-2 3-106 0,0 0 32 0,-1 1-8 15,-1 3 17-15,-1 1-12 0,0 1 0 0,0 4 23 16,-2-3-8-16,-3 3 6 0,2 2-29 15,-2 0-20-15,0-1-16 16,0 0-30-16,0 0-36 0,0-2-26 16,0 0-51-16,1 1-71 0,0-1-147 0,-3-1-125 0,4-1-404 0,4-2 84 15,-1-1 36-15,1 1 69 0,1-5 77 0,0 3 107 16</inkml:trace>
  <inkml:trace contextRef="#ctx0" brushRef="#br1" timeOffset="154609.31">6091 9850 1441 0,'0'0'519'0,"0"0"-27"0,0 0-57 0,-4 11-108 16,4-3-30-16,0 2-36 0,1-2-28 0,2 6-23 15,-3-3-5-15,2 5-33 0,-2-1-44 0,2-1-49 16,1 1-43-16,-3 0-52 0,3-2-48 15,-1 3-74-15,-1-3-95 0,-2 1-222 32,3-3-444-32,-2 1 90 0,0-3 64 0,-1-2 108 0,1 4 66 0</inkml:trace>
  <inkml:trace contextRef="#ctx0" brushRef="#br1" timeOffset="154860.03">5944 10007 1325 0,'5'-3'479'16,"0"-1"-31"-16,1 4-23 0,1 0-62 15,3-3-9-15,0 3-63 0,6-2-17 16,2 1-36-16,-2 1-15 0,7 0-26 0,0 0-18 16,0 0-23-16,0 0-38 0,2 0-26 0,1 0-40 15,-3 0-24-15,-2 0-13 0,-1 0-53 0,-2 0-42 16,-3 0-27-16,1 0-62 0,-4 1-90 15,-1-1-104-15,1 2-543 0,-4-1 61 0,0 1 103 16,0-2 84-16,-3 0 26 0</inkml:trace>
  <inkml:trace contextRef="#ctx0" brushRef="#br1" timeOffset="156277.66">7516 9818 1151 0,'0'0'407'0,"0"0"-2"0,0 0-75 16,-13 8-92-16,7-3-10 0,-1 3-26 16,4 1-23-16,-1 0-10 0,-2 3-5 0,2 1-23 0,3 0-21 15,-1 2-15-15,-1 0-5 0,1-2 2 0,1 2-20 16,2-1-5-16,1 0-16 0,1-1-4 15,0-1-4-15,1-1-1 0,2-2-34 16,-2 1 23-16,2-3-11 0,-1-2-4 0,3-2-24 0,0 0 29 16,2-3-23-16,-3 0 7 15,1-2 0-15,0 0 3 0,2-3-5 0,-3 1 3 16,1-2 35-16,-3-4-26 0,3 3-9 0,-3-5 7 16,0 1 5-16,-3 0 62 0,2-3-19 0,-4 1 32 15,0 0-11-15,-3 0-18 16,1 1 8-16,-1 0-23 0,0 0-3 0,0 3-10 0,-1-1-7 15,1 3 7-15,-2-1-13 0,0 2-18 0,0 1-17 16,-1-1-6-16,1 4-18 16,0-3-12-16,0 5-41 0,0 0-14 15,5 0-60-15,0 0-83 0,-13 5-137 0,11-3-436 0,-1 1-87 16,3 0 125-16,-3 1 39 0,3-4 64 0,3 6 72 16</inkml:trace>
  <inkml:trace contextRef="#ctx0" brushRef="#br1" timeOffset="156417.13">7642 9869 1195 0,'2'-2'304'16,"-2"2"-7"-16,0 0-38 0,8-3-26 0,-8 3-31 16,0 0-5-16,3-1-51 0,-3 1-44 15,0 0-48-15,0 0-67 0,0 0-68 0,7 0-132 16,-7 0-394-16,0 0-104 0,0 0 99 0,8 4 31 16</inkml:trace>
  <inkml:trace contextRef="#ctx0" brushRef="#br1" timeOffset="156742.37">7905 9797 1069 0,'6'2'384'0,"-4"-1"-28"0,1 3-36 0,-3-4-8 16,0 7-63-16,0-2-27 15,0-2-14-15,0 3-11 0,0-2-15 0,2 2-24 0,-2-2-35 16,3 1 8-16,-3 1-14 0,5 0-19 0,0-1-19 16,-2 1 13-16,2 0 5 15,2-1-17-15,-1 0 4 0,-1 3-4 0,0-4 17 16,0 2-10-16,0 0-79 0,0-1 25 0,-2 2 5 16,0-1 6-16,-1 0 20 0,0 1 5 15,-4-1-23-15,0 0 5 0,-1 1-15 0,-2-2-3 16,0 2 3-16,-3 0-15 15,-2 1 17-15,0-1-35 16,-1-1-37-16,-2 1-4 0,0-1-24 0,-2 2-40 0,2-2-49 0,3-1-115 16,0-3-187-16,-1 3-469 0,4-3 98 0,-1 3 82 15,1-4 69-15,1 0 104 0</inkml:trace>
  <inkml:trace contextRef="#ctx0" brushRef="#br1" timeOffset="156983.34">8297 9754 1013 0,'0'0'443'0,"0"0"20"0,0 0-15 0,0 8-56 15,-2-1-29-15,0-1-20 0,-1 5-53 16,0 1 4-16,-1-2-56 0,1 4-28 0,-2 1-23 15,-3-2-44-15,5 5-64 0,-5-1-66 0,4-1-26 16,-2-1-86-16,-1 0-142 0,-1 2-174 16,3-5-493-16,0 1 55 0,0-2 108 0,2-1 103 15,-2 1 58-15</inkml:trace>
  <inkml:trace contextRef="#ctx0" brushRef="#br1" timeOffset="157230.31">8201 9874 1333 0,'0'0'397'0,"0"0"-26"15,0 0 62-15,0 0-57 0,0 0-41 0,0 0-23 16,10 13-48-16,-7-6-23 0,4-1-16 0,-2 0-46 16,3 2-25-16,2 0-34 0,0 1-61 15,0-2-36-15,-1-1-46 0,3 1-44 0,1 3-117 16,2-4-177-16,0 2-560 0,1-2 76 0,-3 0 90 15,2 0 79-15,0-5 69 0</inkml:trace>
  <inkml:trace contextRef="#ctx0" brushRef="#br1" timeOffset="157740.74">8867 9804 1164 0,'0'0'371'0,"0"0"-38"0,-5 12-18 0,0-9-21 15,0 3-15-15,-1-2-13 0,-1 4 37 0,0-1-14 0,1-1-38 16,-4 4-26-16,2-1 5 0,1-3-28 16,1 2-48-16,-2 1 5 0,1-2-16 15,2 0-15-15,0-2-5 0,2 0-33 16,0-2 9-16,1 3-6 0,2 0-19 0,0-2 15 0,2-1-14 16,1 1-1-16,2-2-10 0,3 3-18 15,-1-3-10-15,1 2-3 0,2-2-28 0,1-2-31 16,-1 3-4-16,0-3-4 0,1 0-22 15,1-3-51-15,-2 2-34 0,1-1-56 0,-1 1-151 16,-3-3-149-16,2-1-453 0,1 2 72 0,-3 0 108 16,-2-4 115-16,1 1 20 0,-2 0 64 0</inkml:trace>
  <inkml:trace contextRef="#ctx0" brushRef="#br1" timeOffset="157937.46">8918 9791 1379 0,'-10'9'389'0,"8"-3"-12"0,-1 0 22 0,1 5-15 16,-1-2-44-16,2 6-15 0,-1 1-28 16,2-1-25-16,-2 4-47 0,2 1-23 0,-3-1-7 15,3 2-19-15,0-2-43 0,0 3-23 0,-3-2-43 16,3-1-39-16,-2 0-36 0,2-3-40 16,-2 0-55-16,2-3-50 0,-3 2-131 15,-4 0-159-15,6-3-486 0,-2-5 84 0,-1 0 98 0,3 1 50 16,-1-4 57-16</inkml:trace>
  <inkml:trace contextRef="#ctx0" brushRef="#br1" timeOffset="158580.34">7898 9732 1023 0,'7'-2'456'16,"-1"1"-23"0,-1 0-60-16,0-1-7 0,-5 2-97 0,13 0-15 0,-8 0-24 0,0 3 5 15,0-1-27-15,0-1-1 0,-2 3-28 16,-1-3-23-16,1 3 75 0,-1-1-50 0,-2-3-9 16,-2 7-3-16,-1-2-18 0,-2 0-18 15,0 2-54-15,0-3-63 0,0 3-32 0,0-4-53 16,-1 3-51-16,-1 0-103 0,4-1-150 0,-1 0-592 15,1 1 79-15,0-3 121 0,0 2 109 16,3 0-7-16,0-2 113 0</inkml:trace>
  <inkml:trace contextRef="#ctx0" brushRef="#br1" timeOffset="159253.62">9772 9517 1354 0,'-10'9'494'0,"7"-3"-49"0,1 4-33 0,1-2-46 0,1 5-33 16,-2 0-26-16,4 3-28 0,-2-1-18 15,0 3-38-15,3 1-39 0,-3 3-20 0,3-3-31 16,-1 0-48-16,-2 1-27 0,0-1-52 16,0 0-50-16,0-2-74 15,0-2-133-15,0-1-158 0,0 1-505 0,-2-2 51 0,-1-2 106 0,0-2 71 16,1-2 92-16</inkml:trace>
  <inkml:trace contextRef="#ctx0" brushRef="#br1" timeOffset="159477.69">9611 9754 1269 0,'4'0'438'0,"-1"-3"-116"0,-3 3-38 16,16-1-38-16,-6 1-8 0,2-1-7 0,1 1-37 16,5-1-15-16,1 1-10 0,6 0-20 15,0-1-37-15,2 1-30 0,5-2-46 0,-5 2-33 16,3 0-60-16,-5 0-86 0,-1 2-149 15,-1-2-529-15,0 1 30 0,-5 1 92 0,-3-1 74 16</inkml:trace>
  <inkml:trace contextRef="#ctx0" brushRef="#br1" timeOffset="161178.5">10623 9614 1282 0,'0'-3'397'15,"0"3"-29"-15,0 0-12 0,0 0-39 0,0 0-30 0,0 0 5 16,-5 14-69-16,2-4-13 0,3-1-13 15,-2 0-39-15,0 4-4 0,-1 0-18 16,3 1-14-16,0-1-17 0,0 4-7 0,0-3-96 16,3 0-4-16,-1 3-16 15,0-4-10-15,1 0-3 0,0 0-13 0,2-1 1 0,0-2-19 16,0-2 6-16,1 3-5 0,1-5-21 0,0-3 5 16,-1 1-8-16,4-2-7 0,-2-2 23 15,-1 0 0-15,3-3 15 0,-2-1 6 16,2-2-1-16,-1 0 21 0,-2-2 2 0,0-2 1 15,-1 2 25-15,-1-3 5 0,-2 1 20 0,-3-1-2 16,0-2-20-16,0 2 30 0,-3 0 3 0,3-3-20 16,-5 5 17-16,-1-1-13 0,2-2 16 15,-4 6-28 1,0-3 30-16,-2 2-20 0,0-1-13 0,2 4-5 0,-5 0-43 16,3-1-37-16,-1 4-53 0,1 0-112 0,0-3-45 0,-2 4-521 15,3 3 81-15,1-2 49 16,-2 0 118-16</inkml:trace>
  <inkml:trace contextRef="#ctx0" brushRef="#br1" timeOffset="161353.75">10697 9706 898 0,'0'0'279'0,"0"0"-100"16,0 0-164-16,0 0-160 0,0 0-485 0,1 4 69 15</inkml:trace>
  <inkml:trace contextRef="#ctx0" brushRef="#br1" timeOffset="161649.34">11033 9680 980 0,'5'5'384'0,"1"1"-34"16,-4-2-4-16,1 1-52 0,-6 2-9 0,1 0-106 15,-4 2-3-15,1 0-30 0,-4 0 5 0,0 1-28 16,-1 1-3-16,0 2-22 0,2-3-6 16,1-2 15-16,-1-1-9 0,0 1-4 15,1 0 4-15,2-2-19 0,-1-2 11 0,4 1-6 0,-1 1 57 16,0-2 15-16,3-1-15 15,0 3-26-15,0-3-8 0,0-3-4 0,6 3-3 0,-1 1-34 16,2-3-33-16,1 1-22 0,2-2-24 16,1 0-5-16,-1-2-31 0,3 1-45 0,2 1-70 15,-2-4-115-15,3 2-144 0,-1-2-475 16,0 2 48-16,0-2 90 16,3-3 51-16,0 4 79 0</inkml:trace>
  <inkml:trace contextRef="#ctx0" brushRef="#br1" timeOffset="161836.34">11454 9663 1497 0,'-10'10'440'0,"2"-2"-43"0,0 0-41 15,1 1-36-15,-1-1-92 0,2 2-47 0,-1-1 1 0,-3 2-34 0,2 1-43 16,-2-1-30-16,2 2-55 0,-2 0-45 15,0 1-103-15,0-2-192 0,-1 1-510 0,3 0 80 16,0-5 67-16,1 3 48 0,0-4 103 0</inkml:trace>
  <inkml:trace contextRef="#ctx0" brushRef="#br1" timeOffset="162019.47">11274 9785 1113 0,'0'0'456'16,"0"-6"-39"-16,0 6-33 0,3-4-90 15,-3 4-23-15,0 0-27 16,0 0-24-16,0 0-18 0,13 6-10 0,-6-1-33 0,-1 0-13 16,2-2-31-16,-3 3-28 0,3-1-54 0,1 0-2 15,0 1-65-15,1-3-58 0,-3 0-77 16,3 1-130-16,0-1-507 0,4-1 20 0,-2-2 56 16,1 0 62-16,0 0 85 0</inkml:trace>
  <inkml:trace contextRef="#ctx0" brushRef="#br1" timeOffset="162315.24">11772 9647 1098 0,'-10'9'427'0,"2"-2"-115"16,2 3-10-16,-1-1-33 0,0 2-31 0,4 0 31 15,-2-1-18-15,2 4-21 0,3-1-22 0,0 2-29 16,1-2-26-16,3-2-2 0,2 0-20 0,-2-2-11 15,4 1 8-15,0-4-25 0,-3-2-22 16,3 2 19-16,0-3-2 0,-1-3 4 0,1 2 16 16,-8-2 5-16,10-5 22 0,-7 5-27 0,-1-3 5 15,0-1-31-15,-2 4-7 0,-2-7 4 16,-3 5-7-16,2-1-41 0,-4 0-15 16,-1-1-29-16,-2 4-56 0,-3-1-33 0,2 1-84 15,-1 1-180-15,-1 0-412 0,3 1-164 0,-3 0 49 16,3 0 133-16,-3 3 67 15,3-5 43-15,-3 4 79 0</inkml:trace>
  <inkml:trace contextRef="#ctx0" brushRef="#br1" timeOffset="162764.44">10859 9735 1331 0,'0'0'376'0,"0"0"-82"0,0 0-71 15,0-4-87-15,0 4-203 0,0 0-616 16,0 0 27-16,0 0 52 0</inkml:trace>
  <inkml:trace contextRef="#ctx0" brushRef="#br1" timeOffset="163323.24">13054 9550 1187 0,'0'0'371'0,"0"0"-40"16,-6 4-35-16,6-4-19 0,0 0-47 15,0 0-43-15,11 7-38 0,-6-5-27 0,3 2-68 16,-1-2-33-16,4 1-119 0,-1-1-145 0,-5 0-84 15,7 1-408-15,2 0 31 0,-4-2 56 16</inkml:trace>
  <inkml:trace contextRef="#ctx0" brushRef="#br1" timeOffset="163525.51">12972 9703 1305 0,'0'0'386'0,"-6"3"-12"0,6-3-118 0,0 0-23 0,0 0-31 0,0 0 0 16,0 0-33-16,11 4-25 0,-3-4-14 16,0 0-48-16,4 0-15 0,1 0-44 0,2 0-36 15,0 0-54-15,3-3-125 16,1 2-79-16,-1 1-494 0,2-1 51 0,1-1 76 0,1-1 14 16</inkml:trace>
  <inkml:trace contextRef="#ctx0" brushRef="#br1" timeOffset="186384.5">13987 9387 954 0,'2'-5'433'0,"-2"5"46"0,3-3-19 16,-3 3-14-16,1-4-116 0,-1 4-3 0,2-3-9 16,-2 3-6-16,0 0-43 0,0 0-16 15,0-4-2-15,0 4 64 0,0 0-31 0,0 0 0 16,0 0-33-16,0 0-23 0,0 0-10 0,-10 16-29 16,7-6-5-16,-2 2-35 0,0 1-11 0,-1 6-10 15,-1-1-15-15,2 1-14 0,-1 5 9 16,1-4-36-16,0-2 7 15,3 1-33-15,-1-1 3 0,1 0-8 0,2-4-29 0,0-1 17 16,0 3-22-16,2-3-20 0,1-3 3 16,2 1-10-16,-2-1 4 0,4-2-32 0,-2-1 12 0,3-4-13 15,0 0 13-15,-1-3-2 0,1 0 20 0,0 0-20 16,0-3 20 0,-1 0 5-16,0-4-5 0,-3 1 10 0,1 0-15 0,-3-3 21 0,1 0-3 15,-3-1-6-15,0 1 4 0,-3-4 17 16,1 4-18-16,-1-2 16 0,-2 0 2 0,-3 4-5 15,3-2-25-15,-5 3-26 0,0 0-31 16,1 1-51-16,-3 4-33 0,2-2-47 0,-1 3-68 0,-1 3-116 16,4 0-693-16,-2 0 87 0,2 0 94 0,0 3 85 15,3-2 95-15,0-1 81 0,2 2 19 16</inkml:trace>
  <inkml:trace contextRef="#ctx0" brushRef="#br1" timeOffset="186552.66">14121 9561 1121 0,'0'0'509'0,"0"0"-46"0,-3-5-63 0,3 5-60 0,-3-6-97 0,3 6-79 0,0 0-85 16,-2-2-163-16,2 2-704 0,0 0 50 0,0 0 27 0,0 0 119 16</inkml:trace>
  <inkml:trace contextRef="#ctx0" brushRef="#br1" timeOffset="186882.01">14513 9319 1159 0,'-13'6'481'0,"0"-3"-35"16,-5 3 58-16,0 1-38 0,0 1-57 15,2 0-20-15,-4 2-17 0,2-1-37 0,3 2-43 16,-1 0-3-16,4 0-38 0,2-1-41 0,2 1-6 16,5-4-40-16,-2-1-36 0,5-2-10 15,5-2 0 1,-5-2-13-16,13 0-26 0,-3-2 3 0,0-1 8 0,4 0-6 0,0-1 0 16,-1-1-20-16,1 3 11 0,-4 1-11 0,0 1 2 0,0 2 1 15,0 4 2-15,-2 1 3 0,-1 3-11 16,-1 3-10-16,-1 2 16 0,-5 3-37 0,0 2-14 15,0 2-42 1,-3-1-66-16,1 3-49 0,-3 1-48 0,2 1-65 0,1-1-45 0,-1 1-187 16,3-5-612-16,-3 0 81 15,3-1 101-15,0-2 105 0,3 1 63 0,-3-2 83 0,3-3 89 16</inkml:trace>
  <inkml:trace contextRef="#ctx0" brushRef="#br1" timeOffset="195371.8">14746 9730 854 0,'0'0'300'0,"0"0"-42"0,0 0-112 0,0 0 10 15,0 0-22-15,0 0-14 0,0 0 3 16,-13 13-13-16,8-8-23 0,0 3-8 0,-1-2-12 15,-1 4 2-15,-3 0-10 0,2 2-18 0,-5 2 74 16,3 0-41-16,-1-2-35 0,-1 2-80 16,-3 1-144-16,2-3-370 0,0 4-121 0,1-3 64 15,1 0 54-15</inkml:trace>
  <inkml:trace contextRef="#ctx0" brushRef="#br1" timeOffset="198563.44">14092 5641 854 0,'0'0'221'0,"0"0"-35"15,0 0-9-15,0 0-31 0,-15 6 13 0,7-1-21 16,3 1-49-16,-3 1 22 0,0 2-27 16,-2-2 13-16,-2 1-33 0,1 3-23 15,1 0-107-15,-2-1-6 0,4 0-28 0,-3-3-30 0,3 4 4 16,0-5-114-16,1 2-380 0,0-1 3 15</inkml:trace>
  <inkml:trace contextRef="#ctx0" brushRef="#br1" timeOffset="198759.22">14185 5638 522 0,'0'0'204'0,"-11"8"11"0,6-3-66 0,-2 3-44 0,-1 3-156 0,-2 0-65 0,-1 2-457 16</inkml:trace>
  <inkml:trace contextRef="#ctx0" brushRef="#br1" timeOffset="202297.64">791 8663 1151 0,'-5'0'446'0,"5"0"-121"0,-5-4-23 0,5 4-13 16,0 0-23-16,-16 5-28 0,11 0-35 0,-3 2 68 16,-1 3-13-16,0 1-35 0,-1 0-13 0,-2 1-26 15,3 0-74-15,2 0-25 0,2-5-3 16,0 3-3-16,3-3 11 0,2-1-8 0,7-4 5 15,0 2 2-15,9-5-2 0,7-6 3 0,21-10-11 16,15-8 8-16,7-10 5 0,29-16-43 16,10-8 2-16,8-7-18 0,5-5-25 15,7-3-64-15,42-25-18 0,5 0-54 0,-41 24-59 16,40-19-23-16,-39 25 23 0,0 6-56 0,-6 1-126 0,-8 12-539 16,-10 7 76-16,-11 5 59 15,-28 12 120-15,-4 6 64 0</inkml:trace>
  <inkml:trace contextRef="#ctx0" brushRef="#br1" timeOffset="212219.29">2855 7032 1180 0,'0'0'391'0,"0"0"-25"0,26-6-25 0,-6 1-37 15,8 2-22-15,16-4-39 0,5-2-20 0,15 0-13 16,10-3-21-16,0 1-12 0,3-2-1 16,3 2-17-1,-1-2-21-15,4 1-28 0,3 3 3 0,-1-3-21 0,2 1-10 0,-5 1 7 16,-5 0-9-16,-3-1-21 0,-6 4-29 0,-13 0-27 16,-3 2-16-16,-6 3-28 0,-8-2-41 0,-9 4-94 15,-9-2-34-15,-2 4-49 16,-5-1 6-16,-3 2-106 0,-5-1-501 0,-5 3 85 0,0 1 56 15,-3 1 94-15,-6 1 47 0</inkml:trace>
  <inkml:trace contextRef="#ctx0" brushRef="#br1" timeOffset="212566.99">2901 7563 1011 0,'33'-6'348'0,"-2"0"-33"0,7-1 40 0,9-5-42 0,-1 4-19 0,18-5-18 16,0-3-30-16,3 3-28 0,-1 0-21 0,-1-1-5 16,1-2-23-1,-2 3 10-15,-5 0-46 0,-10 4-20 0,-5-1-8 0,-1 2-23 16,-5-3-29-16,-7 7-32 0,-8 2-44 0,-7-3-18 0,-1 4-23 16,-4 0-31-16,-1-1-89 0,-5 2-85 15,-5 0-102-15,2-2-505 16,-2 2 96-16,0 0 109 0,0 0 49 0,0 0 69 0</inkml:trace>
  <inkml:trace contextRef="#ctx0" brushRef="#br1" timeOffset="213022.6">3281 7154 1167 0,'0'0'460'0,"0"0"-68"0,-6-2-26 0,6 2-20 0,-5 6-42 0,3-1-27 15,1 1-21-15,1 1-23 16,0 4-29-16,-2-3-19 0,2 3-32 0,-2 2-2 15,2 0-38-15,0 1-23 0,-3 2-29 0,3-2-53 16,0-1-11-16,-3 3-38 0,3-3-23 0,0-2-15 16,0-1-75-16,-2 1-56 15,4-3-89-15,-2-2-65 0,3-1-465 0,-1 1 66 0,1-1 64 16,-1-3 49-16,1-1 82 0</inkml:trace>
  <inkml:trace contextRef="#ctx0" brushRef="#br1" timeOffset="213615.15">3332 7261 939 0,'0'0'353'0,"0"0"-7"0,0 0-37 0,0 0-19 15,0 0-42-15,0 0-20 0,-5 9-34 16,5-3 3-16,2-1-20 0,1 2-5 0,-1-1-32 16,1 0-22-16,4 0 20 0,-1-1-33 0,-2 1 0 15,2-2-18-15,1 1-2 0,3-4-24 16,0 2-20-16,1-2 13 0,-3-2 5 0,5 0-8 15,-5-2-2-15,2-1 7 0,0 1 26 16,-2-2-67-16,2-1 21 0,-5 3 2 0,2-3 3 16,-3 1-2-16,0-1 66 0,-4-1-3 0,1 2-2 15,-1-1-16-15,0 0 8 0,-1 3-28 16,-3-4 8-16,0 2-26 0,0 0 5 16,1-1-12-16,-2 4-11 0,0-3-10 0,0 1-31 15,2 1-25-15,-2-1-16 16,2 3-15-16,3 1-23 0,-7-6-21 0,4 4-43 0,1-1-31 0,2 3-13 15,-3-3-4-15,3 3 12 0,0-5-13 16,0 5 44 0,5-5-13-16,-3 1 38 0,-2 4 10 0,8-3 6 0,-5-1 23 0,2 2 18 0,0 2 61 15,-5 0 15-15,8 0 31 16,-8 0 11-16,10 0 4 0,-4 2 8 0,-2 2 13 16,-1-3-10-16,2 3 20 0,-2 2-7 0,4 0-16 15,-4-1-5-15,3 2 18 0,0-1-10 0,0 1 5 16,-1-1-11-16,2-2-14 0,-1 1 9 0,2 1-28 15,-1-1 24-15,-1-2 7 0,1 1-8 16,4-3 6-16,-6 1 28 0,2-2 9 0,1 1-4 16,-3-1 38-16,-5 0-20 0,10-3 8 15,-5 2 22-15,-2-3-15 16,0 2 5-16,2-3-23 0,-3 2 6 0,-2-1-4 0,0-1-86 0,-2 1 2 16,2-2 6-16,-3 0 7 15,0 1 7-15,1 0-17 0,-4-1 15 0,2 3-20 16,-2-1-28-16,-1 2 4 0,0-2 3 0,0 2-30 15,1 0-29-15,0 0-15 0,1 2-28 16,5 0-39-16,-13 0-17 0,13 0-85 0,-10 0-118 16,7 3-524-16,3 0 74 0,0-3 48 0,0 0 103 15,0 0 69-15</inkml:trace>
  <inkml:trace contextRef="#ctx0" brushRef="#br1" timeOffset="213857.03">3826 7069 1082 0,'3'-2'446'0,"-3"2"-29"0,0 0-92 16,0 0-15-16,8 7-24 0,-6-4-45 15,1 2-26-15,-3 0-15 0,2 3-19 0,-1 1 6 16,-2 0-26-16,2-2-27 0,0 3-22 16,0-1-9-16,-2 1-27 0,1-2-50 0,-1 4-62 15,0-2-25-15,-1-1-42 0,-1 2-78 16,3-2-144-16,-3 2-195 0,1-4-317 0,2 3 82 15,-2-4 76-15,-1 1 78 0</inkml:trace>
  <inkml:trace contextRef="#ctx0" brushRef="#br1" timeOffset="214059.64">3787 7188 1200 0,'-2'-6'363'0,"2"6"-68"0,-2-1-44 16,2 1-36-16,0 0-46 0,0 0-72 0,0 0-77 16,0 0-68-16,0 0-29 0,18 8 8 15,-13-5 13-15,3 0 27 0,2 2 27 0,0-3 48 16,-2 2 36-16,2 0 5 0,-2-1 8 0,2 1 22 16,-3-2-2-16,-1 3-17 0,2-3 2 0,-4 3-13 15,2-4-41-15,-4 5-72 0,-2-6-238 16,3 5-506-1,-1-2 23-15,1 2 119 0,-3-2 47 0</inkml:trace>
</inkml:ink>
</file>

<file path=ppt/ink/ink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5:48:03.586"/>
    </inkml:context>
    <inkml:brush xml:id="br0">
      <inkml:brushProperty name="width" value="0.05292" units="cm"/>
      <inkml:brushProperty name="height" value="0.05292" units="cm"/>
      <inkml:brushProperty name="color" value="#0070C0"/>
    </inkml:brush>
  </inkml:definitions>
  <inkml:trace contextRef="#ctx0" brushRef="#br0">9465 3640 1392 0,'0'0'374'0,"0"0"-16"0,0 0-35 16,0 0-34-16,25-3 10 0,-7 0-50 0,5 2 1 0,10-2-24 16,14-2-32-16,4 1 3 0,5-1-15 15,1 1-33-15,12-2-11 0,-2 0 8 16,-11 1-21-16,1 0-35 0,12-1 2 0,-13 3-28 16,0 0-8-16,-4 0 13 0,-1-1-64 0,-2 3-35 15,-1-2-4-15,-11 3-35 0,-5-2-110 16,-8 2-8-16,1-2-53 0,-4 2 55 0,-3 0-183 0,-3-3-14 15,1 5-473-15,-6-2 116 0,-2 1 19 16,-4 1 70 0,-1 0 51-16</inkml:trace>
  <inkml:trace contextRef="#ctx0" brushRef="#br0" timeOffset="205.01">9726 3763 1000 0,'0'0'369'0,"0"0"-36"0,0 0-34 0,0 0-22 0,38-1-14 0,-15-2-50 16,11 0-6-16,10-2-2 0,4 0-36 0,3-1 30 15,11-3-65-15,-6 2-22 16,8-4-4-16,1 0-29 0,-4 3-7 16,-7-2-36-16,7-1-34 0,-10 1-30 0,-2 1-87 0,2-1-93 15,4-9-96-15,-10 10-513 0,-1-1 95 16,-2-2 44-16,1-1 61 0,-3-3 69 0</inkml:trace>
  <inkml:trace contextRef="#ctx0" brushRef="#br0" timeOffset="556.16">11752 3078 1049 0,'0'0'328'0,"7"-9"-26"0,1 4-21 0,4 0-27 15,6-3-24-15,6-1-33 0,14-4-23 16,0 3-2-16,6-5-24 0,2 2-17 0,1-2-11 16,9-1-33-16,-2 1-8 0,-6 2-10 15,-2 1-22-15,3 0-24 0,-2 1-44 16,1-1-43-16,-4 0-66 0,4 2-88 0,-6 0-79 16,1 1-468-16,-7-2 33 0,-8 3 138 0,-7 2 26 0</inkml:trace>
  <inkml:trace contextRef="#ctx0" brushRef="#br0" timeOffset="843.63">12362 2771 1149 0,'0'0'414'0,"17"-7"-63"0,-6 7-8 0,2 0-20 0,2 0-42 16,5 0 11-16,1 2-16 0,2 1-48 0,-2 0 13 15,2 1-26-15,3 1 10 0,-4 3-48 0,-3-2-21 16,-4 1 23-16,2 3-38 16,-6 0 5-16,-1-1-31 0,-4 1-2 0,-4 1-21 0,-2 2-8 15,-2 0 1-15,-4 3-75 0,-4-2-13 0,-1 5-30 16,-1-2-64-16,-1-2-64 16,-2 1-93-16,2 0-178 15,0-4-554-15,2 0 111 0,1-1 143 0,3-3 40 0,-3-2 76 0,5-2 73 31</inkml:trace>
  <inkml:trace contextRef="#ctx0" brushRef="#br0" timeOffset="1195.58">13569 2471 1046 0,'0'0'356'0,"0"0"-18"0,-2 12-36 0,1-4-15 16,-3 1-41-16,1 0-29 0,0 2 13 16,-1 1-48-16,0 3-44 15,0 1-7-15,-2 1-44 0,1-2-23 0,0 1-51 0,2 1-59 16,-1-1-59-16,1-2-110 0,-2 0-174 16,2-2-407-16,3-2 53 0,0 0 126 0,3-1 59 15</inkml:trace>
  <inkml:trace contextRef="#ctx0" brushRef="#br0" timeOffset="1882.84">13690 2491 1005 0,'0'0'259'0,"0"0"-11"0,0 0-33 0,-6 12-18 16,4-6 6-16,2-1-34 0,-3 2-31 15,3 0-10-15,0 3-8 0,3-3-2 0,-1 1-34 16,-1-1 16-16,4 3-46 0,-2-3 15 0,1 0-10 16,2-1 5-16,1 1-23 0,4-3 15 15,-4-2-20-15,3 1 5 0,0-2 20 0,1-1-7 16,-1 0 20-16,-2-1 16 0,0-2 7 0,0 1-7 16,-1-4 12-16,-2 1 26 0,-3-1-46 15,1 0-18-15,-3-2 26 0,0 2 4 0,0 0-30 16,0-1-5-16,-3 0 13 0,1 1-29 15,0-1 19-15,-1 2-34 0,-2-2 5 16,2 2 1-16,-2 0-19 0,0 1-7 0,0-1-14 16,0 2-40-16,0 1 8 0,2 1-16 0,-2-2-17 15,5 3-19-15,-7-2-43 0,7 2-5 16,-4-3-49 0,4 3 15-16,0 0-25 0,0 0-38 0,0 0 20 0,0 0 35 0,11-8-14 15,-4 6 40-15,3-2 39 16,-1 1-10-16,1 0 10 0,2 1 20 0,-1-1 39 0,-3 1 30 0,2 1 39 15,0 1 12-15,0 0-4 16,0 1-6-16,-2 1 24 0,0 1 7 0,0 0-21 16,-1 1 1-16,-1 2-13 0,1-2 25 15,1 3-10-15,0 0-7 0,-1 1-3 0,1-1-8 16,-1 2 10-16,3 0 1 0,-2 1-8 0,2-4 7 16,-1 0-12-16,1 0 5 0,0 1 10 15,3-1-6-15,-3-4 22 0,3 3 40 16,-2-2 3-16,1-2 8 0,0 1 30 0,-1-2 11 0,-1-2 50 15,0 0-37-15,-2 0 22 0,2-2 100 16,-2 1-48-16,-3-3-11 0,1-1-17 0,-4-2-4 16,0 1-47-16,-2 1 27 0,-2-3-25 15,-1 1-13-15,-4-1-16 0,2 2-2 16,-3-2-7-16,0 2-16 0,-2 0 8 0,-2 2-13 16,1-1-47-16,1 2-6 0,-3-1-19 0,0 3-15 0,1 1-29 15,1 2-37-15,1-1-16 16,0 2-29-1,0-1-37-15,1 2-70 0,1 2-33 0,1 1-89 0,0-3-90 0,4 3-449 0,0-2 117 16,3 2-6-16,-2-2 168 16,2-3 1-16,2 9 21 0</inkml:trace>
  <inkml:trace contextRef="#ctx0" brushRef="#br0" timeOffset="2206.63">14282 2337 895 0,'0'0'292'0,"0"0"-33"16,0 0-11-16,3 13-33 0,-3-5-8 0,0-1-27 16,0 4 1-16,0 1-40 0,0 1-23 0,-1 2 5 15,-1 2 10-15,-3 1-49 0,2-3-7 16,-2 4-31-16,3-3-48 0,-1 0-42 0,-2 1-71 16,2-4-82-16,1 0-62 0,0 2-81 15,2-5-369-15,0 0 87 0,0-4 51 0</inkml:trace>
  <inkml:trace contextRef="#ctx0" brushRef="#br0" timeOffset="2741.17">14417 2437 944 0,'-14'0'320'16,"-2"2"-21"-16,3-1 50 0,1 4-17 0,1-2-35 15,-2 2-20-15,3 0-19 0,-1 1-56 0,1-1-10 16,0 1-12-16,2-2 12 0,1 3-36 16,-1 1-18-16,3-2-10 0,2 1-8 0,-1-2-12 15,4 2-21-15,0 0-13 0,0-2 0 16,0 2 3-16,4-1 10 0,-1 0-26 0,2-2-14 16,0 2-32-16,1-2 0 0,2 1-17 0,-1-3-39 15,3 2-23-15,-2-3-10 0,2 1-21 16,0-1 13-16,0-2-31 0,0 1-7 0,1-1-8 15,-1 0 5-15,0 0 11 0,3-3 7 16,-5 3 23-16,2-3 18 0,1 2-11 16,-4 1 14-16,3-2 2 0,-4 1 41 0,2 0 23 15,-1-1-7-15,-2 3 38 0,0-1-3 0,-5 1 21 16,8-2 10-16,-3-1-13 0,-5 3-5 16,5 0 5-16,-5 0 13 0,0 0 8 0,8 3-3 15,-8-3-3-15,5 3 11 0,-5-3-15 0,3 3 12 16,-1 1 13-16,-2-1-5 0,0-3 7 15,3 6-25-15,-1-5-2 0,1 2 25 0,-3 1-8 16,2 1 3-16,1-3 8 0,2 2 7 16,0 0-10-1,1 0-10-15,1-2-36 0,0 1 25 0,1-1-4 0,0 1-11 0,0 0-15 16,-1 1 2-16,1-4-2 16,2 1-36-16,-2 1-33 0,2-1-16 0,-4-1-33 0,4 2 0 15,-3-2-46-15,-1 1-20 0,-6-1-39 0,10 1-77 16,-5 0-76-16,-5-1-67 0,3 5-522 0,-3-5 168 15,-3 6 24-15,-2-1 151 0,-3 1-5 16</inkml:trace>
  <inkml:trace contextRef="#ctx0" brushRef="#br0" timeOffset="3307.66">11546 3548 1139 0,'-5'-1'394'16,"0"0"-33"-16,5 1-18 0,0 0-52 0,0 0 1 15,0 0-15-15,18 13-14 0,2-7-37 16,6 3-11-16,10 4-26 0,5 0-2 0,6-1-44 0,11 3 13 16,4 2-7-16,1-2-11 0,4 1-20 15,-3 0-64-15,1 0-13 16,-1-3 7-16,3 0-9 0,-1-1-4 0,-2 0-9 0,0 2 15 15,-15-3-13-15,2-3 3 0,-5 2-6 16,-5-2-19-16,-8-2 24 0,-7-1-40 0,-5-2-21 16,-1 2-7-16,-2-1-11 0,-5-2-7 0,0 0-13 15,-3 1-49-15,-2-3 13 0,0 2-69 16,0-2-31-16,-8 0-97 0,10-1-64 0,-6 0-233 16,-4 1-199-16,6-3 37 0,-6 3 78 15,2-4 117-15</inkml:trace>
  <inkml:trace contextRef="#ctx0" brushRef="#br0" timeOffset="3623.4">12772 3712 1080 0,'18'3'399'0,"-11"1"-33"15,1-1-5-15,4 3-31 0,-1 0-102 0,5 1-13 16,-1 4-8-16,0-3 16 15,1 3 30-15,1 2-30 0,-1-3 36 0,-3 2-44 16,-1 0-13-16,-1-2-28 0,-6 6 31 0,3-3-34 16,-6-1-12-16,-1 1-6 0,-2 2 1 15,-4 1-29-15,-2 2-7 0,-3-3-15 0,-4 4-16 16,1-1-26-16,-5-1 6 0,1-2-16 16,-1-1-31-16,5-4-30 0,-2 1-41 0,2-4-18 15,3 0-75-15,-1-2-40 0,1 0-39 16,5-3-97-16,0-1-115 0,0-1-499 0,5 0 51 15,0 0 87-15,0 0 92 0,0 0 54 0,0 0 69 16</inkml:trace>
  <inkml:trace contextRef="#ctx0" brushRef="#br0" timeOffset="4018.65">13795 3785 1302 0,'-18'5'328'0,"10"-1"-28"0,-2-1-9 0,-1 3-19 16,1-1-37-16,-2 1-30 16,-1 1 10-16,3 0-44 0,0 0-9 0,-1 2-4 0,1-3-30 15,4 1-5-15,-1 1-23 0,4-2-8 16,-1 2-2-16,4 1 10 0,2-1-3 15,2-1-31-15,2 3 4 0,-1-2 9 0,5-2 3 16,-2 4 10-16,5-3-10 0,-3 0 25 0,-2 1-7 16,2-2-15-16,-2 0 12 0,0-1 3 15,-1 0 10-15,-4 2-13 0,1-1 16 0,-3-1-24 16,-2 2-4-16,-1-1-3 0,-2 1-18 0,-4-1-5 16,-2 2 84-16,-1-1-33 15,-2 0-20-15,0-1-24 0,0 0-25 0,-2 1-41 0,0-2-20 16,2-1-32-16,-2 0-32 0,2 0-41 15,3-3-19 1,-1 2-61-16,1-3-86 0,2 0-70 0,3-3-151 0,0 1-405 0,3-3 34 16,2 0 108-16,2-4 112 0,0-2 23 0,4-1 69 15</inkml:trace>
  <inkml:trace contextRef="#ctx0" brushRef="#br0" timeOffset="4484.46">13807 3769 1246 0,'3'-3'417'0,"-3"3"-23"15,8 5-2-15,-5-1-118 0,1 3 10 16,-3-2-61-16,1 4-21 0,-2-1 3 0,0 3-18 16,0 1-21-16,0 1-20 0,-2 1-16 0,1 1-22 15,-1-1-41-15,0 1-21 16,-2 0-39-16,2-1-27 0,0-1-31 0,2 0-24 16,0-3-35-16,4-3-13 0,-3 0-51 0,4-1-33 15,3-1-49-15,-3-3-5 0,5-1-18 16,2-2 15-16,2-1-10 0,1-5-130 0,3 1-200 15,5-3 79-15,-3-1 274 0,1-2 198 0,3 0 50 16,4-6 67-16,-1-1 41 0,-6 5 0 16,-3 2 69-16,-2-1 41 0,-1 3 33 15,-2 2 31-15,-6 1-12 0,1 1 1 0,-3 0 19 0,-4 1-49 16,-1 3 5-16,0 2-23 16,0 0 13-16,-16 0 23 0,8 2-33 0,-7 3-3 15,-3 1 8-15,-3 3-85 0,-1 1-17 0,3-4 7 16,1 4-5-16,3-1-16 0,0 0 9 15,2 1-4-15,5-2 6 0,-4 3-5 0,6-2-3 16,1 1-15-16,0-1-18 0,2 0 2 0,3-3-17 16,3 2 15-16,2-2-23 0,0 1-11 15,3-1 16-15,2-1 0 0,0 0-25 0,1-4-14 16,1 1-14-16,1-2-27 0,3-1-27 0,1 0-37 16,-1-2-22-16,2-1-23 15,-2 0-34-15,1 0-18 0,-1-1-22 0,2 0-19 0,-6-2-33 16,4 2-43-16,-1 0-70 0,-5 2-25 15,0-3-23-15,1 1-402 0,-1 0 56 0,-2 3 34 16,0-2 102-16,0 2 33 0</inkml:trace>
  <inkml:trace contextRef="#ctx0" brushRef="#br0" timeOffset="4955.18">14317 3872 1028 0,'0'0'400'0,"3"-2"-44"0,-3 2-90 15,0 0-8-15,0 0-14 0,0 0-17 16,3-2-19-16,-3 2-1 0,0 0-12 0,0 0 4 15,0 0-25-15,5 8 0 0,-5-8-10 0,0 6-23 16,0-4 18-16,0-2-16 0,0 7-10 16,3-3-2-16,-3 1 4 0,0-5-32 15,2 6-6-15,-2-3 5 0,1 1 24 0,1-2-34 16,-2-2 23-16,5 4 90 0,-3-2 2 16,-2-2-53-16,3 1 10 0,-3-1-21 0,8 2 16 15,-8-2-29-15,10-2-10 0,-10 2 8 0,10-1 21 16,-10 1-26-16,11 0-34 0,-4 0 34 15,-7 0-69-15,11 3-34 0,-4-2 32 0,-2 1-6 16,3 0-8-16,2 1 18 0,-2 0-22 16,-1 0 2-16,1 2 48 0,0-2 18 0,2 1-63 15,-2 0 43-15,-1-1-5 0,1-1-77 0,0 2 0 16,0-1 0 0,-1 0 0-16,1-1 0 0,0 0 0 0,2 0 0 0,-2-1 0 0,0 0 0 15,-1 0 0-15,1 2 0 0,2-3 0 0,0 0 0 16,-2 1 0-16,2-1 0 0,-2-1 0 15,0 1 0-15,-1 1 0 0,1-1 0 0,0 0 0 16,-8 0 0-16,12 0 0 0,-6 0 0 0,-6 0 0 16,10 0 0-16,-10 0-36 0,10 0-202 15,-7 1-29-15,-3-1-22 0,10-1-15 0,-10 1-45 16,0 0-55-16,10 1-174 0,-10-1 12 0,5 1-274 16,-2 0-81-16,-1 1 58 0,-2-2 126 15,3 3 43-15,-3-3 88 0</inkml:trace>
  <inkml:trace contextRef="#ctx0" brushRef="#br0" timeOffset="7750.9">14593 2552 1013 0,'2'-5'335'0,"-2"5"-7"15,0 0-44-15,0 0-28 0,0 0-2 16,0 0-32-16,0 0-32 0,0 0-88 0,0 0 8 16,0 0-10-16,0 0 2 0,0 0-17 0,0 0-16 15,0 16 0-15,2-10-15 0,-2 0-6 16,0 1 6-16,3-2-8 0,-3 2-5 16,0 0 74-16,2 0-7 0,-1 1-6 0,-1-2-38 0,0 1 11 15,2 2-4-15,0-2-17 0,-2-2 5 16,0 2-5-16,3-2-3 0,-3-2-3 0,0 2 32 15,0-2-37-15,0 2 26 0,3-2 1 16,-3-3 11-16,2 3 6 0,-2-3-5 16,2 4-7-16,-2-4-17 0,0 0-52 0,0 0-24 15,9-7 15-15,-4 4 11 0,-5 3-3 0,7-6 3 16,-4 5-6-16,2-1 8 0,0-2 6 16,-2 3-9-16,1-1 16 0,-4 2-12 0,11-2-11 15,-4 2 28-15,-7 0-18 0,11 4 13 0,-5-3-10 16,1 3 7-16,-2-3 16 0,3 1-18 15,-3 2-2-15,2-2 22 0,-1 1 3 0,-1-1 10 16,0-1 80-16,-5-1 9 0,10 4-32 16,-7-3-8-16,1-1 25 0,-4 0-22 0,11 0-1 15,-11 0-2-15,10 0-26 0,-4 0-10 16,-6 0-5-16,10-3-100 0,-2 1-10 0,-1 0-13 31,-2 1-13-31,0-2-18 0,0 1 0 0,1 1-35 0,-1-1-19 0,3 1-9 0,-1 1-19 16,-2-2-10-16,3 2-28 0,0-1 0 0,-1 1-13 15,3 1-86-15,-2 1-73 0,2 1-135 16,1-2-302-16,-1 2 63 0,0 0 50 0,3 3 84 16,-2-3 43-16</inkml:trace>
  <inkml:trace contextRef="#ctx0" brushRef="#br0" timeOffset="8759.9">15238 2497 865 0,'5'-3'340'0,"0"-3"-35"0,3 1-21 0,0 1-31 16,0 3-15-16,2-1-18 0,-3 1-5 0,1 1-23 15,0 0 8-15,2 2-13 0,-2 2-26 16,0 3 13-16,-3 2 8 0,2 3 53 0,-4 1-22 16,-1 6-21-16,-2 3-105 0,-2 3-10 0,0 1 5 15,-6 10-18-15,0-3 18 0,0-6-26 0,1-3-2 16,1 1 2-16,2-3 8 0,3-2-10 15,-1-1-21-15,-1 0 5 0,3-4 6 16,0 0 12-16,3 0-28 0,-1-3 6 0,1 0-11 16,2-1 18-16,2-3-26 0,-1 0 16 0,2-3-1 15,-1 0 1-15,1-3-10 0,2 1 20 16,0-3-34-16,3-3 3 0,-3 1-10 31,4-2-2-31,-4 0 20 0,2-2-13 0,-2 1 5 0,-1-1 0 0,-2 2 1 0,0 1 7 0,-1-2 12 16,-1 1-9-16,0 1 12 0,-2 1 13 15,2 0 3-15,-5 2 10 0,0 0-16 0,0 0-22 16,0 0 4-16,0 0 3 0,2 11-2 16,-7-3 25-16,3 4 8 0,-1 5-3 0,1 3 1 15,-1 1-27-15,0 3 29 0,1 6 82 0,2 0-113 16,2 10 0-16,1 3 11 0,2 3-11 16,0-1 0-16,1 0 10 0,1 0 16 0,1-1-18 15,2 0-13-15,-2-2-5 0,1-2 18 0,0 0-3 16,1-3-20-16,0-3 100 0,-2-2-9 15,-3-4-1-15,-2-3-6 0,-1-5-25 0,-2-1 17 16,0-1 37-16,-5 0 2 0,0 0-26 0,-1-3-46 16,-1 2-4-16,-3-3 19 0,0-1-22 0,-3-2 12 15,0 1-14-15,3-6-47 0,-3 0 0 16,3-2 0-16,-1 0 0 0,-2-2 0 16,3-1 0-16,0-2 0 0,0-1-90 0,2-2-33 15,1 1-46-15,1-3-18 0,1-1-5 0,2-3-41 16,1 1-15-16,2-3 0 0,0-1-62 15,5 0-43-15,0-4-54 0,3-2-128 0,0-1-453 16,4-1 97-16,-1 1 57 0,7-5 63 16,0-2 98-16,2 1 38 0</inkml:trace>
  <inkml:trace contextRef="#ctx0" brushRef="#br0" timeOffset="9090.39">15756 3115 1036 0,'0'0'440'16,"-5"-2"-40"-16,5 2-37 0,0 0-30 15,-5-1-26-15,5 1-7 0,0 0-50 16,0 0-27-16,0 0-15 0,23-2-14 0,-10 2-5 0,5 0-22 15,7-1-16-15,4 0 2 16,4 0-4-16,0-1-11 0,16-2-79 0,-11 3-21 16,11-3-17-16,-5 2-6 0,-6-1-7 0,-4 2 10 15,-3-1-13-15,-1 1 8 0,-2-1-26 0,-7 1-18 16,0 0 6 0,-4 1-55-16,-1-1-7 0,-1 1-43 0,-4 0-16 0,1 0-15 0,-4 1-26 15,-3 1-36-15,-3 1-53 0,-2-3-83 0,0 0-109 16,0 0-272-16,-7 8-23 0,-1-4 134 15,0-2 45-15</inkml:trace>
  <inkml:trace contextRef="#ctx0" brushRef="#br0" timeOffset="9397.65">15703 3220 924 0,'-8'1'368'0,"2"-2"-58"15,2 3-26-15,4-2-10 0,0 0-16 0,0 0-17 16,0 0-26-16,0 0 3 0,20 6 15 15,-7-6-18-15,5 1-13 0,4 1-18 16,4-2-71-16,0 1-13 0,7 1-1 0,0-1 17 0,1 1-14 16,18-1 3-16,-7 0 41 0,2 0-5 15,-6-1-26-15,-5 1 13 0,-3-2-31 0,0 2-2 16,3-1 2-16,-3 0-13 0,1-1-22 0,-3 1-19 16,-4-1-2-16,-1 1-59 0,-3-1 0 15,1 1-51-15,-4-1-18 0,-2-2 8 16,-1 2-59-16,-4-1-31 0,-2-1-51 0,2 1-44 15,-5 1-97-15,-3-4-320 0,2 3-176 0,-4-2 58 16,-1-1 118-16,-2 0 82 0,-2-2 85 16</inkml:trace>
  <inkml:trace contextRef="#ctx0" brushRef="#br0" timeOffset="9734.48">16277 2944 693 0,'0'0'215'0,"0"0"3"0,0 0-11 15,18 4 3-15,-10 0-10 0,2 1-3 0,4-2-18 16,2 2 8-16,-1 2-13 0,4 2 0 16,-1-2-18-16,4 1-20 0,4 0-6 15,-3 1-7-15,3-1 20 0,-3 3-30 0,0-3-5 16,-3 2-27-16,1-1 17 0,-3 2-1 15,0-3-12-15,-2 2-11 0,-1-2 74 0,-3 1 16 0,-1-1-23 16,-1 1 0-16,-2 2-8 16,-1 0-72-16,-4 1-2 0,-3 1 2 0,-2 0-12 0,-6 1 7 15,-5 4-2-15,-10 6 2 16,-8 3-17-16,-7 3 2 0,-6 0-26 0,0 3-12 16,-2-3-24-16,-2-1-30 0,-1-2-39 15,3-1-35-15,-5-4-29 0,10-5-66 0,2 1-118 0,-18 0-110 16,22-3-419-16,-1 1 66 0,3-3 107 31,7-2 57-31,8-5 66 0</inkml:trace>
  <inkml:trace contextRef="#ctx0" brushRef="#br0" timeOffset="11066">18046 3030 655 0,'0'0'269'15,"7"-3"-37"-15,-7 3 1 0,5-2-2 16,-5 2-29-16,6-3-2 0,-6 3-19 0,4-1-12 16,-4 1-7-16,0 0-19 0,0 0-7 15,0 0-29-15,0 0-15 0,0 0 6 0,-14 11-4 16,8-9-9-16,-1 4-21 0,-1-2 23 0,0-1-39 16,-2 1 4-16,2 1 1 0,0-2-12 0,3 1 3 15,-2-3-24-15,2 3 6 16,-1-2-26-16,4 0 31 0,-1 1 2 0,-2 0-20 0,5-3 5 15,-2 5-6-15,2-1 6 0,0-4-2 16,4 7 2-16,-1-5-11 0,0 2 3 16,-1-2-12-16,4 4 15 0,-1-2-13 0,2 3 13 15,-2-4-8-15,1 3 15 0,2 0-5 16,-4-1 1-16,2 0 22 0,-1 1-20 0,0 0 97 16,0-2-20-16,-2 1 5 0,-1 0 61 15,-2 0-61-15,0 0-3 16,-2 0 13-16,-2 0-25 0,0 1 22 0,-4 1-38 0,0-2-2 15,1 1-1-15,-6-1-27 0,3 1 22 0,-3-3-15 0,3 1-28 16,-1 1 28-16,-1-2-20 0,1 1-34 16,1-2-12-16,3 0 10 0,-2 1 2 15,0-2-56-15,3 4-10 0,1-5-26 0,0 1-26 16,5-1-25-16,-7 0-10 0,7 0-3 16,0 0-17-16,0 0-1 0,0 0 0 0,0 0-7 15,7-12-8-15,-2 10 30 0,3-4 34 0,2-1 10 16,-2 1-7-16,2 0 61 0,0 0 15 15,1-3 18-15,2 1 33 0,1-1 24 0,-3 4 17 16,-1-2 42-16,0 1 4 0,1 1 21 16,-4 0 5-16,-1 2-2 0,1 0 7 0,0 1 10 15,-6 1-17-15,6-2 12 0,-7 3-41 16,9 0 14-16,-5 3-9 0,-1 0-5 16,0 0 11-16,1 1-34 0,0 2-12 0,0-1 7 15,-1 1 5-15,2 1-15 0,0-1 13 0,0 1-26 16,0-1 5-16,3 0 8 0,0 0-33 15,0 0 20-15,2 0 11 0,3-2-83 16,-1 2 1-16,1-3-1 0,0-2-2 0,0 2 31 0,0-3-1 16,-3 0 11-16,3-3 8 0,0 2 48 15,-1-2-8-15,2-1-7 0,-4-1 26 0,-3 2 7 16,-1-3 5-16,-2 1 0 16,2-1-10-16,-4-2 5 0,1 2-15 15,-1 0-8-15,-4 1 18 0,2-1-28 0,-5 0 2 0,-1 1 3 16,-1 2-5-16,-1 0 85 0,-2 0-11 0,0 2-18 0,-1 1-8 15,-1 0-30-15,-1 0-41 0,2 0 10 16,1 1-39-16,0 0-22 0,-1 3-23 16,1-2-21-16,2 0-16 0,-2 3-37 0,3-4-6 15,2 2-15-15,2-1-36 0,-2 0-44 16,5-2-63-16,0 0-59 0,0 0-55 0,0 0-429 16,0 0 90-16,0 0 30 0,26-4 62 0,-16 0 55 15</inkml:trace>
  <inkml:trace contextRef="#ctx0" brushRef="#br0" timeOffset="11270.49">18454 3000 729 0,'10'-6'312'0,"-4"1"-10"0,-2 4-28 0,1-1-13 0,-2 0-20 15,-3 2 0-15,4-2-19 0,-4 2 9 16,0 0-32-16,3 7-7 16,0-2-20-16,-3 2 12 0,0 2-25 0,0 0-34 0,0 1-15 15,0 3 77-15,-3 1 15 0,3 1-51 0,-3 2-10 16,-1 2-3-16,1-1-150 0,-2 1 1 15,-1 0-37-15,2 0-19 0,1-1-48 0,-2 0-8 16,2-3-20-16,3-1-52 0,1-2-10 16,1 0-48-16,3-4-75 0,0 1 16 0,3-4-443 15,0-2 28-15,4 1 138 0,1-3 18 0</inkml:trace>
  <inkml:trace contextRef="#ctx0" brushRef="#br0" timeOffset="11547.74">18764 3119 939 0,'-10'1'292'0,"-3"0"-3"0,-3 3-23 15,-2 0-5-15,-2 1-28 0,3 2-5 0,-2-1-18 16,1 1-33-16,2 1 81 0,2 0-40 0,-2 1-6 16,5-1-10-16,1 1-30 0,0-2 20 15,2 3-41-15,3-3-18 0,0 0-13 0,4 0-12 16,1-1-1-16,0 1 3 0,1 0-36 15,4-2 39-15,0 1-31 0,3-2-15 0,0-1-6 16,0 0-23-16,2 0-9 0,0-2-47 16,2 1-28-16,-1-2-29 0,3 0-14 0,-2-2-14 15,1 1-94-15,-1 1-64 0,1 0-51 16,0-3-172-16,0 0-425 0,-1 1 70 0,-2 1 89 16,-2-3 115-16,3 4 28 0</inkml:trace>
  <inkml:trace contextRef="#ctx0" brushRef="#br0" timeOffset="12102.21">18872 3203 1274 0,'0'0'389'0,"0"0"-10"0,0 0-51 16,0 0-21-16,0 0-26 0,0 0-101 15,0 0-6-15,0 0-16 0,0 0 4 0,0 0-19 16,-1 15-18-16,2-12-30 0,-2 2 5 0,1-5 10 15,0 9-2-15,0-5-29 0,0 1 16 0,1-1-31 16,-1 0 0 0,0 2 12-16,0-2-9 0,0-4 5 0,2 5-19 0,-2-1 19 0,0-4 82 15,0 5-16-15,2-2-13 16,-2-3 16-16,0 0-13 0,2 4-79 0,-2-4 20 0,1 3-38 16,-1-3 4-16,0 0 9 0,0 0 2 0,0 0-5 15,10-2-5-15,-10 2-16 0,0 0 11 0,10-3 20 16,-10 3-38-16,6-2 13 0,-6 2 9 15,7-1-24-15,-7 1 9 0,5-2 26 16,-5 2-38-16,0 0 10 0,10 3-8 0,-7-1-15 16,0 1 0-16,-3-3 20 0,5 4-12 0,-2-1-3 15,1 0-3-15,-3 0-17 16,1 1 40-16,-2-1 26 0,3 1-30 0,-1 1-6 0,-1-2-15 16,-1-3 12-16,2 6 14 0,-2-3-11 0,0-3-5 15,2 4 28-15,-2-4-22 16,5 5 1-16,-5-5 1 15,1 1 8-15,-1-1 33 0,7 2-16 0,-7-2 13 0,5 1-20 16,-5-1-8-16,10 2-15 0,-10-2 15 0,10 0 0 0,-4 0 28 16,-6 0-23-16,10 0-5 0,-5 0 10 15,-5 0-25-15,13 0-3 0,-8 0 16 16,3 2-27 0,0-2-19-16,-8 0-29 0,13-2-36 0,-5 4-50 0,-1-4-6 0,1 2-39 15,-1 0-35-15,1 0-23 16,-1-2-26-16,1 1-43 0,0 1-69 0,0 0-39 0,-3-2-494 0,3 1 59 15,-8 1 100-15,10 0 82 0,-10 0 71 0,10 0 47 16</inkml:trace>
  <inkml:trace contextRef="#ctx0" brushRef="#br0" timeOffset="12555.73">19551 2860 883 0,'3'-7'401'16,"-2"1"4"-16,2 1-31 0,-5 2-29 0,2 3-112 16,0 0 3-16,0 0-42 0,0 0 19 15,0 14 2-15,-3-1 10 0,1 1-41 0,-1 6 0 16,-2 2 1-16,0 6-9 0,-3 10-12 0,1-1 82 16,-1 2-11-16,2-1-45 15,-1 4-19-15,-6-2 3 0,3 2-17 0,-1-1-35 16,1 1-6-16,-2-1 1 0,-1-3 6 0,0-2-28 0,2-2-6 15,-1-2-37-15,4-7-37 0,1-5 16 16,1-3-44-16,1-2-38 0,0-3 20 0,2-1-56 16,-2-1-3-16,3-2-32 31,0-1-29-31,1 0-18 0,1-3-46 0,0-4-29 0,3 4-65 0,-3-4-103 0,8-1-341 16,-8 1-135-16,14-8 61 15,-5 1 92-15,3-4 121 0,2-2 33 0</inkml:trace>
  <inkml:trace contextRef="#ctx0" brushRef="#br0" timeOffset="13240.18">19766 3171 834 0,'0'0'381'16,"0"0"-40"-16,0 0 40 0,-8 16-35 0,6-9-29 15,-1 0-92-15,-4 3-25 0,1 0 2 0,1 2-35 16,0 1-19-16,-2 0-7 0,-1 2 5 15,0 0-21-15,3-1-10 0,-1 2-22 0,-1-3 14 16,4-1 11-16,-1-2-47 0,1 2-1 0,0-2 1 16,-2-2 9-16,5 2-6 15,-3-4 10-15,1-1 6 0,2-1 15 0,2-1-8 0,-2-3-10 16,6 3 21-16,-6-3-14 0,14-5-19 16,-6 2-9-16,3 0 1 0,2-1-8 15,-3 0 22-15,3-1-32 0,0 2 15 0,-1 0-5 31,2 0-28-31,0 2-13 0,-5 1 43 0,1-2-20 0,0 4-5 0,0 1-3 0,0 0 0 16,-2 0 6-16,0 2-37 0,-3 0 29 0,0 2 2 16,0-2 3-16,1 3-28 0,-4 0-44 15,2-2-5-15,-4 3-2 0,0-1-34 0,0-1-15 16,-4 1-18-16,2 1-41 0,-1-2-36 16,2-1-10-16,-1 0-13 0,0-1-13 0,2-1-59 0,-3 0-68 15,3-4-42-15,0 4-12 0,0-4 71 16,0 0 41-16,0 0 21 0,0 0 38 15,17-14 33-15,-13 7 39 0,3 0 53 0,-1-4 57 16,4 2 36-16,-2-1 58 0,2-2 24 0,-3 4 48 16,1 0 28-16,0 2-4 0,0-1 1 15,-4 3 1-15,2-2 23 0,-2 4-18 0,0-1 23 16,0 2 10-16,-4 1-33 0,0 0 5 16,8 4 3-16,-6 1-6 0,-2-1-2 0,0 2 5 15,-2 1-31-15,0 0 13 0,2 0-33 16,-3 1 5-16,0 0-8 0,-1-1 1 0,1 0 4 15,0-1 8-15,1 1 5 0,-1-2-7 16,3-2 12-16,0 0 3 0,0-3 41 0,-3 4-59 0,3-4 0 16,0 0-13-16,0 0 21 0,11-11-24 15,-1 3-2-15,0-4 39 0,4-1 2 16,3-3-26-16,-1-1-30 0,6-5-21 16,4-2-120-16,0 2-21 0,0-2-10 0,-1 3-43 0,1 1 12 15,-3 5-22-15,-5 1-24 16,0 3-2-16,0-1-41 0,-3 2-34 0,0 2-53 0,-2 1-118 15,3 0-332-15,-4 1-134 0,-1-1 108 0,1 2 92 16,0-1 43-16,-3 1 98 0</inkml:trace>
  <inkml:trace contextRef="#ctx0" brushRef="#br0" timeOffset="19210.34">9087 8171 1098 0,'-7'0'353'0,"-1"2"-23"16,1-2-25-16,7 0-21 0,-11 0 0 0,4-2-41 15,7 2-18-15,-9 0-15 0,9 0-18 0,0 0-13 16,0 0-7-16,0 0 74 0,0 0-11 16,29 2-17-16,-6-5-26 0,11 3 10 0,17-3-15 15,5 0-23-15,0 2 7 0,3 1-17 0,1-1-14 16,3 1-17-16,-1-1-2 0,12 2-14 15,-12 0 3-15,-1-1-31 16,-4 0-15-16,0 0-7 0,-4 0-16 0,-4 0-5 0,-3 0-34 16,-8 0-25-16,-9 0-18 0,-3 0-10 0,-4 0-13 15,-1 0-8-15,-5 0-35 0,-1 0 4 16,0 0 11-16,-5 1-25 0,-2-2-24 16,-1 2-13-16,-1-2-40 0,-6 1-32 0,0 0-4 0,0 0-59 15,0 0-82-15,0 0-52 0,-18 5-424 16,5-3 13-16,-5 1 127 0,-5-1 103 0,-5 2 15 15</inkml:trace>
  <inkml:trace contextRef="#ctx0" brushRef="#br0" timeOffset="19580.93">9095 8310 819 0,'-2'-3'376'0,"2"3"-20"0,0 0 2 0,20-8-53 0,1 3-3 0,2 3-5 16,20-4-13-16,6 0-13 0,0 1-79 0,2-1-23 16,5 2 64-16,-2-1-33 0,3-1-8 15,10-2-18-15,-11 5 0 0,13-2-16 0,-12-1-35 16,1 3 21-16,-4 0-50 0,0-2 14 16,-2 2-3-16,-4-2 0 0,-2 3-26 0,0-4 8 15,-12 1-36-15,-1 4 3 0,-5-4-3 16,-2 5-10-16,-1-2 21 0,-4-2-9 0,2 4-12 0,-8-2-2 15,3 1-21-15,-2-2-3 16,-4 2 26-16,-1 0-28 0,-3 1-18 16,2-1-11-16,-2-2-30 0,-1 3-13 0,-1 0-20 0,1 0-21 15,-7 0-20-15,11-2-18 0,-7 2-34 16,-4 0-35-16,8 1-62 0,-8-1-64 0,8 1-79 16,-8-1-520-16,5 0 108 0,0 3 64 0,-5-3 59 15,5 1 58-15</inkml:trace>
  <inkml:trace contextRef="#ctx0" brushRef="#br0" timeOffset="22756.93">17258 7763 1144 0,'21'-2'327'0,"3"2"-22"0,-2-3-24 15,-2 2-32-15,3 1-42 0,1-2-10 16,4 2-25-16,3-3-16 0,0 1-59 0,2 1-35 15,-2-2-42-15,2 1-48 0,-2 1-108 16,-3 0-153-16,-2-1-241 0,-3 2-220 0,-5-1 95 16,-3 2 38-16</inkml:trace>
  <inkml:trace contextRef="#ctx0" brushRef="#br0" timeOffset="22992.6">17097 7900 1031 0,'0'0'297'0,"0"0"-10"0,15 7-42 0,-4-7-24 0,4 0 6 16,3 0-45-16,2 0-3 0,6-2-12 0,2-1-11 16,6 1-36-16,-3-1 64 0,12-1 3 15,3-1-23-15,-2-2-31 0,2 1-41 0,-3-2-17 16,-2 2-52-16,-5 0-6 0,-7 0-73 15,-1 1-82-15,-3-1-98 16,-9 0-78-16,7-1-557 0,-5 1 132 0,0 1 114 0,-5-1 67 16</inkml:trace>
  <inkml:trace contextRef="#ctx0" brushRef="#br0" timeOffset="23313.45">17830 7525 657 0,'21'7'284'0,"-4"-1"-28"16,-1 0-15-16,-1 1-8 0,-1 4-41 0,0 0-5 15,0-2 0-15,-2 3-39 0,-4 2 6 16,3 2-21-16,-7-1-10 0,-4 1 10 0,0 2-23 16,-5-1-23-16,-5 6 5 0,0-3-2 0,-11 8-3 15,-2-1-21-15,0-1-9 0,-5 0-24 16,2-2-41-16,-2 2-25 0,0-3-39 0,-1-1-53 16,1-1-83-16,8-4-42 0,-5 4-541 15,4-5 94 1,5-3 19-16,-2 0 71 0</inkml:trace>
  <inkml:trace contextRef="#ctx0" brushRef="#br0" timeOffset="27239.48">19315 7551 926 0,'-13'1'284'0,"5"1"-12"0,-2 1-6 0,2-3-36 0,-2 4-35 16,2-2-8-16,-2 2-16 0,2-1-17 15,1 0-26-15,-1 0 10 0,3 1-20 16,-2-1-16-16,3 2-2 0,0-4-13 0,1 4 13 16,3-1-18-16,-3 2-1 0,3-6 73 15,5 9-21-15,-2-4-7 0,2-1-16 0,0 1-18 16,1 0 23-16,1 1-36 0,1 1-4 0,2-1-4 16,-2 3 3-16,0-2-2 0,0-1-10 15,-1 1-9-15,1-4 22 0,-1 4-17 16,-4-1 1-16,2-1 23 0,0 1 5 0,-3 1 8 15,-2-1-23-15,0 0 4 0,0-1 24 16,-2 1-20-16,-1 1-14 0,-4-1-2 0,-1 1 23 0,3-1-15 16,-5 0-111-16,0 1 9 0,0-2 7 15,-1 1 10-15,-2-1-8 0,3-1 19 16,-5 1-26-16,4-1-13 0,-4-2-5 0,2 3 0 16,-2-4-3-16,1 3-20 0,0-2-18 0,0-2-8 15,2 2-35-15,2 0-34 0,-1-1-18 16,-1-1-10-16,2-1-61 0,2 1-96 0,-1-4-37 15,2 4-443-15,4-2 10 0,-4-2 133 16,4 1 71-16,1-1 44 0</inkml:trace>
  <inkml:trace contextRef="#ctx0" brushRef="#br0" timeOffset="27546.82">19187 7407 867 0,'5'-6'387'0,"-1"1"-52"16,-1 2-10-16,0 0-20 0,-3 3-11 16,0 0-25-16,11 3-44 0,-7 0-2 0,2 2 61 15,-2 6-28-15,2-3 2 0,-2 9-30 0,-1 0-28 16,2 0-3-16,-2 7-51 0,0-2 23 16,-1 5-123-16,-1 3-15 0,-1-2 10 0,0 2-6 15,-3 7 6-15,-2-4 18 0,2-4-46 0,0-3 18 16,0-1-34-16,-1 0-22 0,0 0 4 15,-2-2-22-15,0-2-24 0,2-3-10 16,0 1-23-16,0-5-22 0,1 0-29 0,0-1-57 16,0 0-81-16,-1-5-64 0,1 0-428 15,0 0-25-15,1-2 104 0,0-2 52 16,2 1 56-16</inkml:trace>
  <inkml:trace contextRef="#ctx0" brushRef="#br0" timeOffset="28036.71">19448 7588 1308 0,'0'-3'389'0,"0"3"-16"0,0 0-55 0,0 0-6 0,0 0-46 16,3 10-38-16,-3-1-16 0,-3 0-12 0,3 0-95 16,-2 5-5-16,2 1-28 0,-3-2 7 15,0 4-18-15,3 1-20 0,0-4-20 0,-2 3-6 16,2-3 3-16,0 0-3 0,2 2-12 16,1-3-6-16,0-1-27 0,2-1 2 0,0-2 7 15,2 2 3-15,-4-5-7 0,5 1 9 16,0-1 6-16,-1-4 20 0,1 3-10 0,2-4-8 15,0-1 16-15,-4 0 20 0,4-1-7 0,-3-3 10 16,-1 1 4-16,3-2 22 0,-3-1-21 16,-1 0 25-16,3-3-18 0,-4-1 6 0,0-2-8 15,0 3 15-15,-1-3-10 0,0 1-2 0,-3-1 12 16,2 0 1-16,-4 4-4 16,2-2 65-16,-3 3-10 0,2-2-1 0,-3 0-25 0,2 1-5 15,-1 2-6-15,0 0-12 16,-2 3 26-16,0-2-39 0,2 0-15 0,-2 3-44 0,1-1-28 15,-2 2-10-15,6 1-31 0,-10-3-41 16,7 1-59-16,3 2-66 0,0 0-95 16,-15 4-126-16,10-3-439 0,3 3 122 0,2-4 38 0,-6 3 106 15,4 1 58-15</inkml:trace>
  <inkml:trace contextRef="#ctx0" brushRef="#br0" timeOffset="28717.98">19409 7536 714 0,'0'0'307'0,"0"0"-23"0,0 0-28 0,0 0-18 15,0 0-26-15,3 15 6 0,-2-7-47 16,-1 1 57-16,2 3-10 16,0 2-44-16,-2 3 18 0,0-2-28 0,0 4-21 0,0 0-48 15,0 0-3-15,0 2-26 0,-2-2-14 0,2 2-32 16,-2-2-7-16,1 0-64 0,-2 0-54 16,3-5-44-16,0 2-94 0,-2-7-46 0,2 5-505 15,0-4 67-15,2 2 118 0,-2-5 38 0</inkml:trace>
  <inkml:trace contextRef="#ctx0" brushRef="#br0" timeOffset="29307.12">19762 7636 821 0,'0'0'305'0,"-9"6"66"0,7-2-56 0,-1 2-26 0,3 3-28 16,-2-1-28-16,2 2-15 0,0-1-26 16,0 2-16-16,0 1-7 0,2-3-23 15,1 2 2-15,1 1-22 0,-1-1-6 0,2-2-23 0,-2 0 6 16,2 0-26-16,3-2 12 0,1 0-30 15,-3-1 0-15,2-1 0 0,-1-1-3 0,4-2-10 16,-2-1-15-16,0-1 12 0,-1 0 4 16,2-1-6-16,0-1 7 0,-2-2 1 15,-3-1 22-15,2 0 14 0,-4-2-3 0,4 0-13 16,-6-1 28-16,-1 1-2 0,2-3-36 0,-4 3-75 16,1-1 19-16,-1-3 10 0,0 4-13 15,-6-4 10-15,2 4 3 0,-1-2-18 0,-1 1-6 16,-1 1 9-16,-2 0 15 0,3 2-39 0,-4 0 26 15,2 2-31-15,-1-2-15 0,1 3-53 16,2-1-4-16,-2 2-10 0,0 1-30 0,2 0-8 16,3 0-89-16,-3 4-60 0,2-3-102 0,-1 1 5 15,2 2-365-15,3-2 19 16,-1 1 39-16,3-3 49 16</inkml:trace>
  <inkml:trace contextRef="#ctx0" brushRef="#br0" timeOffset="29876.09">20005 7641 1144 0,'4'5'384'0,"-4"0"-34"0,0-1-22 0,3-1-23 16,-2 2-39-16,-1 1-28 15,0-1-15-15,0 1-14 0,0 0-4 0,0 1-36 16,0-1-15-16,-1 0 10 0,2 0-34 0,-2-1-15 0,1 0 3 16,0 0-13-16,1 0 5 15,-1 0-18-15,0-5 26 0,0 6-3 0,2-4-38 16,-2-2 0-16,2 5 20 0,-2-5-92 0,6 1-13 16,-6-1-2-16,0 0 18 0,7-6 10 15,-2 5-13-15,0-4 23 0,1 2-10 0,-1-1-16 16,0 0-2-16,-3 3 75 0,4-2 7 0,-2 0 5 15,2-1-13-15,-1 1-10 0,-2 3 2 16,3-2-27-16,-6 2-6 0,8 0 21 0,-8 0 12 16,8 2-2-16,-8-2-2 0,5 3-14 15,-2 1 19-15,-2-1-21 0,3 0 3 16,-1 1-26-16,-1-2 13 0,-1 2 12 0,1-1-17 16,-2 2 5-16,0-5-23 0,4 4 38 15,-3-2-5-15,-1 3-18 0,0-5 3 16,5 3-29-16,-3 0-2 0,-2-3 51 0,0 0 6 0,6 2-6 15,-6-2-13-15,0 0-2 0,11-5-23 0,-7 4-44 16,2 0-10-16,-2-3 0 0,2 2 39 16,-1-2-6-16,0 3 16 0,0 0 10 15,2 1-11-15,-7 0-9 0,11 0 17 0,-5 0 3 16,1 1-5-16,0 2-11 0,-1-1-4 0,-1 4 15 16,3-4 2-16,-3 3-12 0,0 1-6 15,0 1-38-15,-2-2-46 16,1 1-26-16,-1-1 9 0,2-1-37 0,-3 1-21 0,2-1-14 0,-4-1-29 0,2 2-51 15,2-1-23-15,-3-2-74 16,2 2-75-16,-1-2 16 0,0 3-445 0,-2-5 20 16,1 6 143-16,-1-6 47 0,2 2 37 15</inkml:trace>
  <inkml:trace contextRef="#ctx0" brushRef="#br0" timeOffset="32739.22">20971 7638 1080 0,'0'0'422'0,"-5"-2"-23"0,5 2-53 0,0 0-8 0,-2-4-34 16,2 4-48-16,0 0-28 0,0 0 3 15,14-1-39-15,-6-1-16 0,0 2-20 0,3 0-10 16,-1-2 8-16,5 1-16 0,2 1-10 16,0-2-33-16,1 2-31 15,2-5-28-15,1 4-47 0,1 0-32 0,-4-2-39 0,0 2-49 0,-2 1-71 16,2 0-167-16,-8 0-55 0,5-2-462 15,-4 2 108-15,-4 2 112 0,3-2 37 0,-5 1 71 16</inkml:trace>
  <inkml:trace contextRef="#ctx0" brushRef="#br0" timeOffset="32947.08">21004 7697 1159 0,'-5'2'374'0,"5"-2"-34"15,0 0-30-15,0 0 15 0,0 0-72 0,0 0-25 16,0 0-13-16,23-5-23 0,-12 5-10 0,3-2-31 16,-3 2 5-16,7-2-33 15,0 0-44-15,2 2-4 0,1-6-58 0,-2 6-50 0,-1 0-82 16,2-3-131-16,-5-1-127 0,1 3-475 0,1-2 106 16,-4 1 97-16,-2 0 41 0,-1-1 51 15</inkml:trace>
  <inkml:trace contextRef="#ctx0" brushRef="#br0" timeOffset="33191.61">21282 7500 1021 0,'6'-2'350'0,"-2"-1"-22"15,-4 3-23-15,14 5-24 0,-5-4-22 16,1 4-6-16,2 2 77 0,-1-1-112 0,5 2 0 0,1 3-1 15,-4-2 57-15,2 1-44 0,-2 1-20 16,-5 1-15-16,2 1-21 0,-3-2-21 0,-3 0 4 16,-4 1-19-16,0 3 0 0,-4-2-53 15,-3 3-34-15,0 1-31 0,-4-1-48 0,-4 1-51 16,2 0-65-16,0 0-135 0,-4-3-179 16,8-1-494-16,-1 0 43 0,4-6 159 0,0 3 46 15,3-4 64-15,3-4 90 0</inkml:trace>
  <inkml:trace contextRef="#ctx0" brushRef="#br0" timeOffset="33730.1">22422 7446 1292 0,'0'0'412'0,"-3"-2"16"16,3 2-149-16,0 0-11 15,0 0-19-15,-4 11-29 0,4-8-26 0,-1 6-19 0,-4 0 9 16,3-3-33-16,1 7-31 0,-6-3 116 16,4 3-60-16,-4 1 11 0,2 1-36 0,-1 1-38 15,1-3 38-15,-2 3-62 0,2-2-43 16,-1-2 3-16,-1 2-31 0,-1-3-36 16,3 1-28-16,1 0-31 0,-2-4-12 0,3 5-27 15,-2-2-37-15,3-4-95 0,0 0-108 0,1 0-525 16,-2-1 88-16,3-2 48 0,0-1 133 15,0-3 77-15</inkml:trace>
  <inkml:trace contextRef="#ctx0" brushRef="#br0" timeOffset="34529.31">22506 7523 1028 0,'8'0'407'0,"1"2"-30"0,0 0-68 0,-1 2-17 0,0-3-20 15,0 5-14-15,-1-4-84 0,-2 2-25 16,1 3-6-16,-4-1-12 0,3 0-11 16,-5-1 5-16,0 1-7 0,0 0-10 0,-1 1-39 15,-5 0 82-15,0 3 20 0,-1-1-48 0,-1-3-21 16,2 2 1-16,-4 3 12 0,0-4-5 16,2 0-23-16,1 2 13 0,1-3-16 15,-1-2 14-15,2 0-16 0,0 2-24 0,0-1 24 0,2-3 0 16,0 2-20-16,1-2-3 0,2-2 7 15,-3 5 1-15,3-5 7 16,1 3-25-16,-1-3-37 0,7 5 16 0,-4-5-15 0,2 0-20 16,-5 0-22-16,15 2-17 0,-5-2-25 0,-1-2-16 15,3 2 18-15,1-1-31 0,2-4 0 16,-2 3 28-16,0-3 3 0,4-1-10 0,-1-1 35 16,-1-1-22-1,1 0 15-15,-3 0 12 0,-3 2 11 0,3 0 31 0,-3-1-27 0,0 1 22 16,-2 1 33-16,0 2-1 0,-1-2 16 15,0 3-7-15,-3-1-6 0,0 2 13 0,-1-1-23 16,-3 2 3-16,0 0-11 0,0 0 11 16,11 4 7-16,-8 0-18 0,-2 1-2 0,0 0 38 15,1 2-28-15,-2 0-10 0,5 1-8 0,-2-1 6 16,-1 3 22-16,1-3-18 0,4 0 6 16,-1 1-6-16,2 1-15 0,-1-4 56 15,1 2-40-15,0-4-1 16,2 3 29-16,-2-3 7 15,2-1-15-15,-2-1 25 0,-1-1-53 0,-1 0 40 0,1-1 19 0,0-1 56 0,-1-1 10 16,-1-4-15 0,2 5-1-16,-6-5-7 0,1 2 3 0,1-1 15 0,-6-1 0 0,3 0-15 0,-3-2-21 15,1 2-18-15,-3 0-7 0,0 1 4 0,-3-3-17 16,3 2-21-16,0 2-25 0,-3 0 18 16,3 0-29-16,-2 0-35 0,-2 2 58 0,2 0-66 15,-2 2-8-15,1 1-51 0,2 0-25 0,6 0-21 16,-13 0-16-16,7 1-53 15,-3 4-15-15,4-3-57 0,2 2-66 0,-2-2-101 16,3 3-531-16,2-2 30 0,0-3 141 0,-1 8 84 16,2-6 80-16,1 4 35 15,3-2 109-15</inkml:trace>
  <inkml:trace contextRef="#ctx0" brushRef="#br0" timeOffset="35102.56">23006 7733 1535 0,'0'0'448'0,"0"0"-13"0,1-12-125 0,-1 12 10 16,2-7-10-16,-2 5-18 0,4-3-11 0,-2-1-20 15,0 2-18-15,0 0 6 0,2-3-21 16,-2 0-3-16,4-2-31 0,-4 2-22 16,5-1-11-16,-2-2-20 0,0 1 10 0,2-1-26 15,-3 1-20-15,1 3 10 0,2-1-17 0,0-3-9 0,-3 5-40 16,3-1 17-16,-4 3-14 15,1-1 14-15,-3 3 3 0,-1 1 0 0,8-1-33 16,-8 1 18-16,0 0-18 0,8 6-11 0,-6-4 9 16,0 3-16-16,2-3-21 0,-3 4-10 15,0-1-15-15,1 0 8 0,2-3-3 0,-2 4-8 16,0-2 10-16,2-2 11 0,-3 3 13 16,2-3-6-16,2-2 1 0,0 3 7 15,0-3 0-15,-5 0 3 0,16-3-19 0,-6 3 22 16,0-2 17-16,2-3-13 0,-1 4-5 0,-1-2 1 0,2 1 17 15,-3 2 0-15,1 0 13 0,0 0 64 16,0 0-34-16,0 0 45 0,1 2-24 16,-3 2-15-16,2-1-8 0,-2 1-82 0,2 2 13 15,-2-1-15-15,-3-1 30 0,4 0-36 0,-3 2-14 16,-1-1-58-16,1 1-9 0,-2 0-34 16,-1-3-30-16,0 1-13 0,-1 1-11 0,-2-2-35 15,0-3-23-15,-2 7-16 0,-1-3-40 0,-2-1-108 16,5-3-6-16,-15 2-503 0,4 0 7 15,-2-1 136-15,-5 1 59 0,3 0 66 0,-8-1 128 16</inkml:trace>
  <inkml:trace contextRef="#ctx0" brushRef="#br0" timeOffset="35816.49">22143 7524 1274 0,'-3'-4'410'0,"3"4"-44"0,-7-2-3 0,-1-2-43 0,2 4-33 16,-1-1-39-16,-3 0 3 0,0 1-23 0,-1-1-23 16,-2 1-18-16,1 0-6 0,3 0-27 15,-3 1 5-15,2 0-39 0,0 0 23 0,1-1-10 16,0 3-41-16,1-1-2 15,3-2 7-15,1 4-28 0,0-2 21 0,2 2-31 0,1-1 20 16,1-3 1-16,3 11-39 0,1-5 7 0,0-1 6 16,1 2-5-16,2 2-11 0,-1-3 0 15,1 0-86-15,-1 4 37 0,2-3 9 16,-4 0 2-16,2-2 33 0,-2 2 11 0,-1-1 84 31,0 0 10-31,1 0 0 0,-3-3-10 0,-1 3 21 0,0 0-6 0,-3-1-10 0,-2 2-10 16,0-1-18-16,-3 2-16 0,-2-2 1 0,0 1-29 15,-5 0-2-15,-3 0 10 0,0 0-7 16,-1-2-26-16,-1 0-44 0,2 0-66 0,0 0-29 16,-2-1-32-16,4-1-29 0,-2-3 0 0,4 2-69 15,0-2-13-15,1 0-25 0,3-2-97 0,0 2-114 16,0-3-314-16,2-1-151 0,3-1 59 16,2-1 135-16,-2-1 93 15,3-1 30-15,2-1 54 0</inkml:trace>
  <inkml:trace contextRef="#ctx0" brushRef="#br0" timeOffset="36093.92">22050 7213 1016 0,'11'-1'489'0,"-4"2"-24"0,-1 3-91 0,-2 2-21 16,2 3-17-16,-2 3-42 0,0 3-12 15,-4 7-11-15,2 2 3 0,-4 3-46 0,-4 12 5 16,1 3-26-16,2 1-23 0,-7 1 59 15,0 10 1-15,-1-1-52 0,-1 1 7 0,0-10 6 16,1-1-39-16,-2-3-45 0,2 1-4 16,-1-6-14-16,2 1-90 0,2-4 15 0,0-3-28 15,1-8-21-15,4 4-32 0,-4-6-45 16,4-2-45-16,-2-2-11 0,3 0-48 0,-2-6-33 16,2 2-47-16,2-4-69 0,-2-1-107 0,2-1-509 15,2-3 101-15,3 0 137 0,-2 1 46 0,-3-3 40 16,8 1 95-16</inkml:trace>
  <inkml:trace contextRef="#ctx0" brushRef="#br0" timeOffset="41431.96">9546 10266 1110 0,'0'0'382'0,"8"-9"-39"0,3 5-16 0,9 0-48 15,6-1-15-15,19-3-16 0,10 2-43 16,16-5-21-16,4 2-17 0,6 0-3 15,2-1-34-15,1 0-7 0,1 3-18 0,5-2-15 16,-3 0-24-16,-2 0 1 0,-1-1-21 0,3 2-33 16,-7-2-36-1,-1 2-16-15,-5 0-50 0,-2-1-16 0,-5 0-49 0,-13 2-41 16,-6 0-2-16,-1 0-92 0,-11 3 2 0,-11 0-219 0,-6 0-242 16,-5 3 93-16,-6 1 110 0</inkml:trace>
  <inkml:trace contextRef="#ctx0" brushRef="#br0" timeOffset="41725.44">9485 10512 737 0,'23'-8'327'0,"-3"3"-30"15,8-1-25-15,14-5-32 0,19 1-32 16,11-2-6-16,5-2-13 0,2 3-28 0,6-2-7 16,0 2-34-1,4-1 8-15,1 1-18 0,-2 2-15 0,-1-2-5 0,-5-1-11 0,-3 4-23 16,-5-3-35-16,-2 3 2 0,-7 1 5 16,-12-2-38-16,-4 2-24 0,-8 4-35 0,-5 0-51 15,-11-3 23-15,-4 5-93 0,-1-3 16 0,-4 2-69 16,-4 2 38-16,-2-1 49 0,-2 0-151 15,-2 1-384-15,-6 0 110 0,5 2 102 16</inkml:trace>
  <inkml:trace contextRef="#ctx0" brushRef="#br0" timeOffset="48580.88">14389 9880 1446 0,'0'-4'425'0,"0"4"-18"0,0 0-46 15,0 0-21-15,11-1-28 0,-4 1-12 16,3 0-26-16,1 0-24 0,4-1-27 16,4-1-13-16,3-1-23 0,1 0-41 0,3 0-13 0,3 0 13 15,1-2-31-15,1 0-7 0,-3 2-11 16,3-2-28-16,-3 0-41 0,3 2-38 0,-3-2-31 16,-2 1-36-16,-3 1-43 0,-3 0-47 0,0 0-68 15,-4 0-213-15,-1 2-476 0,-2 1 141 16,-5 0-13-16,0 0 81 0,-3 0 68 0,-5 0 68 15</inkml:trace>
  <inkml:trace contextRef="#ctx0" brushRef="#br0" timeOffset="48816.01">14300 10007 1126 0,'0'0'489'16,"0"0"-62"-16,0 0-125 15,0 0-15-15,18 3-18 0,-5-3-21 0,0 0-23 0,5 1-23 16,2-2-12-16,3 1-11 0,5 0-36 0,3-3 1 16,2 2-24-16,13-1-5 0,-10-2-25 15,-2 2-34-15,-1-2-2 0,-2 2-44 0,-1-3-36 16,1 3-50-16,-5-2-22 0,-1-1-65 0,-4 4-78 16,0-2-158-16,-6 0-446 15,-3 0 39-15,-1 0 68 0,-1 1 139 0,-4-2-7 16</inkml:trace>
  <inkml:trace contextRef="#ctx0" brushRef="#br0" timeOffset="49115.06">14641 9719 1290 0,'7'-2'468'0,"3"-1"-23"0,6 2-27 0,-1 1-55 0,9-2-35 0,1 4-98 15,3-1-12-15,6 4-24 0,4 0-25 16,3 3 18-16,-2 3-33 0,-1 0-32 0,-1 2-4 16,-4 1 31-16,-1-1-42 0,-6 0-2 0,-7 0-15 15,-2 1 7-15,-1 2 5 0,-6-3-25 0,-5 2 5 16,-2 0 5-16,-6 2-20 0,-7 3-8 16,0 0-19-16,-11 9-4 0,-4-2-36 0,-2-1-23 15,0-2-36-15,-1 1-25 0,-1-2-54 0,1-1-54 16,2-2-57-16,6-3-173 0,-1-5-497 0,4 1 62 15,-4 0 91 1,5-7 73-16,1-1 71 0,0 2 56 0</inkml:trace>
  <inkml:trace contextRef="#ctx0" brushRef="#br0" timeOffset="49791.88">15887 9754 1267 0,'-10'0'417'0,"-1"2"-15"0,-1 1-36 16,-1 0 18-16,0 4-136 0,-2-1-25 15,-1 0-26-15,-2 5-31 0,5-3-2 0,-2 4-31 16,2-1-5-16,3-2-5 0,-1 3-13 0,1 0-18 16,5-4 23-16,-2 2-53 0,4-1-1 15,0-1 11-15,3-1-16 0,3-4 0 0,0 3-2 16,4-1-28-16,-2-3 4 0,5-2 6 0,1 0-2 15,-1-2 17 1,0 0 5-16,4-2-7 0,-2-2 25 0,1-2-13 0,3-1-2 0,-4 0 5 31,1-1 28-31,0 2-12 0,0-1 40 0,-3-1-23 0,0 4-12 0,-2 1 22 16,-1-2-9-16,-1 4-16 0,2-1-13 0,-4 3-18 16,2 0 20-16,-6 1 55 0,10 2-13 0,-5-1 7 15,0 5-18-15,0 1 6 0,1 2-116 16,-2 0 29-1,-1 2-9-15,2 0-9 0,-3-2-26 0,2 3-16 0,0-2-32 0,-1-1-29 0,-3 4-2 16,3-7-67-16,1 5-36 0,-3-3-31 16,1-2-71-16,-2 2-128 0,3-3-31 15,-1 2-494-15,-2-1 93 16,1-3 122-16,1-1 33 0,-2-2 77 0,2 5 67 0</inkml:trace>
  <inkml:trace contextRef="#ctx0" brushRef="#br0" timeOffset="50089.03">16186 9612 1167 0,'3'-5'468'0,"-3"4"-43"0,3-1-31 0,-3 2-43 0,0 0-18 16,0 0 5-16,0 0-118 0,8 8-10 15,-8-1-26-15,0-1 8 0,0 4-16 16,0-1-7-16,-3 4-41 0,3 2 11 0,-3 2-1 15,1 4-5-15,-3-1 67 0,2 4-14 16,-2 1-37-16,0-1-36 0,0-1 27 0,0 1-24 16,3-5-32-16,1 0-2 0,-2-1-39 0,1-1-17 15,4-2-46-15,-2-3-47 0,0 0 0 16,0 1-27-16,3-4-45 0,-2-1-40 16,1 0-79-16,2-4-124 15,0-2-66-15,1 2-483 0,0-1 48 0,0-3 120 0,-5 0 69 0,10-2 80 16,-2-3 48-16</inkml:trace>
  <inkml:trace contextRef="#ctx0" brushRef="#br0" timeOffset="50353.95">16431 9605 1346 0,'0'-5'473'0,"2"2"-43"0,0 0-25 0,-2 3-13 0,0 0-47 16,0 0-38-16,0 0-15 0,0 0 2 15,-2 15-94-15,-3-7-23 0,2 0-16 16,1 2 0-16,-4 3-17 0,2 1-16 0,-2 0-24 0,2 4-14 16,-2 1 5-16,3-1 38 0,-2 2 3 15,2-2-62-15,1 1-38 0,0 1 10 16,-3-2-31-16,5 0-41 0,0-2-4 0,0-2-29 16,2-1-46-16,-2 1-18 0,3-1-10 15,-3-2-46-15,4-4-49 0,-3 3-36 0,1-3-112 16,1-5-10-16,-1 4-462 0,1-2 16 0,0-3 126 0,-3-1 58 15,0 0 103-15</inkml:trace>
  <inkml:trace contextRef="#ctx0" brushRef="#br0" timeOffset="50947.61">16131 9861 898 0,'0'0'320'15,"-6"-1"43"-15,6 1-38 0,-2-4-15 16,2 4-46-16,0 0-16 0,5-6-18 16,-5 6-35-16,8-6 2 0,-1 4-18 0,-2-3-5 15,3 3-28-15,0-2 8 0,2-1-34 0,3-1-20 16,-3 2 38-16,3-1-35 0,0-1-4 16,5 0-12-16,-3-1-7 0,1 0 7 15,-1 2-8-15,3 0 24 0,-3-1 12 0,-2 1-33 0,-2 3-11 16,1-1 9-16,-2 0 4 15,0 3 19-15,0 0-19 0,-1 0 8 0,-1 1 0 0,2 3-38 16,0-1 2-16,-2 1-12 0,2 3 2 0,-3-2-90 16,1 3 16-1,0-2-5-15,-3 1 43 0,2 2-17 0,-1 0-1 0,-1-2-10 16,-3 3 26-16,4-2-24 0,-4-2 9 0,0 4-11 16,2-3 25-16,-2 0-7 0,0-2 0 15,1 1-7-15,-3-3 20 0,0 2 2 0,3-1 16 16,-3-4 15-16,2 7 0 0,-2-5-21 0,0-2 11 15,0 0 3-15,0 0-22 0,0 0 60 16,10-8 28-16,-7 3-15 0,2-1-24 0,0-1 21 16,1-4-7-16,3 3-27 0,0-3 9 15,1 0-6-15,2 1 1 0,-1-2-9 0,1 2 3 16,1 1-10-16,0-1 18 0,-3 3-18 0,0 1-5 16,-1 0 5-16,-2 5 18 0,1-3-21 15,1 2-22-15,-1 2 7 0,-3 0 33 16,1 4-13-16,-1-1-4 0,2 1-14 0,-1-2-27 15,-1 4 2-15,2 1 5 0,-4-2-20 16,2 1-16-16,-2 0 13 0,-1 1-46 0,1 0-49 0,-3 0-9 16,0-1-53-16,-3-1-42 0,1 3-29 15,2 1-66-15,-5-3-164 0,2 1-589 16,0-1 100-16,-2-1 115 0,2-1 80 0,-4 1 58 0,4-1 134 16,-1-2-6-1</inkml:trace>
  <inkml:trace contextRef="#ctx0" brushRef="#br0" timeOffset="51103.97">16815 9619 936 0,'5'-2'354'0,"-5"2"-34"0,3-3-52 15,-3 3-63-15,0 0-56 16,0 0-60-16,0 0-94 0,0 0-151 0,0 0-563 15,0 0 79-15,0 0 89 0</inkml:trace>
  <inkml:trace contextRef="#ctx0" brushRef="#br0" timeOffset="51871.94">17178 9395 1067 0,'1'-5'430'0,"4"2"-13"0,-3 3-20 0,-2 0-44 16,0 0 8-16,6 11-46 16,-4-3-21-16,-1 4-10 0,1 1-30 0,-2 1-34 15,0 3 3-15,0 3-26 0,-2 3-21 0,2-2-32 0,-6 6-6 16,4-1 8-16,-3 0-23 16,1 0-49-16,-2-2-28 0,0 1-41 0,1 0-10 15,0-1-46-15,-3-2-3 0,5 2-36 0,-4-7-40 16,2 1-21-16,0-2-3 0,0 1-48 15,-1-4-26 1,1-1-76-16,-2-2-106 0,-1-1-58 0,3-2-380 0,0-1 81 0,0-2 65 0,-1-2 55 16</inkml:trace>
  <inkml:trace contextRef="#ctx0" brushRef="#br0" timeOffset="52183.71">16984 9863 931 0,'-5'-3'392'16,"5"3"-47"-16,0-4 1 0,0 4-18 0,0 0-47 15,0 0-45-15,3-6 17 0,2 4-56 16,0-1-18-16,2 2 3 0,4-2-3 0,-1-3 3 16,5 2-51-16,3-2-16 0,1-1 20 15,3-1-25-15,1-1 1 0,1 2 22 16,1-2-18-16,-2-1 38 0,1 3-25 0,-1-1-15 0,-5 2 33 16,0 2-23-16,-3-1 0 0,0 2-3 15,-4-1-82-15,-1 3 16 0,0 1-21 0,-2 0-2 16,-1 0 20-16,-1 4-10 0,1 0-2 15,-2 2-9-15,1 0-4 0,-4 4 10 0,0-2-5 16,-2 2 45-16,0 2-14 0,-2 1-39 0,0-1-57 16,-1-2-32-16,0 3-47 0,-2-1-27 0,0 0-14 15,2 1-99-15,-2-2-124 0,0-3-186 16,0 3-394-16,2-4 71 16,-2-1 128-16,3 0 67 0,-1-2 67 0,3-3 63 0</inkml:trace>
  <inkml:trace contextRef="#ctx0" brushRef="#br0" timeOffset="52980.87">17592 9694 1046 0,'0'6'428'0,"0"0"-24"0,0 4-53 0,0-2-110 0,0 3-24 16,0-2-27-16,-3 6-9 0,3-2 1 15,0-3-44-15,0 6-5 0,3-3-20 16,-6 0-21-16,6-3-7 0,-3 0-29 0,2 2-5 16,-1-4-23-16,3 2-12 0,0-3 32 31,-2-1-12-31,3-1-13 0,-2-2-2 0,4 1-14 0,-4-3 16 0,4-1-20 0,1-3 7 16,-1 0 6-1,1 0-9-15,0-5-2 0,-1 0 11 0,-1 0 20 0,-1-3-16 0,0-1 13 0,-2 2 21 16,-1 0-8-16,1-1 21 0,-3 2-8 0,-3-1-11 15,1 1 3-15,2-1-17 0,-3 4 32 16,-2-1-10-16,2 1-32 0,-4 1 11 0,4-2-12 16,-2 4 0-16,0-1 3 15,0 2 0-15,-1-1 7 0,2 2-33 0,4 1 8 0,-11-2 17 0,11 2-2 16,-5-3-10-16,5 3-5 16,-5-1 17-16,5 1-30 0,0 0 0 0,0 0 43 15,0 0 1-15,0 0-39 0,0 0 8 0,0 0 2 16,10 10 23-16,-4-8-18 0,1 2 8 15,-2-1 3-15,1 2-8 0,1 0-8 16,-2-2 26-16,3 2-3 0,0 2 8 0,-1-1-15 0,-1 0-6 16,2 1-20-16,-1-1 16 0,-2 0 17 15,0 1-15-15,2-1 5 0,-4 1-3 0,2-1-7 16,-2 2 8-16,0-3-3 0,-1 1 10 0,1-1-3 16,-1 1 11-16,3-5 56 15,-2 5 47-15,-1-6 6 0,4 3-1 0,2-3-1 0,-8 0-38 16,15-3 36-16,-5 3-3 0,3-3-20 15,0-1 7-15,1 3-56 0,0-4-33 0,1 5 38 16,1 0-12-16,-3-2-6 0,2 1 13 16,0-1 8-16,-2 2-36 0,3 2 13 0,-4-2-3 15,4 3 3-15,-3-3-13 0,-1 5-23 16,1-4-26 0,-3 3-36-16,3-1-50 0,-5-2-4 0,2 4-32 0,-3-1-47 0,1-2-43 15,-2 2-56-15,-1-1-57 0,0 1-156 0,-3-2-576 0,1 2 116 16,-3-4 86-1,2 6 92-15,1-4 80 0,-3-2 44 0,3 1 84 0</inkml:trace>
  <inkml:trace contextRef="#ctx0" brushRef="#br0" timeOffset="53143.56">18328 9906 1220 0,'0'0'361'0,"7"-2"-36"0,-4-1-53 0,-3 3-42 15,5-1-51-15,-5 1-53 0,0 0-47 16,3-3-40-16,-3 3-65 0,0 0-87 0,0-4-102 16,0 4-7-16,0 0-449 0,0 0 8 15,0 0 84-15</inkml:trace>
  <inkml:trace contextRef="#ctx0" brushRef="#br0" timeOffset="54278">16879 9732 1423 0,'8'-3'417'0,"-8"3"-43"0,0 0-19 16,10 4-106-16,-8 0-29 0,1 2-26 0,-2 2-22 15,1 0 7-15,0 2 54 0,-2 1-41 16,3 0-72-16,-6 2-20 0,3 2-31 0,-2 0-46 16,2 1-41-16,-2-2-71 0,1 2-111 0,-2-4-156 15,1 7-494-15,2 0 44 0,-2-5 105 16,2 4 104-16,0-4 39 0</inkml:trace>
  <inkml:trace contextRef="#ctx0" brushRef="#br0" timeOffset="112248.19">21055 9413 1292 0,'6'-7'538'15,"-1"5"-67"-15,3-2-26 16,0-1-35-16,4 3-42 0,-1-1-30 0,1 0-44 0,1 2-40 16,-3 0-1-16,4 0-40 0,-2 3-14 0,-2-1-9 15,2-1-52-15,-3 6 18 0,0-4-18 16,-3 3-15-16,-3 1-15 0,2 4-14 0,-4-2-24 16,-2 3 14-16,-4 2-5 0,-3 0 8 15,0 1-17-15,-5 4-24 0,0-3 15 0,-2 1-10 16,0-1-10-16,-1 1 15 0,4-4-15 15,-1-3 29-15,3 2 6 0,0-1 6 0,2-1-20 16,0-3-1-16,0 1-20 16,1-1 23-16,4 0-20 0,2-2-11 0,-1-1 39 0,0 2-8 0,6 0-24 15,-3-3 50-15,6 1-44 16,-1-1-10-16,4 0 23 0,1-2-13 0,1 1-28 0,1-1 7 16,3-1-7-16,1 0-30 0,1-1-14 15,0-1-53-15,0 2-37 0,-3 0-40 0,1-1-15 16,-1-1-80-16,-2 3-38 0,-2-1-187 15,-2-1-65-15,0 2-513 0,-3-3 71 0,0 3 161 16,-1 0 62-16,-5 0 56 0,5-3 74 0,-5 3 98 16</inkml:trace>
  <inkml:trace contextRef="#ctx0" brushRef="#br0" timeOffset="112890.34">21513 9400 1284 0,'9'3'400'0,"-1"-1"-24"0,-5 2-33 16,1 0-36-16,-1 1-10 0,-3 1-15 16,-3 1-26-16,-1 0-34 0,-2 3-17 0,0-1 0 15,-3 3 0-15,1-1-44 0,-2 1-15 0,0-1 41 16,2-2-36-16,-2 3-13 0,5-4 0 0,-2 2-30 15,0-2-1-15,0-1-22 16,2 0 7-16,0 2-3 0,2-3-7 0,1 0-10 16,0 0 7-16,2-3-20 0,-1 2 8 0,2-3-19 15,1 3-12-15,0-4 26 0,1 2-124 16,2-1 19-16,0-2 27 0,-5 0-22 0,13 4-16 16,-8-3 3-16,3 0 7 0,-1-1 4 0,1 1 4 15,-3-1-3-15,-5 0 3 0,11 0-20 16,-2 0 2-16,-9 0 11 0,11 0 4 15,-5 0 9-15,-6 0 25 0,7 0-6 32,0-1-17-32,-7 1 10 0,8-1 6 0,-2 0-17 0,-6 1 11 0,7-2 13 0,-2 0 8 0,-5 2-3 15,9-1-5-15,-5 0 2 0,2-2-10 0,0 2 16 16,-2 0-6-16,3 0 16 0,0-2-13 16,-4 2 5-16,3-1 26 0,-2-1-8 15,2 2 23-15,-6 1-7 0,10-3-19 0,-6 0 6 0,-4 3-14 16,8-1 14-16,-8 1 0 0,6-1 7 15,-6 1-10-15,5-1 13 0,-5 1-16 0,0 0 8 16,10 0 8-16,-10 0-20 0,0 0 7 0,6 0-18 16,-6 0 43-16,0 0-19 0,7-2-19 15,-7 2 44-15,0 0-3 0,0 0-38 0,5-1 40 16,-5 1-35-16,0 0 46 0,0 0-13 16,0 0-33-16,0 0 8 0,0 0 2 0,0 0-7 15,0 0-11-15,0 0-15 0,0 0-64 16,0 0 7-16,0 0-20 0,0 0-23 0,0 0-25 15,0 0-14-15,0 0-37 0,0 0-37 0,0 0-33 16,0 0-58-16,0 0-122 16,0 0-98-16,0 0-360 0,0 0 58 0,-20 3 114 0,20-3 77 15,-8-3 59-15</inkml:trace>
  <inkml:trace contextRef="#ctx0" brushRef="#br0" timeOffset="113336.13">21614 9414 1282 0,'0'0'386'0,"-1"-4"-22"0,1 4-29 0,-4-4-48 0,4 4-6 16,0 0-40-16,0 0-11 0,0 0-4 16,0 0-19-16,-15 8 5 0,10-3-45 0,0 1 27 15,1 1-37-15,-2 2-17 0,0 1-19 0,-1 1-1 16,1 0-10-16,2 1-26 0,0 1 11 15,-3 1-18-15,2-1 20 0,3-1-51 0,-1 1 16 16,6 0-6-16,-3-1 0 0,2 0-17 16,2 0-11-16,-3-1 18 0,6-2 31 15,0 1-44-15,0-3-20 0,0 0 18 0,5-1-19 16,-4-4 19-16,1 2-18 0,1-3 7 0,2 0 1 16,-1-2-3-16,2-2-3 0,-1-1 8 15,-1-2 10-15,4-5 1 16,-4 2-16-16,3-3 46 0,-6-2 2 0,1-2 1 0,-5-2-3 0,2 0 46 15,-4-1-105-15,0 5 8 0,-2 1 10 16,-4-5 92-16,1 5-2 0,-2-4-32 0,2 7 4 16,-4-1-3-16,-2 0-26 0,0 5-2 0,1-2-69 15,-1 1-16-15,0 3 10 0,-4 0 1 16,3 1 22-16,-3 3-40 0,-1 0-3 0,0 5-36 16,-1-2-69-1,1 5-38-15,-1 0-28 0,0 0-49 0,2 5-72 0,1-1-179 0,2 0-525 16,3 1 121-16,-2-3 76 0,4 0 100 15,1 1 75-15,0-3 102 0</inkml:trace>
  <inkml:trace contextRef="#ctx0" brushRef="#br0" timeOffset="113920.4">21947 9381 936 0,'11'1'364'0,"-1"4"-52"0,-2 1 8 16,-2-1 59-16,-2 2-36 0,-2 1 13 0,-2 2-75 15,-2-1-22-15,-2 3-24 16,-2 4-20-16,-6 2-18 0,1-2-5 0,-2 2-43 0,0 1-8 16,0-5-13-16,3 1 7 0,0-3-30 0,2-2-8 15,2-1 1-15,-1 1-1 0,2-4-15 16,1 3-23-16,3-5 23 0,-1 1-6 15,2 1 1-15,2-2-2 16,1-1-27-16,4-3 1 0,0 0-31 0,2 0 2 0,1 0-15 16,5-3-25-16,-2-1-21 0,3-2-5 0,-1-2-5 15,3-2 5-15,0-2 20 0,2 3-7 0,-4-1-3 16,-3 3 18-16,0 1 15 0,-3-1 6 16,2 1-1-16,-4 1 11 0,0 3 8 0,0-2-19 15,-3 2-9-15,1 2 22 0,-6 0-5 0,9 5 18 16,-6-3-46-16,2 2 11 0,-2-2 20 15,3 4-3-15,-2 1 23 0,0-3-41 0,-1 1 6 16,3-2-6-16,1 3-5 0,1-4-5 16,1 2 21-16,-1 0-13 0,3-4 12 15,-1 1-20-15,0-1 26 0,2-1 30 0,-3-2 11 16,1 2 38-16,1-4 23 0,0-1 11 0,-3-1 1 16,-2 1-58-16,0-3 11 0,-4-1-1 15,2 3-13-15,-4-4 80 0,0 3 2 0,-4-2-4 16,-1 1-27-16,0-1-7 0,-3 2 0 15,-2 2-15-15,0 0-37 0,-1-1-58 0,-1 4-64 16,-2 0-48-16,2 3-50 0,-3 0-30 0,3 0-95 16,-3 1-192-16,-3 4-593 0,2 2 58 0,0-1 174 15,0 3 49-15,1 1 69 0,-1 0 70 16,-2 3 78 0</inkml:trace>
  <inkml:trace contextRef="#ctx0" brushRef="#br0" timeOffset="114952.15">21199 10176 965 0,'7'-1'383'0,"0"0"-32"0,-3 0-28 16,4 1-34-16,-8 0-54 0,15 2 11 0,-8-1-21 15,0 4-7-15,-3 0-31 0,-1 2 0 0,-3-2-6 16,0 3-30-16,-5 2-10 16,-3-1-8-16,0 4-10 0,-5-1-15 0,1 0-14 15,-4 3 19-15,1 0-8 0,3-3 77 0,-6 0-100 16,4-2 43-16,1 1-17 0,1-3 22 15,1 1 75-15,1-2-41 0,2 0 15 0,0-2-41 16,1 0 21-16,2-2-21 0,0 2-28 0,2-3 0 16,1 2-13-16,2-4-30 0,0 0 33 15,7 6-26-15,-2-6 8 0,3 0-46 0,5-1-21 16,0-2-48-16,2 1-64 0,3-3-3 0,3-1-41 16,-1 0-31-16,3 0-14 0,1-1-6 15,-4-1-26-15,3-3 6 0,-1 3 25 16,-3-3 38-16,-1 4-4 0,-3-3 25 0,1 3 10 15,-6 3 46-15,2 0 29 0,-2-1 2 0,-4 2 10 16,-1 0 16-16,2 3 25 0,-4 0-5 16,-3 0-10-16,0 0 28 0,6 3-23 15,-6-3 15 1,2 7-2-16,-2-5-5 0,-2 3 5 0,4 1-3 0,-2-3-5 0,4 5-13 0,-2-4 34 16,0 2-13-16,3 1-23 0,0-2 20 0,5 1-15 15,-2-2 7-15,0 0-9 0,2-1 7 16,0-3 2-16,1 2 34 0,-1-2 25 0,0 0 60 0,-1-2-19 15,0-1 21 1,-4 1 2-16,3-3 29 0,-3 2-16 0,1-1-15 0,-2-1 13 0,-1 1-16 16,-1 0 31-16,-2-1-51 0,0-1-3 15,-2 3-15-15,-3-2 0 0,4 0-54 16,-3 1 0-16,-2 1-30 0,0-3-52 0,-3 5-23 16,1-3-10-16,-1 3-41 0,2-1-25 0,-5 0-4 15,4 1-24-15,2 1-37 0,-3-2 11 16,2 1-1-16,1 0 22 0,2-2 1 0,-2 0 29 15,5-1 33-15,-1 2 21 0,2-3 35 0,2-1 34 16,-1 1 33-16,5-1 8 0,1-1 28 16,4 1-16-16,-1 3 11 0,2 0 33 15,1-2-11-15,3 3 11 0,-4 0 26 16,4 1-39-16,-6 1 36 0,2 0 18 0,-1 1-10 0,-1 1 0 16,-2 0 38-16,-3 3-18 0,2-1-5 0,-4 2 3 15,-1-3-21-15,0 6-10 0,-2-1-18 0,-2-1 12 16,0-1-35-16,0 4 39 0,1-3-37 15,0 1 1-15,-3-1 2 16,4-1 2-16,-2 1-17 0,2-1 31 0,2 0-24 0,-2-1-33 16,3 0 36-16,0-2-15 0,-1 1-8 0,4-3-11 15,-2 3-22-15,2-2-31 0,1-2-13 16,0 1-56-16,2-1-46 0,-1-1-6 0,2 1-96 16,0 0-147-16,0-2-588 15,2-2 53-15,-3 4 141 0,-1-5 29 0,2 3 73 0,-3-3 60 16</inkml:trace>
  <inkml:trace contextRef="#ctx0" brushRef="#br0" timeOffset="115184.92">21907 10201 1459 0,'0'0'547'0,"0"0"-25"0,0 0-45 16,8 5-96-16,-6-1-43 0,0 0-39 0,1 1 1 15,-2 1-39-15,1 0-15 16,0 3-31-16,-2-1-8 0,3 1-36 0,-3 0-25 0,0 1-7 15,0-1-55-15,-3 0-48 0,3 1-51 16,-2-1-65-16,2 0-32 0,0-1-60 0,0-1-48 0,0-1-92 16,2-4-113-16,1 2-479 0,0-1 47 15,1-1 94-15,-4-2 82 0,11-3 77 16,-1-1 41-16</inkml:trace>
  <inkml:trace contextRef="#ctx0" brushRef="#br0" timeOffset="115815.56">22617 9111 890 0,'8'2'284'16,"4"3"-17"-16,-1 1-1 0,2 0-33 16,2 2-11-16,-2 1 1 0,2 1 0 0,-2 5-26 15,3 1-15-15,-2 3-1 0,-3 10-4 0,3-4 0 16,-5 7-19-16,-1 5-17 0,-3 0 5 16,0 2 13-16,-2 2-16 15,-3-7 11-15,-3 7-11 0,3 1-2 0,-1 3 5 0,-3 2-11 0,-1 1-17 16,2-1-5-16,-2 2 20 0,-3 7-21 15,3-6-19-15,1-3 19 0,-2 0-9 16,4-3-14-16,-1 0-4 0,0-1-29 0,0-1 5 0,3-3-27 16,0 3 25-16,0-10-31 15,0-3 5-15,1-3-2 0,-1 0 5 0,2-1-34 16,1-5 16-16,0 0-46 0,-1-1 15 0,1-2 21 16,0 0-1-16,-2-3-14 0,0-1 9 15,-1 0-12-15,0-3 31 0,0-1-21 0,0 0 2 16,-2 0 44-16,-1-2-13 0,-3 3-7 0,-2-2 12 15,-4 5-15-15,-4-6 24 0,-1 6-22 16,-5-1 19-16,-11 1-32 0,5-2 22 16,-7 2-27-16,-2 0-12 0,-3-1-15 15,1-3-44-15,3 0-49 0,-4 1-22 0,9-5-40 0,3-1-32 16,4-1-67-16,1-1-92 0,1-2-128 0,6-4-519 16,3 1 132-16,1-7 67 15,4-2 92-15,0-3 72 0,7-2 56 0</inkml:trace>
  <inkml:trace contextRef="#ctx0" brushRef="#br0" timeOffset="116226.08">22940 9855 1054 0,'15'-5'323'0,"1"0"-21"0,-1 4-41 0,3-4-18 16,-3 3-15-16,6-1-36 0,2 0-26 0,-2-2-46 15,7 2-63-15,-1-1-55 0,-5 2-71 0,1 1-115 16,-5-3-90-16,-1 4-473 0,-1 0 96 15,-6 0 45-15</inkml:trace>
  <inkml:trace contextRef="#ctx0" brushRef="#br0" timeOffset="116437.82">22909 9968 1057 0,'0'0'471'0,"0"0"-29"0,0 0-37 0,0 0-37 15,0 0-42-15,24-1-30 0,-10 1-22 0,0-1-2 16,3-2-57-16,1 2-16 0,5 0-30 0,1-3-64 16,4 2-28-16,-1-3-74 0,-1 3-42 15,-3-2-48-15,-2-1-123 16,3-4-125-16,-4 4-561 0,-5 0 100 0,-2 3 92 0,-3-4 57 0,1 0 53 16</inkml:trace>
  <inkml:trace contextRef="#ctx0" brushRef="#br0" timeOffset="116663.32">23323 9697 1028 0,'8'-2'454'0,"1"4"-109"16,1 1 29-16,6 1-52 0,-1 2 93 0,0 2-23 16,3 3-34-16,-2 1-97 0,-3-2 13 15,1 1-41-15,-5 2-18 0,-1 4-8 0,-1-1-20 16,-7 1-33-16,-3 2 10 0,-3 3-26 15,-9 6-36-15,-2 3-15 0,-4 0-46 0,-2-3-54 0,-5 1-51 16,3-1-51-16,-4-2-41 0,1-1-77 16,0 1-138-16,3-3-584 0,4-1 80 0,1-6 74 15,4-2 63-15,4-5 63 0,1 0 50 16</inkml:trace>
  <inkml:trace contextRef="#ctx0" brushRef="#br0" timeOffset="121956.04">23002 9845 901 0,'0'0'373'15,"0"0"-40"-15,-6-1-31 0,6 1 3 0,0 0-39 16,-4-2-46-16,4 2-13 0,0 0-20 0,0 0-20 15,0 0-22-15,7-6 9 0,-2 4-21 16,3 0-20-16,2 1 10 0,3-4-31 0,0 4-5 16,3-2-3-16,1 0-7 0,1 0-18 15,0-2-3-15,0 0-5 0,2 0-30 16,-3 3-8-16,-3 0-26 0,-1-1-33 0,3 2-39 0,-4-3-43 16,1 3-25-16,-3 1-67 15,1-2-26-15,-4 2-59 0,-1 0-117 0,-6 0-384 16,12 2 130-16,-6-2 95 0,-6 0 18 0</inkml:trace>
  <inkml:trace contextRef="#ctx0" brushRef="#br0" timeOffset="122202.26">23099 9901 747 0,'0'5'258'0,"0"-5"-30"0,0 0-15 0,0 0-1 0,16 0-30 0,-7 0 69 16,0 0-26-16,3-2-28 0,0-1-18 16,2 2-12-16,-1-1-1 0,2-2-17 0,1 1-60 15,-1 0-22-15,-2 2-67 0,2-4-105 0,0 2-136 16,-7-1-204-16,5 1-344 0,0-1 134 16,-3 0 71-16,-2 0 90 0</inkml:trace>
  <inkml:trace contextRef="#ctx0" brushRef="#br0" timeOffset="122998.17">23412 9793 478 0,'0'0'213'0,"0"0"-24"16,0 0-48-16,0 0 5 0,0 0 7 0,3-5-9 15,-3 5-6-15,0 0-10 0,0 0 23 0,0 0-28 16,0 0 2-16,2-3-17 0,-2 3 17 16,0 0-17-16,0 0 7 0,-2-5 0 0,2 5-8 15,0 0 1-15,-1-5-1 0,1 5-12 0,-5-6 89 16,3 3-20-16,0-1-15 15,-1 2-14-15,0-2-4 0,-2-1-6 0,3-2-12 0,-4 1 15 16,1 1-28-16,0-2 5 0,1 0 5 16,-2-2-36-16,-2 2 26 15,0-2-21-15,1 2 21 0,1 1-38 0,-4-1 12 0,2 0 8 16,-2 1-16-16,0 1 16 0,3-1-20 16,-1 4-16-16,0-2 28 0,0-1-33 0,3 4 5 15,-1-2-10-15,-1-1-21 0,4 4 0 0,3 0-7 16,-7-6 15-1,7 6 0-15,-5 0-28 0,5 0 18 0,0 0-5 0,0 0 2 0,0 0-8 16,0 0 3-16,15 6-7 16,-7-5-3-16,2 2 23 0,0 0-5 0,3 3-21 0,0-1 28 15,-2-1-96-15,4 0 29 0,0 2-4 0,-2 0-2 16,2-1-6-16,-2-3 7 0,0 3 22 16,0 1 4-16,-1-2-12 15,-3-1 10-15,1 0 5 0,-3 0-18 0,1 0 12 16,-1 0 22-16,0-3-9 0,-3 4-19 0,1-3 14 0,0 1 21 15,0-2-13-15,-5 0-5 0,7 6 16 16,-6-6-8-16,2 4 2 0,0-2-7 0,-2 2 17 16,0 0-17-16,-1 4 12 0,-1 0 11 15,0-1-8-15,-5 6 72 0,1 0 4 0,-1 4-9 16,-1-3-16-16,-3 8 3 0,0-1-8 16,-3-2-36-16,-2 10-25 0,-3-2-3 0,2 0-28 15,1-4-46 1,5-4-59-16,-3 0-44 0,0 5-74 0,4-5-120 0,-5 0-194 0,1-1-257 15,3 1 36-15,2-5 113 0,0 0 90 16,0-3 40-16</inkml:trace>
  <inkml:trace contextRef="#ctx0" brushRef="#br0" timeOffset="128969.68">21612 10232 803 0,'0'0'353'0,"0"0"-30"0,0 0 2 0,0 0-31 16,-10-1-12-16,10 1-29 0,0 0-68 0,-5-2-1 15,5 2-48-15,-1-4 2 0,1 4-31 16,0 0 6-16,0 0-13 0,1-6-18 0,-1 6 10 15,7-7-20-15,-7 7 2 0,5-1 21 16,1-1-24-16,-6 2-12 0,10-2 5 16,-5 2 10-16,-5 0-23 0,13 4-7 0,-9-3 15 15,0 5-8-15,0-2 5 0,-1-1 3 0,2 7-8 16,-4-4-7-16,1 2 2 0,3-1-2 0,-4 0 7 16,-1 4 41-1,0-4-3-15,-1 4-9 0,-2-3 9 0,1 3 4 0,2-3-32 16,-3 2 13-16,3-2 3 0,-2-2-41 0,-1 2 5 15,3-3-3-15,0 0-7 0,0 0 35 0,0-2-19 16,0 1-22-16,0 1 14 0,3-2-1 31,0-2-5-31,-1 4 6 0,4-4-4 0,-6-1 9 0,10 2-24 0,-4-1 1 0,3-1-6 0,0 0 11 16,0 0-36-16,1-1-19 16,0-1-32-16,3 0-13 0,2 1-62 0,-4-3-40 0,4 4-78 15,-2-2-107-15,2-8-92 16,-2 9-509-16,0-1 112 0,-1-2 69 0,-3 2 47 0,1-1 63 15</inkml:trace>
  <inkml:trace contextRef="#ctx0" brushRef="#br0" timeOffset="129255.34">21994 10228 1456 0,'0'0'453'0,"0"0"-31"0,0 0-127 0,0 0-21 0,3 13-41 16,-3-5-21-16,0 0-23 0,2 1-2 15,-2 1-51-15,0 1-21 0,0 2-43 0,0 0-34 16,0-1-56-16,0 4-48 0,0-1-44 15,0-2-62-15,0 0-112 0,0-5-41 0,3 3-433 16,-1 1-4-16,0-1 109 0,-2 0 28 16</inkml:trace>
  <inkml:trace contextRef="#ctx0" brushRef="#br0" timeOffset="130687.89">22017 10394 903 0,'-2'-4'361'0,"1"-5"-15"0,0 3-9 0,-3-5-42 16,2 1-19-16,-1-1-27 0,-2-3 1 0,2-2-47 16,-1 0 22-16,1 1-10 0,0 2-15 15,1 0-3-15,0 0-16 0,0 1-1 0,2 2-73 16,-2 1-10-16,0 1-12 0,2-1-6 0,-2 5 3 15,2-2-26-15,0 3-10 0,0 3 0 16,0 0-5-16,0 0 0 0,0 0 16 0,2 19-11 16,3-8-8-16,-4 2-10 0,3 6 3 15,-4-1-3-15,3 1 52 32,2 3 9-32,-3-1-33 0,-1-2-33 0,1 0 11 0,-2 0-14 0,3 0 1 0,-1-1-11 0,0-4-25 0,-1 1 17 15,1-2-17 1,-2 0-1-16,4-4 24 0,-4 2-33 0,1-3 50 0,0-3-12 0,-1 1-5 15,0-1 15-15,0-5-18 0,0 0 13 16,0 0-6-16,0 0 6 0,0 0 11 0,-6-20-17 16,3 7-7-16,-1-4 11 0,-1-2-19 15,-3-5 19-15,1-9 4 0,-2-2 11 0,0-2-26 16,0 4 5-16,1-2 13 0,1 9 0 0,2 7 0 16,0 4-5-16,2 2-8 0,1 0 11 15,-1 4-3-15,0 3 0 0,1 0 0 0,2 6 38 16,0 0-46-16,0 0 18 0,0 19-20 15,2-7-5-15,2 6 25 0,-2-1-10 0,3 4 7 16,-2 3-12-16,3 2-44 0,-2-1-4 0,0 1 4 16,-1-2-8-16,0-5 37 0,0 0-19 15,-1-1-17-15,1-1 41 0,0-3-26 0,-1-3 7 16,0 0 8-16,-2-2 1 0,3-3 17 16,-2-1-25-16,-1-3-13 0,0-2 20 0,0 0-18 15,0 0-15-15,1-13 11 0,-2 2-4 0,2-2-4 16,-1-5-16-16,0-2 11 0,1-1 12 15,-1-1-2-15,0 2-11 0,2 3 6 16,-2 3 12-16,0 2 3 0,0 4-15 0,0 4 17 0,0 3-7 16,0 1 18-16,0 0-49 0,2 13-5 15,-2-1-13-15,-2 2-12 0,2 1-65 16,0 0-81-16,2 8-132 0,-2-1-152 0,3 0-374 16,-3-1 107-16,1 3 25 0,1-4 142 15,-2 5 61-15</inkml:trace>
  <inkml:trace contextRef="#ctx0" brushRef="#br0" timeOffset="134797.53">23765 9309 934 0,'0'0'289'0,"0"0"-41"0,0 0 59 0,-12 9-25 0,9-7-44 16,2 3-5-16,-3 2-41 0,-1 3-10 15,4-2-3-15,-5 4-41 0,5-2 16 0,-4 3-39 16,3 0 8-16,0 0-13 0,-2 1-33 0,2 2 12 16,2-6-17-16,-1 6-13 0,2-3-8 15,-1-2-15-15,2-2 0 0,2 3 10 16,-2-4-21-16,5 2 1 0,-4-4-1 0,5 1 19 16,-2-5-26-16,0 3 0 0,0-5 15 15,1 0-25-15,1 0 15 0,2-3 5 0,0-1 0 16,0-4-12-16,0-1-11 0,-1 1 7 15,1-3 9-15,-5-2 7 0,4-1-5 16,-5-4 0-16,1 3 3 0,-2-2 4 0,-3 0 14 0,0 4-6 16,-3-1 37-16,2 1-19 0,-3 2-7 15,1-2 2-15,-2 3 23 0,-1 1-18 0,0 1-15 16,-2 3-18-16,0 0 0 0,0 0 5 0,3 3 21 16,-5-2-26-16,4 4-8 15,0 0-15 1,-2 0 18-16,8 0-2 0,-11 3 2 0,6-1-8 0,0-2-5 0,2 4-2 0,3-4 12 15,-5 2-10-15,5-2 31 0,2 7-39 16,-2-7 3-16,6 3 8 0,-1 0-8 0,2-3 46 16,0 5-43-16,2-4-11 0,-4 3 31 15,7-1-31-15,-3 2 31 0,1 0-10 0,0-2 28 16,-2 3-10-16,2 0 0 0,-2 3 7 0,2-1 13 16,-5-1 3-16,3 0 5 15,-1 2-13-15,-2 1 2 0,1-4 1 0,-2 0 0 0,0 2 12 16,0 0-20-16,-1-2-49 0,2-2-12 0,-2 1 2 15,-1 0 33-15,2-2 11 16,-2 1 25-16,3-3 13 0,-5-1 59 0,5 1 38 16,-5-1-56-16,10-1 34 0,-2-3-101 0,0 1-10 15,-1-3-2-15,3 1-6 0,-2-2 29 16,0 4-29-16,2-1 14 0,-2-1-11 0,-1 3 5 16,-1-2 2-16,2 3-4 0,-1 1 15 15,2 0-28-15,-3 1 12 16,0 3-14-16,-1-1 1 0,3 2-6 0,0 1 17 0,-4 0-26 0,2 0 6 15,-2 0-9-15,2 1 1 0,-2-1-46 0,-1 0-18 16,0-1-10-16,1 0-8 0,-3-2-46 16,4 3-47-16,-3-1-9 0,-2-2-34 15,1 1-58-15,-1-4-14 0,2 5-147 0,-2-5-129 16,-2 2-392-16,2-2 101 0,0 0 53 0,0 0 161 16,0 0 72-16,0 0 75 0</inkml:trace>
  <inkml:trace contextRef="#ctx0" brushRef="#br0" timeOffset="135039.56">24278 9132 1392 0,'4'-7'445'0,"-3"5"-61"0,0-2-13 0,-1 4-22 16,0 0-9-16,0 0-51 0,0 0 8 0,7 13-15 0,-6-4-42 16,-1 1 50-16,-2 6-1 0,0-2-41 15,-2 5-107-15,-2 7-31 0,2-2 18 16,-2 0 28-16,2 2-66 0,-2-1-11 0,1 0-28 15,-3-1-23-15,3-1-35 0,0-1-19 16,-1-3-23-16,2-1-38 0,1-4-10 0,-2 0-28 16,4 0-31-16,-1-4-47 0,0 0-17 0,-1-2-77 15,3-3-115-15,0 1-519 16,0 1 96-16,3-6 39 0,1 2 136 0,-4-3 79 0,7 2 84 16</inkml:trace>
  <inkml:trace contextRef="#ctx0" brushRef="#br0" timeOffset="135255.68">24384 9392 1443 0,'2'-3'461'0,"-2"3"-103"0,0-4-43 0,0 4-41 0,0 0-13 0,0 0-8 0,0 0-22 16,0 0-24-16,4 9 6 0,-6-3-32 0,0 0-7 16,2 1-15-16,-2 3-18 0,-1-1-16 0,-2 1-20 15,3-1-25-15,-4 2-24 0,4 2-23 16,-1-4-15-16,-2 1-33 15,0-1-34-15,2-1-33 0,0-1-41 0,-1 0-38 0,1-1-90 0,2 0-102 16,-3 0-540-16,4-5 74 0,-2 3 107 16,2-4 23-16,0 0 67 0</inkml:trace>
  <inkml:trace contextRef="#ctx0" brushRef="#br0" timeOffset="135379.26">24390 9310 798 0,'0'0'205'0,"-6"0"-182"0,6 0-356 0,-8 4-256 15</inkml:trace>
  <inkml:trace contextRef="#ctx0" brushRef="#br0" timeOffset="136267.68">24440 9369 1359 0,'3'5'376'0,"-3"1"-5"0,2 0-7 0,0 2-70 15,0-2-36-15,-1 4-30 0,-1-1-2 0,0 1-22 16,0-1-24-16,0 2 6 15,0-1-32-15,0 0-16 0,0-1 11 0,0 1-9 16,0-4 4-16,0 0-11 0,3 2 61 0,-3-3-73 16,0 1-1-16,0 0 31 0,0-2-67 15,0-1 1-15,0-3 2 0,0 5-5 0,0-5-21 16,0 0-15-16,4 2 29 0,-4-2-40 16,0 0 29-16,0 0 0 0,0 0-7 0,0 0-9 15,0 0-12-15,0 0 10 0,14-4 6 0,-14 4 9 16,3-4-51-16,-3 4 13 0,4-2-13 15,-1-1 19-15,-3 3-27 0,0 0 29 0,5-3-11 16,0 0-9-16,-5 3-32 0,5-1 36 16,-5 1 32-16,0 0-30 0,0 0-1 15,6-2-8-15,-6 2 12 0,0 0-2 0,5-1 5 16,-5 1 13-16,0 0 5 0,5-3-26 0,-5 3 18 16,0 0 54-16,0 0-5 0,0 0 5 15,0 0-2-15,4-1 2 0,-4 1-23 0,0 0 15 16,0 0-43-16,0 0-28 0,0 0 51 0,0 0-1 15,0 0-35-15,0 0-15 0,7 0 41 16,-7 0-3-16,0 0-23 0,0 0 23 0,0 0-56 16,0 0 0-16,0 0 7 15,10 0 26-15,-10 0-20 0,0 0 35 0,6 4-25 0,-6-4-6 16,1 1 16-16,-1-1-48 0,5 3 58 0,-5-3-15 16,5 3-38-16,-5-3-11 0,3 2 33 15,-3-2-12-15,4 1 5 16,-4-1 13-16,3 5 12 0,-3-5-17 0,5 0-19 0,-5 0 32 0,0 0-26 15,7 1 25-15,-7-1-15 0,0 0 43 0,0 0-37 16,12-2 9 0,-6-2-13-16,-2 2 9 0,0-2-19 0,3 0 21 0,-3 0 5 15,4-2-31-15,0-1 56 0,0-1-130 0,-2-1 11 16,0 2 32-16,2-1-20 0,-3 1 18 16,0 1 20-16,-2-1-9 0,2 1-17 0,-1 0 22 15,-1 1 4-15,0 0 11 0,-1 3 17 16,-2 2-17-16,1-4-8 0,-1 4 36 0,0 0-18 15,0 0-11-15,0 0 9 0,0 0-1 16,-11 13 13-16,6-7 15 0,2 0-22 0,-2 1 2 0,3 3 23 16,-1-2-33-16,1 2-1 0,-1-1 29 15,3 1-12-15,0-2 6 0,0-1-1 16,3 3-24-16,1-2-5 0,2 0 10 0,-3 0-17 16,5-2-11-16,-4-3-18 0,4 4-64 0,0-4-17 15,0 0-22-15,-1 1-55 0,3-3-11 16,-2 0-28-16,0 2-17 0,0-2-55 0,-1 1-120 15,-4-1-248-15,2-1-261 0,0 3 61 0,-2-1 111 16,-3-2 58-16,5 4 77 0</inkml:trace>
  <inkml:trace contextRef="#ctx0" brushRef="#br0" timeOffset="136914.22">23965 9824 1149 0,'-20'2'443'0,"5"4"-44"0,-1-1 5 15,1 2-148-15,7-1-36 0,-5 0-5 0,3 1-30 16,0-1-1-16,2 0-38 15,1 4-5-15,1-2-11 0,2 0-20 0,2-2 3 0,1 3-16 16,1-3-15-16,1 2-18 0,1 0 8 0,2-2 12 16,-1 4 6-16,4-2-16 0,-1 0-12 15,-1 1 27-15,3-1 14 0,0-1-24 0,-4 2 10 16,4-2 9-16,-3 0 22 0,-2-1 11 16,1 0-3-16,0 1-11 0,-4 0-12 15,2-1 16-15,-4 1-27 0,-1-1-25 0,-2 5 16 16,-1-3-11-16,-4 2-12 0,0-2-16 15,0 0-34-15,-3 1-1 0,1-2-42 0,-2 1-33 16,4-2-33-16,-1 0-39 0,-1-1-30 0,0 1-39 16,1-4-43-16,1 5-129 0,2-5-137 15,2 1-426-15,0-2 101 0,3-1 114 16,3 0 50-16,0 0 88 0,0 0 37 0</inkml:trace>
  <inkml:trace contextRef="#ctx0" brushRef="#br0" timeOffset="138505.37">24006 9867 1220 0,'6'-4'425'0,"-2"-2"-56"0,-3 5-23 0,-1 1-21 16,2-1-49-16,-2 1 18 0,0 0-32 0,8 8 70 16,-4-2-14-16,-3 0-80 0,0 4 28 15,-1-1-25-15,0 3-37 0,0 1-9 0,0 0-16 16,-2 4-18-16,1-4-17 0,-2 1-24 0,1 2-13 15,0-2 1-15,1-1-16 0,-2 0-10 16,1-2 23-16,2-2-38 0,0 0-9 16,-1-1 1-16,1-2 0 0,0 0 5 0,0-1 15 0,0 1-27 15,0-6 9-15,1 2 21 16,-1-2 5-16,0 0-61 0,0 0 15 0,16-6 7 0,-10 3-7 16,-2-1-8-16,2 4-12 0,-2-3 15 15,0 0 12-15,-3 1-40 0,-1 2 18 16,8-1-29-16,-8 1 21 0,0 0-8 0,10 3-10 15,-10-3 18-15,8 0-2 0,-6 6-24 0,3-5 21 16,-2 3-16-16,1 0 13 16,0-1-20-16,-1 1-21 0,-1-2 34 0,3-1-24 0,0 2 11 15,1-1 5-15,0-1 26 0,0-1-9 0,2-2-22 16,-1 1 2-16,4-2 26 16,-1 0-15-16,-3-1-11 0,5-1 21 0,-3-2-18 0,1 1 0 15,-2 0 5-15,2 3 20 0,-4-2-20 16,1 1 0-16,-4 3 28 0,4-3 3 15,-4 3-21-15,-3 1 8 0,5-1 8 0,-5 1 15 16,0 0-36-16,7 6 44 0,-6-1-49 0,-1-2 2 16,0 2 1-16,2 1 20 0,-2 0 10 15,0 1-35-15,0-1-14 0,4-1 42 0,-2 0-49 16,-2 0 25-16,4-2-22 0,-1 3-3 16,0-5 15-16,-1 2 23 0,-2-3-22 0,10 1 17 15,-10-1-2-15,0 0-8 0,11-5 12 0,-6 0-12 16,-3 2-2-16,0-3 4 0,-1 0 14 0,-1 0-6 15,0 0-36-15,0 0 26 16,-1 1 11-16,-3-1-19 16,1-1 3-16,0 5-26 0,-4-2 34 0,4 2 10 0,-2-1-29 0,-2 1-32 15,7 2-34-15,-12-1 20 0,6 0-7 16,6 1-54-16,-9 0 11 0,9 0-1 0,-12 0-28 16,12 0 21-16,0 0 5 0,-6 0 10 0,6 0 15 31,0 0 1-31,0 0 27 0,1-9 26 0,-1 9-20 0,9-6 18 0,-5 0 9 15,1 2 37-15,2-3 8 0,0-2 35 0,-3 3-18 0,3 0 26 16,-2-1 0-16,-1 4 23 0,2-2-21 16,-2 0 6-16,-1 1-16 0,-1 0-13 15,3 4 36-15,-5 0-51 0,7-4 44 0,-7 4-13 16,6 6-8-16,-2 0 0 0,0 1-18 0,-2-1 16 16,0 5-11-16,-2 1 18 0,3 2-36 15,-3 0 14-15,0 4-12 0,0 1 7 16,0 4-17-16,0-3 32 0,-1-1-37 0,-3 1-30 15,4 2 48-15,-2-2-4 0,0-1-32 0,-2-2 1 16,2-1 18-16,0-1 17 0,-2-5 3 0,4 1-38 16,-2-4 30-16,1 2 13 0,1-2-20 15,-2-4 15-15,0 0 10 0,2-3-2 16,0 0 18-16,0 0-3 0,0 0-28 0,7-13 2 16,-1 3 29-16,0-1-36 0,2-2 43 0,-2-2-48 0,6-4 56 15,-4 3 0 1,1 3-31-16,0 1 13 15,0 0-38-15,-2 4 43 0,1-1-8 0,-3 4 6 0,0-1-34 0,1 2 70 0,-4 0-54 16,4 2-31-16,-6 2 0 16,0 0 0-16,0 0 0 0,4 9 0 0,-6-5 0 0,1 2 0 15,-4 0 0-15,0 4 0 0,-1-2 0 0,-4 2-13 16,2-1-87-16,-2 2-43 16,0-3-39-16,0 2-33 15,2-2-31-15,-2-2-23 0,5-1-12 0,-1 0-29 0,0-3-18 0,2-1-48 16,4-1-57-16,0 0 67 0,-4-7-81 15,6 0 60-15,0-3 75 0,4-5 28 0,-1-2 89 16,5-2 72-16,0-5 62 0,4-3 74 16,3-2 15-16,-4 4 38 0,-1 5 16 0,-1 2 23 15,-1 6 10-15,-2-1 0 0,0 4-4 0,-1-1 24 16,-1 4-4-16,2 3 7 0,-4-1-5 0,2 4-2 16,-6 0 12-16,8 5-10 0,-2 0-2 15,-2 3 4-15,-1 0-14 0,-1 4-22 0,-2 1 6 16,2 3 3-16,-2-1-26 0,-2 4-31 0,2 0 21 15,-3 0-13-15,-2-2-8 0,4 0 5 16,-3-3-25-16,1 3 23 0,0-6-29 16,1-1 11-16,0 3 38 0,1-7-2 15,0 1-3-15,0-1-2 0,2-3 2 0,-1-3 7 0,0 0 14 16,0 0-18-16,0 0-19 0,17-15 24 16,-9 8-28-16,2-6 12 0,2 3-7 0,-1 1 2 15,-1-3 8-15,3 3-20 0,-4 0 84 16,1 2-28-16,-1 1-8 0,-2 2-13 0,0 2 8 15,0-1-10-15,-2 1 2 0,1 2 21 0,-6 0-33 16,6 5 22-16,-4-2-50 0,-1 0-1 16,-4 4 11-16,1-1 12 0,0 0-25 0,-4 4-69 15,1-2-3-15,-1-1-54 0,0 3-56 16,-2-2-35-16,2-1-14 16,1-1-43-16,-2-1-28 0,4 0-46 0,1-4-83 0,2-1-117 15,0 0-46-15,0 0-381 0,0 0 5 0,0 0 145 0,10-13 16 16,-1 4 307-16,-3 1 423 0,2-3 161 15,0 3 76-15,3-3 65 0,-2 3 35 16,0 0-71-16,-1-2 89 0,-4 4-15 16,3-1 15-16,-1 4-25 0,-1 0-82 0,0 1 30 15,-3 0-27-15,-2 2 32 0,8-1 34 0,-8 1-26 16,0 0 8-16,10 5-20 0,-8-1-49 0,-2 0-8 16,0 1-36-16,-2 1-22 0,0-2-78 15,-1 2-46-15,3 0-20 0,-5 1-76 16,2-1-60-16,-2 2-125 0,-5-1-218 0,6-1-471 15,-2 0 106-15,3-3 99 0,1 0 107 16,-1-3-2-16,3 0 87 0</inkml:trace>
  <inkml:trace contextRef="#ctx0" brushRef="#br0" timeOffset="138585.17">24725 10069 952 0,'0'-3'419'0,"0"-1"-12"15,0 4-104-15,0-6-55 0,0 6-100 16,0-5-114-16,0 5-239 0,0 0-502 0,0 0 62 15,0 0 67-15</inkml:trace>
  <inkml:trace contextRef="#ctx0" brushRef="#br0" timeOffset="138855.91">24768 10122 1041 0,'0'0'415'0,"3"3"-39"0,-3-3-15 0,0 0-36 0,2 2-33 15,-2-2 0-15,0 0-29 0,0 0-88 16,0 0-12-16,0 0-1 0,13-5 14 0,-13 5-9 16,8-2-21-16,-4 1 5 0,-4 1-8 15,6-1-5-15,-6 1-20 0,8 0 7 0,-8 0-7 16,0 0-33-16,7-2 12 0,-7 2-23 0,0 0-15 16,8 2-13-16,-8-2-36 0,5 1-48 0,-5-1-31 15,3 3-59-15,-3-3-72 16,5 3-107-16,-5-3-126 15,0 0-468-15,10-3 36 0,-10 3 107 0,10 0 98 0,-2 0 51 0,-1-3 94 16</inkml:trace>
  <inkml:trace contextRef="#ctx0" brushRef="#br0" timeOffset="139218.03">25037 10199 1313 0,'0'0'455'0,"0"0"11"0,0 0-95 16,0 0-10-16,5-11-13 0,-4 7-10 0,-1-4 59 0,0 1 0 0,-1-2-39 0,0-5-61 16,0-1 5-16,-2-6-28 0,1-4-90 0,2-4 3 15,-3-14-33-15,2 3-19 0,-1-4-7 16,2-3-13-16,2-3-22 0,0-12 22 0,2 2-38 15,2 0-1-15,-2 15-35 0,2-3 34 0,-1 7-37 16,3 3 5-16,-1 4 4 0,-2 8-24 0,-1 6 5 16,-2 3 10-16,2 4-46 15,-4 0-12-15,3 2-52 0,-3 5-2 0,0-1-13 0,3 4-36 16,-6 0-12-16,3 3-24 0,0 0-41 16,0 0-28-16,-10 9-46 0,5-1-92 0,0-1-112 15,-3 6-538 1,2 1 117-16,-1 2 42 0,2-2 153 0,0 2 77 0,0-1 40 0</inkml:trace>
  <inkml:trace contextRef="#ctx0" brushRef="#br0" timeOffset="139724.93">25196 9717 685 0,'0'19'303'0,"0"-4"-30"0,-2 3 68 0,-1-1-29 16,3 1-30-16,-1 0-6 0,-3 1-35 15,2 0-6-15,0-1-22 0,-2-1-21 16,1 2 7-16,-1-1-17 0,1 0-16 0,0 1 26 0,1-4-28 15,-3 1-8-15,4-3-10 0,-1 0 3 16,-3-1-3-16,5 1 30 0,-1-2-2 16,-3-4-102-16,2 2 43 0,2-2-12 0,-2 0 9 15,1-2 14-15,-2-2-6 0,3-3 67 0,0 3-39 16,0-3 37-16,0 0-42 0,0 0-2 16,0-17 15-16,0 6-13 0,4-8-5 0,-2-1-120 15,0-9 16-15,3-11 14 0,5-4-40 0,-2-12 20 16,2-3-48-16,2-2 76 0,2-1-48 15,-2-3 20-15,1 5-23 0,3 0 0 0,-1 5 0 16,1 4 26-16,-1 14-36 0,0 5 20 16,-5 7-2-16,-1 5 0 0,-3 4-11 0,-2 2-2 15,1 4-36-15,-3 1 11 0,-1 0-24 16,1 1-10-16,0 5-12 0,-4-1-42 0,2 4-5 0,0 0-10 16,-5-1-43-16,5 1-31 15,0 0 10-15,-15 7-75 0,9-1 4 0,1 0-83 16,-1 0-63-16,0-4-65 0,0 5-427 0,1-3 3 15,0 2 160-15,2 0 52 0,-2-1 75 0,3 0 127 16</inkml:trace>
  <inkml:trace contextRef="#ctx0" brushRef="#br0" timeOffset="139970.62">25349 9213 1382 0,'0'0'453'0,"0"0"-23"0,-16 12-39 0,7-6-127 15,-3 7 13-15,-6 3-29 0,-3 9-23 0,-3 2-10 16,-2 3-13-16,-6 8-25 0,-1 0 0 16,0 0-32-16,2-2-22 0,-3-2 21 0,9-4-29 15,-1-1-33-15,3-3-21 0,2-1 1 0,1 0-44 16,2-6-8-16,5-5-15 0,1-2-57 16,1 1-15-16,2-2-30 0,1-4-29 15,0 3-45-15,2-3-127 0,3-4-127 0,-4 2-435 0,7-5 41 16,0 0 171-16,0 0 33 0,0 0 70 15</inkml:trace>
  <inkml:trace contextRef="#ctx0" brushRef="#br0" timeOffset="140162.31">25165 9279 1062 0,'6'-4'381'15,"-1"3"49"-15,2 1-23 0,-7 0-79 0,8 7-36 16,-1-1-13-16,-1 2 61 15,-1 3-17-15,3 2-37 0,0 0 9 0,2 5-32 0,2 1-40 16,-2-1-16-16,1 1-2 0,2 0-23 0,5 7-44 16,0-8 31-16,-2 1-46 0,0-4 7 15,-2 0-53-15,1-2-26 0,1 1-17 16</inkml:trace>
  <inkml:trace contextRef="#ctx0" brushRef="#br0" timeOffset="141604.46">23327 10620 1343 0,'0'-2'489'0,"0"2"-54"0,0 0-43 15,0 0-98-15,-2 18-15 0,0-10-38 0,1 2-6 0,-2 4-55 16,1-1 7-16,0 6-16 16,-4 0-5-16,4-1-20 0,-3 1-13 0,-1 0-7 15,2-1-39-15,-2 0-39 0,1-1-1 0,-2 0-17 16,1 0-22-16,-1-2-31 0,3 1-21 16,-3-3-37-16,2 0-22 0,0-2-25 0,0 0-72 15,1-1-38-15,-2-2-120 0,4-2-341 0,-2-2-79 16,2 2-5-16,0-5 148 0,2-1 54 15</inkml:trace>
  <inkml:trace contextRef="#ctx0" brushRef="#br0" timeOffset="142150.12">23276 10682 916 0,'5'-11'356'0,"5"0"-8"0,-2 2 36 0,-2 3-8 0,1 2-38 0,0 1-98 0,-1 2 27 15,2 1-37-15,-1 4 13 0,1-1-35 16,-3 4 1-16,0 2-4 0,1 0-20 0,-2 3-4 16,-4 1-17-16,0 2-21 0,0 0-15 15,-2 2 3-15,-3-2-26 0,1 3-8 0,-5-1 0 16,1-2-33-16,1 0 21 0,-1-1 66 0,0-5 20 16,3 2-53-16,-2 0 0 0,1-4-28 0,1 1 7 15,3-3 5-15,-2-1-30 0,0-1-3 16,4 0 26-16,0-3-16 0,0 0-25 0,0 0-8 15,0 0 28-15,6-11-41 0,-2 3 19 16,4 0-22-16,-1 1 19 0,1-1-47 0,2 1 32 16,-2-2-1-16,2 2-18 0,0 1-10 0,0 0 24 15,-1 5-32-15,-2-1 13 16,4 2-20-16,-4 2 36 16,3-1-21-16,-2 3 13 0,-1-2 2 0,0 4-12 0,-3-2-16 0,1 2 13 0,-2 1-10 15,-1-2 36 1,0 2-118-16,-1-1 31 0,-1 0-11 0,0-2 11 0,2 1 10 15,-2 0 17-15,0-1-17 0,3-1 28 0,-3 0 8 16,0-3-13-16,4 4 3 16,-4-4 17-16,0 0 11 0,0 0-13 0,8-2-18 0,-8 2 18 15,11-7 2-15,-6 1-10 0,4 2-18 0,-1-1 34 16,-2 1-16-16,2 0 23 0,-1-1-17 16,1 4-3-16,0-1-1 0,2 1-7 0,-2 1 31 15,0 1-18-15,2 0-8 0,-3 0 8 0,1 3 8 16,0-1-3-16,0 2-8 0,-3-2 0 15,2 1 1-15,-4-1-24 0,4 0-23 0,-4 3-12 16,2-3-44-16,-2 1-23 0,-1 0-54 0,0-2-54 16,-1 2-38-16,-1-1-192 15,0 0-550-15,0-3 97 0,0 0 107 0,0 0 52 16,0 0 97-16,-7 3 38 0</inkml:trace>
  <inkml:trace contextRef="#ctx0" brushRef="#br0" timeOffset="142313.72">23691 10726 1159 0,'0'0'333'15,"-3"-3"-49"-15,3 3-43 0,0 0-98 0,0 0-92 16,0 0-164-16,0 0-71 0,-10 8-448 16,8-5-18-16,2 3 51 0</inkml:trace>
  <inkml:trace contextRef="#ctx0" brushRef="#br0" timeOffset="142682.43">23766 10777 1041 0,'2'1'402'0,"3"1"-33"0,-5-2-31 0,5 5-18 0,-1-3 58 0,0 5-47 16,0-2-37-16,0 0 3 0,0 1-64 0,0-1-5 15,0-1-13-15,-1 2-46 0,0-2 10 16,1 1 5-16,-1-2-120 0,0 1 15 0,0-1 21 15,-1 2 3-15,2-4 37 0,-2 2-32 16,2-1 7-16,-1 0 115 16,2 0-17-16,-5-2-42 0,12 0-17 0,-8 0 41 0,-4 0-32 15,13-2-1-15,-5 2-29 0,-2 0-18 0,0 0 26 16,2 0-108-16,-8 0-5 0,14 0 5 0,-8 0 34 16,-1 0-16-16,3 0-5 0,-3 2-20 15,4-2 7 1,-3 1 34-16,0 0-55 0,-1 0 14 0,2-1 0 0,-7 0 10 0,11 0-29 0,-5 0 9 15,-6 0-27-15,9 0 4 0,-9 0-34 16,10 0-18-16,-10 0-28 0,8 0-57 16,-8 0-37-16,8 1-45 0,-8-1-22 0,8 0-36 0,-8 0-41 15,7 3-82-15,-4-7-161 0,-3 4-472 16,0 0 157-16,14 1 5 0,-10 2 159 16,-4-3 107-16,11-3 11 0,-5 2 63 15</inkml:trace>
  <inkml:trace contextRef="#ctx0" brushRef="#br0" timeOffset="142879.62">24168 10804 918 0,'3'-5'459'0,"-3"5"-24"0,2-5-74 0,-2 5-54 0,0 0-15 0,0 0-3 16,-5-6-5-16,5 6 64 15,0 0-25-15,0 0-14 0,-11 6-35 0,4-2-8 0,4 0-33 16,-1 0-18-16,1 2 18 0,-2-1-51 16,2 0-28-16,2 1 15 15,-3-3-29-15,4 4 4 0,0-1-37 0,0-1-4 0,4 0-42 16,-3 1-35-16,2-3-31 0,2 2-24 0,2 0-40 15,1-2-41-15,1 2-46 0,1-1-69 16,2-2-139-16,1 2-657 0,2-2 100 0,-2 1 4 16,3-1 159-16,-2 0 70 0,2-1 158 0,-3 2 0 15</inkml:trace>
  <inkml:trace contextRef="#ctx0" brushRef="#br0" timeOffset="143480.29">24492 10855 1371 0,'0'0'484'16,"0"-5"-20"-16,0 5-37 0,0 0-28 0,0 0-122 15,0 0-8-15,2 16-39 0,-2-10-43 16,2 1 12-16,0 1-22 0,-2 1 2 16,0 1-35-16,1 0-29 0,-1-1-10 0,3 0-8 0,-3 0-18 15,2 1 19-15,0-4-9 16,-1 1-15-16,1-1-10 0,1 0 8 0,1-3 23 15,-1 1 12-15,2-1 119 0,-5-3-19 0,9-2-10 16,-2 0-123-16,-2-3 16 0,0 1-16 16,3-3 5-16,-1-4-4 0,-1 3-22 0,-1-3 16 15,2 2-30-15,-2-2-14 0,1 2-12 0,-2-2-15 16,2 0-37-16,-2 5-48 0,-3-2 13 16,4 1-74-16,-3 1-44 0,1 0-31 0,0 1-38 15,-1 1-80-15,1 1-127 0,-3-2 10 31,5 3-487-31,-2 1 80 0,2-2 105 0,-5 3 46 0,9-1 122 0,-9 1 29 0</inkml:trace>
  <inkml:trace contextRef="#ctx0" brushRef="#br0" timeOffset="143623.62">24674 10844 596 0,'1'5'269'0,"-1"-1"17"0,0 0-9 15,0 1 2-15,0 2 79 0,-1-2-35 16,1 2-19-16,0-1-45 0,-1 1-16 0,-1 3-31 16,2-2-12-16,-3 0-36 0,3 2-3 15,-2-3-92-15,0 2-76 0,-2-1-93 0,-6 0-251 16,9 2-522-16,-3-1 128 0,1-3 75 0,1 1 66 15,-3-2 61-15</inkml:trace>
  <inkml:trace contextRef="#ctx0" brushRef="#br0" timeOffset="144018.46">24774 10727 540 0,'2'-1'148'0,"-2"1"-20"0,0 0-69 16,10 5 13-16,-6-4 27 0,-3 4-22 16,2 1-20-16,1-2 17 0,-3 4 10 0,2-1 21 15,-1 0 26-15,2-1 12 0,-3 1 11 16,2-2 12-16,1 2 13 16,-3 0-28-16,1-2 5 0,2 0-10 0,-2 0 82 0,0-2-8 15,-2 3-12-15,4-3-1 0,-3 0-2 16,0 1-18-16,1-2-26 15,-2-2 0-15,0 5-69 0,0-5 11 0,0 5-27 0,0-5-17 0,-2 3 26 16,1 1-34-16,-4-1-13 0,2 0 19 16,-2-1-27-16,0 4 29 0,0-1-26 0,-2-1-15 15,3 0 16-15,-3 2 12 0,2-2-3 16,1-1-2-16,-2 3-10 16,4-2 20-16,-1-2-7 0,3 2-1 0,-5-1 11 0,5 2 71 0,0-5-33 15,-1 5 6-15,1-5-1 16,1 5-15-16,4-3-10 0,-2 0-55 0,-3-2-34 0,8 3-35 15,-2-3-58-15,0 1-25 0,-6-1-96 16,15 0-125-16,-7 1-135 0,0-1-451 0,0 0 46 16,1 0 154-16,-1 0 64 0,0 0 63 15,0 0 70-15</inkml:trace>
  <inkml:trace contextRef="#ctx0" brushRef="#br0" timeOffset="144353.34">24960 10946 652 0,'0'0'277'0,"0"0"-42"0,0 0-53 0,-17 0 0 16,17 0-67-16,-6 2-82 0,6-2-48 0,-5 5-26 15,0-2-126-15,3-2 16 0,0 3 18 0,-2-3 21 16,2 4 76-16,2-5 3 0,-1 2 48 16,1-2 67-16,0 0 79 0,0 0-2 0,0 0 58 15,0 0 3-15,0 0-7 0,0 0 12 16,0 0 85-16,0 0 0 0,21-7-24 0,-13 2 1 15,-3 2-16-15,3-2-12 0,-1-1-106 16,-1 0-7-16,-1 1 13 0,2 1 0 0,-2 0-3 16,-2-1 20-16,4 1 4 0,-3 0-6 0,-2 2-13 15,0-1-56-15,-2 3 8 0,3-5 2 16,-3 5-15-16,0 0 56 0,0 0-18 0,0 0-8 16,0 0-7-16,0 0-51 0,-15 5-51 15,9 0-55-15,2 0-35 0,-2 1-54 0,4-1-51 16,-1 0-69-16,-2 1-138 0,3 0-124 15,2 1-470-15,0-1 54 0,2 3 122 0,1 0 95 16,2 0 105-16,3-1 80 0</inkml:trace>
  <inkml:trace contextRef="#ctx0" brushRef="#br0" timeOffset="144594.73">25219 11066 1284 0,'0'-6'587'0,"4"1"-52"0,-4-4 15 15,1-1-174-15,0 0-5 0,-1-4-35 16,0-1-37-16,0-1-30 0,2-3 2 0,-2-2-30 0,4-3-54 16,0-2 7-16,2 1-53 0,-2 2-5 15,1 5 2-15,0-1-43 0,-2 4-8 16,-1 1-75-16,2 5-55 0,-3 1 5 0,0 3-34 16,-1 1-13-16,0 4-30 0,0 0-15 0,0 0-52 15,-8 12-38-15,5-1-128 0,-7 2-123 16,2 2-451-16,3 1 62 0,-3 1 113 0,0-2 76 15,1 3 93-15,2 0 81 0</inkml:trace>
  <inkml:trace contextRef="#ctx0" brushRef="#br0" timeOffset="144731.65">25288 11012 1548 0,'8'-9'527'0,"-2"-1"-2"15,0-2-39-15,0 2-43 0,-1-2-51 0,3-3-34 16,-2-1-20-16,4-6-49 0,0-2-12 15,3-6-65-15,-4 3-2 0,0 6-38 0,-2-1-3 16</inkml:trace>
  <inkml:trace contextRef="#ctx0" brushRef="#br0" timeOffset="144986.28">25250 10811 1627 0,'16'-20'423'0,"-6"3"-24"15,5-1-15-15,2 5-61 0,-6-1 66 16,2 3-34-16,-2 2-37 0,3 0-37 0,-5 3-30 15,0 2 13-15,-2 2-49 0,1 2 5 16,-4 4-41-16,2 1-10 0</inkml:trace>
  <inkml:trace contextRef="#ctx0" brushRef="#br0" timeOffset="145067.37">25398 10848 5487 0,'-2'13'-442'0,"-3"0"-552"0,4 0 106 15,-5 5 61-15,4-6 80 0,-4 0 66 16,3 0 69-16</inkml:trace>
  <inkml:trace contextRef="#ctx0" brushRef="#br0" timeOffset="146269.84">22786 12202 1200 0,'-8'8'453'0,"6"-4"-59"0,0 5-35 16,-1 2-39-16,-3 4-29 0,2-2-22 0,-1 5-54 0,-1 1 18 15,3 0-33-15,-4 2-39 0,2 1-13 16,0-3-32-16,0-1 7 0,-1 0-52 15,1 3 21-15,0-4-5 0,2-2-28 0,-1-3 23 16,1 1-31-16,-2-2 3 0,3-2-10 16,-1-1 27-16,0-1-12 0,1-4 15 0,-1 1-7 15,3-2-1-15,0-2-17 0,0 0 30 0,0 0-45 16,0 0 45-16,0-19 0 0,5 7 3 16,-2-6-5-16,2-4 13 0,3-2-83 0,3-13 1 15,1 0 36-15,2 2-14 0,-3 0 86 0,3 3 19 16,3 3-91-1,0 2 7-15,-3 6-8 0,-1 4 21 0,-1 4-43 0,1 1 25 16,1 3-10-16,-2 2 12 0,2 3 4 0,-2 4 17 0,0 0-31 16,-1 2 11-16,-1 4-26 15,2 2 18-15,-2 3-8 0,-2 3-15 0,0 2 33 16,-1-1-38 0,-3 4 7-16,0 2-14 0,0 1 1 0,-2 0-30 0,0-2-25 0,-2 2-40 15,-2-3-9-15,0 1-23 0,1 0-52 16,-4-1-9-16,0 0-60 0,2-2-64 0,-3 1-140 0,-1-1-105 15,0 0-397-15,-1-4 61 0,1-2 62 16,-1-2 105-16,0 0 76 16,0-3 54-16</inkml:trace>
  <inkml:trace contextRef="#ctx0" brushRef="#br0" timeOffset="147128.24">22715 12499 1251 0,'0'0'512'0,"-6"-1"-51"0,6 1-3 0,0 0-61 15,0 0-54-15,0 0-21 0,6-8-35 16,-2 6-105-16,2 0-11 0,4-3-17 0,0 1-19 16,1 0-27-16,5-2-8 0,-2-2-57 0,2 1-20 15,1-2-46-15,3-1-2 0,-3-1-11 16,3-2 15-16,2 1-17 0,-3-1-8 0,-1 2 18 16,-3 3 12-16,1-2 16 0,-1 3-25 15,-4 0 12-15,-1 2 23 0,-3 0-17 0,1 2 37 16,0 0-14-16,-1 2 32 0,-2 0-4 0,-5 1-3 15,6 5 23-15,-2-2-10 16,-3 3-3-16,1 2-10 0,1 0 10 0,-3 0 8 16,2 3-8-16,0-2-13 0,-1 2-22 15,2-1 9-15,-1 0 6 0,1 2-16 0,4-2-15 16,-2-1 26-16,1 0-21 0,1-2 16 0,1 0 25 16,-2-2 23-16,3-2 23 0,0-2 18 0,-1-1 44 15,1-2-11-15,1-2-2 16,1 0-26-16,0-3 26 0,-2-1 10 0,2-2 2 15,1 0-43-15,-2-3 105 0,-1 2-48 0,-1-1 12 0,0 3-20 16,-2 1-26-16,-1 0-23 0,0 3-31 16,-2-1-23-16,2 0-27 0,-2 2 27 15,-1 0-23-15,1 1-48 0,-3 3 28 0,3-2 20 16,-3 2-28-16,0 0 28 0,0 0-15 0,2 11-5 16,0-6 7-16,-2 1-27 0,0 1-3 15,3 0-3-15,0 0-10 0,-3-1 10 0,2 2-13 16,3-1 1-16,-2 0 30 0,1-2-33 15,0 1 15-15,0-2-15 0,2 1 12 0,-1-2 4 16,1-1 19-16,-2-1 29 0,4-1-15 0,-8 0 14 16,13-4 4-16,-6 0-32 0,1 0 45 0,-3-1-24 15,3-2-20-15,0 0-8 0,-1-1 0 16,0-1 0-16,-3 2 0 0,1 0 0 16,0 1 0-16,-2-1 0 0,-1 3 0 0,0-1 0 0,3 1 0 15,-4 1 0-15,1-2 0 16,2 2 0-16,-3 1-11 0,-1 2-140 0,1-4-38 15,-1 4-21-15,2-3-38 0,-2 3-26 0,0 0 0 16,5-3-46-16,-5 3-3 0,3-3-14 16,-3 3-58-16,7-3 24 0,0 2 77 0,-3-2 25 15,1-1 36-15,3 0-41 0,-4 1 28 0,4 2 67 16,-3-3 77-16,0 1 71 0,-2 1 49 0,3 1 41 16,-6 1 15-1,4-4 16-15,-4 4 22 0,6-2 24 0,-6 2-13 0,0 0 10 0,0 0 3 16,0 0 12-16,0 0-40 0,-1 12 2 15,-1-7 18-15,2 0-18 0,-3 1 13 16,3 1-8-16,0 2 10 0,3 0 1 0,2 1 27 16,-3 1-20-16,2 1 3 0,0-1-5 15,2 1-1-15,0-2 3 0,-2 1-28 0,-2 0 23 16,1-2-20-16,2 0-3 0,-3-1 71 0,0 1 16 16,-1-1-46-16,-1-2-10 0,0 1-26 0,-1-1-26 15,-1-2-38-15,-3 0-48 0,3-2-57 16,-1 1-82-16,-2-1-53 15,5-2-39-15,-8 0-149 0,0 2-237 0,8-2-446 0,0 0 44 16,-9-2 161-16,9 2 84 0,0 0 49 16,0-6 87-16,0 6 72 0</inkml:trace>
  <inkml:trace contextRef="#ctx0" brushRef="#br0" timeOffset="147534.44">23940 12551 1021 0,'0'-5'571'0,"0"-1"-8"0,0-1-92 0,-1-1 5 0,1-2-10 0,1-2-162 0,-1-2 19 0,0-2-44 0,0-2-13 16,3-2-13-16,-1-1-14 0,0-1-37 15,1 2 2-15,-3-2-55 0,3 3-1 0,1 4-35 16,0 1 5-16,-4-1-11 0,2 3-30 0,0 3-21 15,-1-1 8-15,1 3-69 16,-2 1-18-16,3 1-51 0,-2 1-49 0,0 2 5 16,-1 2-35-16,0 0-44 0,0 0-34 0,3 11-89 15,-3-8-115-15,2 7-560 0,-2 0 152 16,3 4 58 0,-2-1 63-16,1 2 102 0,0 2 16 0</inkml:trace>
  <inkml:trace contextRef="#ctx0" brushRef="#br0" timeOffset="147803.43">24047 12570 1277 0,'-2'4'481'0,"2"-4"8"0,-2 3-44 0,2-3-12 16,0 0-57-16,0 0-7 0,0 0-11 15,0 0-20-15,-6-10-26 0,6 4-28 0,-2 0-15 16,2-5-10-16,0-1-34 0,2-4-2 16,1-2-44-16,-3-5 10 0,3-4-30 15,1-11 18-15,-1 0-1 0,4 7 6 0,-3 5 20 0,-1 1-138 16,-1 5-31-16,3 2 26 0,-2 1-2 15,-1 3-32-15,0 1-30 0,-2 3-13 0,0 0-46 16,3 2-36-16,-2-1-46 0,-1 4-20 0,0 1-31 16,1 1-33-16,-1 3-19 0,0 0-22 15,0 0-77-15,0 0-80 0,-11 10-593 0,7-2 66 16,0 2 126-16,-2 1 46 0,1 1 76 0,-1 2 62 16</inkml:trace>
  <inkml:trace contextRef="#ctx0" brushRef="#br0" timeOffset="148112.25">23778 12515 1863 0,'-2'-8'527'16,"0"0"-63"-16,4-2-29 0,0 0-26 0,3-2-17 15,3-3-39-15,3-4-48 0,6-11-8 16,1-1-41-16,3-1-31 0,3 0-8 0,-2-1-91 15,1 4-16-15,0 1 13 0,1 5-49 16,-4 4 13-16,-5 5-20 16,-2 3-1-1,0 1-25-15,-3 4-10 0,2 1 2 0,-3 2 6 0,1 4-4 0,-2 1 17 0,2 4-22 0,-2 1-12 16,-1 3-20-16,1 0-44 0,0 5-16 16,-1 1-45-16,-2 0-19 0,-2 1-33 0,2 0-22 15,0 0-42-15,-2 2-35 0,2-2-24 16,1-1-122-16,-4 0-57 0,3-3-84 0,-3 0-298 15,1 1 58-15,-1-1 109 0,-2-2 49 16,0-1 69-16</inkml:trace>
  <inkml:trace contextRef="#ctx0" brushRef="#br0" timeOffset="165635.37">21874 13030 1645 0,'0'0'464'0,"0"0"-29"0,0 0-33 0,0 0-8 15,-16 10-59-15,11-2-43 0,-1 2-26 0,-1 0-53 16,0 4 38-16,-1 3-70 16,0 3-14-16,-2 0-21 0,2 2-16 0,-2-1-35 0,3 2-24 15,1-1-9-15,-2-1-13 0,1-2-39 0,-1-1-28 16,3-1-10-16,0-2-36 15,-1 2-13-15,2-5-20 0,-2 0-31 0,2-1-5 0,0-1-59 16,0-2-52-16,3 0-178 0,-1-4 7 16,2 2-450-16,-3-1 90 0,6-3 32 0,-3-2 85 15,0 0 62-15</inkml:trace>
  <inkml:trace contextRef="#ctx0" brushRef="#br0" timeOffset="166232.79">21786 13115 1008 0,'13'-4'384'0,"-3"-2"-13"15,3 2-28-15,-5 2-33 0,2 1-47 0,-2 1 80 16,0 0-20-16,0 1-11 0,-4 1-58 0,1 2-9 16,-4 1-32-16,1 1-3 0,-2 1-44 15,-3 3-17-15,-2 3-1 0,1-2-10 0,-4 5-30 16,0-3-26-16,0 1-3 0,1 1-15 16,-1-1 5-16,2-3 0 0,1 0-18 0,-2-1-17 15,6-3-1-15,-3 0-12 0,-1 1 35 16,5-3-38-16,-1 0-3 0,2 0 16 0,1-3-18 0,3 0 2 15,-5-2 0 1,13 0 19-16,-3-2-4 0,3-2-25 0,-3 0 8 0,4 1 0 0,-2-2-3 16,1 1 8-16,0 1-13 0,-1 0-12 15,-3 3 7-15,1 0-11 0,0 1 27 16,-3 2-3-16,1-1-31 0,2 2 20 0,-2 0-35 16,0 1 28-16,0 0-21 0,-1 1 3 15,0-1 10-15,0-1 13 0,-1 0 0 0,2 2-10 16,0-3 2-16,0 1 29 15,-3-1 25-15,2-2 28 0,-4 0-79 0,-3-1 23 0,10-2 8 16,-4 0 50-16,-6 2 73 0,6-5 2 0,-5 2 2 16,-1-1-22-16,0-1-11 0,0 5 16 15,0-7-39-15,-1 3 1 0,-3-1 1 0,2 1-30 16,0 2-22-16,-4-2-6 16,1 0-49-16,-1 2-23 0,-1-1-46 0,-1 3-30 0,0 0-13 15,-1 0-1-15,1 0-84 0,-1 0-48 16,0 0-54-16,1 2-141 0,-8 0-182 15,9 0-373-15,2-2 71 0,0 2 128 0,5-2 85 0,-8 1 77 16,8-1 73-16</inkml:trace>
  <inkml:trace contextRef="#ctx0" brushRef="#br0" timeOffset="166925.07">22140 13061 1241 0,'3'-3'512'0,"-3"3"-164"15,4-4-31-15,-4 4-12 0,0 0-21 0,0 0-36 16,0 0-15-16,3 13-20 0,-3-6-26 0,0 3-11 16,0 0 1-16,-2 1-36 0,2 3-29 15,-1 1 19-15,-3 2-39 0,1 1 3 0,3-3-6 16,-5 1-20-16,3-2-2 0,2 0-21 0,-2-2 0 16,-2 1 8-16,4-2-5 0,-2-2-11 15,2-2 0-15,0 2-4 0,-2-2 45 16,2-1-18-16,0-1 6 0,0-3-1 0,0-2 11 15,0 0-56-15,4 2 40 16,-4-2-12-16,0 0 40 0,8-5 27 0,-3 3 1 0,2-1-9 16,-4 1-11-16,3-1-10 0,-1 0-15 0,0 2 20 15,1 0-28-15,-6 1 13 0,9 0-31 16,-9 0 51-16,11 1-33 0,-9 0 8 0,-2-1-11 16,5 5-33-16,-5-1 13 0,0 1 5 0,0-5-5 15,-3 9-15-15,1-3 15 0,0-1-36 16,-2 2-38-16,0-1-47 15,1 0-19-15,-2 0-35 0,2-2-29 0,1 0-37 0,-1 0-23 16,3-4-30-16,-2 3-42 0,2-3-30 0,0 0-48 16,0 0 40-16,0 0-56 0,18-7 54 15,-10 4 50-15,-1-4 37 0,3 2 87 0,0-1 25 0,2 0 72 16,-3 1 72-16,-2 1 23 16,1 1 20-16,-2-1 33 0,-1 1 21 15,0 1 13-15,-2 1 10 0,-3 1-10 0,0 0-1 0,0 0 6 16,7 5-28-16,-4-2 5 0,-3 1-11 15,0-4-7-15,2 8-7 0,-2-3-9 0,2-1-20 16,-1 1 21-16,-1 0-31 0,3-1-13 0,3 1 5 16,-2 1-5-16,1-2 18 0,3 0-13 15,0-2 3-15,1 0 20 0,-1-2-26 16,0 0 39-16,2-1 21 0,0-2-3 0,0 1 53 0,-2-3-24 16,2 1 14-16,0-2 18 0,-4 0-12 15,-1-1-36-15,1 0 12 0,-4 1 1 16,0 2-1-16,-2-2 1 0,0 1-37 0,0 1 21 0,-4-1-40 15,0 1-32-15,0 1 13 16,-2 0-40-16,-1 1-78 0,-1 0-7 0,0 1-15 16,-2-1-52-1,2 3-41-15,-2-1-43 0,2 1-87 0,8-1-157 0,-11 1-429 0,5-2 30 16,6 1 116-16,-10 0 87 0,10 0 71 16,-4-2 26-16</inkml:trace>
  <inkml:trace contextRef="#ctx0" brushRef="#br0" timeOffset="167130.87">22513 13151 1236 0,'6'-5'522'16,"0"1"-71"-16,-4 0-47 0,4 2-53 0,-2 1 17 15,-4 1-38-15,0 0-25 0,10 4-11 0,-9 0-43 16,4 3-33-16,-2 0-13 0,-1 0-16 16,5 5-23-16,-4-2 3 0,3 3-18 0,-4-2-30 15,3 3-4-15,-2-2-48 0,2 1-20 0,0 3-46 16,0-4-37-16,-2-1-50 0,1 1-26 15,-3-1-41-15,1-2-59 0,-2 1-69 16,3-3-92-16,-3-1-75 0,-3 1-429 0,3-3 51 16,0 0 61-16,0-4 64 0,-2 6 52 0</inkml:trace>
  <inkml:trace contextRef="#ctx0" brushRef="#br0" timeOffset="167387.66">22581 13330 1052 0,'0'0'376'0,"0"-9"5"16,0 5 42-16,0-1-22 0,0 0-14 15,0 2-47-15,5-3-119 0,-2 1 17 0,4 0-36 16,-1 0-38-16,4-3-6 0,-3 4-2 0,6-1 8 16,-5-1-23-16,5 1 2 0,-2 2-56 15,-1-1 34-15,-3 3-16 0,4-1-21 16,-1 2 6-16,-3 1 30 0,1 1 59 0,0 1-20 16,-1 1-16-16,0 2 8 0,-3 0-25 0,0 1-32 15,-1 2 22-15,0 0-50 0,-3-1-17 16,0-1-21-16,-3 3-49 0,3-1-27 0,-2-1-52 15,-1 0-43-15,1 0-54 0,-1-1-136 16,0 0-169-16,1-2-512 0,0 0 62 0,0-1 166 16,-2-1 65-16,4-3 60 0,0 0 85 0,0 0 52 15</inkml:trace>
  <inkml:trace contextRef="#ctx0" brushRef="#br0" timeOffset="167506.41">22774 13226 972 0,'-3'-5'341'0,"-2"1"-32"0,0 2-142 0,5 2-170 0,-5-2-522 0,5 2-74 16,-3-3 62-16</inkml:trace>
  <inkml:trace contextRef="#ctx0" brushRef="#br0" timeOffset="167866.91">22823 13223 1251 0,'-1'5'443'0,"-2"-1"-28"0,3 4-39 16,-2 0-51-16,2-1-18 0,2 0-48 16,-2 1-19-16,3 0-20 0,-2-1-38 0,3 0-28 15,0 0-26-15,0 0 13 0,0-2-19 0,0 0 12 16,1 1-30-16,2-2-1 0,-4-2-34 16,5 1-26-16,-2-1 47 0,-2-1 5 0,4-1-34 15,-1 0 11-15,1-2 7 0,-1 0 29 0,1-2-6 16,1 1 1-1,0-1 40-15,-1-1 21 0,0 2 12 0,1-1 14 0,-3 3-14 0,-1-1-17 16,3 1 59-16,-3 0-83 0,-5 1-2 0,10 4-7 16,-7-3 63-16,-1 3-74 0,1-1 3 15,-3 2-69-15,3 0-8 0,-3 1 5 0,0 0-31 16,0 1 1-16,-3 2-9 0,2-1-12 16,-3 1-28-16,2-1-29 0,-6 2-12 0,2 0-46 15,1-1-57-15,-3 0-53 0,0-1-52 16,-1 0-30-16,1 0-98 0,3-1-142 0,-3-1-513 15,3 1 136-15,-2-2 48 16,1 0 136-16,1-1 62 0,0 0 81 0,-2 0 54 0</inkml:trace>
  <inkml:trace contextRef="#ctx0" brushRef="#br0" timeOffset="181674.39">23816 9031 627 0,'7'-2'248'0,"-5"-2"-18"0,-2 4 3 0,2 0-10 16,-2 0-18-16,5-5-8 15,-5 5-5-15,0 0-13 0,3-3 5 0,-3 3-23 0,0-5-33 16,0 5-7-16,5-2 9 0,-5 2 1 16,0-4-29-16,0 4-20 0,0-5-2 0,3 2-11 15,-3 3 15-15,0-6-12 0,0 6-6 16,-3-6 57-16,3 2 8 0,-1 1-14 16,1 3-14-16,-6-5-6 0,0 2-23 15,1 1-10-15,-1 2-2 0,-3-1-8 0,0 2 17 0,-3-1-9 16,-2 4-16-16,-1-2 15 0,-2 5-38 15,-1-1 0-15,-5 3 5 0,5 0 1 0,-5 3 1 16,5 0-91-16,-3 1 15 0,4-1 0 16,1 0 5-16,-2 2 0 0,7-3 5 0,-3 1 21 15,3-3 7-15,2 3-25 0,1-2-3 0,0-1 15 16,3 2 3 0,2-4 11-16,-2 0 4 0,3 3 3 0,1-1 31 0,1-1 58 0,0 1 1 15,1-1-8-15,-1 3-15 0,4 1 9 16,-1 2 16-1,3-1-20-15,-2 4-3 0,4 0-5 0,2 0 13 0,-2 4-21 0,2 0 8 16,2-1-15-16,-3 1 15 0,1 1-15 0,0-3-8 16,-2 2 10-16,0 0-8 0,-3-4 11 0,-3-2-5 15,1 2 2-15,-3-3-20 0,0-1-6 16,-5 0 24-16,4 0 2 0,-3-2-10 0,1 1 18 16,-4-3-34-16,1 2 6 15,1-5 31-15,2 1-45 0,-1 2 27 0,2-6 10 0,-2 4-39 16,2-2 29-16,0-1-11 0,-1-1-18 0,0 0 19 15,2 1-14-15,1-4 0 0,0 5 16 16,0-5-5-16,-4 3-23 0,4-3-11 0,0 3 6 16,0-3 15-1,0 7-24-15,0-7 22 0,5 4-21 0,-2-2-6 0,2 4 19 0,-3-1-13 16,4 1 10-16,1 1 5 0,-2 1-12 16,3 2 20-16,-3-1-3 0,3 2-2 0,-1 2-16 15,-2 4 19-15,1-2-6 0,1 2 8 0,-4-2-18 16,2 2 13-16,0 0-8 0,-3-3-10 15,1 0-8-15,-3 2 3 0,3-1-13 16,-3 2 5-16,0 0 7 0,0-2 14 0,0 2 15 16,-3-2 0-16,1 3-26 0,1 1 11 0,-1-1 12 15,0-5-12-15,-1 5-1 0,3-4 1 16,-3 2-26-16,1-1 15 0,0 1 5 0,1-2 14 16,-1-1 12-1,-1 4 7-15,1-2-30 0,-4 2 24 0,4-3-35 0,-1 2 39 0,-2-1 16 16,0 0-13-16,0 0-118 0,-2-1 12 0,1 2 22 15,-2-3-14-15,3 1 36 0,-2-2 3 0,2-1-13 16,-3-2 16-16,2 2-1 16,-1-3-5-16,0 0 16 0,-1 1-3 0,0-3-5 0,0-2 10 15,-2 0-7-15,3 1-6 16,-4-3 13-16,2 2 8 0,0-3 0 0,-1 0-18 0,0 3 26 0,0-5 12 16,1 2-41-16,0-2 34 0,1 1-3 15,0-1-7-15,-1-1-9 0,0 2 9 16,-1-1 4-16,0-1-9 0,2-2 7 0,-2 4-34 15,0-1 37-15,2-3 12 0,0 3-15 16,-2-1-2-16,2 0-11 0,1 0 10 16,-4 1 3-16,4 0-20 0,-2 0 20 0,1 1-10 0,-2-2-6 15,0 4 9-15,0-4-9 0,0 4 1 16,0-2 12-16,2 2 11 0,0-1-5 16,-2 1 22-16,1 0-30 0,0 0-5 0,-1-1-8 0,2 3 10 15,0-3-4-15,1 3 1 0,-1-1 1 16,0 2 5-16,1 0 0 0,-1-2-16 15,1 1 29-15,1 3-16 0,0-1 11 0,-1-1 15 16,0-1-28-16,2 4-13 0,1-1 33 16,-3-2 3-16,4 2-19 0,-4 0 12 0,4 1 11 15,-1-2-4-15,2 1-15 0,-2 2-6 0,0-3 29 16,0 3-19-16,2-3 1 16,-2 1-3-16,0 3 7 0,2-1 6 15,-1 1-10-15,-2-1-8 0,4 3-1 0,-3 0 24 0,2-2-7 16,-4 2-6-16,4-2 13 15,-2 2 5-15,-2 0-28 0,4 0 10 0,-4 1 7 0,4 0-9 0,-1-3 15 16,-1 2 33-16,2-2-33 0,-3 1-15 16,3 0-11-16,1 2 13 0,-1-5 8 0,0 3 0 15,-1-2-6-15,3 1-2 0,-1-3 11 0,-1 3-24 16,0-1 26-16,0-3-23 0,2 3 15 16,0 0-10-16,0-2 10 0,0 1-38 0,0 1 36 15,2-2 5-15,-2 0-11 0,4 1-20 16,-3-3 39-16,2 1-34 0,1 1 18 0,-3 0-7 15,4 1 14-15,0-4 1 0,1 3-10 16,-2 0 15-16,2-2-16 0,1 0 8 0,0 2-2 16,-1-2-8-16,4 2 16 0,-2-2-19 0,2 0 23 15,-1-2 1-15,0 3-19 0,1-2-2 16,1-2 6-16,2 3-9 0,-3-1 8 0,5-1 0 16,-5-1-2-16,5 1 10 15,-2-2-29-15,0 2 19 0,-2-2 28 0,2 1-24 0,-1 0-4 16,1 0 15-16,-3 0-23 0,3-1 7 15,-3-1 11-15,1 1-8 0,-1 2 0 0,1-3 16 16,-1 2-24-16,0-2-5 0,0 1 21 0,0-1-18 16,1 0 5-16,1 3 0 0,0-2 0 15,-3-1 13-15,4 1-16 0,0 1-4 0,-3-2 7 16,2 2 15-16,-1-1-23 0,-1-1-10 0,5 2 44 16,-4-2-26-16,-1 1-8 0,3 3-2 0,-1-3 18 15,-2 2 2 1,4-1-30-16,-2 0 22 0,1 0 6 0,-3 2-6 0,1-3-2 0,2 4 3 15,0-2-16-15,-1 0 23 0,1 1-22 16,0-1 9-16,-1 2-12 0,-1-1 2 0,2 0 18 16,0 1-3-16,-1-1 6 15,-1-1-5-15,3 2-6 16,-3 0 16-16,-1 0-21 0,4-2 19 0,-2 3-11 0,0-1-6 0,-1 0-12 0,-1-2 16 16,3 2 4-16,-5 1-7 0,2 0 10 15,0 0 29-15,1 1-37 0,-1-2 19 0,-1 2-29 16,-1-1 20-16,1 1-7 0,-1-1-10 15,1 0 10-15,0 1 10 0,1 0-17 16,-3 0 9-16,1-1-7 0,-1-1 5 0,2 2 5 16,-3 0-2-16,0 0-8 0,2 1 20 0,0 0-7 15,-3 0-21-15,2-2 21 0,-2 1-16 0,1 0 16 16,1 0-8-16,-4 1 7 0,2 0 6 16,0-2-18-16,-2 1 2 0,2 3 14 0,-1-3 2 15,-3 1-8-15,1 2-13 0,-2-2-5 16,3 0 23-16,-3 0-12 0,1 1 7 0,-1 0 5 15,0 0-7-15,-1-1 12 0,-2 2-17 0,1-1 25 16,1-1-8-16,-6 1-12 0,5 1 12 0,-1-2-28 16,-2 0 34-16,0-1-19 15,2 2 3-15,-4-2-10 0,4 0 0 0,-2 0 25 0,0-1-17 16,-1 1 7-16,2 0-5 0,-2-2 1 16,1 2 1-16,0-1-17 0,0 0-3 0,-2 1 13 15,4-1 8-15,-3 1-6 0,-1-1 14 16,2 0-29-16,-1 1 10 0,-2-2 21 0,1 4-13 31,-2-1-20-31,-1-1 7 0,1 0-10 0,-1 0 8 0,0 2 10 0,0-1 28 0,2-1-38 16,-3 1-10-16,1 0 15 0,0 0 15 0,0-1-10 15,0 0 2-15,1 0-27 0,-1 1 25 0,2-1 15 16,-2-1 3-16,0 1-3 0,2-1-15 16,-2 0 13-16,0 0-26 0,2 1 3 15,-2 0 15-15,0-1 0 0,0 0 1 0,-3-1-14 16,4 2 41-16,-5-1-20 0,1 1-11 0,-1 0-2 15,-3 0 36-15,4-1-43 0,-2 1 4 0,2-3 3 16,-3 0-8-16,-2 2-10 16,4-2 6-16,-2 0-4 0,1-1 19 0,-1 0-1 15,1 1 6-15,-1-2-18 0,0 2 15 0,-1-4 0 16,-1 5-15-16,-2-1 7 0,0-2-15 0,-4 1 24 16,3 0-1-16,0-1-5 0,-3 3 2 31,5-3 3-31,-3 2 16 0,2-1-6 0,-2-2-7 0,3 2-3 0,-3-2-10 0,5 3 18 0,-1-3-21 15,1 1 18-15,-5 2-18 0,2-1 8 0,3-1 3 16,-5 0 2-16,4-1-5 16,0 1 3-16,1-1 17 0,0 1-38 0,-3-2 23 0,2 1-17 15,0-1 12-15,1 0-16 0,1 2 21 16,1-1 26-16,-1 0-33 0,1-2-16 0,0 0 15 16,2 2 0-16,1-2 1 0,-2-1 4 15,3 2-14-15,-1 2 12 0,-1-2 20 0,0 0-33 16,-2 0 13-16,2 1 23 0,-2 0-28 0,-1 0 16 15,-1 0-11-15,-1 1-6 0,2-1 6 16,-2 1 0-16,-3-1-12 0,4 3 24 0,-4-2-37 16,1 2 9-16,-1 0 29 0,0-1-5 0,1 1-18 15,2-1-1-15,0 2 11 16,-2 0 72-16,2 1-23 0,0-1-13 0,0 1 33 0,0 0 5 16,-5 4-28-16,6-3-8 15,-5 1 1-15,-1 2 22 0,2-1-33 0,-4 0-10 16,2 2 18-16,-10 2-13 0,4-3 34 0,-7 4-19 15,3 0 5-15,8-2 3 0,-9 2-40 0,4 3 14 16,-1-1 1-16,4 2-4 0,-5 0-22 16,7 1 18-16,-4 1-8 0,-1 0 8 0,1 0-13 15,-1 1 5-15,1 1 0 0,1-1-5 0,2 0 5 16,0 3-2-16,-2 1 38 0,3 0-41 0,-3 0 5 16,2 3 5-16,1-1 11 0,-1 3-3 15,2 1 15-15,-2 1-36 0,-4 6 29 0,2 1 7 16,0 0 11-16,4-5-39 0,1 0 15 0,-3 7-27 15,4-5-4 1,-1 6 4-16,3-5 14 0,1 10 1 0,4-10-10 0,0 3 22 16,4-1-17-16,-1-2 7 0,1 3-25 15,1-3-11-15,3-1-2 0,-1 0 5 0,2-1-13 0,2-5-10 16,3-3-3-16,-1-1 6 0,2 0-1 16,-3-3-7-16,6-3-5 0,-1 2-36 0,1 2-24 15,2-5-17-15,-2-1-13 0,7 3-2 0,-2-1 7 16,2-2-2-16,2-1 7 0,-1-4-25 15,1 1-31-15,2-3-10 0,-2-1-3 0,-1-3-56 16,4 1-49-16,-5-2-74 16,4-1-87-16,-2 0-420 0,0-3 24 0,-1-1 137 0,2-1 54 0,-2-1 49 15,1 0 97-15</inkml:trace>
  <inkml:trace contextRef="#ctx0" brushRef="#br0" timeOffset="184803.46">23996 8444 596 0,'3'-5'269'0,"0"-1"-8"15,2 2-21-15,0-1-14 0,0 0 78 0,-3 0-15 0,3 2-17 16,-4-2 17-16,4 3-48 0,-3-1-34 0,-2 3-7 15,0 0-29-15,0 0-25 0,0 0 8 16,0 0-14-16,-15 18-14 0,5-5-19 31,-3 3 1-31,-3 2-13 0,-4 8-26 0,2-1-5 0,0 3 2 0,-2-4-4 0,4-2-6 16,4-3-18-16,-1-3 16 0,2 2-108 0,1-3 29 16,3 0-19-16,4-2 29 0,-2-2-21 15,2-1 3-15,0 0-8 0,3-3 20 16,0 0 1-16,4-1 10 0,0 0 5 0,1-1-11 0,2-3 11 15,-1-2-15-15,2 0 20 0,2 0 15 16,0-2-28-16,1-3 18 0,1 2 11 0,-1-3 9 16,-1 0 3-16,4-1-17 0,-5 2 12 0,1-1 18 15,-2 1-29-15,0 4 9 16,0-3-1-16,-1 1-15 0,-2 0 18 0,1 3-12 16,-6 0 14-16,7 4-22 15,-4-2 17-15,-1 2-15 0,0-2-7 0,-1 4 4 0,-1 0 6 16,2 0 5-16,1-1 74 0,-1-1-10 0,0 3-34 15,-1-4 24-15,1 4-19 0,3-3-1 0,-2-2 1 16,0 3-2-16,0-4-7 0,3-1-24 16,-6 0 13-16,8 1 5 0,-8-1-4 15,8-1 6-15,-5-2 12 0,3 0-14 0,-4-1 5 0,3 0-25 16,-3-1 13-16,-2 0 4 16,1 1-9-16,-1-1 15 0,0 0-21 0,-2-1 16 15,-2 2-24-15,2 1 16 0,0-2-17 0,-4 4-6 16,5-4 10-16,-6 3 28 0,6 0-33 0,-5 0-23 15,3-1 23-15,3 3-17 0,-7-4 9 16,7 4-5-16,-2 0 1 0,2 0 37 0,0 0-27 16,0 0-13-16,0 0 15 0,0 0-10 15,0 0-8-15,9-6 16 0,-4 6 2 16,0-1 7-16,3 1-1 0,0-2 2 0,2 1-6 16,0-1-7-16,-2 2-5 0,0-2 8 15,-3 2-8 1,2 0 28-16,-2-1-36 0,1-1 3 0,-6 2 2 0,0 0-10 0,12 3 28 0,-9-1-20 15,-3-2-8-15,5 5 38 0,-5-1-27 0,0 0 17 16,2 2-13-16,-2 0-12 0,-2-1 23 16,4 2-18-16,-4-1 12 0,2 0-12 0,0 0-3 15,-2-2-7-15,2 0 12 0,0 1-2 16,0 0 28-16,2-3-26 0,0 3-5 0,1-4 0 16,-3-1 11-16,7 4 20 0,-7-4-16 0,9 0-15 15,-1-4 42-15,-1 0-32 0,0 0 16 16,1-3 10-16,0-1 5 0,0-1 18 0,2-4 0 15,0-2-13-15,-2-6 34 0,2 0-23 0,5-10-1 16,-2 0 1-16,1-1-9 0,-2 0 40 16,0 8-45-16,-4 1 14 0,0 8-24 0,0-1 26 15,-3 3 8-15,0 2-15 0,-2 3 14 32,1 0-25-32,-1 2-5 0,-3 2 3 0,0 4 2 0,0 0-10 0,0 0 26 0,-10 12-49 15,7-2 48-15,-4 3-2 0,2 2-20 0,-3 0-52 16,0 1 23-16,1 2 0 0,0 0-2 15,1-1-10-15,5-1-24 0,-1-2 52 16,0 2-36-16,2-3 20 0,4 0-20 0,-3 0-3 16,4-2 18-16,0 1 16 0,2-5-31 0,1 3 23 15,0-3-3-15,0-3 16 0,2 1-24 0,-3-5 6 16,2 2 13-16,-1-1-1 0,-1-1-12 16,0 0 13-1,-1-3 20-15,-1 3-18 0,2-2-3 0,-7 2 6 0,10-3 12 0,-7 1-38 16,-3 2 1-16,8 0 19 0,-8 0-7 15,0 0 31-15,6 4-26 0,-6-4-13 0,0 0 10 16,0 0-27-16,-2 6 6 0,2-6 17 16,-2 6 14-16,2-6-1 0,0 0-14 0,2 4-2 0,-1-1 30 15,-1-3-10-15,5 3 16 0,-5-3-11 16,8 0-22-16,0 0 30 0,-8 0-11 0,15 0 27 16,-7 0-8-16,2 0 10 0,0 0-13 15,0-2-5-15,1 2-23 0,-1 2 20 16,0-2 14-16,-2 2-1 0,4-1 0 0,-4 2-12 15,1 1 7-15,0-3-23 0,-1 5 23 0,-3 0-5 16,1 1 31-16,1-1-116 0,-7-1 9 16,3 1 6-16,1 0-4 0,-3 1 21 0,-1-2 14 15,-1-1-32-15,1 1 53 0,-2 2-13 0,0-2 11 16,-1 0-1-16,0-2 8 16,-1 2-2-16,1-4-13 0,0 4-10 0,-1-5 17 15,4 0 1-15,-6 5-6 0,6-5 31 0,0 0 8 0,0 0-10 16,0 0 7-16,0 0-5 0,-2-11-15 15,4 5 10 1,2-1-15-16,0 0 15 0,1-3-3 0,5 3-7 0,-3 1-8 0,1-3-2 0,1 2-19 16,0 3 24-16,-1-2-16 0,0 3 3 15,0 0 21-15,0 2-9 0,0-2 11 16,-2 2-23-16,0 1 13 0,2 0-13 0,-8 0 15 16,10-1-33-16,-10 1-3 0,11 1-5 15,-7-1 14-15,-4 0-14 0,8 0-10 16,-8 0-33-16,8 1 20 0,-8-1-20 0,0 0-3 0,7-1-2 15,-7 1-14-15,0 0-9 0,8 1 20 16,-8-1-5-16,0 0 8 0,8 2 22 16,-8-2-7-16,5 2 16 15,-1-2-3-15,-4 0 10 0,3 4-8 0,-3-4 3 0,5 2 46 16,-4 3-36-16,-1-5 16 0,2 5-11 0,-2-2 13 16,2 2-3-16,-4 0 4 0,0-2-27 0,0 3-5 15,-2 0-9-15,0 0-6 0,-4 1-13 0,-1 2-41 0,-1-1 5 16,-4-1-45-16,-2 4-42 15,-2 1-56 1,-3-3-49-16,0 3-45 0,-12 1 61 0,0 2-72 0,-1-5-41 0,-4 2 133 0,10-5 67 16,0-1 46-16,0 0 69 15,-1 0 58-15,1-1 78 0,5-3 20 0,1 3 46 0,1-5 47 16,3 0 14-16,2 1 1 0,3 0 17 0,1-2-14 16,2 0-19-16,2 1-13 0,4-1 3 15,0-3-10-15,4 4-5 0,0 0-13 0,6-7-16 31,1 5-7-31,3-2-5 0,3 3-6 0,5-4-4 0,3 2-8 0,2-1 7 16,7 3-28-16,1 0 1 0,0-3-4 0,2 4-24 16,3 0 1-16,-3-1-22 0,1 1-11 0,-3-2-35 15,-6 0-46-15,-1 2-16 0,-4 2-31 16,-5-2-17-16,0 1-29 0,-7 0-51 0,-1 0 0 16,-6 1 36-1,-1-2-20-15,0 0 2 0,-13 8-2 0,1-5-34 0,-5 2 64 0,-7-3 16 0,-5 3 25 16,-17 5 41-16,0-4 29 0,-2 1 63 15,0 1 41-15,-2-2 59 0,1 1 18 16,3-1 26-16,2 0 7 0,9-1 19 0,8-3 12 16,5 3 7-16,2-3 6 15,3 1-33-15,2-1-1 0,5-1-9 0,1 1-26 0,3 0 10 16,4 0-16-16,2-2-4 0,0 0 2 0,0 0-13 16,19 4 0-16,-4-3-25 0,3-1 0 15,6 0 4-15,8 0-9 0,3 0-11 0,15 0-12 16,-1 0-3-1,2-1 23-15,-1 1-21 0,1 0-12 0,-3-1 20 0,-9-2-43 0,-6 3-18 16,-2 0-26-16,-8-1-31 16,0 0-22-16,-5-1-21 0,-1 2-67 0,-1-2-36 0,-5 1-48 0,3 1-64 15,-10 0-59-15,4 0-399 16,-1 0 46-16,1 0 51 0,-8 0 100 0</inkml:trace>
  <inkml:trace contextRef="#ctx0" brushRef="#br0" timeOffset="201829.66">14682 13039 1046 0,'-10'-4'405'0,"2"1"-11"0,2 1 90 16,-1-2-26-16,2 2-125 0,2 1 15 0,-2-1-36 15,0 0-12-15,0 0-29 0,5 2-15 16,-5-3-44-16,5 3-9 0,0 0-9 0,0 0-45 15,0 0 9-15,0 0-4 0,5 14-18 16,0-7-8-16,-2-1-18 0,-1 3-26 0,1 1 18 16,-3 3 60-16,0 0-6 0,-3 2 5 15,-2 1-33-15,-3 4-23 0,-2 0-13 0,0 1-33 16,-3 0 38 0,-5 5-25-16,-2-2-13 0,4-4-3 0,3-2 1 0,-2-2-14 0,2-3-12 15,3 1 35-15,0-4-40 0,2-1 23 0,-2-2 9 16,5 2-70-16,-1-3 60 0,2-1-20 0,-2 1-12 15,4-2 27-15,-1 0 1 16,-2-2-24-16,5 2 16 0,0-4-13 16,0 0-2-16,0 0-34 0,7 2 13 0,-7-2 18 0,11-1-54 15,-3 0-8-15,2-3-14 0,2 1-42 0,1-2-54 16,1 0-35-16,1-1-57 0,0-1-48 0,0-2-47 16,3 2-94-16,-2-3-120 15,4 0-459-15,-2 1 64 0,3-3 118 0,-4 1 67 16,-1 0 89-16,-3 2 59 0,0-1 105 0</inkml:trace>
  <inkml:trace contextRef="#ctx0" brushRef="#br0" timeOffset="202144.34">14787 13192 652 0,'0'0'274'0,"0"0"-15"0,-10 8-26 0,7-2-16 0,1 0-15 0,-1 0-15 16,3 0-33-16,-3 2 10 0,3-1-31 15,0 1-36-15,3 0 3 0,0-1 7 16,-1 0-20-16,3-1-7 0,1 0-4 0,1-2 1 0,3 1 10 15,-2-3 8-15,2-1 100 0,3-2-27 16,-2 0 4-16,-4-1-67 0,6-3 15 16,-3 0 11-16,0 0 2 0,-2-2 90 0,-3 0-3 15,-2-2-33-15,0 3-21 0,-1-3 23 0,-2 1-15 16,0 1-7-16,-2-2-39 0,-1 1 23 16,-2 2-21-16,-3-1-17 0,3 2-23 0,-5-1-19 15,2 2 11-15,-2 1-41 0,0 1-13 16,-1 0-35-16,-2 2-50 0,3 1-25 0,-3 0-38 15,0 1-28-15,1 1-39 0,-2 1-36 16,4 1-84-16,0-1-141 0,3-1-517 0,-1 2 69 0,3-2 174 16,2 1 87-16,1-4-15 15,2 0 92-15</inkml:trace>
  <inkml:trace contextRef="#ctx0" brushRef="#br0" timeOffset="202441.86">15007 13105 675 0,'13'0'261'0,"0"2"-17"0,-2-1-12 0,-4 2 12 0,-2 1-29 0,1 1 7 16,-2-1 73-16,-1 3-16 15,-3 0-34-15,0 3-32 0,-3-1-16 0,1 1 0 0,0 3-20 16,-2 0 10-16,0-1-34 0,-2 0-33 16,4 2 24-16,-1-4-21 0,-2 1-3 15,2-1-33-15,1 0 8 0,0-2-13 0,-1 0 5 16,1-2-5-16,1 1-8 0,-1-1-26 15,2-1-4 1,2 0-6-16,1-1 16 0,0-1-18 0,-1 0-21 0,3-2 16 0,1 1 0 0,-2-1-11 16,-4-1-7-16,16-1-10 0,-6-1-9 15,-2 0-24-15,2-1-24 0,0 1-31 16,-2-2-14-16,0 1-37 0,2 0-64 0,0 1-79 0,-2-5-94 16,0 6-551-16,0-2 168 15,-1-1 22-15,0 1 63 0,-1 0 75 0</inkml:trace>
  <inkml:trace contextRef="#ctx0" brushRef="#br0" timeOffset="203376.22">15351 13099 929 0,'5'-1'266'0,"-5"1"-26"0,10-1 1 0,-10 1-5 0,10 2-47 0,-7 0 8 0,0 2-33 15,0 0-16-15,1-1 16 0,-4 2-36 16,3 1-10-16,-1 0 97 0,-2-1-33 0,1 2-42 15,-1-2-6-15,2 5-22 0,-2-3 26 0,3 0-10 16,-1 0-20-16,-1 1 2 0,3-1 0 16,-1 0-25-16,0 1-1 0,2 0 26 15,-3-2-25-15,3 1-6 0,-2-1-18 0,2 1 21 16,-2-1 8-16,-1-2-31 0,1 2-3 0,-1-2 26 16,-1 2-36-16,1-1 8 0,-2 0-11 15,0 1-33-15,-3 1-10 0,-2-1-23 16,0 2-38-16,0 2-8 0,-5-1-62 0,-1 3-53 15,-1-2-85-15,-1 0-127 0,-3 2-544 0,1 0 111 16,0 0 35-16,-3 0 101 0,3-1 76 16</inkml:trace>
  <inkml:trace contextRef="#ctx0" brushRef="#br0" timeOffset="203877.22">14859 13654 924 0,'7'6'276'0,"1"-4"-25"0,-3-1 76 0,8-1-19 0,2 1-63 0,3-1-35 16,1 0-8-16,6-2-10 15,3 0-25-15,3 0-11 0,13-2-25 0,-1-2-21 0,-7 1 2 0,5-2-2 16,-2-3 5-16,2 0-7 0,-3-2-1 16,3 0-35-16,2-2 5 0,-4-2-3 15,0 0 16-15,-4-2-19 0,-1 0-1 0,-3-1 1 16,-3-1-20-16,0-3 16 15,0-2-13-15,-2-2 10 0,-1-3-16 0,1-2-25 0,-5-2 23 0,-1-1-25 16,-2-2 56-16,-7-1-54 16,-1-1-10-16,-6 0-1 0,-6 0 24 0,-3-1-10 15,-8 1-8-15,-10-4 23 0,-10 3-82 0,-6 3 0 0,-7 5 33 16,-8 5-15-16,-12 1 5 16,-6 5 13-16,-8 6-13 0,-7 2 16 0,-5 3 50 15,-6 4 11-15,-2 6-18 0,-4 6 8 0,-20 7 2 16,7 7-28-16,3 6 5 0,7 4 8 15,-1 7 5-15,6 1 5 0,5 2-8 0,11 5 26 16,23-5 8-16,-9 14-21 0,21-6 0 16,6 2 6-16,5 2-1 0,7 3 13 15,7 0-56-15,11 0 43 0,5-10-10 0,9 2-20 0,9-4 12 16,10 8 1-16,12-5 2 0,12-6 15 16,6-3-31-16,6-6 14 0,5-5-26 15,0-2 10-15,3-5-16 0,2-6-35 16,3-2-38-16,2-4-3 0,-13-6-36 0,3-1-21 15,10-6-38-15,-2-7-28 0,-1-3-107 0,-9-4-205 16,7-4-456-16,0-2 118 0,-5-6 20 0,-3 3 100 16,-1-1 67-16,-6 1 56 0</inkml:trace>
  <inkml:trace contextRef="#ctx0" brushRef="#br0" timeOffset="207096.56">16023 12455 934 0,'15'-6'299'16,"-2"0"-12"-16,2 2-41 0,1-1-13 0,-1 1-21 15,3-1-40-15,2 2 2 0,-1-2-52 16,1 3-9-16,0-1-51 0,-4 2-68 0,2-1-78 16,-2-1-47-16,-4 6-109 0,-6-2-113 15,4 1-385-15,-5 1 178 16,0-1-3-16</inkml:trace>
  <inkml:trace contextRef="#ctx0" brushRef="#br0" timeOffset="207240.29">15964 12577 698 0,'0'0'251'0,"0"0"-38"0,0 0-21 0,28-3-18 0,-17 2-16 16,6-2-30-16,1-2 11 0,5 1-22 0,-2 2-9 0,7-4-26 15,-3 0-34-15,-2 2-50 0,3-1-154 16,0 0-1-16,-3 1-75 0,0-3-416 0,-2 3 54 16</inkml:trace>
  <inkml:trace contextRef="#ctx0" brushRef="#br0" timeOffset="207556.49">16294 12339 824 0,'0'0'268'0,"16"1"-9"0,-6 1-18 16,5 1-37-16,1 1-4 0,1 2-39 0,2 0-5 16,4 2-28-16,-2 2 0 0,-4-3-7 15,-3 1-9-15,0 2-2 0,-4-2 13 0,-2 1-23 16,-5 0-23-16,-1 1 18 0,-2-1-29 15,-2 2 6-15,-1 0-21 0,-5-1 21 0,-2 1-19 16,-2 2-6-16,-6 0-24 0,0 0-23 16,0-1-8-16,-3-1-18 0,1-1-56 0,-1 0-33 15,4-2-59-15,-1-1-23 0,0-3-49 16,0-4-12-16,3 4-451 0,1-2-5 0,1-2 97 16,3-1 95-16</inkml:trace>
  <inkml:trace contextRef="#ctx0" brushRef="#br0" timeOffset="207810.7">15941 12444 872 0,'-23'22'244'0,"2"3"-17"0,1-1-24 0,1 2-14 0,4-6-30 16,5-1-6-16,0 1-17 0,4-2-3 0,2-2-20 15,1 0 15-15,3 0-49 0,3-2 13 16,1-1-15-16,4 0-16 0,0 2 14 0,5-6-19 16,3 1-13-16,1-3-17 15,4-1-6-15,-1-3-32 0,4 0-29 0,1-2-59 0,3-1-64 16,3-3-46-16,-1 0-33 0,-1-1-277 16,15-3-120-16,-6-2 52 0,-4 0 55 0</inkml:trace>
  <inkml:trace contextRef="#ctx0" brushRef="#br0" timeOffset="208940.81">15979 12396 463 0,'6'-9'133'0,"-2"2"36"0,1 1-69 16,-2 1 35-16,0 1-9 0,-3 0-26 0,2 1 10 16,-2 3-23-16,0-5-18 15,0 5 0-15,0-4 5 0,0 4 8 0,0 0-31 0,0 0-28 16,0 0 34-16,-18 6-14 0,13 0 1 16,-2-1-1-16,-3 2-15 0,2 1-7 15,-3 2 20-15,-1 2-5 0,-1 0-6 0,0 3 6 16,0 1-8-16,-2 1 0 0,0 1-12 15,1-1-1-15,1 0 6 16,-2 0-3-16,2 1 5 0,1-1-39 0,1 1 11 0,3-4 8 0,-2 0-11 16,2-1 3-16,1-3 30 0,2 1-30 15,-3-3 23-15,5 2-36 0,-4-1 29 0,4-3-4 16,-2 1-7-16,2-2-38 0,1 1-16 16,0-1 5-16,-1-2-55 0,3 2-19 0,-3-2-62 15,3-3-25-15,3 5-301 0,-3-5-50 16</inkml:trace>
  <inkml:trace contextRef="#ctx0" brushRef="#br0" timeOffset="209384.37">15982 12487 481 0,'13'-6'199'16,"-1"3"-35"-16,4-1-20 0,-3 1-4 0,2-1-7 15,0 0 1-15,3 0-37 0,1-1-2 0,3 1-19 16,-3 0-14-16,3 1-44 0,-4-1-41 15,3 0 17-15,-3 2-93 0,-3 1-45 16,3-1-71-16,-2-1 44 0,-4 3-257 0,-1 0-30 16</inkml:trace>
  <inkml:trace contextRef="#ctx0" brushRef="#br0" timeOffset="209599.44">16041 12575 555 0,'15'2'177'0,"-15"-2"-26"16,18-3-8-16,-5 1-18 0,0 0-15 0,0-2-2 16,2 0-16-16,5-2-36 15,0 3 3-15,-1-3-10 0,1 0-16 0,1 0-56 0,-1 0-77 16,4-1-66-16,-9 1-72 0,8 1-359 0,-5-1 96 15</inkml:trace>
  <inkml:trace contextRef="#ctx0" brushRef="#br0" timeOffset="-213690.38">16997 12177 801 0,'0'0'258'0,"0"0"-25"0,0 0-28 16,23-1-23-16,-16 1-11 0,-1 1-25 0,2-1-15 15,-1 0 7-15,-1 1-5 0,-6-1 10 0,12 0-5 16,-9 1 3-16,-3-1 0 0,10 2-16 16,-7 1-2-16,-1-1 8 0,0 3-11 15,-1-1-5-15,-1 1-7 0,0 3-29 0,-1 2 11 16,-1 0-1-16,0 3 9 0,-1 0-27 16,-2 3-14-16,3 0 12 0,-4 2-3 0,1-1-14 15,2 0-27-15,-1 0 16 0,1-3-5 0,-2 2-5 16,0-1-1-16,2-2-12 0,1-1-28 15,-1 2-28-15,-2-3-34 0,2 1-36 16,1-3-48-16,-1 1-61 16,3-2-103-16,-3 1-484 0,1-2-7 0,2-1 135 0,-2-2 59 0,0 0 105 15</inkml:trace>
  <inkml:trace contextRef="#ctx0" brushRef="#br0" timeOffset="-213548.78">16879 12446 138 0,'5'-2'-16'0,"0"-2"-9"0</inkml:trace>
  <inkml:trace contextRef="#ctx0" brushRef="#br0" timeOffset="-213152.43">16877 12424 839 0,'0'0'335'16,"0"0"-25"-16,0 0-44 0,0 0-28 0,0 0-12 0,0 0-4 16,0 0-37-16,0 0-42 0,26-2-15 15,-19 0-46-15,3-1-44 0,3 0-68 0,0 0-86 16,3-2-94-16,-2 4-447 0,-1-4-50 16,3 2 121-16,-1-1 33 31</inkml:trace>
  <inkml:trace contextRef="#ctx0" brushRef="#br0" timeOffset="-212871.36">17174 12335 650 0,'-5'3'268'16,"0"1"-35"-16,2 3-20 16,-2-1-26-16,2 1-26 0,1 3-5 0,-1 0-36 0,1 0 19 15,1 0-24-15,1-1-10 0,1 1-5 0,-1-1-16 16,5 1-7-16,-2-1-21 0,1-2 3 15,2 0-21-15,2 1 14 0,-1-3-17 16,1-1 1-16,2 0 5 0,0-2-2 16,0-2 9-16,1 0-14 0,-1-2 24 0,0-1-29 15,0-1 29-15,-2-2 42 0,-2 1-31 0,1-1-23 16,-4-1 1-16,2-2-4 0,-3 2 11 16,-2 0 2-16,3-2-10 0,-6 1 16 0,3 1-24 15,-2 0-2-15,-3 0-16 0,2 1 8 16,-4 1-4-16,1 3-12 0,-2 0-22 15,-2-1-8-15,3 1-18 0,-1 3-43 0,0-1-52 16,-2 2-127-16,2-2-62 0,0 4-438 16,1-1 34-16,-1 1 87 0,3-2 55 0</inkml:trace>
  <inkml:trace contextRef="#ctx0" brushRef="#br0" timeOffset="-212672.64">17420 12269 852 0,'0'0'258'0,"10"5"-25"0,-10 1-10 15,3 0-28-15,-3 2-21 0,2 2-5 16,-2 3-21-16,-2 0-12 0,2 1-8 16,-5 3-52-16,2 1-14 0,-2-1-90 0,0 1-70 0,0 1-104 15,-2 1-79-15,1-2-372 16,1-1 26-16,-1-2 92 0</inkml:trace>
  <inkml:trace contextRef="#ctx0" brushRef="#br0" timeOffset="-212495.75">17307 12422 767 0,'3'-2'36'0,"-3"2"-113"0,0 0-481 16</inkml:trace>
  <inkml:trace contextRef="#ctx0" brushRef="#br0" timeOffset="-212350.58">17512 12474 1149 0,'0'0'353'0,"0"0"-56"0,0 0-67 0,3 3-97 0,-3-3-130 0,2 4-167 0,-2-4-537 15,3 5 102-15,-3-5 56 0</inkml:trace>
  <inkml:trace contextRef="#ctx0" brushRef="#br0" timeOffset="-210090.22">17328 12305 965 0,'0'0'360'0,"-1"-5"-32"16,1 5-64-16,0 0-39 0,0 0-69 15,0 0-71-15,0 0-157 0,0 0-148 0,0 0-502 16,0 0 110-16,11 8 62 0</inkml:trace>
  <inkml:trace contextRef="#ctx0" brushRef="#br0" timeOffset="-208183.9">16782 12624 995 0,'0'-2'292'0,"0"2"-18"0,5-5-33 0,5 3-32 0,6-2 12 0,4-2-42 16,9 0-18-16,14-2-7 15,6 0-21-15,2-1-18 0,10-1-13 0,-7 2-15 0,5-2-56 16,-8 1-21-16,1 0-30 0,-1 0-37 16,-2 1-104-16,-1 2-118 0,-6 0-56 15,1 1-390-15,-13 1 34 0,-6 0 126 0</inkml:trace>
  <inkml:trace contextRef="#ctx0" brushRef="#br0" timeOffset="-207948.8">17023 12686 762 0,'38'-5'197'0,"6"-3"-20"0,2 3-41 16,0-4-11-16,0-1-30 0,0 2-59 15,1-2-80-15,1 3-7 0,-4 0-69 16,-3-3-72-16,0 2-361 0,-13 3 13 0</inkml:trace>
  <inkml:trace contextRef="#ctx0" brushRef="#br0" timeOffset="-207738.59">17095 12723 632 0,'25'-6'212'0,"3"1"-22"16,2-1-24-16,7-2-7 0,-1 2-36 0,5-3-21 15,0 0-25-15,0 0-44 0,0-1-43 16,-2 4-47-16,1-3-53 0,-9 3 8 16,-3-1-67-16,-5 1-72 0,0-2-114 0,-5 4-162 15</inkml:trace>
  <inkml:trace contextRef="#ctx0" brushRef="#br0" timeOffset="-205690.41">13546 13485 988 0,'-15'1'327'0,"-6"2"-27"16,-7 0-21-16,-2 3-31 0,-15 0-23 16,-3 0-12-16,2 1-32 0,-5 1-17 0,4-2-15 15,1 1-32-15,-2-1 11 0,-4-2-28 16,1 3-2-16,2-3-19 0,1 1-2 15,-1-2-6-15,2 1-12 0,1-2-8 0,8 0-28 0,4 0-28 16,4-1 3-16,5 0-16 16,-1 0-21-16,5 1-37 0,3-1-52 0,3 0 0 15,2 0-13-15,2-1 0 0,4 3-36 16,0-2 19-16,7-1-21 0,-1 2-1 0,1-2-45 16,0 0 43-16,13 3 19 0,0-1 22 0,2 0-43 15,4-1-37-15,4 1 78 16,5 1-26-16,2-3 67 0,1 3-16 15,0-1 36-15,-1-2 64 0,1 0 10 0,-3-2 65 0,-1 2 2 16,-2 0 12-16,-2-1 14 0,0-1 2 16,-8 2 28-16,-1 0 51 0,0 2 37 0,-1-2 27 15,-2 0-18-15,-4 0-17 0,-1 0 0 32,-2 1-27-32,-4-1-4 0,0 0-5 0,0 0-8 0,-10 7-23 0,0-2-5 0,-5-1-26 0,-3 3 13 15,-8-2-28-15,-2 0 3 0,-13 4-14 16,-1-1-7-16,-1 0-7 0,0 0-16 0,2-2 20 15,-3 1-28-15,3-1-5 0,8 0 6 16,2 1-80-16,3-3-13 0,0 1-3 16,2 0 6-16,3-1 0 0,0 1-19 0,3-1-27 0,1 1-13 15,4-1-118-15,0 1 23 0,4-2-54 16,1 0 6-16,2 1-428 0,3-1 41 0,0-1 46 16,3-1 66-16</inkml:trace>
  <inkml:trace contextRef="#ctx0" brushRef="#br0" timeOffset="-205397.63">12536 13557 870 0,'-20'5'302'0,"4"1"-23"16,-1 1-16-16,1 2-17 0,-2-1-13 0,0 4-49 0,-3 1 1 15,4 2-32-15,-4 0 1 16,-2 6-21-16,7-1-13 0,1-2 1 0,2 1-27 16,0-2 19-16,3-2-29 0,3 1-7 15,4-3-18-15,3 1 0 0,0 0-5 0,2 0 7 16,3-1 3-16,6 1-31 0,2-3 11 0,2 2-16 16,8-1-18-16,10 0-2 15,6-2-26-15,2-2-43 0,5-3-52 0,6-1-53 0,-1-3-113 16,0-2-308-16,3-3-206 0,2-3 63 0,6-3 111 15,-1-3 41-15</inkml:trace>
  <inkml:trace contextRef="#ctx0" brushRef="#br0" timeOffset="-200177.6">17046 12934 729 0,'-1'7'210'0,"-1"1"-10"0,0 2-21 16,-1 2-31-16,0 1-12 0,-2 1-21 15,3-1-13-15,-1 2-2 0,1-1 3 0,-1 2-27 16,0-1-47-16,1 0-22 0,-1-2-50 0,1-1-57 16,-1-1-10-16,1-1-59 15,2-1-20 1,0-2-410-16,0-1 41 0</inkml:trace>
  <inkml:trace contextRef="#ctx0" brushRef="#br0" timeOffset="-199971.79">17143 12928 952 0,'1'-3'281'15,"-1"3"-20"-15,0 0-12 0,0 0-27 0,0 0-9 16,0 0-16-16,2 15-46 0,-2-7 10 15,0 1-25 1,0 2-3-16,-1 0-23 0,1 0-8 0,-1 2-12 0,0 1-21 0,-1-1-15 0,2 1-62 16,-3 0-51-16,1 1-58 15,2-1-70-15,-1 0-18 0,-4-3-200 0,5 1-345 16,-3-1 70-16,1 2 63 0</inkml:trace>
  <inkml:trace contextRef="#ctx0" brushRef="#br0" timeOffset="-199621.05">16948 13067 906 0,'0'0'261'0,"-2"13"-18"0,4-7-23 15,1 3-10-15,0-1-5 0,-1 4-24 0,4 1-32 16,-2-1-13-16,-1 0-24 0,2 1 11 16,3 0-15-16,-1-2-6 0,-1-1-2 0,2 0-13 15,2-2 8-15,-3 0-21 0,3-2 0 0,3-1-5 16,-2-3-2-16,1-2-11 16,4-1-7-16,1-4 17 0,1-1-25 0,0-2 8 15,3-1-31-15,2-2 2 0,-3-1 6 0,1 0 7 16,0-1-13-16,-4 3-7 0,-3 0-20 15,0 1-45-15,-3 1 6 16,-1 2-54-16,-2 0-91 0,0 2-45 0,-3 1 52 0,2-1-134 16,-4 4-455-16,-3 0 51 0,0 0 80 0,0 0 43 15</inkml:trace>
  <inkml:trace contextRef="#ctx0" brushRef="#br0" timeOffset="-198887.22">17417 13382 596 0,'0'0'210'0,"0"0"-16"15,11-8-9-15,-3 5-11 0,1-1-26 16,2 1-22-16,1-1 73 0,2-1-32 0,-1 2-9 16,5-3-2-16,-1 0-40 0,1 2-50 15,3-2-27-15,-3 2-98 0,0 0-80 0,-3 1-257 16,-2 0-288-16,2 0 26 0,-2 1 103 15</inkml:trace>
  <inkml:trace contextRef="#ctx0" brushRef="#br0" timeOffset="-198683">17438 13441 831 0,'0'0'264'16,"0"0"-49"-16,0 0-5 0,0 0 0 16,23-4-39-16,-15 2-22 0,2-1-11 0,5 0-28 15,3-1-46-15,0 0-59 0,3-2-102 0,2 0-49 16,0-1-371-16,0 0-179 0,3 0 130 16</inkml:trace>
  <inkml:trace contextRef="#ctx0" brushRef="#br0" timeOffset="-198401.8">17753 13183 926 0,'5'-1'307'0,"-5"1"-10"0,18 2-38 0,-8 0-24 16,1 2 24-16,2 3-52 0,0-1-5 15,1 1-10-15,-3 4-30 0,2 0-14 0,-2 2 13 16,-4 1-30-16,1 1-13 0,-3 2-8 16,-2-1-13-16,-3 0 0 0,-3 1-41 15,-2 3-17-15,0-1 12 0,-3 0-56 0,0 1-49 16,-2-1-56-16,5-3-100 0,-5-2-102 16,6 2-538-16,-3-1 172 0,2-5 17 0,0-1 88 15,2-1 64-15</inkml:trace>
  <inkml:trace contextRef="#ctx0" brushRef="#br0" timeOffset="-192361.86">20992 947 954 0,'-6'-5'323'0,"2"3"-3"15,4 2-8-15,-6-5 64 0,4 3-28 0,2 2-17 16,-3-4-19-16,3 4-10 0,-3-4-84 15,3 4-11-15,-2-4-38 0,2 4 5 0,0-5-28 16,0 5-5-16,5-4-39 0,-5 4-10 0,5-4 10 16,1 1-20-16,1 2 16 0,1 1-27 15,2 0-9-15,0 0-16 0,0 1 5 16,1 2 5-16,2 1-28 0,-3 0 1 0,0 3-11 0,-3-1 5 16,-1 4-3-16,-2-1-5 0,-4 2-4 15,-4 1-4-15,2 2 16 0,-9 1-25 16,1 4 20-16,-4-2-8 0,-8 7 0 0,-1 0 16 15,1-1-8-15,-2-1-21 0,3-5 19 0,3-2-9 16,3 0 14-16,-1-2-6 0,4-1-10 0,1-3 8 16,2-2-16-16,2 1-4 0,-2 0 7 15,4-3 10-15,2 1-10 0,-2-3 0 16,5 2 10-16,0-1 0 0,0-4 3 0,5 5-5 16,2-4-6-16,1 1-7 0,1-2 3 0,1 0-34 15,2 0-15-15,1 0 12 0,3 0-20 16,0-3-51-16,-2 2-18 0,2 0-46 0,-1-1-46 15,1 0-100-15,1 0-89 0,-2 0-523 16,1 2 139-16,-3-3 27 0,-1 2 70 0,1-2 89 16</inkml:trace>
  <inkml:trace contextRef="#ctx0" brushRef="#br0" timeOffset="-192038.81">21272 979 885 0,'10'-7'366'0,"0"3"-30"0,0 2-19 0,1 2-33 0,-2-1 72 0,-1 2-41 0,1-1-11 0,-1 4-12 0,1 2-15 0,-1-1-119 0,-1 1 3 16,-2 2-7-16,1 1-26 0,0 1 5 0,-2 0-20 15,1 2-3-15,-3-1 0 0,1 2-38 16,1 1 4-16,-3 0-14 0,-1 0-34 16,2 0-20-16,2-1-57 0,-3 2-38 0,0-2-8 0,-1 1-35 15,2 0-34-15,-2-2-59 0,4 1-97 16,-3-3-59-16,0 3-504 0,1-2 115 0,0-1 29 16,1 0 106-1</inkml:trace>
  <inkml:trace contextRef="#ctx0" brushRef="#br0" timeOffset="-191256.62">21294 1189 1223 0,'8'-8'312'0,"-1"0"-10"15,7 1-23-15,-4 0-46 0,0 0-15 16,5 0 10-16,1-3-24 0,4 1 37 0,3-3-92 16,-1 3-11-16,0 1 13 0,-3 0-10 15,-2 1 4-15,1 2-17 0,-6-1-7 0,1 1-16 16,-5 3 38-16,0-2-48 0,0 1-3 16,0 2 10-16,-4 1-17 0,-4 0-3 0,8 4-6 15,-4 0 19-15,-3 2-15 0,2-1-22 0,-1 3-9 16,-2 0 12-16,2 0-7 0,-1 1 3 15,1 0-29-15,1 1-10 0,-3-2 15 0,4 2-13 16,-1-1-4-16,3-2-9 0,1 3 14 0,-2-3-6 16,3-1-2-16,0-1-5 15,3-2 20-15,-1 0-13 0,2-2-2 0,6-2 31 0,-5 0 2 16,3-2 25-16,0-1 14 0,-5 0-3 16,2-2 25-16,-3-1-25 0,-2-2 10 0,-1 0 13 15,-1-2-33-15,-4 1 17 0,-1-1 91 16,-1 1-22-16,-3-1-55 0,1-1 4 0,-2 2 11 15,-2-1-21-15,0 1-10 0,-4 1-48 16,2-1 2-16,-3 1-62 0,-3 2-22 0,3 0-39 16,-2 2-23-16,1 0-59 0,1 4-26 0,-1-1-32 15,1 2-47-15,2-2-51 0,0 2-43 16,4 0-34-16,-2-1 21 0,7 1-49 16,-6-2 15-16,6 2 18 0,0-5 55 0,0 5 70 0,8-6 63 15,-3 0 12-15,2-1 89 0,1 2 62 16,1-1 34-16,0 2 55 0,0-2 39 0,-3 3 26 15,0 0 25-15,2 1-2 0,-4 0 5 16,-1 0-29-16,-3 2 3 0,10 2 21 16,-10-2-31-16,8 5-18 0,-2 0 8 0,-2-1-11 15,-1 3 8-15,2 1-35 0,-2 2-1 0,2 0 21 16,0 0-36-16,1 0-5 0,3 0 38 16,0 0-56-16,1 0 12 0,2-3-4 0,1 1 0 15,0-1-6-15,4-2 8 0,-3 1 18 16,1-4 29-16,1-1-14 0,1 0 11 0,-1-2 66 15,4-2-15-15,-2-3-8 0,0-1 15 0,-5 1 6 16,2-3-49-16,-5-1-13 0,2-1 19 0,-4 1-32 16,-2 0 26-16,-3-3-10 0,-1 4 2 15,-2-1-5-15,0-1-20 0,-3 1-8 16,-4 1 3-16,0-1-6 0,-3 2-9 0,0 1-16 16,-6 2-16-16,1 0-40 0,1 3-31 15,-4 0-3-15,3 1-53 0,-1 2-57 0,1 0-38 16,-1 1-36-16,2 2-108 0,1 1-76 0,2-4 15 15,4 2-479-15,3 1 83 0,0-2 55 0,4-2 96 16,0 4 53-16</inkml:trace>
  <inkml:trace contextRef="#ctx0" brushRef="#br0" timeOffset="-190933.39">22119 844 1057 0,'0'0'304'0,"6"0"-20"16,-6 0-23-16,0 0-33 0,0 0-23 0,5 6 8 15,-5-2-45-15,1 2-6 0,-1 1-29 0,0 2 0 16,1-1 5-16,0 1 31 0,-1 1-3 16,2-1-30-16,2 2-3 0,0 0-12 0,0-1-17 15,4 0 22-15,1-2-24 0,1 2 8 0,0-3 26 16,2-3 5-16,-1 0 5 0,1-2 10 16,-1-1-51-16,-1-1-18 0,3-2 28 0,-3-1-2 15,1 0 2-15,-1-1-3 0,0-4-7 16,-2-1-5-16,-3 0-13 0,1-2 16 0,-2-1-42 15,-2 0 3-15,2 0 0 0,-2-1-15 16,-2 2-24-16,2 0 3 0,-2 0-30 0,0 2-37 0,-2 0 14 16,2-1-80-16,-2 4-33 15,1-1-47-15,-4 4-24 0,2-1-30 0,-4 4-45 16,7 0-100-16,-11 1-38 0,-1 4-520 0,2 2 123 16,0-1 66-16,-4 4 137 0,1 1 35 15,-5 1 86-15</inkml:trace>
  <inkml:trace contextRef="#ctx0" brushRef="#br0" timeOffset="-190319.25">21004 1499 1182 0,'-5'1'430'0,"3"1"-49"16,2-2-9-16,0 0-45 0,0 0-27 16,15 5-3-16,-4-4-26 0,6-1-30 0,7 2 4 15,1-4-35-15,11 0 16 0,12-1-52 0,4-3-5 16,15-2-85-16,-3-3-10 16,7-2-7-16,1-2-6 0,5 0 8 0,2 0 0 0,-4-3-10 15,-1 1-13-15,-2 2 18 0,2-2-10 16,-1 0 10-16,-2 0-15 0,1 0-13 15,-1 0-11-15,-2 0 31 0,-4 0-22 16,-5-4 4-16,-5 3-20 0,-10 2-5 0,4-7 15 0,-12 5-13 16,-1-2-2-16,-1-3-8 0,-4 2 11 15,0-3-16-15,-5-2-11 0,-3-2-6 16,0 0 17-16,-5-3-6 0,-2 0 14 0,-6-6-13 0,-2 0-10 16,-6-1 9-16,-4-3 1 0,-6 2 3 15,-5-1-14-15,-7-6 1 0,-11 1-13 0,-10 1 15 16,-6 3 3-16,-11 1-3 0,-4 4 8 15,-9 1-18-15,-2 5 8 0,-24-2-14 0,-8 6 4 16,18 10 20-16,-6 3 0 0,-3 6-8 16,-8 3-10-16,2 5 2 0,-24 8 8 0,3 5 13 15,3 7-17-15,7 6 27 0,3 4-41 32,2 6 13-32,3 4 8 0,0 8-8 0,5 4 28 0,8 4-2 0,6-2 0 0,12 0 4 0,18-8-9 15,5 0 10-15,8 1 2 0,6-1-15 16,9 0-10-16,7 0 12 0,11-9 4 0,10-5 6 15,8 5 11-15,10-1-15 0,15 5 7 0,14-5 16 16,10-2-13-16,6-5 3 16,9-3-16-16,7-6-41 0,26 5-8 0,-15-14-50 15,5-1-34-15,2-5-52 0,2-5-114 0,0-6-182 16,-4 0-469-16,2-3 111 0,-7-1 46 16,-3-2 104-16,-5-2 60 0</inkml:trace>
  <inkml:trace contextRef="#ctx0" brushRef="#br0" timeOffset="-185099.18">22719 1847 1269 0,'0'0'389'0,"-2"-5"-54"0,2 5-48 0,2-8 0 15,4 3-39-15,0-1-10 0,0 0-41 0,5-1-94 16,4 0-14-16,0 1-4 0,3 1-6 0,1 0-12 16,-1 2 4-16,-3 2-12 15,2 1 8-15,-2 1 2 0,-3 4-3 0,-2 0 4 0,-3 3 1 16,-1 0-20-16,-4 2-5 0,-2 0 8 0,-2 4 3 15,-4 1-14-15,-1 0-20 16,-3 0-8-16,-2 1 3 0,-2 0 23 0,4-3-10 16,-1 0-3-16,1-2-12 0,0 1 1 0,0-5 12 15,4 1-22 1,1-1-12-16,0-2 10 0,0 1-18 0,3-3 8 0,2 0 3 0,0-3-21 16,2 7 18-16,3-6 5 0,2 0 0 15,-1 1-11-15,1 0 11 0,4 1 3 0,-1 0-23 16,3 0 25-16,-1 2-3 0,1 0-4 0,0 0 14 15,-2 1 6-15,0 1 13 16,-2-2 7-16,-1 0-15 0,-3 0 26 16,0 2-10-16,0 1 81 0,-3-2-28 0,-4 2-13 0,0-1 24 15,-1-1-9-15,-2 3-30 0,-3-4 31 0,-2 4-26 16,2-1 16-16,-2-2-42 0,-3 0-12 16,0 1-3-16,1-2 18 0,-2 1-20 0,0-2-26 15,-2 0 13 1,5 0-19-16,-1-2-17 0,-1 1-18 0,5-3-15 0,-2 1-39 0,0 0 6 15,4-1-21-15,-1 1-16 16,7-1-2-16,-10 0-28 0,10 0-38 0,-8-1-24 0,8 1-58 16,0 0 9-16,-7-1-35 0,7 1-43 0,0 0-249 15,0 0-194-15,0 0 132 0,0 0 52 16,10-8 44-16</inkml:trace>
  <inkml:trace contextRef="#ctx0" brushRef="#br0" timeOffset="-184063.39">23145 1881 1028 0,'0'0'297'0,"2"-2"-33"0,-2 2-26 0,0 0-15 0,0 0-16 0,0 0-23 0,0 16-17 16,-4-9-8-16,1 1-26 0,3 1-23 0,-5 3-5 16,3 1-6-16,1-1 4 0,0 1 73 15,0-2-35-15,1-1-31 16,1 3 0-16,-1-4-12 0,2 1-6 0,0 3-18 0,0-3-7 0,1-1-37 15,2-1-9-15,-2-1 2 0,4 0-3 16,-1-2-2-16,-1 1-5 0,3-4 2 0,2 0 8 16,0-1-7-16,0-1-11 0,1 0 15 0,-1-1 14 15,0-3-19-15,0 1 5 16,-2-1-9-16,2-3 9 0,-5-1 8 0,1 0-10 16,1-2 26-16,-4 0 12 0,-1-1-18 0,0 1-7 15,-4-1-3-15,2 0 1 0,-2-1-4 0,-4 0 14 16,2 0-11-16,-4 1-5 0,0 1-8 15,3 1-17-15,-5 0 2 16,0-2-29-16,0 3-1 16,1 2-14-16,-1 0-20 0,0 3-13 0,2 3-28 0,-2 0-33 0,0 2-41 0,1 2-118 15,-3 2-128-15,4 2-417 0,1-1 95 16,2 0 86-16,2 0 78 0,-2 1 30 0</inkml:trace>
  <inkml:trace contextRef="#ctx0" brushRef="#br0" timeOffset="-183827.02">23409 2018 739 0,'5'4'343'0,"-2"2"-28"0,-1 1-28 15,3 0-11-15,-2 1-25 0,-3 0-31 16,0-1-2-16,-2 2-47 0,1 1-17 0,-4 0-8 0,1 0-16 15,-2 2-4-15,2-2-32 16,-2-1-30-16,-1 2-7 0,1-1-29 0,-2-2-49 16,2 0-25-16,0 1-110 0,-2-2-74 0,0 0-410 15,3-1-131-15,0-2 137 0,0 0 81 0,1 0 48 16</inkml:trace>
  <inkml:trace contextRef="#ctx0" brushRef="#br0" timeOffset="-182982.5">23053 2095 854 0,'2'4'351'0,"-2"0"-36"16,0 3-46-16,-2-1-34 0,-1 4-20 0,0 0-38 0,-1 1-82 15,-4 4-49-15,4-2-57 16,-4 0-109-16,-6 3-151 0,7-1-446 0,-1-2 100 16,4-2 151-16</inkml:trace>
  <inkml:trace contextRef="#ctx0" brushRef="#br0" timeOffset="-182316.91">23409 1920 632 0,'0'0'276'0,"0"0"-30"0,0 0-11 16,0 0 3-16,5 11-25 0,-5-5 51 15,1 2-8-15,-1 1-24 0,0 2-1 0,0-1-49 16,0 2-6-16,-3 2-32 0,3-1-6 16,-3-1-13-16,1 2 8 0,2-1-18 0,-1-1-112 0,0 2 2 15,1-2 16 1,0-1-9-16,1-1 6 0,0-1-33 0,1 0 10 0,3-2 7 0,-4 1-2 15,3-2 13-15,1 0-13 0,1-2 3 16,-3-1 30-16,7-1-25 0,-3-2 12 16,1 0-2-16,0 0-15 0,4-4-3 0,-4 1 10 15,5-2 23-15,-3-2 24 0,0 0-19 0,1-3 3 16,-1-3 5-16,-3-1 5 16,1-2-15-16,-2-2 0 0,-1-6 15 0,1 0-15 15,-4 0 5-15,2-2 2 0,-4 6 3 0,0-2-5 16,0 3-5-16,-2 4 3 0,0-3 17 0,1 5-5 15,-1 0-23 1,-3 4 29-16,-3 0-50 0,0 3-9 0,1 1-16 0,-1 4-21 0,-2 0-12 16,0 2-26-16,-1 4-25 0,-1 2-39 0,1 4-74 15,-2-1-130-15,2 3-106 0,-1-1-340 16,2 3 21-16,2-2 114 0,0-3 96 16,4 1 30-16</inkml:trace>
  <inkml:trace contextRef="#ctx0" brushRef="#br0" timeOffset="-181950.37">23778 2057 793 0,'3'6'333'0,"-1"1"53"0,-2-1-35 16,1 2-41-16,-2 0-34 0,0 2-22 16,-5 1-34-16,4 1-31 0,-4 0-33 0,-1 0-23 15,-4 1-51-15,1 0-28 0,1-1-49 0,-3 1-74 16,2-3-110-16,0-3-90 0,3 2-527 16,-1-1 105-16,0-1 48 0,5-2 103 0</inkml:trace>
  <inkml:trace contextRef="#ctx0" brushRef="#br0" timeOffset="-181086.26">23957 1929 604 0,'0'0'235'0,"0"0"-12"0,0 0-34 0,4 10-15 0,-7-4-12 15,2 2-11-15,-3 1-41 0,0 1 5 0,-2 2-31 16,3-2-7-16,-2-1 31 0,3 2-65 16,-1-3-10-16,0 1-12 0,3-1 2 15,0-1-15-15,4 1 9 0,-2-3 17 0,2 0 19 16,2 0 4-16,1-2 4 0,1-1 16 16,2 0 7-16,-2-2 24 0,2 0 89 0,0-3-2 15,0 0-26-15,0-4 7 0,-2-1-17 16,1 0-13-16,-2 0 2 0,2-4-15 0,-3 1-12 15,0 0 19-15,-1 0-24 0,-3-1 47 0,2 0-60 16,-3 3 9-16,0-1-83 0,-1 0-22 16,0 2 19-16,-2 1-31 0,1 0-13 0,-2 0 0 15,0 3-15-15,-1 1 10 0,0 0-36 0,0 1-10 16,1 0-24 0,3 2 9-16,-7-2-16 0,7 2-25 0,0 0 10 0,0 0 20 0,0 0-8 15,0 0 34-15,0 0-15 0,0 0 12 16,0 0-12-16,15-1 22 0,-7 1-4 0,-8 0 9 15,15 0 24-15,-10 2-15 0,3 1 14 16,0-2-2-16,-1 3 21 0,1 0 2 16,0 2 0-16,0 1-12 0,2-1 10 0,-3 0 9 15,1 2 6-15,2-1-10 0,-2 0 26 0,2-1-1 16,-2 1-15-16,4-1 13 0,-2-2 7 16,-1 0 8-16,1-2 11 0,-2 1 22 15,2-2 6-15,-2-1 12 0,-1 0 16 0,1-2-13 0,-1 0 12 16,0 0 11-16,-3-2 3 0,1 0-13 15,-2-1-3-15,1-1-3 0,-3-2-2 16,1 1-12-16,-2-1 9 16,0 1-25-16,0-1 20 0,0 1-28 0,-2-1-20 0,2 2-13 15,-1 1-44-15,-3-1-4 0,1 2-32 16,2-1-17-16,-3 2-36 0,4 3-18 0,-6-1-18 16,6 1-105-16,0 0-28 0,0 0-26 0,0 0-10 15,0 0 59-15,-7 4-16 0,7-4 3 16,0 0 62-16,7 11-47 0,-3-7 98 0,-2 0 13 15,2 1-14-15,0 0 40 0,0 2 6 0,2 0 27 16,-2-1 17-16,3 1 13 0,-3-2 39 0,4 1-19 16,-3-1 32-16,5 1 78 0,-2-3 27 15,0 1 48-15,2-1 2 16,5-1 26-16,-4 0 26 0,3-1-8 0,-3-1 28 0,2-1 0 16,4-1 8-16,-3 0-5 0,-1-1 2 15,-1-2-10-15,-1 0 10 0,1-2-33 0,1-3-15 16,-2 0-8-16,-4-2-39 0,1-1 11 15,0-1-8-15,-2-2-31 0,-2 0-12 0,-2 2-29 16,1 0-22-16,-2 1-26 0,-1 2-59 0,-4 0-26 16,1 1-33-16,-4 3-59 0,-1 1-120 15,-2-1-118-15,-3 5-420 0,-5 2 34 0,-3 2 133 16,-4 2 38-16,-15 4 125 0</inkml:trace>
  <inkml:trace contextRef="#ctx0" brushRef="#br0" timeOffset="-180257.18">21035 2054 675 0,'0'0'277'0,"0"0"-32"0,0 0 9 0,19-8-14 0,3 0-12 0,19-3-13 16,16-7-10-16,14 3 0 0,9-8-34 16,35-6 14-16,9-2-14 0,6 1-25 0,9-4 2 15,12-3-17-15,8 1-8 0,4-1-10 16,12-1 48-16,50-14 10 0,-51 13-43 15,50-14-30-15,-52 14 17 0,0 1-31 0,-3 1-7 0,0 2-3 16,-5 5-33-16,-12 1 0 0,-11 5 0 16,-10 2-8-16,-11 4-22 0,-30 6 17 15,-8 1-10-15,-11 2-3 0,-6 0-7 16,-17 2-3-16,-14 2-5 0,-4 2-33 0,-9 1-8 0,1 0 2 16,-8-1-53-16,-1 0 5 0,-3 2-10 15,-2 1 7-15,-1-1-35 0,-7 1-31 0,0 0-44 16,0 0-33-16,0 0-136 0,0 0 6 0,0 0-395 15,-31 0 11 1,17 1 115-16,-5 0 76 0</inkml:trace>
  <inkml:trace contextRef="#ctx0" brushRef="#br0" timeOffset="-176840.17">23373 3229 862 0,'0'0'351'0,"1"-3"-39"16,-1 3-2-16,0 0-39 0,0 0-15 15,0 0-36-15,-21 5-20 0,8-1-21 0,-5 5-15 16,-6-2-16-16,-13 7-4 0,-2 2-14 15,-5-2-22-15,5 3-6 0,-1-2-2 0,2 4-10 16,2-2-11-16,3-2 8 0,2 1-21 16,9-8-4-16,2 2-3 0,8-3 15 0,3-1 8 15,-3 0-33-15,7-3 15 0,-2 2-13 0,6-3 15 16,0 1 52-16,1-3 7 0,4 7-7 16,4-5-10-16,2 1-29 0,3-3-10 0,2 2-28 15,3-1 38-15,6 0-17 0,-2 1-19 16,4-1-4-16,-3-1-37 0,0 0-4 0,0 1-47 15,-5-1-28-15,0 1-20 0,-2 0-15 0,1-1-65 16,-2 3-64-16,-2-2-99 0,-5 1-118 0,5-3-448 16,-3 2 71-16,0-2 144 15,-2 0 59-15,2 0 48 0</inkml:trace>
  <inkml:trace contextRef="#ctx0" brushRef="#br0" timeOffset="-176614.33">23505 3192 1041 0,'0'0'307'0,"9"4"-20"0,-6 1-36 0,-1 2-28 16,2 1-24-16,-2 4-17 0,0-1-5 15,-2 4-29-15,0 0-22 0,0 4-6 0,-4-1-28 16,-2 5-36-16,1-1-27 0,0 2-37 0,0-3-38 15,1-2-44-15,-2-1-12 0,0 0-83 16,1-3-88-16,0 1-22 0,3-4-388 0,1 0 25 16,1-3 54-16</inkml:trace>
  <inkml:trace contextRef="#ctx0" brushRef="#br0" timeOffset="-176268.45">23599 3375 767 0,'0'-5'290'15,"3"3"-32"-15,-3 2-30 0,0 0 2 16,0 0 54-16,0 0-17 0,0 0-34 0,0 0-16 0,-8 15-30 16,6-7-23-16,1-1 2 0,0 3-25 15,2 1-5-15,-2-2-36 0,3 1 10 16,0 0-23-16,3 0-11 0,1 1 11 0,3-4 0 16,0 1-15-16,1-2-18 0,2-1 0 0,7-1 12 15,-2-3 6-15,1-1 12 16,0-1-2-16,5-3 3 0,-2-1 9 0,-4-2-4 0,3-1 33 15,-4-1-3-15,-3-1-87 16,3-2 8-16,-6 0 6 0,0-1-9 0,-5 1-10 0,-1 1 13 16,-2-1-5-16,0 3 82 0,-5-3-8 0,-4 2-36 15,-1 1 8-15,-5-1-3 0,0 3-25 16,-7 1-13-16,2 4-39 16,-4-2-25-16,0 2 8 0,-1 3-57 0,-2 0-30 0,-1 3-39 15,-2 2-30-15,3-1-136 0,6 2-141 16,-4 2-297-16,8-5-159 0,2 2 108 0,3 1 59 15,2-4 79-15,4 0 39 0</inkml:trace>
  <inkml:trace contextRef="#ctx0" brushRef="#br0" timeOffset="-176042.25">24212 3128 1274 0,'7'5'364'0,"-4"0"-1"0,-3 1-48 0,0 2-33 16,-3 3-75-16,1 1-20 0,-3 3-41 16,-2 8-3-16,-2-3-28 0,-4 9-15 0,-4 3 18 15,1-3-16-15,-1 4-28 0,0-2-15 0,-1-3-18 16,-2 0-15-16,7-6-29 16,-5 5-15-16,4-6-61 0,0-3-41 0,2-1-113 0,-1-5-54 15,1 4-468-15,1-2 13 0,-2-2 86 0,4-1 50 16</inkml:trace>
  <inkml:trace contextRef="#ctx0" brushRef="#br0" timeOffset="-175889.77">23953 3269 1169 0,'2'-7'384'0,"0"4"-61"16,-2-1-26-16,1 1-80 15,-1 3-66-15,6-2-92 0,-6 2-128 0,7 0-448 0,-7 0-210 16,7 4 72-16,-3-1 89 0</inkml:trace>
  <inkml:trace contextRef="#ctx0" brushRef="#br0" timeOffset="-175723.81">24137 3323 895 0,'6'-2'384'16,"-2"1"-46"-16,-1-3-23 0,2 1-59 15,-2 2-44-15,4-2-40 0,-4 1-67 0,-3 2-46 16,8-1-118-16,-8 1-113 0,7 4-58 0,-6-1-474 16,1 3 28-16,-2-2 77 15</inkml:trace>
  <inkml:trace contextRef="#ctx0" brushRef="#br0" timeOffset="-175188.84">23245 3997 952 0,'23'4'373'0,"1"-3"-35"0,3 1-38 0,-1-2-21 0,10-2-41 15,13 0 0-15,2-2-28 0,3-1-34 0,3-1-7 16,12-3-25-16,-3-2-27 15,1 2 9-15,-3-4 20 0,3-3-46 0,0 2-16 16,-4-2 3-16,1 0-8 0,-1-2-9 0,-2 0 4 16,-2-2 0-16,-4-1-25 0,-3 0 30 15,-1-2-41-15,-12 3-12 0,7-5 7 0,-9 4-5 16,4-10 3-16,-6-3-8 0,1-1-5 0,-6-1-8 16,-7 3 8-16,-4-4-2 0,1 2-1 0,-4-5 16 15,-2-1-8-15,-7-1-23 0,-3-4 15 16,-6 0-15-16,-7-10 18 0,-9 2 2 0,-12 1-9 15,-7-1 12-15,-23-8-16 0,-13 3 16 16,-9 9-7-16,-12 0 9 0,-11 6-4 16,-10 10 12-16,-11 6 3 0,-7 6 2 0,-5 9 3 15,-10 8 3-15,-5 13 2 0,2 8-5 0,0 10 0 16,-1 7 13-16,4 5 28 0,9 8-3 16,11 5 13-16,15 3-33 0,13 6 15 0,8 1-15 15,12 2-13-15,14 3-5 0,22-10 13 16,10 5-3-16,6-4-31 0,16 1 37 0,10-10-24 15,6-1-5-15,9 5-2 0,13-1-1 0,7-4-35 16,13-5-10-16,13-3 2 0,8-4 0 16,7-8-49-16,4-4-12 0,3-5-29 0,6-5-25 15,6-7-43-15,1-6-73 0,2-4-71 16,2-2-115-16,-4-2-479 0,-2-2 47 0,-1 1 104 0,-9-1 67 16,-6 1 97-16,-2-7 64 0</inkml:trace>
  <inkml:trace contextRef="#ctx0" brushRef="#br0" timeOffset="-174926.49">24399 3488 1121 0,'3'-4'327'0,"-3"4"-61"0,0-5-125 0,0 1-276 16,0 4-549-16,0 0 98 15</inkml:trace>
</inkml:ink>
</file>

<file path=ppt/ink/ink8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51:49.979"/>
    </inkml:context>
    <inkml:brush xml:id="br0">
      <inkml:brushProperty name="width" value="0.05292" units="cm"/>
      <inkml:brushProperty name="height" value="0.05292" units="cm"/>
      <inkml:brushProperty name="color" value="#0070C0"/>
    </inkml:brush>
  </inkml:definitions>
  <inkml:trace contextRef="#ctx0" brushRef="#br0">4901 3602 975 0,'0'0'353'0,"0"0"-25"16,0 0-37-16,20-5-19 0,-5 4-29 15,9-2-20-15,4-1-88 0,18-1-17 0,5-1-16 0,6 2 8 16,9-1-22-16,3-2 29 0,-12 2-50 15,12-1-24-15,-12 2-4 16,-1 1-21-16,13-3-36 0,-15 0-46 0,2 2-95 0,-6 1-64 16,-2-6-48-16,-9 9-489 0,-6-2 79 15,-7 1 5-15,-6-3 123 0</inkml:trace>
  <inkml:trace contextRef="#ctx0" brushRef="#br0" timeOffset="224.65">5057 3709 1118 0,'0'0'338'0,"0"0"-26"0,0 0-110 0,26-1-12 0,-5 0-21 0,4-1-13 15,21-1-23-15,5-2-13 0,0 2-17 16,4-2-34-16,-2 0-13 0,1 2-58 0,0-2-44 15,0 0-70-15,0 2-70 16,-3-2-68-16,-2 1-94 0,-3 1-361 0,-6 0 69 0,-9 0 51 16</inkml:trace>
  <inkml:trace contextRef="#ctx0" brushRef="#br0" timeOffset="2299.19">10649 3621 918 0,'0'0'282'0,"23"-1"-23"0,-8 0-29 0,9-2-28 0,7 2 54 16,17-2-33-16,4-3-93 0,6 2 16 15,14-1-23-15,2-2-5 0,1 5-16 0,1-5-7 16,1 4-23-16,-2-4 10 0,2 1-34 16,0 3 1-16,-3 0-1 15,1-2-12-15,-4 1-18 0,-12 1-18 0,-3 1-36 0,-2-2-53 0,-5 3-44 16,-3 0-44-16,-8 0-61 16,-11 1-136-16,-5-1-348 0,-3 1 29 0,-5 1 99 0</inkml:trace>
  <inkml:trace contextRef="#ctx0" brushRef="#br0" timeOffset="2585.19">10511 3757 849 0,'30'-1'292'0,"16"-2"-21"0,11 1-22 15,17-1-29-15,8 2 33 0,8-2-20 16,5-1-15-16,2 2-42 0,-2-3 6 0,0 3-26 16,-3-3-33-16,-2 0 3 0,-6 2-32 0,-4 0-7 15,-5-2-38-15,-14 3-8 16,-8-2-26-16,-1 1-30 0,-6-1-6 0,-10 3-9 0,-10-1 9 16,-3-1-12-16,-5 2-5 0,-1 0-14 0,-4 0-12 15,-2-2 3-15,-1 1-13 0,-2 1-1 16,0 0-60-16,-1 1-90 15,-7 0-111-15,0-6-391 0,0 6 41 0,0-4 105 0</inkml:trace>
  <inkml:trace contextRef="#ctx0" brushRef="#br0" timeOffset="3067.56">10457 2913 941 0,'0'0'367'0,"0"0"-55"16,23 0-23-16,-6 0-30 0,7 0-24 0,9-2-12 16,13 0-36-16,8 1-24 0,3-3-1 0,1 1-19 15,15-1-18-15,-2 1-4 16,3-1-62-16,-2-1-36 0,-3 2-21 0,-10-2-43 16,-4 3-53-16,0 0-47 0,-4 2-77 0,-6-2-94 0,-10 2-436 15,-6 0 60-15,-7 0 43 16,-8 1 43-16</inkml:trace>
  <inkml:trace contextRef="#ctx0" brushRef="#br0" timeOffset="3309.22">10326 3102 1018 0,'0'0'338'0,"0"0"-56"0,30-2-6 16,-6-1-15-16,22-3-25 15,8 3-29-15,15-2-30 0,5-1-6 0,3-2-15 16,8 2-43-16,-1 0-6 16,3-1 1-16,1 1-21 0,-4 2-8 0,-1-2-30 0,-7 1-18 15,-1-1-24-15,-16 3-48 0,-3-1-51 0,-5 1-18 16,-5-2-23-16,-12 4-28 16,-4 0-21-16,-9-2-30 15,-5 3 27-15,-1-1-22 0,-2 1 20 0,-6-1-107 0,1 1-395 0,-3-1 83 0,-5 1 14 16</inkml:trace>
  <inkml:trace contextRef="#ctx0" brushRef="#br0" timeOffset="4192.8">4918 2947 944 0,'0'0'371'0,"24"0"-28"0,-4-1-43 0,9 1-103 16,17-5-16-16,8 2-19 0,17-3-11 0,3 1-8 15,1-1-28 1,-1 1 3-16,3-3-41 0,0 0-26 0,5 2-7 0,-2-1-11 0,-1-1-56 16,-4 2-31-16,2-1-61 0,-6 3-57 0,-12 0-78 15,-10 2-65-15,2-1-425 0,-15 3 59 16,-6 0 105-16</inkml:trace>
  <inkml:trace contextRef="#ctx0" brushRef="#br0" timeOffset="4437.05">4878 3115 1121 0,'23'0'345'15,"-6"-3"-53"-15,14 0-16 0,18-4-104 0,15 1-16 16,8-3-33-16,2-1 5 0,1-1-8 16,2 2-28-16,-1-1-69 15,4 0-17-15,-1 2-42 0,-2-2-10 0,-3 1-64 0,-4 2-11 16,-1 0-66-16,-18 2-15 0,-4-3-26 0,-2 4-424 16,-11 1 9-16,-9 1 85 0</inkml:trace>
  <inkml:trace contextRef="#ctx0" brushRef="#br0" timeOffset="9434.78">2770 4416 921 0,'0'0'407'0,"0"0"-44"0,0 0-27 15,23-3-16-15,-4-1-39 0,11 1-30 0,1 0-13 16,15-5-15-16,8 3-34 0,2-1-17 16,13-2-13-16,6 1-21 0,-1-3-3 0,-5 3-30 15,2-1 8-15,-1 2-18 0,-1 1-31 16,-1-2-28-16,-12 2-19 0,-3 2-40 16,-4-2-23-16,-3 1-48 0,-8 2-14 0,-9-3-84 0,-8 5-110 15,-9-2-95 1,4 2-437-16,-6-1 58 0,-5-1 80 0,-5 2 74 0</inkml:trace>
  <inkml:trace contextRef="#ctx0" brushRef="#br0" timeOffset="9664.1">2914 4457 1121 0,'0'0'373'15,"0"0"-25"1,22 2-10-16,-6 0-30 0,7-1-101 0,3-1-23 0,7 0-23 0,14 0 3 0,1-1-31 15,6 2-10-15,-2-2 8 16,1 1-37-16,-2-2-7 0,-3 2-28 0,-1-1-36 16,-11 1-10-16,-5-1-54 0,-5 1-61 0,-1 0-82 15,-7-1-85-15,-5 1-61 16,-2 0-466-16,-2 1 61 0,-4-1 103 0,-5 0 69 16</inkml:trace>
  <inkml:trace contextRef="#ctx0" brushRef="#br0" timeOffset="9858.25">3119 4538 1128 0,'15'2'377'0,"-5"-2"-42"15,3-2-33-15,3 1-3 0,2-2-40 0,5 1-29 16,5-3 6-16,3 2-49 0,12-4-23 0,1-1 10 16,-3 1-34-16,-3-1-40 0,-7 2-3 15,-3-1-58-15,-2 1-37 0,-6 2-78 0,-2-2-109 16,-5 2-130-16,0 0-537 0,0-2 84 15,-6 4 49-15,-3-3 161 0,-2 0-5 0</inkml:trace>
  <inkml:trace contextRef="#ctx0" brushRef="#br0" timeOffset="10339.77">3060 3947 1261 0,'0'0'425'0,"-8"15"-41"0,6-8-36 0,-1 5-20 0,0 1-26 16,1 0-56-16,-3 2-3 0,3 1-23 15,-1 2-41-15,3-3-23 0,-5 2-12 0,4-2-29 16,1 0-2-16,-2-2-14 0,2 0-29 0,0-5-4 16,2 2-12-16,-2-2 5 15,0 0 15-15,0 1-20 0,0-6-6 0,1 1 6 0,-1-4 2 16,5 1 16-16,-5-1-62 0,0 0 11 0,10-11 25 16,-5 2-23-16,0-7 8 0,3 1 4 0,-1-8 9 15,1-1 51 1,5-7 28-16,0-2-31 0,2 2 8 0,-2 6-77 0,-5 5 5 0,5 1 2 15,-6 5 4-15,3 0 2 0,-2 4-6 0,0 4 11 16,0 1-8-16,2 5 16 0,-3 0 10 16,1 5-23-16,2 2-5 0,-2 4-1 15,-3 2 11 1,3 2-13-16,-2 2-2 0,1 1-8 0,-2 1-31 0,-2-1-30 0,2 1-9 0,-1 0-35 16,0-3-36-16,-2 2-25 0,0-1-23 0,0-2-34 15,-1 0-59-15,2-2-143 16,-6 0-61-16,3-2-477 15,3-3 85-15,-3 3 87 0,-3-4 74 0,1 0 59 0</inkml:trace>
  <inkml:trace contextRef="#ctx0" brushRef="#br0" timeOffset="10508.7">3091 4128 1228 0,'0'0'446'16,"0"0"-16"-16,0 0-36 0,0 0-113 0,7-5-32 15,-1 4-4-15,1 0-27 0,1 0-24 16,0 0-30-16,2-3-49 0,5 2-35 0,-2-2-52 16,-1 1-46-16,4-3-54 0,-1 1-120 0,1-3-189 15,-1 2-451-15,3-4 82 16,-2 2 41-16,-3-3 90 0</inkml:trace>
  <inkml:trace contextRef="#ctx0" brushRef="#br0" timeOffset="10702.8">3422 3812 842 0,'-3'-6'460'0,"3"3"-32"0,0 3-29 0,0 0-15 16,0 0-82-16,0 0-36 0,-11 13-25 16,9-4 7-16,-1-1-17 0,-2 4-47 15,2 1 23-15,1 0-35 0,0 4 4 0,-1-2-17 0,0 4-26 16,3-1-30-16,-2 1-50 0,0 0-17 0,-1-3-54 16,2 2-33-16,1-2-46 15,-2 0-54-15,2-3-110 0,0 1-451 0,0-1-148 0,0-1 61 16,2-1 95-16,-1 0 82 0,2-4 29 0</inkml:trace>
  <inkml:trace contextRef="#ctx0" brushRef="#br0" timeOffset="11007.31">3529 4087 1034 0,'10'-10'394'0,"-4"2"61"0,1 1-40 0,-2-3-41 0,0 1-26 0,0 0-23 0,1 0-23 16,-2-1-82-16,0 4-28 0,-2-3 5 16,0 3-10-16,-1-3 0 0,1 5-23 15,-2-2 5-15,0 1-26 0,0 5-12 0,-3-5-11 16,3 5-7-16,0 0-24 0,0 0 11 0,-12 12-13 16,9-6 3-16,-2 2-26 0,0 2 7 15,0-1-14-15,2 2-14 0,-2 0-2 0,2 1-33 16,1-3-24-16,2 2-27 0,-3-3-31 0,6 2-39 15,-1-2-41-15,1-1-9 0,2 0-52 0,0 1-34 16,3-4-101-16,-3 0-52 0,6-1-131 16,-1-1-324-16,0-2 56 0,3-2 84 15,-1-1 44-15,4-3 81 0</inkml:trace>
  <inkml:trace contextRef="#ctx0" brushRef="#br0" timeOffset="11311.93">3834 3969 811 0,'2'-5'430'0,"1"4"-13"16,-3 1-25-16,0 0-34 0,0 0-74 0,0 0-12 15,0 0-16-15,-10 18-16 0,3-9-12 0,-1 1-10 16,0 3-47-16,0 2-12 0,1-2-6 0,-6 5-17 16,2 0-46-16,-3-1-42 0,3 2-58 0,-2-6-51 15,3 1-60-15,2-2-37 0,-2 1-55 16,3-3-58-16,0-2 25 0,3-3-12 16,2-2 45-16,-1-1 49 0,3-2 57 0,0 0 76 15,0 0 46-15,0 0 42 0,0 0 30 0,0 0 33 0,5-15 26 16,-3 12 2-1,0-1 26-15,2 2-7 0,1 1 4 0,-5 1-25 0,10-3 18 16,-2 3-36-16,0 0 5 0,2 4-13 0,0-2-12 16,2 2-13-16,4-1-21 0,-3 0-20 15,2 0-29 1,1 1-63-16,4-2-49 0,-2 2-44 0,0 0-104 0,3-1-172 0,-1-1-487 0,1 1 73 16,-6-1 112-16,3 0 18 0,-5 0 79 0</inkml:trace>
  <inkml:trace contextRef="#ctx0" brushRef="#br0" timeOffset="11905.34">2860 4620 1218 0,'17'-5'317'0,"7"-2"-27"16,2 1-37-16,14-2 49 0,7-1-49 0,2 0-4 15,4 1-39-15,14-1-13 0,-3 0 5 16,-10 3-59-16,2-1-30 0,-2 2-21 0,0-2-23 16,-1 1-41-16,-1 0-20 15,0-1-64-15,-4 1-47 0,-2 1-96 0,-5-1-75 0,-7 1-353 0,-6 2-152 16,-5 0 76-16,-3 0 93 16,-5 0 50-16</inkml:trace>
  <inkml:trace contextRef="#ctx0" brushRef="#br0" timeOffset="12123.8">3186 4600 898 0,'0'4'292'0,"7"0"-16"0,1-3-25 0,5 2-33 15,5-3-19-15,4 0-17 0,5 0-21 0,8-1-5 16,9-3-17-16,4 1-27 0,-1-1-7 0,2-2-10 15,1 1-36-15,0-1-8 0,-1 0-43 16,1-1-42-16,-4 1-4 0,0-2-72 0,-5 2-59 16,-10 2-61-16,-7 2-341 15,-4-2-151-15,-5 4 100 0,-5-3 23 0</inkml:trace>
  <inkml:trace contextRef="#ctx0" brushRef="#br0" timeOffset="12314.27">3498 4574 737 0,'20'0'89'0,"-4"-5"-127"0,2 2-530 16</inkml:trace>
  <inkml:trace contextRef="#ctx0" brushRef="#br0" timeOffset="14242.11">3686 4127 1105 0,'-3'-2'297'0,"3"2"-33"0,0 0-29 0,0 0-20 16,0 0-7-16,0 0-39 0,0 0-13 0,0 0-15 15,8 7-11-15,-8-7-22 0,10 6-37 16,-7-4-35-16,4 2-36 0,0-1-74 16,1 1-108-16,-5 2-110 0,7-1-465 0,3 2 58 15,-5-1 97-15</inkml:trace>
</inkml:ink>
</file>

<file path=ppt/ink/ink8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5:54:05.21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5301 5753 1164 0,'2'-2'379'15,"-2"2"-13"-15,0 0-23 0,0 0-31 0,0 0-38 16,0 0-13-16,0 0-23 0,0 13 59 16,1-7-43-16,0 4-3 15,0-1-16-15,1 2-28 0,-2 1-12 0,3-3-34 0,-1 4-7 16,1-2-24-16,-1 2-4 0,2-2-21 0,0 0-11 15,-1-1-2-15,0 1-81 0,-1-3-6 0,3 0-8 16,-2-1 29-16,0-2-21 0,1 0 5 16,-1 0-15-16,0-1 13 0,2-3-13 15,0-1 5-15,-5 0 7 0,10-1-14 0,-5-4-4 0,0 1 14 16,3 0-8-16,-3-1 13 0,2 0-16 16,1 2 5-16,0-1-12 0,0 0 2 0,-3 3-10 15,3 1 21 1,-1 0-14-16,1 1-2 0,2 3 13 0,-2-3 3 0,0 3-9 0,2-2 1 15,-2 3 2-15,-1-3 14 0,1 1 1 0,0-2 3 16,0 1 29-16,-3-2-16 0,2 0 20 16,1-2-4-16,-3-2 7 15,3 2 10-15,-3-3-7 0,0-2 5 0,0 0-3 0,0-3-10 0,1 0 25 16,-4-1-7-16,0-1-20 0,1 0 9 0,0-1-15 16,-1-1 16-16,-4-2-23 0,2 4-6 15,0-1-7-15,-3 0-13 0,1 0-15 0,1 5-29 16,-1-4-51-16,2 5-74 15,-2-2-35-15,2 6-42 0,-4-2-48 0,4 5-75 0,0 0-169 0,0 0-380 16,0 0 63-16,-2 6 82 16,2-6 66-16,2 11 90 0</inkml:trace>
  <inkml:trace contextRef="#ctx0" brushRef="#br0" timeOffset="451.09">6759 5547 1000 0,'0'0'374'0,"6"-8"-36"0,-1 7-21 0,-3-2-50 0,3-1-35 16,-2 3-52-16,4-4-50 0,-1 1-86 16,-1 2-83-1,0-1-145-15,3 2-586 0,-5-1 104 0,-3 2 18 0,0 0 90 0</inkml:trace>
  <inkml:trace contextRef="#ctx0" brushRef="#br0" timeOffset="605.99">6793 5657 852 0,'0'0'328'0,"5"1"-39"0,-5-1-10 0,0 0-36 15,15 0 51-15,-10-1-22 0,3-1-60 16,0-1-51-16,0 1-61 0,4-1-100 0,1 0-128 0,0 2-343 15,3-3-289-15,1 3 74 0,2-4 110 16</inkml:trace>
  <inkml:trace contextRef="#ctx0" brushRef="#br0" timeOffset="1086.4">7983 5374 1351 0,'14'-5'461'0,"2"1"-62"16,-5 1-5-16,1 2-30 0,1 2-37 0,0-1-40 16,-3 1 5-16,1 4-49 0,-1-2-41 15,0 6-5-15,-2-1 3 0,-5-1-16 0,-1 6-22 16,-2 0-14-16,-2 2-25 0,-4 1 5 0,-4 6-26 16,-1-2-10-16,-9 6 3 0,2-1-21 0,1-6-2 15,3-2-13-15,1-4 7 0,1-1-17 16,4-3-5-16,0 0-6 15,3-2 0-15,-2 0-9 0,4-2-1 0,-2-2 8 0,2 2-6 0,3-1 4 16,0-4-1-16,0 0 15 0,8 3-17 16,-3-3 0-16,-5 0 2 0,18-2-7 15,-8-2-6-15,3 2-4 0,3-2-14 0,-1 1-25 16,0-2-31-16,4-2-20 0,-2 1-31 16,1 0-23-16,0 1-43 0,0 0-34 15,-3 2-54-15,1 0-81 0,-4 0-210 0,-1 3-446 16,2-4 172-16,-1 3 28 0,-1 0 64 0,-1 1 40 0,0 0 86 15</inkml:trace>
  <inkml:trace contextRef="#ctx0" brushRef="#br0" timeOffset="1332.31">8623 5497 1425 0,'11'3'517'0,"-6"-2"-18"0,2 4-107 16,1-2-36-16,-3 3-8 0,3 4-49 0,0-1-22 16,-3 2-36-16,-2 5-1 0,-3 0-43 0,0 7-28 15,-3-4-23-15,-2 6-36 0,-6 6-84 16,3-4-80-16,-2 5-79 0,-2-1-59 0,1-9-200 16,4-1-568-16,-3-1 100 0,1 2 80 15,-1-8 99-15,3 4 46 0,0-6 95 0</inkml:trace>
  <inkml:trace contextRef="#ctx0" brushRef="#br0" timeOffset="1721.39">9883 5125 1351 0,'0'0'435'0,"4"12"-23"15,-4-4-25-15,0 2-113 0,0 3-29 0,-2 2-9 0,2 3-29 16,-3 2-20-16,-2 4-10 0,0 0-34 16,-2-2 16-16,4 2-42 0,-3-1-45 15,2-3-49-15,-4 2-41 0,2-5-30 0,4 0-73 16,-3-4-106-16,2 0-293 0,3-3-353 0,-2 0 108 15,2-3 63-15,2-2 93 0</inkml:trace>
  <inkml:trace contextRef="#ctx0" brushRef="#br0" timeOffset="2036.48">10264 5124 1328 0,'0'0'404'16,"-10"9"-9"-16,5-1-40 0,-3 1 6 16,-5 4-46-16,3-1-59 0,-1 1 13 0,-1-1-21 15,0 4-28-15,1 0-17 0,1-3-4 0,2 3-50 16,0-3 9-16,1-1-7 0,4-2-30 0,-2 2-11 16,2-2-18-16,1-2-5 0,2 0-13 15,0 1-18-15,0-2 6 0,2-1-6 0,1 0-23 16,2 0-33-16,1-3 0 0,1 1-33 15,0-3-18-15,-1 0-16 0,1 0-20 0,4-3-46 0,-1 2-5 16,-3-1-56-16,3-3-19 16,-1 2-107-16,1-6-133 0,-2 4-425 15,0-2 64-15,-1 1 67 0,-2 0 94 0,0 0 54 0</inkml:trace>
  <inkml:trace contextRef="#ctx0" brushRef="#br0" timeOffset="2209.37">10285 5150 1080 0,'0'0'491'0,"0"0"-7"16,-5 6-28-16,2 1-83 0,3 0-48 16,0 4-23-16,0 2 0 0,0 1-10 0,0 4 49 15,3 1-34 1,-3 4-54-16,0-3-97 0,0 2-12 0,0-1-29 0,0 4-25 0,0-4-57 16,0 2-61-16,0-2-49 0,0-1-59 0,0 1-66 15,0-6-138-15,-5 2-114 0,7-3-485 0,1-2 97 16,-1-1 74-16,-1-3 108 0,1-3 38 15</inkml:trace>
  <inkml:trace contextRef="#ctx0" brushRef="#br0" timeOffset="2409.67">10487 5286 1579 0,'10'1'463'0,"-10"-1"-28"0,10 6-20 16,-4 1-34-16,-3-1-56 0,4 3 62 0,-4 3-31 15,2 2-41-15,-2 2-16 0,-1 2-46 0,0 0-38 16,1 1-46-16,-3 0-74 0,0 0-95 16,-3 0-72-16,3-2-61 0,0-2-77 0,-7 3-271 15,10-4-504-15,-1-2 84 0,3 1 105 0,-2-7 84 16,2 1 41-16,-2-3 65 0</inkml:trace>
  <inkml:trace contextRef="#ctx0" brushRef="#br0" timeOffset="2922.6">11457 5017 1241 0,'9'2'522'16,"-1"4"-107"-16,3 0-41 0,-1 1 7 16,0 2-25-16,0 2-39 0,-1 1-35 0,0 0-26 15,-6 1 61-15,2 0-33 0,-4 0-30 16,1 0-11-16,-2 3-46 0,-3-3-13 0,0-1-2 15,1 1-34-15,0-5-22 0,-1 3-11 0,0-5-41 16,1 2 8-16,-1-4-49 0,1 2-12 0,-1-4-26 16,1 0 5-16,2-2-8 0,0 0 3 15,0 0 2-15,-1-10-12 0,4 0 10 0,0 2 2 16,-1-5-9-16,3-4 1 0,1 3 19 16,-2-5-13-16,4 0 2 0,-2-4 14 0,-2 2 14 15,-1 1 16-15,2 1 5 0,-3 1 21 16,-1 0 4-16,1 2-4 0,-2 1 12 0,-2 3 26 0,1 0-25 15,-3 0 4 1,-1 4-102-16,0 2 8 0,-1 0-8 0,1 2 0 0,-3 0-25 0,1 1-50 16,-1 3-42-16,8 0-42 15,-15 4-76-15,9-1-70 0,-1 3-235 0,2-1-502 0,2 2 98 16,-2 0 110-16,2 0 99 0,3-2 57 0,-2 1 51 16</inkml:trace>
  <inkml:trace contextRef="#ctx0" brushRef="#br0" timeOffset="3119.32">11831 5009 1584 0,'7'10'458'0,"-1"2"-28"16,-2-2-33-16,-3 4-59 16,2-1-3-16,-1 1-30 0,-4 4 15 0,2 1-16 0,-6 6-55 15,2-1-52-15,-2 2-100 0,-2-2-92 0,3-2-72 16,-3 2-155-16,3-1-623 0,0-3-61 0,3-1 125 15,-1-6 65-15,3 0 42 0,0-3 81 16</inkml:trace>
  <inkml:trace contextRef="#ctx0" brushRef="#br0" timeOffset="3668.13">12985 4737 1359 0,'7'1'445'16,"1"-1"-35"-16,-3 0 25 0,0 1-13 15,2 2-25-15,-1 1-46 0,-1 1-11 0,0 1-17 16,-2 0-32-16,-1 2-35 0,1-1-94 0,-3 3-14 0,3-3-10 15,-3 4-12-15,2-4-21 16,0-1-21-16,1 1-10 0,0 0-17 0,-1 0 7 0,4-2-23 16,-2 0-8-16,4 1 15 0,-3 1 6 15,3-2-8-15,0-3 0 0,0 5 8 0,-1-3 38 16,1 3-28-16,2-3-13 0,-5 0 49 16,0 2-33-16,1 0 45 0,-4 1 52 0,0-1-10 15,-2-1-21-15,0 3 18 0,-4-2-36 0,1 3-7 16,-2-2-16-1,-3 0-33-15,3-1-36 0,-3-1-39 0,-2-2-53 0,2 3-77 0,3-2-66 0,-3-1-57 16,1 0-94-16,2-1-177 0,-1-1-597 16,2 3 108-16,-2-4 108 0,6 0 96 15,0 0 111-15,0 0 36 0,-12-4 82 0</inkml:trace>
  <inkml:trace contextRef="#ctx0" brushRef="#br0" timeOffset="3931.41">13462 4709 1333 0,'12'3'481'15,"1"-2"29"-15,-5 4-14 0,0-1-112 16,-4 2-33-16,-3 4-13 0,-1-2-39 0,-1 5-12 16,-1 0-46-16,-3 4-1 0,0 0-12 0,-3-2-13 15,3 1-44-15,2-3-17 0,1 0-23 0,0-6-29 16,4 4-18-16,0-5-9 0,4-2-22 15,4-1-4-15,0-3-21 0,6 0-30 16,4-6-32-16,1 1-30 0,4-2-35 0,3 0-42 16,9-4-26-16,-5 3-27 0,-6 1-42 0,0 0-104 15,0 2-269-15,-4-1-336 0,-3 0 124 16,-1 4 63-16,-5-1 67 0,1 2 69 16</inkml:trace>
  <inkml:trace contextRef="#ctx0" brushRef="#br0" timeOffset="12287.84">3462 7454 1185 0,'0'0'350'16,"0"0"-30"-16,0 0-36 0,0 0-15 0,0 0-115 0,0 10 12 15,0-5-15-15,-2 2-20 0,4-2-21 16,-1 2 15-16,-1 3-20 0,0-2-18 0,2 3-2 15,-2-3-3-15,0 5-11 0,2 0 67 0,1-1-30 16,-3 1-3-16,3-1 0 0,-1 0-16 16,0 1-25-16,-2 0 8 0,4-1-16 0,-2-2-12 15,1-1-11-15,-2 1 6 0,3-2-19 0,-2-1-5 16,1-1-15-16,-1-1 8 0,3-2-5 0,-4 0 9 16,1-1 9-16,-2-2-8 15,8 1-3-15,-8-1 3 0,0 0-3 0,10-8 10 16,-8 4-4-16,4-3-8 0,-4 1 22 0,1-2-20 0,2 2-12 15,-2-5 15-15,2 4-6 16,-2-1 4-16,1 0 1 0,-1 0 6 0,0 1-2 0,-1 1 2 16,3 0-8-16,-2 3 8 0,-3-2-8 15,4 0 5-15,-3 4-4 0,-1 1-1 0,7-2 0 16,-7 2-2-16,8 1 2 0,-8-1 16 16,8 6-8-16,-6-3-1 0,3 3-14 15,-1-1-6-15,0 1 11 0,-2 0 0 0,4 1-8 0,-1-1 7 16,0-1-14-16,-2 0-9 0,4 1 6 15,-1-3-10-15,-1 1 15 0,0-2-6 16,2 2 19-16,-1-2 7 0,-2-1-79 0,-4-1-7 16,10-1 27-16,-10 1-12 0,11-2 10 0,-3-2 33 15,-3 2-7-15,-2-3 25 0,1 0 7 16,2-2 1-16,-4 1 18 0,4 0 18 16,-4-1-6-16,0-1 1 0,1-1 4 0,-3 0 14 0,5-3-21 15,-5 4-3-15,1-2 6 16,-1-2-9-16,0 5 12 0,1-4-17 0,-1 3 21 0,-1 2-22 15,0-1-6-15,1 1 18 0,0 1-44 0,-2-1 0 16,2 2-22-16,0 1-21 0,-3-3-46 16,3 6-31-16,0-6-36 0,0 6-56 0,3-2-169 15,-3 2-535-15,0 0 54 0,0 0 133 0,0 0 46 16,11 8 100-16</inkml:trace>
  <inkml:trace contextRef="#ctx0" brushRef="#br0" timeOffset="13368.59">6034 7324 972 0,'0'0'292'15,"0"0"-13"-15,-13 7-33 0,8-2-3 0,2 0-26 16,-6 4-14-16,0 1-16 0,-1 1-6 16,-2 1 55-16,-1 4-34 0,-3-2-13 0,1 3-15 15,2-2-20-15,-2 3 5 0,1-4-29 16,0 2-20-16,3-1-89 0,1-3-24 16,0 0-2-16,0 2-18 0,2-4-10 0,0 0-16 0,3 0-22 15,-3-1-11-15,0 0-18 0,4-3-54 0,-2 1-71 16,1-1-82-16,2-1-505 15,-2-1 73-15,3 0 76 0,-1-1 43 0</inkml:trace>
  <inkml:trace contextRef="#ctx0" brushRef="#br0" timeOffset="13868.33">5721 7456 1072 0,'0'0'399'16,"0"0"-17"-16,0 0-52 0,21 7 3 0,-14-5-36 15,4 2-26-15,-1 3 0 0,5-1-35 16,1 3-19-16,-1 0-14 0,1-2-17 0,4 5-22 0,-2-2-18 15,3-1-26-15,-1 4 21 16,1-3-33-16,-1-1-6 0,0 2-10 0,1-3-15 0,-1 3-69 16,-5-4-6-16,3 3-4 0,-4-1 17 15,1-3-23-15,-3 0 11 0,-1 1-6 0,2-2 6 0,-3 0 15 16,-3-2-8-16,1 2 3 16,0-1 10-16,-3-2-15 0,1 0 12 0,1 1-15 0,-4-2 36 15,2 3-28-15,0-2 15 0,-3-1 8 16,-2-1-18-16,8 4 2 0,-5-2 19 15,-3-2-24-15,5 1 13 0,-3 2 0 0,-2-3-7 16,6 2 63-16,-6-2-15 0,0 0 1 0,0 0-12 16,4 0 4-16,-4 0-6 0,0 0-2 0,0 0-5 15,0 0-14-15,8 0 6 0,-8 0-7 16,0 0 7-16,0 0-18 0,0 0-13 31,0 0-2-31,0 0-21 0,0 0 3 0,0 0-26 0,0 0-3 0,0 0-22 0,0 0-34 0,0 0-33 16,0 0-25-16,0 0 4 0,0 0-58 0,0 0-126 15,-2-5-153-15,2 5-456 0,0 0 87 16,0 0 77-16,0 0 71 0,0 0 75 0,0 0 46 16</inkml:trace>
  <inkml:trace contextRef="#ctx0" brushRef="#br0" timeOffset="15876.63">3475 8532 1264 0,'8'-2'358'0,"0"1"-20"0,-1-1-28 0,1 1-13 0,0 1-41 15,-1 1 71-15,1 3-22 0,-1-3-8 0,1 5-26 16,-2 1-28-16,-1-1 16 0,0 0-44 16,-3 4-95-16,1-2-7 0,-3 5-6 15,0 0-19-15,-3-1-1 0,-2 6-11 0,0-4 4 0,-3 4-21 16,1-3-3-16,-1 0-13 0,-2-1 11 16,2 1-8-16,0-3-13 0,0-2 8 15,1 0-10-15,2-1-3 0,0-4 0 16,2 2-4-16,-2-1-4 0,2-2-10 0,1-1 13 0,0 3 3 15,1-5-6-15,-1 4-2 0,2-5 16 16,0 0-17-16,10 2-4 0,-10-2 0 0,13-2 8 16,-5 2-19-16,2-2 13 0,0-1-2 15,3 1-5-15,-1-2 7 0,2 1-4 0,1-2-1 0,-2 3 10 16,2-2 52-16,-2-2 7 16,2 3-22-16,-2 0-22 0,-2 0-14 15,1 0-44-15,-4 0-31 0,2 0-20 0,-2 3-36 0,0-2-21 0,-4 2-15 16,2-1-25-16,-6 1-70 15,7 1-112-15,-4 1-517 0,0 2-70 0,-3 1 88 16,0-2 74-16,-2 4 66 0,-2 3 95 0</inkml:trace>
  <inkml:trace contextRef="#ctx0" brushRef="#br0" timeOffset="16681.66">3354 9456 988 0,'0'0'401'16,"0"0"-93"-16,-4 12-22 0,1-7-7 0,3 3-36 15,-2 2-2-15,2-1-23 0,-1 7-29 16,1-3-7-16,0 1-24 0,-2-1-9 0,2 3-8 15,0-1-24-15,-3 2-12 0,3-2-35 0,-2 4-6 16,0-1-44-16,1 1-46 16,1-3-20-16,-2-1-43 0,-1-2-62 0,3 3-80 0,-2-7-89 15,2 4-440-15,0-2-5 0,2-4 94 16,1 0 36-16</inkml:trace>
  <inkml:trace contextRef="#ctx0" brushRef="#br0" timeOffset="17024.87">3714 9561 962 0,'0'0'376'0,"0"0"-25"0,0 0-8 15,-6 12-33-15,1-6-34 0,-3 2 1 16,0 0-24-16,-2 3-36 0,-2 2-4 0,-3 0-19 15,-1 4-14-15,0-4 40 0,1 4-23 0,-2-2 5 16,1-3-20-16,6 1-21 0,0-3-25 16,-1-2 12-16,4 0-25 0,-1-2-10 0,2-1-16 15,2 1-18-15,1 1 3 0,0-4 5 0,3 0-15 16,0 2 7-16,3-3-2 0,2 2-33 16,0-2 14-16,0-1-9 0,5 2 0 0,-1-2-13 15,3 0 5-15,-2-1-3 0,4 0-102 0,0-2 10 16,2 1-2-16,-1-2-34 15,1 3-30-15,-1-3 7 0,3-1-43 0,-5 1-18 0,3 0-20 16,-4 0-16-16,1 0-23 0,-3 1-118 0,-2-3-138 16,0 5-437-1,0-2 109-15,-1-1 75 0,-4 2 99 0,1 1 57 0</inkml:trace>
  <inkml:trace contextRef="#ctx0" brushRef="#br0" timeOffset="17245.25">3701 9625 1328 0,'0'0'407'0,"-6"10"54"0,4-7-41 0,0 3-37 0,-2 3-32 16,2 0-16-16,0 1-107 0,0-1-26 0,2 4-7 16,-3-1-18-16,2 5-8 0,-1-2-24 15,0 3-34-15,-1 1-17 0,3-5-43 0,-3 4-25 16,1 1-34-16,-1-2-35 0,1-4-47 0,2 4-33 15,0-3-33-15,-3 0-66 0,3-3-157 16,-2 2-509-16,2-3 99 0,0-1 34 0,0 1 84 16,2-2 52-16</inkml:trace>
  <inkml:trace contextRef="#ctx0" brushRef="#br0" timeOffset="18406.18">3470 10514 601 0,'0'0'212'0,"0"0"3"0,0 0-40 0,0 0-12 15,0 0 1-15,0 0-18 0,0 0-10 0,0 0-11 16,-13 4 8-16,13-4-7 0,0 0 94 15,-4 1-26-15,4-1-22 0,-3 3-11 0,3-3-10 16,-6 3 0-16,6-3-25 0,-7 3 2 0,4-1-11 16,3-2-9-16,-5 1-11 0,0 3 6 15,3-2-16-15,2-2 0 0,-6 4 2 16,4-1-33-16,-1 0 19 0,0 0-14 0,1 0-5 16,0 1 3-16,1 1-15 0,1-1 7 0,1 2-15 15,1 1 25-15,3 1-27 0,0 1-6 16,1 1 20-16,1 3 1 0,3 0 7 15,-2-1-17-15,2 4-14 0,0-1 1 0,0-2 15 16,-2 2-10-16,1 0-65 16,0-2 4-16,-4 2 7 0,-1-5-11 0,0 4 16 0,-2-2 11 15,-2 0 7-15,0-2-11 0,-2 2 6 0,2-3 3 0,-5 1-8 16,0 0 10-16,2-2 5 16,-4 1 0-16,2-3-8 0,-1-1-2 0,2 1 3 15,-2-3 2-15,1 0 12 0,0-1-35 0,0-2 34 16,0 3-22-16,5-3 11 0,0 0-5 0,0 0 3 15,-8-6 7-15,8 1-18 0,0 5 5 16,5-11 16-16,0 4-13 16,0-5 0-16,0 1 10 0,3-2 2 15,0 0-12-15,0-2 13 0,-1 0-3 0,1-1 11 0,0 0-14 16,0-2 1-16,-1 2 15 0,-2 0-1 0,0 1 27 0,0-2-8 16,-2 3-13-16,-3 1 84 0,0-2 29 0,0 2-34 15,0 1 16-15,-3 2-18 16,-2-2-8-16,0 2-77 0,-3 0 9 0,0 0-14 15,1 3 0-15,-3 0-5 0,0 1-23 16,-3 2-10-16,5 1-41 0,-2 0-31 0,2 3-10 0,0 0-54 16,0 3-79-16,1 0-146 0,2 3-550 15,0 1 117-15,2 0 21 16,1 1 99-16,2 1 73 0,2 3 43 0</inkml:trace>
  <inkml:trace contextRef="#ctx0" brushRef="#br0" timeOffset="19358.5">3295 11505 1121 0,'0'0'389'0,"9"-1"-36"0,-2 1-31 0,-7 0-17 16,13 2-77-16,-8 2-34 0,1-1-22 0,1 2 22 0,-2 0-27 15,0 0-11-15,-2 2 13 0,-1 1-41 16,-2 0-5-16,0 1 7 0,-2 0-20 0,-1 3 0 16,-2-2 18-16,2-1-35 0,1 1 12 15,-1-2-39-15,0-2 3 0,2 1-12 0,0-3 9 0,-1 1-28 16,2-2-9-16,0-3 17 16,0 6-8-16,2-3-2 0,-2-3 10 0,8 3-26 15,-3-2-14-15,5-1 24 0,-2 5 4 0,2-4-11 16,0 0 18-16,-2 3 7 0,0-2 16 0,2 1 80 15,-2 0-1-15,-1 2 26 0,-1-3-5 16,-2 2-75-16,-3 3 8 0,1-2 16 0,-2 1-16 16,-3 2-10-16,-1 1 6 0,-4 1 12 15,-2 1-8-15,-1 2-10 0,-1 0-21 16,-6-1-25-16,2 1 13 0,3-2-33 0,-2-2-37 0,2 1-20 16,0-3-30-16,3 0-26 0,-2 2-31 15,1-2-33-15,3-4-41 0,0 3-36 0,1-3-31 16,2 0-30-16,-2 1-70 0,7-4-155 15,-6-1-434-15,6 1 111 0,0 0 59 0,0 0 79 16,0 0 51-16,0 0 57 0</inkml:trace>
  <inkml:trace contextRef="#ctx0" brushRef="#br0" timeOffset="19766.72">3581 11554 1300 0,'7'-1'461'0,"3"2"-26"0,-2 1-46 0,-2 0-72 0,0 1-22 0,0 2-9 16,-4 1-35-16,1 2 15 0,-3 0-12 31,3 3-34-31,-8 4-15 0,2 2-21 0,-3 6-18 0,-4-2-4 0,3 3-17 0,-3-4-11 0,-3 3-27 15,5-4-5-15,-2-2-20 0,2-2 16 0,0-2-11 16,3-3-5-16,0-1-18 0,0 0-13 0,2-3 5 16,1 1 0-16,0-3-15 0,4 0-2 15,0-1 4-15,4-2-15 0,-1 1 6 16,3-2 19-16,2 0-24 0,0-2-1 16,2 1-3-16,4-1-2 0,-3 0 0 0,0-1-5 0,4 0-33 15,-1-2-3-15,2 1-54 0,-2 1-2 16,-1-1-10-16,0 2-29 0,-2-3-10 15,0 3-33-15,-3-1-26 0,-2 2-7 0,2-1-21 0,-3 2-15 16,-1 0-26-16,-6 0-26 0,10 0-127 16,-7 2-479-16,2-1 100 0,-3 2 10 0,-2-3 105 15,5 4 115-15,-5-1 5 0</inkml:trace>
  <inkml:trace contextRef="#ctx0" brushRef="#br0" timeOffset="30629.59">6054 8304 1185 0,'0'0'458'0,"0"0"-31"16,0 0-33-16,-5 10-22 0,5 0-40 0,0-2-14 15,-2 5-52-15,1 0-18 0,1 3-40 16,-2-1-4-16,2 4-14 0,-2-2-16 0,2 0-51 16,0-2 5-16,0 1-16 0,-3-1-17 0,3-1-8 15,-2 1-33-15,1-3-29 0,1-2-17 16,-2 2-26-16,0-1-43 0,2-4-16 0,-3 4-61 15,0-3-29-15,1-2-73 0,0-1-149 16,1 1-551-16,-2-1 121 0,1-2 56 0,0 0 85 0,2-3 100 16</inkml:trace>
  <inkml:trace contextRef="#ctx0" brushRef="#br0" timeOffset="31402.26">5921 9248 911 0,'8'-4'409'0,"0"3"-61"0,2 0-17 16,0-1-19-16,3 1-23 0,0 2-2 15,-1 1-36-15,1 0 33 0,0 1-21 16,0 0-12-16,-3 3-13 0,-2 1-99 0,2-1-4 0,-5 5-9 16,-2 0-16-16,-3 2 13 0,0 1-24 0,-5 0-14 15,2 4 4-15,-5 2-27 16,-2 2-6-16,0-3 3 0,-3 0-8 0,3-1 8 15,0-4-13-15,2-1 21 0,-2-2-13 0,0-3-1 16,4 1-22-16,1 0 18 0,0-3-3 16,0 0-13-16,2-1 16 0,0 0-6 0,1-2-10 15,2 3-2-15,0-4 5 0,3 3-5 16,4-2 2-16,1 0-5 0,0 1-7 16,2-1 9-16,1-2-12 0,1 1 16 0,3 0-14 15,1-1 11-15,-1-1-24 0,1 0-4 16,-1 0-29-16,3-1-25 0,-3 0-28 0,0 1-34 0,-1 0-33 0,-2 0-33 15,-1 1-41-15,-1 0 0 16,0-1-44-16,-2 4-115 0,0-2-335 0,-3 4-159 16,2 0 44-16,-4 1 128 0,-1 0 48 0,1 4 44 15</inkml:trace>
  <inkml:trace contextRef="#ctx0" brushRef="#br0" timeOffset="32181.6">6080 10443 980 0,'5'-2'302'0,"1"0"-10"0,-6 2-57 0,10-2 3 0,-7 2-36 0,-3 0-20 16,7-1 5-16,-7 1-10 0,0 0-14 0,0 0-24 15,0 0-11-15,-3 7 5 0,-1-3 2 16,-2 0-30-16,-4 1 11 0,2 4-19 0,-5-2-8 16,0 1-4-16,1-1 10 0,-4 3-6 0,3-1 8 15,1-3-20-15,-1 3 15 0,5-2-25 0,-2-3-8 16,2 2-18-1,1 0-5-15,4-1 5 0,-2-1-8 0,4 0-2 0,1 1-6 0,0-1 1 16,3 0-6-16,2 2 8 0,3-3-12 16,0 2 20-16,-1 0-6 0,4 0-12 15,2 1-10-15,-1-2 7 0,-3 2 13 0,3-1 16 32,-4-1 28-32,-1 1-1 0,1-3 108 0,-2 4 29 0,1-2-83 0,-5 1-4 15,-1-2-9-15,-1 2 6 0,-3 2-16 16,-2 3 13-16,-6-1 6 0,-1 3-1 0,-6 1-35 0,-10 6 9 15,-1-1 68-15,-1-1-22 0,1-2-42 0,4-2-14 0,5-2-46 16,3-3-27-16,0 0-55 16,2 0-48-16,4-3-54 0,-1-1-59 0,-1 1-56 15,5-1-107-15,3-1-175 0,0 2-517 0,0-1 85 16,4-1 130-16,1 2 85 0,0 2 41 0,1 0 84 16,1 1 95-16</inkml:trace>
  <inkml:trace contextRef="#ctx0" brushRef="#br0" timeOffset="32792.67">5957 11465 1308 0,'-5'1'373'0,"5"-1"-25"0,0 0-35 0,0 0-24 0,0 0-41 0,18-4-12 16,-8 2-6-16,3-3-25 0,2 2-23 0,1-1-21 15,2 0-13-15,0-2-10 16,-1 3-12-16,-1-1-13 0,-1 2 2 0,-1-1 89 0,0 2-22 16,-3 1 10-16,2-2 16 0,-3 4-19 0,-3-2 11 15,3 4-85-15,-4 2-5 0,-1 0 95 16,0 2 43-16,-3 2-13 16,-2 2-50-16,0 3-24 0,-2 4-28 0,0 0 18 15,-1 4-10-15,-2 2 2 0,0 2-25 0,2-2-5 0,-5 11-3 16,1-2-31-16,0-5 16 0,4-4-24 15,-2-1-35-15,2-3-15 0,0-1-39 0,0-3-28 16,1 1-18-16,0-4-57 0,2-1-65 16,-3 0-40-16,3-3-55 0,0-1-32 15,0-1-86-15,0-7-220 0,0 5-472 0,3-2 96 0,-3-2 104 16,0-2 108-16,0 0 45 0,0 0 60 0,0 0 89 16</inkml:trace>
  <inkml:trace contextRef="#ctx0" brushRef="#br0" timeOffset="33064.08">5926 11825 1269 0,'0'0'445'0,"13"-6"-25"0,-3 4 44 0,1 0-55 0,6-2-12 15,1-1-57-15,1-1-7 0,3 2-41 0,4-2-16 16,-1-3-25-1,2 4-20-15,1-3-45 0,7-3-47 0,-4 3-42 0,-5 0-10 0,-1 1-67 16,-4 1-38-16,-3 0-33 0,-2 1-43 16,-1 0-45-16,0-1-40 0,-4 4-156 0,-1-1-256 15,-2 0-303-15,-1 1 32 0,0 0 142 0,-1 1 86 16,-4-3 24-16</inkml:trace>
  <inkml:trace contextRef="#ctx0" brushRef="#br1" timeOffset="37600.28">2916 8064 857 0,'0'0'235'0,"0"0"16"16,0 0-33-16,0 0-1 0,21 0-27 0,-4-1 68 15,6 1-22-15,22-5-93 0,6 4-7 0,5-6-29 16,21 1 3-16,3-3 6 0,9-1-11 16,6-3-34-16,28-5 19 0,3-1 7 15,4 0-28-15,6 0 8 0,5-4-10 0,3 3-3 16,-1 2 7-16,4-2 1 0,1 0-34 0,-2 3 3 0,1-1 0 16,-12 1-10-16,-4 0 2 0,0 0 57 15,-3 3-3-15,-8 2-8 16,-24 1 1-16,-2-1-11 0,-4 5-3 0,-3-1 3 0,-7 3-25 15,-6-2-1-15,-7 2-4 16,-13-1 4-16,-5 3-7 0,-9 0-10 0,-9 2 25 0,-5 0-25 16,-3 1-11-16,-5-3 5 0,0 2 3 0,-3 1 8 15,1 0 10 1,-4 0-13-16,-2-1-12 0,-2 0-14 0,-3 0-4 0,1-2-11 16,-6 3-18-16,5-2-12 0,-5 2 7 0,0-5-28 0,0 5-28 15,0 0-54-15,-8-4-51 16,3 2-67-16,0 1-94 0,-3 0-515 0,0 0 105 15,-4 1 31-15,1 0 112 16,-1 0 57-16</inkml:trace>
  <inkml:trace contextRef="#ctx0" brushRef="#br1" timeOffset="38625.75">4795 7113 1052 0,'0'0'335'0,"0"0"-15"15,0 0-23-15,-4 18-5 0,6-4-34 0,0 15-12 0,4 16-8 16,4 21-26-16,0 7-12 0,5 33-93 16,1 13-4-16,5 5-6 0,-1 12-7 15,-2 9 50 1,5 6 1-16,-3 6-23 0,-1 10-26 0,1 3-12 0,-5 4-19 0,3 50-46 16,-5-52-12-16,2 1-42 15,-4 1-60-15,1-5-52 0,-2-2-3 0,-1-10-35 0,3-6 22 0,-4-7-2 16,-3-6 18-16,3-11-48 0,-3-11-32 0,5-6-258 15,-5-26-261 1,3-3 93 0,-2-3 29-16</inkml:trace>
  <inkml:trace contextRef="#ctx0" brushRef="#br1" timeOffset="39673.08">2926 7464 811 0,'0'13'394'0,"-2"11"-12"0,-1 19-32 15,1 20-94-15,-3 16-13 0,2 11 3 0,-4 41-23 16,1 16-24-16,2 10-4 0,1 14-36 15,-2 12-3-15,2 59 2 0,-3 2 24 16,2-3 0-16,-2 2-49 0,-1-5-23 0,-1-5-69 16,3-1-67-16,0-57-50 0,-1 6-119 0,-1-1-63 0,-3-8-124 15,-1-6-247-15,4-3-155 0,2-10 96 16,0-12 40-16,-3-4 70 0</inkml:trace>
  <inkml:trace contextRef="#ctx0" brushRef="#br1" timeOffset="40467.08">6846 7083 939 0,'0'16'317'16,"0"-3"-20"-16,3 11-10 0,2 19-6 0,0 18-14 0,3 10-14 16,0 11-2-16,5 31 48 0,4 12-30 15,2 9-28-15,-1 14-24 16,-1 13-4-16,4 7-31 0,7 60-106 0,-2-3-17 0,3 6-23 0,1 4-41 16,3-2-16-16,5-2-73 15,3-6-65-15,-2-7-130 0,-6-9-108 0,-5-55-432 0,1-1 45 16,-4-6 101-16,1-4 35 0,-5-1 88 0</inkml:trace>
  <inkml:trace contextRef="#ctx0" brushRef="#br1" timeOffset="41833.35">2757 7288 831 0,'0'0'261'0,"0"0"-45"15,-4-5-27-15,4 5-18 0,0 0 1 16,0 0-31-16,7-7-6 0,-4 7-4 16,4-2-8-16,1-2-18 0,5 2-5 0,2-3-16 15,3 1 6-15,2-1 53 0,3 2 0 0,3-4-4 16,5 1-40-16,8 0-91 0,2-1 25 15,0 1-7-15,2-1-11 0,1 0 13 0,1 0-22 16,-1 1 4-16,2 0 13 0,1-1 0 16,-1 2-18-16,0 0 18 0,0-1-10 15,-2 0 12-15,4 0-17 16,1-1 54-16,0 2 4 0,2-1-2 0,0 0-3 0,1 3-12 0,1-3 7 0,4 1-15 16,-3-2-7-16,-1 2 17 0,1-1-8 15,-2-1-22-15,14 1-1 0,-12-2 3 16,11-2 3-16,-9 4-13 15,8-2 5-15,-13-2-11 0,3 4 4 0,-3-2 9 0,1 1-7 0,-4 0 7 16,1 0-12-16,0-2 0 0,-1 2 10 16,1 1-3-16,-3-1-15 0,0 1 8 0,-2 0 7 15,2-1-12-15,-5 2-9 16,5-2 22-16,-5 1-19 0,-5 3 13 0,6-5 11 0,-9 4-18 16,0-1 4-16,5-1-7 15,-4-1-7-15,-9 2 14 0,4 2 9 0,-1 0 1 0,-3-3-24 0,1 1 22 16,2 2-17-16,-5-2-9 0,0 3 6 15,1-2-8-15,-2 2 8 16,4-3 16-16,2 3-22 0,-2-2 16 0,0 3-7 0,1-3 4 0,2 2-2 16,-1-2-7-16,3 2 7 0,-2 1 0 15,1-3 2-15,-4 4 14 0,-1 0-14 16,3 0-4-16,3-1 2 0,-5 1 0 0,5-1 2 16,0-2 11-1,2 3-8-15,0-1 5 0,-2 1-15 0,2-2 8 0,-2 2-6 0,0-1 14 16,0-2-4-16,-1 2-9 0,-2 1 22 0,1-1-25 15,1 0 10-15,-1-3 10 0,-1 4 1 16,-2-2-11-16,-1 1 13 0,-2-2-21 0,-2 2 3 0,-3 0 3 16,2-2 2-16,-2 1-13 15,-3 1-10-15,-2-1-7 0,0-1-14 0,-3 3-7 0,-2 0-25 16,0 0-83-16,-1 0-63 0,-7 0-83 16,5 0-555-16,-5 5 54 0,0-5 146 0,-15 11-16 15,0-2 75 1</inkml:trace>
  <inkml:trace contextRef="#ctx0" brushRef="#br1" timeOffset="43117.05">7387 10861 806 0,'-2'-4'269'0,"2"4"-16"0,-2-7-12 16,-1 5 9-16,3 2-104 0,-3-5 8 0,3 5-24 15,-2-5-2-15,2 5-25 0,-3-2 17 16,3 2-28-16,0 0 85 0,0 0-29 0,-2 14 9 16,2-4 6-16,2 3-37 0,3 10-14 0,-2 3 11 15,7 14-31-15,3 16-2 16,-2 6 0-16,1 7 2 0,1 6-36 0,0 6-46 0,-1 23-23 15,1 2-76-15,0-2-152 0,-5-22-465 0,2 1-118 16,-2 0 120-16,2-3 18 0,-2 1 102 16</inkml:trace>
  <inkml:trace contextRef="#ctx0" brushRef="#br1" timeOffset="44117.09">5187 10912 890 0,'0'0'351'0,"0"0"-26"16,0 0-102-16,-7 11 5 0,7 2-24 0,0 7-12 31,3 9-13-31,-1 17 21 0,0 17-44 0,-2 6 11 0,1 6-37 0,-2 11 62 0,-1 2-36 16,0 25-64-16,-3-20-30 15,0 17-83-15,-3-2-178 0,8-18-656 0,-3 0 118 0,-2-6 20 16,-3-3 97-16,3-7 106 0</inkml:trace>
  <inkml:trace contextRef="#ctx0" brushRef="#br1" timeOffset="45134.77">2742 11481 834 0,'2'21'279'0,"-1"-6"74"16,1 8-20-16,5 15-49 0,-1 5-15 15,4 11-13-15,1 5-26 0,1 0-28 16,-2 2-15-16,1 3-23 0,-1 4-54 0,0 1-5 15,0-1-49-15,0 0-35 0,1-3-57 0,-1-2-59 16,3-3-102-16,0-4-120 0,-3-12-472 16,-2-4 114-16,0-3-1 0,-1 0 108 0</inkml:trace>
  <inkml:trace contextRef="#ctx0" brushRef="#br1" timeOffset="46306.73">2844 12685 749 0,'11'-6'297'0,"4"2"-117"0,0 2 9 0,1-2-25 16,2 1-18-16,2 2 66 0,8-2-12 0,3 1-34 16,0 0 13-16,13-1-30 0,2-2 2 15,2 4-21-15,1 0-17 0,0 0-11 16,2 0-9-16,-2 2 1 0,0 1 1 16,2-1-36-1,-2 4 7-15,0-3-9 0,0 0 2 0,2 0-24 0,-3 1 12 16,4-2-14-16,-2 2 3 0,0-2 2 0,0-1-10 0,-1 0-12 0,0 4 4 15,-8-3 13-15,-5-1-7 0,12 0-18 0,-9 0 20 16,-3 0 0 0,13-2-107-16,-8 2 7 0,-6-1 33 0,12-1-1 15,-4-1 9-15,-4 2 0 0,-6-2-15 0,1 2 23 0,7-3-26 16,-6 0 26-16,-4 0 3 0,0 2 25 0,0-3-23 16,0 0-5-16,2 2 15 0,-3-1 21 31,1 0-36-31,0 0 18 0,3 1 0 15,-1 1 10-15,0 0-10 0,1-1 2 0,-3 1-2 0,2-1-3 0,13-1 6 16,-13 0 7-16,0 2-25 0,-2-1 25 0,3-1-10 0,-4 1-1 0,3-1 1 16,-4 1-2-16,1 1 7 0,-1-2-16 0,-1 0 21 15,0 0 1-15,0 1-9 16,-4 1 6-16,-1-3-14 0,5 3 6 16,-5-2-8-16,5 0 11 0,0 0 7 15,0 2-13-15,-4-1 18 0,4-1-15 0,0 0 0 0,-3 2 8 0,6-2-6 16,-3 0-4-16,1 1 9 0,-1-1-2 15,3 3-5-15,-6 0 8 0,3-4 14 0,1 3-27 16,-4-1 26-16,3 1-11 16,1-1 2-16,-1-1-14 15,1 0 7-15,-2 2 7 0,4-3 1 0,0 1 2 0,0-1-25 0,-3 1 28 0,0 0-6 16,2-1-12-16,-1 1-5 16,1-2 18-16,-3 2-8 0,3 0-8 0,-1-1 26 0,-1 0-8 0,0 0-15 31,2 3 26-31,-2-2-11 15,-4 1 0-15,1-2-12 0,1 3-14 0,-5-1 16 0,2-1 18 0,0 1-26 0,0 0 6 0,0-1-3 16,0 0 0-16,0 2 2 0,2-4 11 16,4 0-16-1,-3 1-5-15,-1 1 18 16,-4 0-2-16,5-2-3 0,-1 1-3 0,-2 2-4 0,-2-2 2 0,2 2 22 16,-1 0-14-16,-1 1 2 0,-1-2-5 0,1 1 0 0,-3-1-2 0,-2 2-4 15,-2-1 1-15,2 3 0 0,-5-2-5 0,-1 1 15 16,0-1-18-16,-2 2 21 0,2-1-13 0,-2 0 0 15,-3-1 18 1,0 2 15-16,2-1-33 0,-1 0-3 0,-6 1 13 0,10-1 0 16,-7 0 13-16,-3 1-8 0,10-1-2 0,-10 1 5 15,8-1-6-15,-8 1 17 0,7-1-19 0,-7 1 13 16,8-2-16-16,-8 2 6 0,7-1 5 16,-7 1-11-16,8-1 8 0,-8 1-5 15,5-1 1-15,-5 1-6 0,8 0 7 0,-8 0 6 0,10 2-8 16,-4-2 13-16,-2 1-20 0,4 3 9 15,-2-3 3-15,-1 2-10 0,2 0 6 0,1-1-4 16,-3 1 1-16,3-1-11 16,-3 1 21-16,2-1-13 0,-4 0 8 0,3-1-3 15,1 1 13-15,-4-1-21 0,-3-1 26 0,0 0-2 0,15-3-32 16,-10 0 4-16,-2 1 7 0,2-1 20 0,-2-3 1 16,2 1 25-1,-3 0 13-15,0-3 10 0,1 0-28 16,-3 2 17-16,0-4 6 0,3 1-17 0,-3-2-1 0,0 1-13 0,0-3 0 15,0 0 8-15,-3-1 3 0,6 0-26 0,-6 0-3 16,3-1 13-16,0 2-15 0,0-1-13 16,-2 3-5-16,2 1-11 15,-1 0-12-15,1 1-3 0,-2 0-20 0,2 1-38 0,0 3-52 16,-2-2-38-16,2 3-128 0,0 2-505 0,-3-3 62 16,3 5 56-16,0 0 44 0,0 0 74 0</inkml:trace>
  <inkml:trace contextRef="#ctx0" brushRef="#br1" timeOffset="68723">11977 8144 1197 0,'0'0'415'0,"0"0"-118"0,6 0-13 0,-6 0-10 0,0 0-10 16,0 0-19-16,0 0 1 0,0 0-26 15,0 0 54-15,-14 12-15 0,4-5-11 16,-5 0-87-16,-4 5-25 0,-11 6 10 0,9-2-13 15,-9 0 15-15,1 3-25 0,-1-1-13 0,9-4-5 16,1-1 5-16,0-2-20 0,6 0-16 0,1-3-5 16,3 1-18-16,2-1 31 0,1-2-18 15,2 0-15-15,4 0-16 0,1 0 8 0,1 0-10 16,6 0-18-16,1 0-6 0,0-2-1 0,5 3-14 16,-1-2-20-1,1 4-6-15,3-2-1 0,-1-1-22 0,1 1 9 0,-1-1 27 0,0-1-2 16,-2 0-10-16,-3 0 5 0,0 0 7 0,-2 1 1 15,-2-1 12-15,-2 1-10 0,-4 1 21 0,-2 1 7 16,0-2 0-16,-4 5-15 16,-2-3 10-16,-2 3 5 0,-3 0-2 0,-5 2-5 15,0-1-1-15,-2 0 31 0,2 0-15 0,-2 0-7 16,-1-1 12-16,3 2-3 0,2-3 1 0,-2-1 9 16,4 2 1-16,3-4-26 0,1-1 16 15,2 0-3-15,3 1 10 16,0-1 2-16,5 0-1 0,0-2-24 0,2-1 8 0,4 1-3 0,1-2 10 15,4 1-33-15,4-2 13 0,1 0 3 16,4-1-3-16,3-1-3 0,0 0-17 16,7-3-21-16,-1 1-20 0,1-1 9 0,1-1-1 15,-2-1-34-15,1 4-11 16,-4-2-4-16,-3-1-29 0,-2 2-17 0,-1-2-41 0,-2 5-44 16,-2-3-52-16,-3 0-93 0,-1 3-17 0,1-2-457 0,0-1 33 15,-2 3 120-15,1-2 39 0,0 2 81 16</inkml:trace>
  <inkml:trace contextRef="#ctx0" brushRef="#br1" timeOffset="70391.03">12433 8286 1190 0,'0'0'322'0,"0"0"-17"0,0 0-24 16,1-5 68-16,-1 5-29 0,0 0-29 15,0 0-12-15,0 0 3 0,0 0-41 0,0 0-21 16,0 0-3-16,0 0-2 0,0 0-18 0,0 0-23 16,0 0 6-16,-3 18-29 0,3-11 12 0,2 0-29 15,-4 4-1-15,2-3-16 0,0 4-9 16,0-2-8-16,0-1 5 0,0 2-26 0,2 0-7 15,-1-1 10 1,-1 0-16-16,0-1-15 0,4 1 1 0,-4-2 4 0,3-2 0 0,0 2-33 16,-3-2 5-16,2-1-23 0,0 1 24 15,2-3-1-15,-2 1 10 0,0-4-7 0,-2 0 7 16,0 0 1-16,11 0-21 0,-11 0 5 0,10-4-5 16,-5 2-3-1,0 1-2-15,-5 1-16 0,10 1 16 0,-2 3-23 0,0-1 22 0,0 5 14 16,-1-1-23-16,1 1 2 0,2 0 0 0,-2 1 10 15,0-1-10-15,-1-1-2 0,1-1 17 0,0 0 14 16,-1 1-1-16,-2-1-2 16,3-2-8-16,-3-3 15 0,1-1 11 0,-6 0-83 15,12-2 4-15,-6-3 9 0,-2-2 6 0,2-3 15 16,-1 2-3-16,0-3-9 0,0-3 6 16,-2-2 12-16,1 0 1 0,-1-2-4 0,0-1-21 15,-1 2 18-15,-1 0-3 0,1 3 3 0,-2 1-12 16,2 1-6-16,-2 3-41 0,3-1 2 0,-3 2-50 15,0 1-34-15,0 1-28 0,1 2-36 16,-1-2-10-16,0 6-53 0,0 0-65 0,0 0-243 16,0 0-404-16,7 11 96 0,-4-6 55 0,-1 1 107 15,3-2 100-15,-2 3 36 0</inkml:trace>
  <inkml:trace contextRef="#ctx0" brushRef="#br1" timeOffset="70630.95">13148 8176 1366 0,'0'0'538'0,"0"0"-34"0,0 0-120 16,0 10-15-16,-2-3-24 0,0 0-40 0,-1 6-21 16,-2 4-31-16,0 2-25 0,-1 1-23 15,-1 5-44-15,-4 7-30 16,-1-1-65-16,2 3-63 0,-1-7-62 0,3-4-66 0,-2 7-37 0,0-7-127 15,2-7-136-15,3 0-458 0,-2-1 82 16,2 0 43-16,-1-4 118 0,1-3 82 0</inkml:trace>
  <inkml:trace contextRef="#ctx0" brushRef="#br1" timeOffset="70844.39">12856 8301 1351 0,'3'0'402'0,"-3"0"59"0,0 0-42 0,16 4-17 0,-6 2-118 0,2 3-17 16,6-3-24-16,1 6-21 0,3-1-7 0,9 3-28 15,3 3-20-15,-1-2-6 0,-2 0-41 16,-1-1 6-16,-1-2-26 0,-7-2-52 16,2 1-30-16,-4-2-51 0,1 1-39 0,-4-1-35 0,-1 0-42 15,-3-3-30-15,-3 1-51 0,0 2-108 16,-7-2-46-16,4-1-502 0,-4 1 105 15,0-4 90-15,-3 3 46 0,0-1 128 0</inkml:trace>
  <inkml:trace contextRef="#ctx0" brushRef="#br1" timeOffset="71354.39">11859 8944 1092 0,'10'-7'402'16,"8"2"-20"-16,8-1-1 0,13-2-92 16,6-3-12-16,6 4-24 0,14-5 72 15,4 4-33-15,5-3-44 0,4 3-7 0,4 2-31 16,-1-2-3-16,1-1-25 15,-2 3-77-15,2 0 59 0,0-1-34 0,0 1-2 0,-2 0-2 0,-3 3-11 16,-3-1-23-16,-3-2 0 0,-14 4-12 16,-8-2-22-16,0 4 14 15,-14-2-44-15,-6-1 11 0,-3 1-47 0,-3 2 11 0,-5 0 4 0,-3 0-14 16,0 0-1-16,-5 0-41 0,-2 0-25 0,-3-1-10 16,-5 1-16-16,8 1-13 15,-8-1-20 1,0 4 0-16,0-4-31 0,-10 8-84 0,2-6-241 0,-2 7-453 0,-6 0 90 15,-12 8 73-15,0 1 119 0,-5 2 58 0,-3 3 29 0</inkml:trace>
  <inkml:trace contextRef="#ctx0" brushRef="#br1" timeOffset="72040.12">12638 9257 1241 0,'0'0'422'0,"0"0"-43"0,-10 2-28 15,3 2 40-15,-7 2-17 0,0 4-41 0,-7 2-21 16,-10 7-48-16,3 2-85 15,-3 2-15-15,3-1-16 0,0 2-20 0,2-1-7 0,3-4 7 16,5-1-21-16,7-3-10 0,1-5-25 0,5-1-5 16,0 2-9-16,3-4-4 0,2 0 5 15,5-2-13-15,0 0 10 0,3-3-4 0,0 1 4 16,4-2-36-16,1-1 9 0,2 0 19 16,-2 1-7-16,0-2 5 0,0 1 3 0,-3 0 7 15,1 1 11-15,-4-1 10 0,1 1 7 0,-3 3 6 16,-2-1-21-16,-4 3 5 0,-1 1-10 15,-3 3-5-15,-3 1-13 0,-2-1 5 16,-1 3 0-16,-4 3 75 0,-1-2-19 0,4-1-22 0,0 0-1 16,3-3-7-16,-1-1-5 0,2-1-24 15,1 0 6-15,4-2-8 0,-2 1 10 16,2-2-10-16,3-2-28 0,0 0 3 0,0-3-1 16,6 3-7-16,-2 1 18 0,2-4 5 15,-6 0-3-15,18 0-20 0,-8-1 2 0,1-2 13 16,3 3-2-16,4-3-18 0,-2 0 9 0,-1 0-4 15,6-1-10-15,-1-2-29 0,-2 6-40 0,1-6-19 0,-5 4-61 16,2-3-2-16,-3 2-47 16,2 0-48-16,-4 1-46 0,1-2-98 15,-1-2-217-15,1 4-445 0,-2-3 158 0,1 3 8 0,-3-1 110 16,0-1 79-16,2 0 47 0,-2-1 60 0</inkml:trace>
  <inkml:trace contextRef="#ctx0" brushRef="#br1" timeOffset="72610.85">12905 9363 1197 0,'0'-5'479'0,"0"5"-21"0,0 0-35 0,0 0-57 16,0 0 0-16,0 0-108 0,0 14-2 0,0-7-15 16,0-2-26-1,-2 4-10-15,4-2-11 0,-2 2-30 0,0 1-26 0,0 0-2 0,0-1-11 16,2 1-15-16,-2-1-18 0,1 2-4 0,1-4-9 15,1 3-18-15,-1-2-10 0,0-1-10 16,-1 0-5-16,4-2-8 0,-3-1-12 0,1-1-9 16,0-2 4-16,2 1 2 0,-5-2-1 15,0 0-7-15,12-3 26 0,-12 3-23 0,11-1 5 16,-11 1-13-16,8-1 2 0,-3 1 6 0,-5 0-8 16,10 3 25-16,-5 1-14 0,1 1-1 0,1 0 21 15,-2 2-3-15,0 0-10 0,3 1 5 16,-1-1 2-16,-1-1 16 0,4 0-13 15,-3-1 29-15,-1 0 7 0,2-3-3 0,-1-2 21 16,-1 0 0-16,4-2 5 0,-2-2 3 0,-1-3-19 16,3 1 4-16,-2-5 9 0,2-1-12 15,0 1-8-15,-4 0-13 0,2-2-13 0,-4 1 11 16,2-1-41-16,-2 1-1 0,-1 1-40 16,0 0-18-16,-1 2-18 0,-2 0-47 0,1 1-58 15,-1 2-35-15,-1 0-55 0,1 3-25 0,-2-1-108 16,-6 4-197-16,3 0-427 0,5 0 120 15,-11 4 71-15,4 0 144 0,0 1 64 0,-2 1 21 0</inkml:trace>
  <inkml:trace contextRef="#ctx0" brushRef="#br1" timeOffset="73117.59">10972 9148 1277 0,'-8'0'368'0,"8"0"-20"16,-7 1-20-16,7-1-46 0,0 0-26 16,0 0-31-16,0 0-46 0,0 0-30 0,0 0-44 15,20-5-57-15,-12 5-20 0,4-2-38 16,-2-1-56-16,1 2-116 0,-1 0-138 0,3 1-451 15,-5 0 55-15,0 0 63 0,2 1 51 0</inkml:trace>
  <inkml:trace contextRef="#ctx0" brushRef="#br1" timeOffset="73263.5">11064 9256 1011 0,'0'4'312'0,"0"-4"-18"0,0 0-28 0,0 0-25 0,0 0-13 0,13 1-18 15,-13-1-46-15,13-4-36 0,-8 4-29 16,0-1-63-16,3 1-92 0,0-6-123 0,0 6-592 16,2 0 83-16,-2 0 43 15,-2 0 76-15</inkml:trace>
  <inkml:trace contextRef="#ctx0" brushRef="#br1" timeOffset="147318.96">17105 5156 1105 0,'0'0'397'0,"0"-5"18"0,0 5-16 16,0 0-20-16,0 0-59 0,0 0-28 0,0 0-3 0,-13 6-43 15,5 0-13-15,3 1-77 16,-2 4-21-16,1 2-14 0,-2 0-19 0,1 1-2 16,-3 3-13-16,2 1-3 0,0 3 78 0,0 1-27 0,1-2-17 15,2-2 2-15,-1 1-25 0,4 0 2 16,0-1-7-16,2-3-3 0,2 2-21 15,0-1-17-15,4-1 13 0,1-1-22 0,-2-3 14 16,5 2-18-16,-1-2-8 0,3-3-18 16,-2 0-22-16,6-1 4 0,-3-1-33 15,2-2-18-15,-2 0-36 0,2-2 6 0,1-1-49 16,-1-1-26-16,-2 0-33 0,2-1-67 0,1 1-189 0,-4-1-56 16,1-3-405-16,0 3 128 15,-2-3 33-15,-1 2 108 16,-2-2 54-16</inkml:trace>
  <inkml:trace contextRef="#ctx0" brushRef="#br1" timeOffset="147727.46">17387 5269 1156 0,'8'-6'351'16,"2"-1"43"-16,0 3-30 0,-2 2-19 0,-3 2-37 0,3-1 1 16,-1-1-25-16,-7 2-28 15,10 4-74-15,-7-3-28 0,-1 5-16 0,-2-1 5 0,0 1-5 16,-2 0-30-16,0 3-6 0,-4 2-15 16,3 0 0-16,-6-2-25 0,1 4-1 0,3-2 6 15,-3 0-8-15,0-3-11 0,0 3 11 0,4-3-8 16,-2-1-5-16,1-1 1 0,3-1-6 15,-4 2-1-15,4-1-4 0,2-1 21 16,-2 1-29-16,2-3-3 0,0 1 6 0,2 1-5 0,0-3 12 16,1 2-7-16,4-3-8 0,-1 1-13 0,-1-1 64 15,3 1-17-15,0-2-52 0,2 0-13 16,0 0-35-16,0 0-16 0,1 0-54 16,-1-2-30-16,0 1-36 0,3-1-95 0,-1 1-115 15,2 0-364-15,-4-2-138 0,3 2 72 0,-3-4 74 16,0 4 85-16,0-4 58 0</inkml:trace>
  <inkml:trace contextRef="#ctx0" brushRef="#br1" timeOffset="147913.01">17858 5245 1359 0,'0'0'489'0,"0"-2"-36"15,0 2-49-15,0 0-28 0,0 0-38 16,0 0-97-16,-2 13-16 0,2-7-20 0,-2 1-31 0,-1 1-5 15,-2 3-21-15,0 1-30 0,1 0-3 16,0 0-46-16,-2-2-63 16,-1 5-37-16,2-3-31 0,-3 2-66 0,0-1-48 0,1 0-121 15,1-2-118-15,-1-1-455 0,2 0 66 16,-1-1 100-16,2 0 57 0,-2-3 53 0</inkml:trace>
  <inkml:trace contextRef="#ctx0" brushRef="#br1" timeOffset="148118.66">17720 5339 1177 0,'0'-5'453'0,"0"2"-46"0,0 3-15 15,5-4-19-15,-2 3-45 0,-3 1-34 16,13 0-12-16,-13 0-39 0,12 2-20 0,-4 1-26 16,-1-1-51-16,1 2-54 0,0-2-31 0,2 3-56 15,0-3-43-15,-2 2-69 0,0 1-152 16,0-2-214-16,2 1-395 0,-2-1 92 0,0 1 54 15,-1-3 72-15,2 0 97 0</inkml:trace>
  <inkml:trace contextRef="#ctx0" brushRef="#br1" timeOffset="148280.97">18028 5290 1139 0,'0'0'371'0,"0"0"-13"0,0 0 75 0,0 0-44 0,0 0-31 0,9 4-30 16,-8 2-13-16,2-3-126 0,-1 4-12 0,1 0-11 15,-1 1-20-15,1-2-33 0,-1 2-49 16,1 0-62-16,-1 1-33 0,1-2-53 0,0 1-83 16,-1-4-216-16,0 3-503 0,2 0 62 0,-2-1 86 15,0 2 91-15,1 0 48 0</inkml:trace>
  <inkml:trace contextRef="#ctx0" brushRef="#br1" timeOffset="148558.04">18103 5069 1328 0,'9'0'415'0,"-1"0"-13"16,5 2-57-16,0 3-4 0,5 3-19 15,0 2-5-15,2 4-40 0,-2 0-3 0,7 8-31 16,-4 2-15-16,-3-4-18 0,-7-1 69 0,1 1-13 15,-4 3-23-15,-3-1-33 0,2 2-90 16,-6-1-38-16,-4-3-13 0,1 4-28 0,-4 1-64 16,1-4-15-16,-3 2-65 0,-1-4-25 0,-2 0-23 15,3 0-79-15,-2-1-75 16,5-7-194-16,-3 1-466 0,1-3 72 0,-1 1 107 0,0-4 82 16,3 0 57-1</inkml:trace>
  <inkml:trace contextRef="#ctx0" brushRef="#br1" timeOffset="148889.94">18764 5117 1377 0,'0'-3'499'0,"0"3"-95"15,0 0-30-15,0 0-21 0,2 11-38 0,-2-3-5 16,2 2-44-16,1 2-25 16,-2 1-19-16,-1 2-25 0,2 1-12 0,0 1-32 0,0 2-33 15,-1-1-32-15,2 1-42 0,-1-1-34 16,1-1-63-16,-1-4-38 0,1 3-57 0,1-3-28 15,-3-1-103-15,1-8-127 0,4 7-482 16,-4-2 59-16,1-1 80 0,0-1 61 0,1-4 105 16</inkml:trace>
  <inkml:trace contextRef="#ctx0" brushRef="#br1" timeOffset="149136.84">18641 5286 1453 0,'0'0'500'0,"0"0"-68"0,0 0-4 16,30 1-60-16,-22 0-48 0,5 1-23 0,0-2-92 16,2 1-34-16,3-1-4 15,0 0-29-15,0 2-28 0,2-1-13 0,-1-1-51 0,1 1-30 16,0-1-47-16,-5 0-30 0,1 1-42 0,-3-1-66 15,-3 4-164-15,-2-4-79 0,2 1-473 16,-2 1 119-16,-3 1 50 0,0-1 106 0,-2 0 75 16</inkml:trace>
  <inkml:trace contextRef="#ctx0" brushRef="#br1" timeOffset="149842.87">19353 5056 1123 0,'-10'1'348'0,"4"3"-28"0,-2 3-13 16,-1 0-30-16,2 6-16 0,-2 0-18 0,1 7 3 15,-1 0-36-15,1 3-18 16,1 0-11-16,1-1 50 0,2 2-11 0,0-1-23 15,2-2-23-15,2 2-25 0,0-4-11 0,2 1-13 16,2-1-10-16,0-2-35 0,2-2 12 16,1 1-26-16,-2-1-22 0,3-4-11 15,-1 0-35-15,1-4-26 0,0 2-26 16,2-1-13-16,0-5-40 0,-2 2-42 0,3-3-71 0,-1-1-97 0,-3 2-218 16,4-3-348-16,-1-3 89 0,-3 2 67 15,6-6 87-15,-2 4 54 16</inkml:trace>
  <inkml:trace contextRef="#ctx0" brushRef="#br1" timeOffset="150040.91">19588 5169 1144 0,'0'0'412'0,"0"0"-36"0,0 0-2 15,0 0-39-15,-6 14-51 0,6-8 8 16,0 4-51-16,0-1-19 0,-3 3-4 0,2 0-34 15,-1 1-20-15,0 0-103 0,-1 0-9 16,3 0-40-16,-5 2-27 0,3-2-41 0,-1 0-26 0,-2 0-31 16,3-1-53-16,-1 0-95 15,0-3-49-15,3 1-501 0,0-3 27 0,0-1 106 16,5-5 41-16</inkml:trace>
  <inkml:trace contextRef="#ctx0" brushRef="#br1" timeOffset="150333.41">19889 5228 1192 0,'0'0'343'0,"0"0"-18"16,0 0-30-16,-23 6-16 0,11-1-28 0,-4 0-26 16,-2 3-2-16,-5 3 58 0,0-3-35 15,0 4 2-15,2-2-87 0,-2-1-27 0,5 1-7 16,3-2-11-16,-1 0-22 0,4 1 6 15,3-3-10-15,1 0-8 0,2 1-21 0,0-2 3 16,1 0 8-16,0 0-21 0,5 0-2 0,0 0-11 16,2-1 6-16,4-1-21 0,2-1-23 15,2 1-3-15,3-2-25 0,2 2-5 0,0-1-47 16,5-2-32-16,-3 0-16 0,3-2-36 16,1 0-54-16,1 1-112 0,-2-1-18 0,-4-1-507 0,2-1 36 15,-3 1 115-15,-2-1 31 0,0 1 81 16</inkml:trace>
  <inkml:trace contextRef="#ctx0" brushRef="#br1" timeOffset="150539.25">19954 5208 1220 0,'0'0'372'0,"0"0"-24"0,0 0-8 0,-14 8-35 0,9-3-24 0,0 0 3 0,2 2 31 16,-2 0-2-16,0 4-29 0,0 1-18 0,0 1-123 15,0 4 13-15,0-2-17 0,0 2-16 0,-1 1-24 16,-1-2-12-16,2 1-43 0,-1 1 2 16,2-1-72-16,-2-1-43 15,2 0-46-15,1-3-44 0,-2 0-99 0,5-4-170 0,0 1-478 0,0-2 123 16,2-2 23-16,1 1 89 0,2-3 75 16</inkml:trace>
  <inkml:trace contextRef="#ctx0" brushRef="#br1" timeOffset="150772.07">20137 5218 1459 0,'0'0'486'0,"0"0"-48"0,0 0-16 16,0 0-33-16,0 0-38 0,-7 15-24 15,6-5-112-15,-3 3-12 0,1 0-1 0,-2 0-23 16,3 5-38-16,-4-3-16 0,2 3-43 0,-2 0-13 15,3 0-74-15,-1 0-49 0,1-3-58 0,-2 2-27 16,3-3-140-16,-2-2-148 0,2 0-454 16,2-2 60-16,-2-1 86 0,2-2 82 0,0-1 52 15</inkml:trace>
  <inkml:trace contextRef="#ctx0" brushRef="#br1" timeOffset="150975.99">20035 5334 1180 0,'0'0'355'0,"0"0"1"0,0 0 38 0,0 0-12 0,8 12-57 0,-5-8-33 0,2 2-21 16,0-3-48-16,3 3-26 0,-1 0 5 0,1-1-97 16,2 1-33-16,-2 0-21 0,2 0-28 0,0-1-21 15,2-2-22-15,-3 3-19 0,1-2-27 16,-2 0-49-16,0-1-44 0,-1 2-105 0,-2-4-79 15,3 1-494-15,0 2 85 0,-4-3 38 0,2 0 99 16</inkml:trace>
  <inkml:trace contextRef="#ctx0" brushRef="#br1" timeOffset="153073.43">20371 5224 1128 0,'0'-9'371'0,"3"6"-15"0,-1-1-38 16,3 3-29-16,-2-1-2 0,2-1-42 0,0 1-14 15,3 2 12-15,-3-1-46 0,-5 1 8 0,16 1-31 16,-9 1 61-16,1 3-9 0,-1-3-22 16,-1 2-19-16,-1 2-11 0,0 0-10 15,-3 1-6-15,-1 0-32 0,-1 4-6 0,-1-3-5 16,-4 3 23-16,1 1-61 0,-2-2 18 0,-2 0-75 16,3 2-9-16,-3-1 4 0,3-2-20 0,-2-3 10 15,1 1 0-15,2-1 3 0,1 0-6 16,-2-1-2-16,2 1 8 0,1-4-3 15,-1 2-5-15,3 1 0 0,-1-3 8 0,1-2-1 16,1 6 4-16,4-5-9 0,-5-1 6 0,10 3-18 16,-5-2-18-16,3-1-8 0,2 0-31 15,-2-1-15-15,4-2-38 0,2 2-18 16,-4 0-49-16,1-4-41 0,3 3-59 0,-3-3-148 16,2 1-305-16,-3 2-122 0,0-4 32 0,1 4 98 15,-6-2 80-15,3-1 50 0</inkml:trace>
  <inkml:trace contextRef="#ctx0" brushRef="#br1" timeOffset="153316.76">20581 5056 1200 0,'5'-1'422'0,"-5"1"-7"0,11 3 61 16,1 4-38-16,0-1-18 0,2 4-19 0,2 4-106 15,1 3-24-15,-1-2-38 0,-1 3 0 0,8 6-31 16,-8-4 49-16,-4-1 10 0,-1 0-41 0,-2 1-41 16,0 2-2-16,-1-4-51 0,-6-2-47 0,1 1-36 15,0-3-53-15,0 2-21 16,-4-3-48-16,0 1-41 0,0-2-47 0,0 1-71 0,-2-1-130 16,2-4-661-16,-1 0 105 0,0-2 61 15,1-2 108-15,0 0 66 0,2-2 67 0</inkml:trace>
  <inkml:trace contextRef="#ctx0" brushRef="#br1" timeOffset="153563.6">21025 5057 1333 0,'5'-2'540'0,"-5"2"-2"15,0 0-42-15,7 4-45 0,-4 3-116 16,0 1-25-16,1 1-39 0,-3 3-48 16,2 1 0-16,-1 1-8 0,0 2-36 0,-3 1-41 15,2-2-38-15,-2 2-49 0,0-2-69 0,-1 4-31 16,2 0-55-16,-3-3-60 0,2-1-85 16,-1 1-163-16,0-3-512 0,-1 1 90 0,3-3 53 15,-2 0 90-15,1-3 92 0,-1 0 51 0</inkml:trace>
  <inkml:trace contextRef="#ctx0" brushRef="#br1" timeOffset="153805.37">20905 5250 1272 0,'0'0'519'0,"0"0"-12"16,8-6-64-16,-8 6-16 0,10-2-45 0,-3 2-44 15,1-3-23-15,2 3-34 0,3 0-15 0,0-1-48 32,1 1-24-32,0-1-66 0,1 1-38 0,3-2-67 0,-2 1-69 0,1-1-64 0,1 1-41 15,-2-2-31-15,3 2-38 0,-2 0-62 0,3 0-135 16,2-3-246-16,0 2-151 0,3-2 100 0,4 0 23 16,1-1 97-16</inkml:trace>
  <inkml:trace contextRef="#ctx0" brushRef="#br1" timeOffset="154277.07">21764 4802 1384 0,'-8'12'315'0,"2"0"8"0,1 2-47 0,0 1-22 0,0 0-24 15,0 6-18-15,0 3-27 0,-1 2-11 16,2 2-8-16,1 9-15 0,0-7-28 0,1-4 2 15,2-4-27-15,2 5-27 0,2-4-14 16,-2-1-6-16,2-3-56 0,2-2-29 0,-1-1-35 16,2-3-46-16,1 0-61 0,0-3-129 0,0-3-532 15,4 0 72-15,-3-1 99 0,1-2 24 0,0-3 145 16</inkml:trace>
  <inkml:trace contextRef="#ctx0" brushRef="#br1" timeOffset="154735.59">21958 4976 1131 0,'0'0'402'0,"0"0"-13"15,16 7-31-15,-9-2-17 0,-2 1-16 16,6 0 43-16,-2 3-27 0,0 1-26 0,1 2-29 0,0 1-17 15,-2 0-28-15,-1 1-52 16,-1 0 6-16,-1-2-24 0,-2 2-17 0,-1-3-24 16,-2 1-4-16,0-1-11 0,0-1-18 0,-1-1-23 15,-1-3 1-15,0 2-17 0,-1 0-17 0,3-5-10 16,-2 2-10-16,-1-3-14 0,3-2-20 16,0 0-7-16,0 0-16 0,0 0 11 0,-3-15-14 15,3 9-25-15,3-5-5 0,0 0 8 0,2 1 2 31,0-6 2-31,2 2 6 0,1-2 10 0,-1 1 0 0,1-1 5 0,0 2 24 16,-3 0 4-16,1-2 18 0,-2 4 18 0,0 2 31 0,-2-3-5 16,0 3 0-16,-4 0 12 0,2 1-2 15,-2 0-25-15,1-1 9 0,-4 3-7 16,1 0 5-16,-2 2-23 0,3 0-2 0,-2 2 20 16,-2 0-51-16,3 2-29 0,-3 0-25 0,2 0-43 15,5 1-26-15,-10 1-18 0,10-1-95 16,-8 1-110-16,5 2-156 0,1-2-427 0,2-1 58 15,0 0 139-15,0 0 15 0,0 0 87 0,8 6 44 16</inkml:trace>
  <inkml:trace contextRef="#ctx0" brushRef="#br1" timeOffset="154909.04">22281 4858 1067 0,'5'-1'379'0,"-5"1"-6"0,0 0 70 15,8 6-15-15,-8-3-39 0,4 3-46 16,-3 3-10-16,-2-2-21 0,1 5-31 0,-2 0-12 15,2 2-51-15,-2 1-1 0,0 3-30 16,-2 0-26-16,0 1-63 0,1 0-68 0,-2 2-47 16,1 0-42-16,-2-3-92 0,3 1-139 0,-7 0-188 15,7-5-449-15,1 2 52 16,1-7 104-16,-3 2 52 0,4-4 115 0,-3 0 36 0</inkml:trace>
  <inkml:trace contextRef="#ctx0" brushRef="#br1" timeOffset="155113.04">22209 5057 893 0,'0'-5'397'0,"0"5"-34"0,0 0 85 0,0 0-46 0,0 0-23 0,0 0-26 16,5 13-13-16,-2-8-50 0,3 0-40 0,-2 1 17 16,4 2-40-16,0 0-19 0,-1 1-32 15,4-3-30-15,-4 1-53 0,3-1-53 0,0 1-29 16,0-2-50-16,-2 2-53 0,1-1-56 15,-1-1-177-15,-1-1-607 0,0 0 90 0,-1-3 58 16,-1 4 42-16,0-5 146 0,0 1 28 0</inkml:trace>
  <inkml:trace contextRef="#ctx0" brushRef="#br1" timeOffset="155490">22623 4976 1377 0,'-8'1'350'0,"0"1"-17"0,0 1-36 16,-5-1-28-16,3 1-3 0,-2 1-31 16,1 0-14-16,-2 1-42 0,5 0-13 15,-2-1-12-15,3 0-11 0,1 0-33 0,3-1-13 0,-1 1 3 16,4-1-8-16,0 1-5 0,0 1-10 15,4-2 5-15,-1 2 0 0,3 1 13 16,2 0 7-16,-1-1 8 0,3 0-5 0,0 3 3 16,1-1 4-16,-4 1 1 0,3-2 87 0,0 5-29 15,0-4-2-15,-4 1-15 0,-1 1-11 16,1-2-18-16,-2 1-7 0,-1-1 15 16,-2 1-33-16,-1 1-13 0,-4-2-26 0,4 0-53 0,-4-1-46 15,2 1-42-15,-4-1-48 0,1 0-51 0,-1-1-46 16,-1 1-182-16,-2 0-612 15,1-4 52-15,-1 2 55 16,-1-2 134-16,0-2 59 0,-1-1 64 0,-2-1 48 0</inkml:trace>
  <inkml:trace contextRef="#ctx0" brushRef="#br1" timeOffset="155731.76">22568 4777 1389 0,'18'-1'459'0,"-5"2"-34"0,3 3-42 0,1 2 45 16,-2 0-19-16,3 1-106 0,1 6-19 0,-1 0-21 16,7 7 67-1,-5-1-30-15,-1 5-26 0,-4-2-26 0,-4-2-7 0,-4 1-42 0,1 2-17 16,-3 2-33-16,-4-5-16 0,-2 4-59 16,-4 1-46-16,0 0-36 0,-8 6-73 0,2 1-50 15,1-6-30-15,-5 2-82 0,2-14-216 0,0 6-593 16,1-1 100-16,-4-2 113 15,6-4 66 1,-1-2 102-16,-2-3 69 0</inkml:trace>
  <inkml:trace contextRef="#ctx0" brushRef="#br1" timeOffset="156222.06">23233 4915 1392 0,'0'0'402'0,"0"0"-5"0,0 0-57 0,0 0-15 0,2 18-7 15,0-7-47-15,0 1-13 16,-1 3-9-16,-1 2-45 0,3 3-9 0,-3 0-21 0,0 2-31 16,0 2-38-16,0-3-28 0,0 1-64 15,0-1-46-15,-3 1-49 16,3-1-69-16,0-2-149 0,-7 2-140 0,7-3-451 0,-1-5 110 15,1 1 49-15,-1-5 100 0,0 0 56 0</inkml:trace>
  <inkml:trace contextRef="#ctx0" brushRef="#br1" timeOffset="156410.94">23107 5157 931 0,'0'0'369'0,"0"0"-39"16,0 0 0-16,0 0-41 0,0 0 57 15,20 6-13-15,-12-5-36 0,2 3-36 16,3-2-13 0,2 3-33-16,0-3-28 0,2 2-36 0,2-2-41 0,-3 1-43 0,5-2-42 0,-4 0-73 15,1-1-111-15,0 0-210 0,-1 1-498 16,0-1 86-16,1-2 28 0,-3 1 113 0,2-2 103 16</inkml:trace>
  <inkml:trace contextRef="#ctx0" brushRef="#br1" timeOffset="156837.87">23661 4947 1131 0,'13'-2'448'15,"-3"2"-41"-15,0 2-41 0,0 1-10 16,-2-2-24-16,-3 4-50 0,1-3-3 16,-2 3-28-16,-4 1-31 0,0 0-2 0,0 1-9 0,-3 1-19 15,-4 2-29-15,2 0-38 0,0-1-18 0,0 0-23 16,-1 2-18-16,2-1-8 16,-2-2-17-16,4 0 7 0,2 1-23 0,-3-5 10 15,3 5 8-15,3-4-10 0,-1 2-3 0,0 0 15 16,1 0 19-16,0-1 4 0,1 0 21 0,0 1 11 15,-1-2 1-15,1 2-6 0,-1 0-1 16,-1 1 36-16,-2-2 69 0,0 3-44 0,0-2 29 16,-5 1-13-16,3 0-31 15,-3 2-5-15,1-4-10 0,-2 2-51 0,0-1-23 0,-2 2-55 16,2-3-68-16,-1-2-38 0,0 0-65 16,2 1-53-16,-3-3-70 0,3-1-202 0,0 2-573 0,2-2 59 15,-4-1 123-15,7 0 51 0,0 0 171 0,-8-5 34 16,6 3 63-16</inkml:trace>
  <inkml:trace contextRef="#ctx0" brushRef="#br1" timeOffset="157124.79">23933 4969 1310 0,'12'2'458'15,"0"1"-41"-15,-5-1-22 0,1 1-101 16,-4 0 3-16,-2 2-5 0,2-1-6 0,-4 2-32 0,-1 3-11 15,-2-1-18-15,-2 3-7 0,-2 0-31 16,-2 2-11-16,-3 1-7 0,2-1-18 16,-1 0-10-16,-1-1-5 0,4 0-16 0,0-4-18 0,2 2-9 15,-2-4 22-15,2 2-38 0,1-1 7 16,0-1-28-16,3 0 1 0,-1-1-4 0,3 1 6 16,0-4 10-16,0 2-2 0,3 1-24 15,-1-3-25-15,4-1-20 0,-2 2-24 0,2-1-25 16,2-2-39-16,-2 2-35 0,3-2-44 0,0 0-33 15,0-2-44-15,1 2-89 16,0 0-149-16,0-3-499 0,0 1 92 0,0 1 77 16,0-3 93-16,-1 1 65 0,1-3 103 0</inkml:trace>
  <inkml:trace contextRef="#ctx0" brushRef="#br1" timeOffset="157351.37">24255 4983 1200 0,'0'0'543'0,"0"0"-16"0,0 0-123 16,0 0-32-16,-2 13-40 0,2-6-19 0,-3 2-19 16,0-1-41-16,1 3-22 0,-3 2-21 15,2 0 2-15,-2 4-23 0,-2-2-48 16,1 2-49-16,-1 1-69 0,0 1-51 0,-2 0-56 0,-1 0-83 16,5-3-196-16,-2 0-579 0,-1-2 51 15,3 1 141-15,-1-5 36 0,1 1 51 0,0-5 82 16</inkml:trace>
  <inkml:trace contextRef="#ctx0" brushRef="#br1" timeOffset="157547.99">24109 5076 1284 0,'0'0'535'0,"0"0"-51"0,0 0-84 16,0 0-34-16,0 0-31 0,14 12-25 15,-10-6-24-15,4 0-27 0,2 0-26 16,-2 2-21-16,2-1-33 0,0-1-17 0,-1 3-42 16,0-1-25-16,-1-2-67 0,0 0-41 0,1 1-46 15,-2-2-38-15,-3 1-52 0,4-3-78 0,-3 3-165 16,2-2-553-16,-1-3 114 0,-1 2 78 16,2 0 75-16,0-3 33 0</inkml:trace>
  <inkml:trace contextRef="#ctx0" brushRef="#br1" timeOffset="158007.87">24376 4950 990 0,'6'-1'463'0,"-2"-3"-38"0,6 4-30 15,-1-1-58-15,0 1-24 16,2-1-24-16,-1 1-18 0,0 1-35 0,2-1 2 0,-3 0-26 0,-1 0-2 16,2 3-3-16,0 0 3 0,0-1-7 15,-2 4-17-15,-1 0 9 0,-1 1-6 0,2-1-30 16,-1 4 13-16,-2-1-91 16,0 2-14-16,-2 1 18 0,1 2-9 0,-3-1-19 0,1 2 1 15,1-1-6-15,-3 0-11 0,0 3 0 16,-3-4-16-16,3 2-35 0,-2 1-34 0,1-3-45 0,1 1-47 15,-4-2-61-15,1 1-44 0,2 0-102 0,-9-3-151 16,6 3-509-16,2-6 120 16,-2 0 95-16,2 2 112 0,-1-2 36 0,-2-3 51 0</inkml:trace>
  <inkml:trace contextRef="#ctx0" brushRef="#br1" timeOffset="158232.91">24463 5156 1313 0,'5'-4'404'0,"3"3"-53"0,2 0-6 0,-2-3-38 16,3 3-28-16,1 0-10 15,3-3-44-15,-2 4-25 0,0-3-3 0,3 0-36 0,-2 1-38 16,0 1-48-16,1-3-24 0,-1 2-41 0,-2-1-56 16,0 2-39-16,-3-1-63 0,0 2-108 15,-1-5-125-15,-3 5-421 0,-5 0 22 16,0 0 117-16,0 0 38 0</inkml:trace>
  <inkml:trace contextRef="#ctx0" brushRef="#br1" timeOffset="158889.44">23455 4846 1195 0,'-12'18'371'0,"4"-1"8"0,0 2-44 0,0 2-12 15,1 14-6-15,-1 5-20 0,-2 2-26 0,4 1-4 16,4 1-24-16,2 1-41 0,4-2-15 16,2 0-26-16,2-3-20 0,3-3-5 15,5-5-39-15,1-2-49 16,8-4-19-16,1-1-35 0,5-6-45 0,0-1-33 0,4-7-44 0,-4-5-92 15,0-6-146-15,3 0-553 0,-1 0 102 16,10-4 75-16,1-3 99 16,-3-1 57-16</inkml:trace>
  <inkml:trace contextRef="#ctx0" brushRef="#br1" timeOffset="159250.87">24678 4733 1535 0,'26'23'443'0,"-3"2"-28"0,3 4-52 15,5 11-25-15,1-1-15 0,-7 9-8 16,-1-2-36-16,-3 2-6 0,-8-10-32 0,0 2-29 0,-8 1-9 16,0-2-27-16,-5-3-50 0,-5 2-44 15,-3-1-49-15,-3 0-59 16,-3-4-45-16,-2-1-37 0,-2-1-35 15,1-2-67-15,-7-3-148 0,5-14-55 0,-6 12-508 0,3-9 112 0,1-4 77 16,-3 0 102-16,0-3 42 0</inkml:trace>
  <inkml:trace contextRef="#ctx0" brushRef="#br1" timeOffset="159919.57">16220 5576 1018 0,'0'0'310'0,"0"0"28"15,24 0-28-15,-17 1-29 0,3-1-48 16,-2 3-20-16,2-1-47 0,0-1-77 0,1 0-104 16,-1 2-172-16,0-3-581 0,1 3 62 0,-4 0 69 15,1-1 58-15</inkml:trace>
  <inkml:trace contextRef="#ctx0" brushRef="#br1" timeOffset="160055.84">16253 5719 926 0,'0'0'287'0,"5"4"-13"0,1-3-41 0,-1 0 5 0,3-1-46 0,-1 0-26 0,4 0-61 0,-1 0-49 0,5 0-92 0,1 0-104 16,-4 0-144-16,8 0-418 0,4 0 32 0,1-1 186 15</inkml:trace>
  <inkml:trace contextRef="#ctx0" brushRef="#br1" timeOffset="161468.97">17866 5819 473 0,'0'0'225'16,"0"0"-28"-16,18 6 3 0,-10-6-11 0,-1 0 1 15,7 0 50-15,0-1 22 0,2 1-32 0,2 0-28 16,5-3-5-16,0 3-15 0,8-2-103 0,1 0 24 16,11-3-29-16,2 1 10 0,7-2-17 15,-4 2 0-15,4 0-9 0,-1-4-4 0,3 1 10 16,2-2-28-16,10 2 5 0,1-1-5 0,0-3 5 15,-1 0-3-15,2 3-20 16,-1-1 5-16,2-1 3 0,-1 1-19 0,-1 2 19 0,-2-1-3 16,-10 1 8-16,-3 0-16 0,13-2 13 15,1 0-25-15,0 2 4 16,-12 0 6-16,11-2-13 0,-8 2 11 0,-4 1-14 0,2 0 11 0,-5-1-11 16,4 1 6-16,-3 1-1 0,0-2 11 15,3 1-18-15,-3 0-3 0,3 1 6 0,-2-2 9 16,1 3 4-16,3-1 1 0,-4 0-7 15,2 2 16-15,-2-2-8 0,-4-1 2 16,3 1-15-16,-2 0 5 16,-3 3-10-16,0-2-3 0,-2-2 1 0,-1 4 12 0,1-3 13 0,-6 2-21 15,-6 0 21 1,0 1-3-16,12-3-17 0,-8 4 2 0,0-1 13 0,9-3-6 0,-10 1-1 0,-2 4-1 16,3-2-5-16,-3 1 7 0,13-3-4 15,-2 2-3-15,-6-1-3 0,-3 2 14 16,7-1-19-16,-6-1 8 0,-3 2 5 15,1-1-2-15,-3-1 9 0,4 2 4 0,11-1-11 0,-7 1-8 0,-6 1 21 16,14-4-18-16,-9 3 3 16,-5 0-11-16,0-2 18 15,-2 3-15-15,0 0 21 0,2 0 9 0,-2-2-12 0,-3 2-18 0,-3 2 13 16,6-4-14-16,0 1 22 0,-5 1 2 16,5-1-13-16,-3 2 13 0,0-2-16 0,0 1 1 15,0 0 7-15,-1 0 0 0,3-2 6 0,-1 2-19 16,-4-1-5-16,3 1 14 15,-2 1-12-15,-1 2-1 0,1-3 12 0,-3 0 0 0,3 1-8 16,-1-1 16-16,-2 0-3 0,3 0 3 0,0 0-5 16,-1 0-3-16,1 0-8 15,-1 0 19-15,1 2-11 0,3-1-2 0,-4-1 4 16,1 2 24-16,-1-1-29 0,1-1 22 16,4 2-24-1,-5 2 5-15,0-4 18 0,0 0-13 0,0 0-13 0,0 2 8 0,-2 1-15 0,-1-1 13 0,1 1-3 16,-1 0 7-16,-3-3-9 0,4 2-6 15,-2 2 13-15,0-3 21 0,-1 1-18 0,3 1 10 16,-3-1 2 0,1-1-5-16,-1 2-4 0,0-3-4 0,-2 2-4 0,3 2 10 0,0-3-16 15,2 0 1-15,-2 1 12 0,2 1-8 16,-3-3 9-16,3 2-19 0,0-1 13 0,0 2 5 16,-2-2-7-16,2 0 12 0,2 4-15 15,1-1-2-15,-1-3 12 16,4 3 8-16,-1-1-18 0,0 2-8 0,3-4 16 0,-3 2-8 0,0 0 10 15,1 0 0-15,-1 1-2 0,1 0 18 0,-2-2-21 16,4 1-13-16,-5 0 23 0,2 0-25 0,3 0 36 16,-3 2-26-1,3-2-8-15,-1 2 23 0,1-3-7 0,0 2 5 0,0 1-5 0,12-1-14 16,-7-1 1-16,-6 1 5 0,-1 1-5 16,0-1 3-16,2-2-4 0,-1 2 1 0,-1 2-2 15,1-5-1-15,-2 3-10 0,0-1 26 0,0 2-13 16,-2-4 0-16,-3 3-11 15,0-3 8-15,-5 2-9 0,4 0 1 0,-4-2 19 0,-2 0-6 0,0 1 16 16,-1 0-3-16,1-1-5 16,-3-1-20-16,1 2 15 0,0-1-10 0,-2-1 12 15,-1 2-4-15,-1-2 4 0,-2 0-22 16,-1 0-3-16,1 0-13 0,0-2-10 0,-8 2-5 0,10-1-26 16,-6-1-23-16,-4 2-59 0,4-1-58 15,-4 1-49-15,0-5-67 0,0 5-284 0,-3-4-133 16,3 4 46-16,-8-6 110 0,0 3 93 15</inkml:trace>
  <inkml:trace contextRef="#ctx0" brushRef="#br1" timeOffset="164634.78">19248 6094 1151 0,'10'-7'372'0,"-2"1"-40"0,0 1-32 15,-3 5 53-15,3-1-30 0,1 1-16 0,0 1-13 0,-1-1-43 16,2 4-21-16,-3-1-4 0,0 1-24 0,-1-2-13 16,-1 3-17-16,0 2-21 0,-4 0 0 15,1 0-16-15,-4 3-7 0,2-4-25 0,-3 3-3 16,-2 2 7-16,-1 0-35 0,-1-3 7 0,-1 4 3 15,0-2-21-15,0-1 21 16,1-3-41-16,1 4 8 0,-1-5-13 0,2 0 5 0,0 1-21 16,0 0 13-16,2-1 11 0,-2-1-18 15,3 0-9-15,0 0 17 0,1-2-9 0,1-2-2 0,1 5 8 16,1-1-10-16,-2-4-1 16,10 2 1-16,-5-2-14 0,3 0 16 15,1-1-10-15,0 0-18 0,1-2-21 0,2 1-33 0,-1-1 8 16,-1 2-36-16,0 0-18 0,0-1-33 15,0-1-59-15,-1 1-59 0,0 1-115 0,0-2-228 16,1 1-371-16,-2-1 76 0,2 0 142 16,0 1 71-16,-2-3 79 0,2 3 96 0</inkml:trace>
  <inkml:trace contextRef="#ctx0" brushRef="#br1" timeOffset="164845.6">19707 6002 1548 0,'0'0'445'0,"0"0"-35"0,0 0-6 0,0 0-109 15,0 0-34-15,-3 14-23 0,3-7-5 0,1 1-33 0,-1 0-31 0,2 3-18 16,0 1-3-16,2-2-30 0,-2 4-29 16,3-1-14-1,-2 0-52-15,-1 1-41 0,2 0-46 0,-3 1-69 0,2-1-136 0,1-2-143 0,-3 1-487 16,4 0 88-16,-2 0 63 0,-1-3 106 15,3-2 58-15</inkml:trace>
  <inkml:trace contextRef="#ctx0" brushRef="#br1" timeOffset="165068.93">19604 6174 1034 0,'0'0'427'0,"0"0"-10"0,0 0-17 0,0 0-32 16,0 0-15-16,9-5-56 0,-1 5-30 0,0 0-4 16,1-1-40-16,1-1-16 0,6 0-51 0,-4 1 6 15,6-1-24-15,-3 0-36 0,1 1-25 16,-1-1-36-16,1 1-51 0,-1-2-41 0,-2 3-72 16,0-1-151-16,-1 0-276 0,1 1-323 15,-2 0 46-15,-4-3 149 0,1 3-8 0,-1 0 107 16</inkml:trace>
  <inkml:trace contextRef="#ctx0" brushRef="#br1" timeOffset="165349.54">20046 5990 1067 0,'0'0'512'0,"0"0"-51"15,0 0-42-15,0 0-119 0,0 0-24 0,8 16-4 16,-6-6-52-16,0-1-10 0,2 3-26 0,-2 2-15 16,0-2 0-16,0 2-49 0,1 2-35 15,-3-2-55-15,0 0-37 0,3 2-42 0,-3-3-74 16,0 0-69-16,2 0-153 0,0-2-518 0,-1 1 54 16,2-5 74-16,-3 1 103 0,2 0 72 0</inkml:trace>
  <inkml:trace contextRef="#ctx0" brushRef="#br1" timeOffset="165640.79">20361 6038 1080 0,'-7'6'453'0,"-4"-1"-33"0,3-1-37 16,-2 5-24-16,0-1-11 15,-1-1-43-15,1 3-37 0,0-3-14 0,0 1-39 0,2-1 0 16,0 1-21-16,3-1-25 0,-2-1-23 0,1-1-28 16,3-1 15-16,1 2-36 0,0-1 1 0,-1 0 17 15,3-2-3-15,5 1-32 16,-2-2-6-16,2 3-2 0,0-5-21 0,8 2 18 16,-3 0-13-16,3-1-20 0,2 0 13 0,3-2-13 15,2 1-21-15,1-3-23 0,1 1 3 16,-3 1-59-16,-1-3-20 0,3 2-14 31,-5-2-30-31,-2 2-28 0,0-3-74 0,-2 4-108 0,-9-4-113 0,7 3-480 0,-3-1 99 0,0 1 110 16,-3-2-2-16,1 2 89 0,-5 2 61 0</inkml:trace>
  <inkml:trace contextRef="#ctx0" brushRef="#br1" timeOffset="165889.4">20435 6057 1169 0,'0'0'497'0,"0"0"-44"0,-12 6-26 0,12-5-43 16,-1 5-5-16,0 0-31 0,-3 1-10 0,4 3-36 15,3-2-28-15,-3 3-46 0,0 2 28 16,-3 0-26-16,6 0-38 0,-3 0-10 0,1 1-23 16,-2 1-13-16,1-2-34 0,0 1-35 0,0-4-67 15,0 1-20-15,-3-1-41 0,3 0-36 0,0-1-49 16,0-1-48-16,3 2-146 15,-6-3-152-15,3-2-516 0,3 0 110 0,-1-2 87 16,-1 1 66-16,-1-4 36 0,4 2 98 0</inkml:trace>
  <inkml:trace contextRef="#ctx0" brushRef="#br1" timeOffset="166110.63">20682 5969 1067 0,'0'0'427'0,"2"-4"49"0,-2 4-30 16,0 0-29-16,0 0-53 0,0 0 2 0,8 11-118 15,-4-6-15-15,-3 3-31 0,1 2-5 0,-2-1-13 16,3 3-35-16,-3 1-1 0,2 0-32 16,-1 0-42-16,-1 0-49 0,0 2-32 0,2-2-42 15,-2-1-56-15,0 2-41 0,0-2-130 0,-5 0-159 16,5-3-495-16,2 1 96 0,-2-1 61 0,0-1 125 15,1-1 49-15</inkml:trace>
  <inkml:trace contextRef="#ctx0" brushRef="#br1" timeOffset="166333.76">20607 6070 1041 0,'0'-5'438'0,"0"5"43"0,0 0-28 16,0 0-23-16,0 0-18 0,8-2-56 16,-8 2-41-16,12 0-28 0,-4 0-93 0,2 1-32 15,0-1-6-15,1 0-3 0,3 1-17 0,-2-1-36 16,3 0 2-16,3 0-51 0,0 0-30 0,0-1-42 16,-3 1-12-16,3 0-74 0,0-1-55 15,0 1-101-15,-8-1-224 0,8-1-473 16,-2 2 126-16,2 0 79 0,-3-3 94 0,1 3 98 0</inkml:trace>
  <inkml:trace contextRef="#ctx0" brushRef="#br1" timeOffset="166834.44">21168 5920 1069 0,'0'0'456'0,"8"6"-31"15,-2-1 46-15,0 2-18 0,-2 3-54 0,3-1-35 0,1 3-24 16,-2-1-30-16,-2 1-36 0,2 0-28 15,-4 2-8-15,0-1-28 0,-2 0-24 0,-2-1-19 0,0 2-9 16,0-4-22-16,-4 3-3 0,3-6-12 0,-2 1-11 16,4 1-39-16,-6-2 1 0,5-4-23 15,-1 1-1-15,1-3-17 0,2-1-8 16,0 0-20-16,0 0-9 0,0 0-4 0,0 0 3 0,0-13-40 16,5 7 42-16,0 0 0 0,0-3-18 0,2-1 26 15,0-2-31-15,-1 0 28 16,2-1-18-16,-3 1 18 0,2-1-3 31,-3 1-2-31,-1-1 15 0,-1 1 11 0,3-1 12 0,-5 5-2 0,0-3 5 0,0 3 2 16,-3 0-15-1,1 1 10-15,0 0 3 0,-1 4-26 0,-1-3 16 0,-3 2-21 0,2 3-18 0,0-2-20 16,0 2-44-16,-3 0-25 0,8 1-29 0,-11 0-45 0,11 0-60 16,-9 4-158-16,4-2-599 15,2 1 51-15,0-2 51 0,3-1 138 0,-2 2 50 0,2-2 73 16,0 0 108-16</inkml:trace>
  <inkml:trace contextRef="#ctx0" brushRef="#br1" timeOffset="167019.12">21399 5849 1218 0,'0'0'425'0,"10"2"46"0,-5 1-39 0,-2 1-17 15,3 1-36-15,-4 1-31 0,3 2-107 16,0 2-24-16,0 3-12 0,-2-1-23 15,1 1-29-15,-3 0-25 0,2 0-30 0,0-1-47 0,-2 3-44 16,0 0-30-16,-1-2-61 0,-1 0-47 0,0 0-119 16,-2-6-211-16,3 6-468 0,-4-1 117 0,4-4 90 15,-4 0 62-15,1-1 99 16</inkml:trace>
  <inkml:trace contextRef="#ctx0" brushRef="#br1" timeOffset="167228.72">21378 6045 890 0,'0'0'392'0,"-2"-5"15"0,2 5 36 16,0 0-13-16,4-3-41 0,-4 3-44 0,4-3-89 15,-4 3-43-15,10-1 2 0,-2 2-16 0,2-1-19 16,1 2-1-16,1-2-28 0,4 0-13 0,1 0-25 16,-1 1-1-16,4-1-32 0,-2 0-29 15,0 0-28-15,-2 0-54 0,1 0-61 16,-2 0-74-16,-1 0-142 0,-2 0-257 0,-3 0-364 15,1 0 133-15,-3 1 43 0,1-1 90 0,-1-1 113 16</inkml:trace>
  <inkml:trace contextRef="#ctx0" brushRef="#br1" timeOffset="167769.23">21902 5828 1525 0,'5'3'451'0,"1"-1"-34"0,0 3 49 0,-2-3-49 16,0 3-33-16,-1 0-59 0,0 1-18 0,-3 1-28 15,0-1-25-15,-3 1-29 0,3 0-20 0,-5 0-34 16,3 2-40-16,1-5-16 0,-2 1-26 15,3 0-14-15,-2 0-1 0,2-1-15 0,2 0-16 16,1 1 1-16,-2-3-8 0,1 2-6 0,0-2 11 16,1 3 10-16,0-3 21 0,-1 2 5 15,2-2 30-15,-3 3-40 0,-1-1 25 0,0-1 8 16,0 2 102-16,0 0-66 0,-1-3 69 16,-3 4-21-16,-1 1-15 0,-2-1-26 0,-1 0-20 0,-1 2-21 15,-1 1-7-15,0-2-33 0,0 0-37 16,0-2-56-16,0 2-45 0,1 0-65 15,-1-2-51-15,0 2-54 0,0-2-58 0,2 1-75 16,-5-1-233-16,6-3-527 0,2 1 123 0,1 1 115 16,-2-4 56-16,6 0 128 0,0 0 54 15,0 0 72-15</inkml:trace>
  <inkml:trace contextRef="#ctx0" brushRef="#br1" timeOffset="168088.34">22068 5799 1305 0,'12'-3'366'0,"-3"1"-33"0,1 2-11 0,-3 2 55 0,-1 2-19 0,-1-3-23 15,1 4-5-15,-4-2-20 0,0 5-100 0,2 0-5 16,-3-2 7-16,-3 5-27 0,-3-1-17 16,3 2-27-16,-4 6-5 0,2-4-3 0,-2 2-10 15,1-6-21-15,2 2-4 0,-2-2-1 0,0 2-18 16,4-4-7-16,-1-1-3 0,2-1-10 15,0 1-18-15,3-2 7 0,2-1-4 0,0-2-6 16,2-2 57-16,1 2-31 0,1 0-3 16,1-1-30-16,0-2-10 0,2 1-6 0,-1 0-30 15,-1-2-26-15,2 0-23 0,-1 2-8 0,-3 0-5 16,0 0-25-16,0 0 2 0,1-2-23 16,-2 2-20-16,-3-3-6 0,-4 3-20 0,10-1-43 15,-10 1-70-15,8 0-171 0,-3-1-435 16,-5 1 5-16,5 0 118 0,-5 0 71 0,0 0 26 15,0 0 115-15</inkml:trace>
  <inkml:trace contextRef="#ctx0" brushRef="#br1" timeOffset="169551.13">16958 7300 906 0,'0'0'320'0,"8"7"-21"16,-2-7-35-16,1 0-24 0,0 1-25 0,2 2-15 0,3-1-39 16,-2-2-35-16,3 0-44 15,2 0-34-15,1 0-66 0,-1 0-99 0,1 0-101 16,-3-2-217-16,2 2-297 0,-2 0 123 0,-1 0-3 16</inkml:trace>
  <inkml:trace contextRef="#ctx0" brushRef="#br1" timeOffset="169780.98">16969 7461 1172 0,'0'0'284'0,"0"0"-2"15,13 2-50-15,-6-2-22 0,-7 0 0 16,14 0-43-16,-4-2-16 0,0-1-31 15,2 2-20-15,-1 0-23 0,1 0-36 0,2-4-31 0,1 5-110 16,0-4-61-16,-2 2-80 0,-3 2-43 0,3-5-443 16,0 4 77-16,0-1 36 15</inkml:trace>
  <inkml:trace contextRef="#ctx0" brushRef="#br1" timeOffset="172071.69">19020 7117 1448 0,'9'-3'448'0,"-3"3"-51"0,0 0-13 0,4 0-21 0,-3 3-99 0,3 0 0 0,1 2-24 15,-1 0-30-15,0 1 5 0,-4 1-5 0,1-1-10 16,-4 2-24-16,-1-2-22 0,-2 5-21 16,0-3 0-16,-4 3-15 0,0 1-16 15,-3-3-2-15,-3 4-13 0,0-1-2 0,-1 0-19 16,-2-1 8-16,1-3-22 0,1 2-9 0,1-3 13 16,2 0-7-16,0-2 5 0,4 0-13 0,-4-2 0 15,5 3-16-15,-2-4 1 0,2 2-8 16,-1-2-3-16,1 1 47 0,3-3-42 15,0 5-17-15,0-5 20 0,8 3-10 0,-3-3-3 0,0 0-3 16,3 0 16-16,4 0-23 0,0 0 18 16,2 0 5-16,1-2-74 0,1-1-13 0,-3 2-33 15,5-1-8-15,-3-1-49 0,0 1-32 16,1-2-40-16,-1 2-58 16,-2 0-128-16,-5-2-59 0,4 2-463 0,2-3 58 0,-4 4 124 15,0-3 76-15,0 3 31 0</inkml:trace>
  <inkml:trace contextRef="#ctx0" brushRef="#br1" timeOffset="172436.66">19433 7118 1149 0,'-6'-1'481'0,"6"1"-51"0,-14 1-33 0,6 1-21 16,-1 2-23-16,-1-1-20 0,0 3-39 15,0 0-17-15,0 0-34 0,0 1-20 0,1-1-16 16,2 3-43-16,0-2 5 0,-1 1-13 0,5-1-36 16,-2-1-17-16,3 0-27 0,2-1 1 0,0 1 10 15,2-4-12-15,0 3-22 16,4-4 6-16,-1-1-36 0,4 0 16 0,-1-1 4 0,1-1-30 16,3-2 2-16,1-1 16 0,-2-2-5 0,1 1-75 15,-1 2-7-15,-1-1 40 0,0 0-9 16,-2 0 20-16,-1 1 30 0,1 1-10 15,-2 2-20-15,-2 0 8 0,1-1 12 0,-5 2-2 16,5 4-8-16,-1-1 23 0,-4 1-30 0,0 2 17 16,0-1 1-16,0 0-14 0,2 2-48 15,-4 0-8-15,2 1-25 0,-1-1-49 0,1 2-41 16,0-1-31-16,0-2-102 16,1 1-187-16,1-1-432 0,0 0 79 15,0-1 58-15,2-3 86 0,2 2 104 0,-2-2 3 0</inkml:trace>
  <inkml:trace contextRef="#ctx0" brushRef="#br1" timeOffset="172754.01">19797 7099 916 0,'2'-3'379'0,"-2"3"-24"16,0 0-29-16,0 0 52 0,0 0-29 0,-15 10-1 15,9-7-39-15,-1 2-19 0,-3 1-32 0,0 1-4 16,-3 4-29-16,0-3-8 0,1 2-17 15,3-3-105-15,-1 1-6 0,0 0 9 0,2 0-9 16,3-3-9-16,-2 3-32 0,1-3 16 0,3 2 0 16,1-2-8-16,0-2 3 0,-1 2 5 15,6 1-15-15,-1-1 5 0,0-3-11 16,4 3 19-16,-1-2-26 0,3 0 4 0,0-1-6 0,2-1-27 16,3-1 1-16,-1 0-36 0,1 0-21 15,3-1-17-15,1 1-16 0,-4 0-38 0,3-2-21 16,-3-2-28-16,2 3-54 15,-5-1-48 1,0-1-123-16,-5 2-85 0,4-1-420 0,-1-2 98 0,-2 3 77 0,0-1 58 0,-2-2 96 0</inkml:trace>
  <inkml:trace contextRef="#ctx0" brushRef="#br1" timeOffset="172964.65">19833 7107 1435 0,'-3'7'484'0,"0"-1"-26"0,1 0-22 16,0 2-50-16,-1 2-7 0,0 1-28 0,1-1-29 16,2 1-48-16,0 2-28 0,-2 3-6 0,2-2-25 15,0-1-51-15,0 4-8 0,0-3-66 0,0-1-44 16,0 0-20-16,0-2-62 0,0 2-49 16,2-2-27-16,-2-3-93 0,0 5-120 0,0-7-136 15,0 1-489-15,0 3 83 0,-2-5 94 16,2 2 59-16,-1-1 63 0</inkml:trace>
  <inkml:trace contextRef="#ctx0" brushRef="#br1" timeOffset="173305.39">18743 7583 1054 0,'0'0'387'0,"15"-6"66"0,-2 5-16 0,2-2-22 16,6 0-110-16,10-3-44 0,15-1-8 16,5 1-30-16,3-1-34 0,13-4 19 0,0 3-34 0,6 2-16 15,-3-2-30-15,1-2-2 16,1 4-21-16,-3-1 7 0,-1 0-4 0,-2 0-11 0,-12 0-10 15,-5 3-8-15,-3-2-27 16,-5-1-32-16,-8 3-17 0,-5 2-21 0,-7 0-10 0,-6-1-13 16,1 2-16-16,-1 0-35 0,-5-1 5 0,1 0-28 15,-1 0-44-15,-3 2-48 0,-1 0-87 0,-6 0-111 16,5-4-493-16,-5 4 94 16,0 0 46-16,0 0 134 0,0 0 38 0</inkml:trace>
  <inkml:trace contextRef="#ctx0" brushRef="#br1" timeOffset="175882.01">19307 7702 1072 0,'6'-1'315'0,"1"1"-21"15,-2-2-15-15,0 0 46 0,0-1-41 0,-5 3-20 16,8 0-8-16,-3-1-18 0,-5 1-10 16,0 0-26-16,6-1-2 0,-6 1-34 0,0 0-10 15,0 0-15-15,0 0-5 0,-19 5-8 0,13-1-31 16,-6 2 5-16,0 0 6 0,-4 1-16 15,3-1-10-15,-2 3-8 0,0 0-18 16,-1-3 1-16,1 1-3 0,2 1-6 0,0-1 9 0,2-2-17 16,1 0-6-16,4 1-4 0,-2-2-7 15,2-1 13-15,4 3-20 0,-1-5-1 16,3 3 16-16,0-4-11 0,5 7 1 0,0-5-16 16,3 2 0-16,-1 0 13 0,3 0-10 0,1 1 7 0,-1 1 13 15,4-2-10-15,-2 0 18 16,0 1-8-16,-1 1-5 15,-1 0 33-15,0-1-40 0,0-2 37 0,-2 2 11 16,0-1 3-16,-3 1-18 0,0-1-11 16,-2 1 31-16,-3 0-7 0,0 0-9 0,0-1 11 0,-2 2 0 0,-4-1-7 15,1 2-1-15,-5-1-13 0,0 0 1 0,-1 1-3 16,-4-1-21-16,-3 1-30 16,3-1-15-16,-1-1-11 15,1 1-39-15,-1 0-4 0,4-4-8 0,-3 3-33 0,4-1-36 0,-2-2-29 16,3 3-50-16,2-3-72 0,1-1-118 0,2-1-44 15,5 0-488-15,-5-1 56 0,5 1 131 16,0 0 55-16,10-13 65 0,-3 6 56 0</inkml:trace>
  <inkml:trace contextRef="#ctx0" brushRef="#br1" timeOffset="176189.69">19476 7688 1121 0,'0'0'417'16,"0"0"-18"-16,0 0-46 0,6 8-35 15,-6-3-24-15,0 1-43 0,0 5-15 16,0 1-21-16,0 1-13 0,-3 1-13 0,3 3-25 0,0-2-10 16,0 6-29-16,0-2-12 0,3-1 4 15,-1 2-19-15,3-1-16 0,-2-3-1 16,2 1-14-16,0-1-21 0,2-5 0 0,1 0 0 16,0-1-7-16,2-3-19 0,-2 0 19 0,0-2 1 15,-3-2-6-15,3 0 7 0,-4-1 0 16,2-2 15-16,-6 0 51 0,10-3-12 0,-5 0-21 15,-2 1 47-15,-1-2-24 0,-2 4-25 16,-2-8-83-16,-1 3 19 0,-2 1-5 0,-1 1-21 16,-1-2 25-16,-1 3 4 0,-2-2-34 0,0 4 7 15,-3-2-22-15,4 1-24 0,-3 2-25 16,0-1-35-16,1 0-65 0,1 1-82 0,0-2-228 16,2 3-488-16,1 1 99 0,2-2 82 15,-1-1 131-15,6 0 56 0,0 0 54 0</inkml:trace>
  <inkml:trace contextRef="#ctx0" brushRef="#br1" timeOffset="176560.13">20514 7324 1200 0,'8'0'384'0,"0"0"-26"0,0 0-35 0,5 0-44 0,0 0-36 16,-3 0-33-16,4 0-77 0,-3 0-69 16,2 2-67-16,-2-2-148 0,-4 0-151 15,1 0-481-15,2 3 115 0,-2-1 5 0,-1-1 72 16</inkml:trace>
  <inkml:trace contextRef="#ctx0" brushRef="#br1" timeOffset="176717.65">20548 7479 1208 0,'13'0'391'0,"-13"0"-27"0,10 0-39 0,-1 0-46 0,0-3-23 0,1 3-59 0,0-2-36 0,3 2-51 16,0-3-107-16,-1 1-147 15,-1 2-629-15,5-2 31 0,-4 0 84 0,1 0 70 16</inkml:trace>
  <inkml:trace contextRef="#ctx0" brushRef="#br1" timeOffset="182969.56">21825 7174 842 0,'8'-3'355'16,"-1"2"-32"-16,0 0-13 0,-7 1-1 16,6-1-27-16,-6 1 7 0,5-1-30 15,-5 1-16-15,0 0-41 0,0 0-7 0,0 0-34 0,0 0 3 16,0 0-16-16,-31 2-15 0,21 1-23 16,-1 1-71-16,-3 0-9 0,2-2-4 15,-2 4 10-15,1-2-10 0,3-1-3 0,0 2 0 16,0-3-13-16,2 2 0 0,0 1 16 0,0-3-14 15,3 4 6-15,-1-4-5 0,2 2-3 0,2 0 3 16,2-1 8-16,0-3-26 0,2 6-1 16,0-1 14-16,1-1 2 0,5 0-7 0,-3 2-8 15,5 0 10-15,-3-1 10 0,4 0-7 0,-1 2-23 16,0 0 20-16,1 0-3 16,1 0 9-16,-3 3-1 0,1-3-10 0,0 1 13 15,-3-2 22 1,1 1 14-16,-6 3 25 0,2-3 16 0,-5 1-13 0,-2 1 5 0,-1-1 12 15,-2-1-17-15,1-1 13 0,-3 2-11 0,-2 2-2 16,0-2 69-16,0-2-13 0,0-1-31 0,-1 2-7 16,-4-2-13-16,4-2-23 0,-1 1-23 0,-1 1-47 15,3-3-7 1,0-2-53-16,0 4-27 0,1-4-22 0,1 0-80 0,1-3-178 16,0 2-654-16,1 1 105 0,6 0 88 0,-4-3 122 0,4 3 67 15,-2-4 31-15</inkml:trace>
  <inkml:trace contextRef="#ctx0" brushRef="#br1" timeOffset="183131.16">21914 7351 1156 0,'3'-6'471'0,"-1"6"-41"15,-2 0-51-15,4-6-79 0,-4 4-44 16,0 2-77-16,4-5-100 0,-4 5-132 0,3-2-349 0,-3 2-359 15,0 0 65-15,0 0 90 0,10 1 76 16</inkml:trace>
  <inkml:trace contextRef="#ctx0" brushRef="#br1" timeOffset="183469">22266 7186 1105 0,'10'2'418'16,"-2"-1"-11"-16,0 1-39 0,-1 2-25 0,-4 1-28 15,1 0-21-15,-4 1 39 0,0 2-8 0,0-1-46 16,-7 5-25-16,2-1-16 0,-3 3-16 0,-4 4-32 16,2-1 4-16,1-2-30 0,-1-2-10 31,0-1-24-31,2 0-20 0,0-4-12 0,3 3-4 0,0-5-4 0,2 1-8 0,-4-1 5 0,6 0-5 15,-3-1-70-15,2-2-6 0,2 1-12 0,0-4 14 16,0 0 10-16,4 6-13 16,-1-5-2-16,-3-1 12 0,10 0 16 0,-4 0-6 15,2 0-22-15,1 0 0 0,-1 0-50 0,5-1-19 16,-1 0-19-16,-1-3-22 0,2 3-29 16,2-1-38-16,-4-1-41 15,-1 3-51-15,4-2-138 0,-5-1-541 0,1 1 29 0,0 0 97 16,3-1 102-16,-5 2 54 15,5-4 95-15</inkml:trace>
  <inkml:trace contextRef="#ctx0" brushRef="#br1" timeOffset="183793.66">22737 7195 1133 0,'0'0'415'0,"-20"4"-13"0,9-3-13 0,-3 0-59 0,0 3-30 15,2-3-29-15,-1 3-15 0,3-1-38 0,2-2-8 0,0 4-47 16,3 0 11-16,0 1-28 0,3-3-23 16,0 2-13-16,3 1-7 0,0 1-4 15,3 1-4-15,0 1-28 0,3-1 22 0,-2 4-2 0,3-5 28 16,-3 4-35-16,2-2 20 0,-1 2 20 16,-1-3 67-16,0 3 7 0,-2-5-32 0,-1 1-1 15,0 3 3-15,-4-3-13 0,2 1-3 16,-4 1-25-16,-2 0 2 0,-4 3-12 0,-1-2-46 15,-1-2-14-15,-4 4-63 0,1-5-54 16,-1 4-69-16,3-3-61 0,-2-1-47 0,4-1-100 16,-1 1-245-16,2-1-463 0,2-2 86 0,3-2 101 15,0-2 53-15,5 0 95 16,0 0 48-16,0 0 72 0</inkml:trace>
  <inkml:trace contextRef="#ctx0" brushRef="#br1" timeOffset="183963.66">22947 7285 1284 0,'0'0'482'0,"1"7"-29"0,-2-3 43 0,-6 4-27 0,-1 1-62 0,-5 4-21 16,-2 0-120-16,-8 10-20 0,-2 1-26 0,2-1-28 16,-3 3-51-16,0 0-74 0,0 1-88 15,-2-2-56-15,3 1-94 0,-1-2-83 0,8-6-165 16,3-1-487-16,5-4 69 0,2-3 122 15,2-2 65-15,4-1 56 0</inkml:trace>
  <inkml:trace contextRef="#ctx0" brushRef="#br1" timeOffset="184153.97">22971 7444 1489 0,'-5'5'435'0,"-3"4"-30"16,0 2-39-16,-3 7 38 0,-4 0-43 15,-3 7-41-15,-4 2-33 0,1 1-64 0,-2 2-72 16,0 5-62-16,-2 5-97 0,-2 3-107 0,-6 1-276 16,7 3-477-16,-4-3 23 0,-3 1 175 15,-3 4-1-15,0-1 85 0</inkml:trace>
  <inkml:trace contextRef="#ctx0" brushRef="#br1" timeOffset="185404.34">20774 13007 1149 0,'0'0'371'0,"8"5"39"0,-2-3-47 0,3 1-10 0,3 0-46 0,4 0-10 15,4-2-18-15,3 1-28 0,1 2-38 0,9-4 14 16,0 0-37-16,5 0-16 0,11 0-21 15,0-4-9-15,0 1-9 0,0-3-22 16,-1-2-21-16,0-1-84 0,-1-2 0 16,-1-3-19-16,-2 0-4 15,5-6-8-15,-8 3-5 0,-1-3 7 0,-1 0 3 0,-3 1-10 32,10-6-10-32,-3-1 7 15,-6 4 0-15,-1 2 8 0,-5 1 0 0,-1-1 13 0,-1 1-10 0,-7 2 9 16,-4 4 9-16,-1 0-8 0,-6 2 2 0,2-2-7 15,-2 0 7-15,-3 2-15 0,-1 0 23 0,0 2 5 0,-4-1-2 0,2-1-3 0,-3 1 0 0,-2-1 12 16,0 1 19-16,-4-3-33 0,-1 2 27 0,-3-2-10 16,-1-2-15-1,-3 2 8-15,-1-4 13 16,-2 1-16-16,-2-1 0 0,-9-2 18 0,7 2-10 16,-1 2 2-16,2 1 11 0,0 0 2 0,-2-1-5 0,-6-4-10 0,3 5 12 15,-5-2 1-15,0-2 7 0,3 8-10 16,-8-3 8-16,0-1 2 0,1 5 13 0,-2-2 3 0,-7-2-21 15,3 5 33-15,-2-1-7 0,-3 0-10 0,0 1 4 16,0 3-17 0,-1-3-21-16,2-1 26 0,-3 4 67 0,-1-2 1 0,2 2-19 15,0-2-1-15,9 6 9 16,1 0-14-16,1 0 5 0,0 1-9 0,-3 0-4 0,-11 3 14 16,4 2-6-16,-2 1-20 0,0 2 10 0,2 2 10 15,-2 2-9 1,-3 3-37-16,5 1 28 0,-6 5-15 15,8-1-2-15,5 3 4 0,-5 6 9 0,0 3-19 16,13-4 8-16,0 2-12 0,2 2 17 0,3 2-26 0,2 1 21 0,3 0-84 0,3 2 5 16,5-1-6-16,2 2 19 0,5-5-11 15,3 6 21-15,8-1-16 0,5 0 6 0,5-2 2 16,8 5-18 0,7-3 18-16,3-5-10 0,5-4-3 0,2-1-7 0,-4-7-1 0,10 1-14 0,-3-9-14 15,-2 0-22 1,6-5-21-16,0-2-26 0,1-2-23 0,0-4-15 0,5-3-28 0,-2-4-11 15,10-3-30-15,-12 0-56 0,4-3 20 16,2-4-202-16,-16 6-428 0,-1-4 90 0,0 0 46 16,-6 2 94-16,-1-2 47 0,-8 3 95 15</inkml:trace>
</inkml:ink>
</file>

<file path=ppt/ink/ink8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03:04.206"/>
    </inkml:context>
    <inkml:brush xml:id="br0">
      <inkml:brushProperty name="width" value="0.05292" units="cm"/>
      <inkml:brushProperty name="height" value="0.05292" units="cm"/>
      <inkml:brushProperty name="color" value="#FF0000"/>
    </inkml:brush>
  </inkml:definitions>
  <inkml:trace contextRef="#ctx0" brushRef="#br0">8177 2925 624 0,'-5'-3'248'0,"5"3"-17"15,0 0-11-15,0 0-33 0,-8 0 5 0,8 0-31 0,0 0-2 16,0 0-16-16,0 0-15 0,0 0-8 16,0 0 11-16,0 0-42 0,0 0 4 15,0 0-12-15,0 0 30 0,0 0-40 0,0 0-7 0,19-1 67 16,-12 0-11-16,1 0-28 0,2 0-10 15,0-1 8-15,6-1 4 0,4-1-32 16,1 1-3-16,1 0 0 0,5-3-13 0,13-1 0 16,1 1 7-16,0 0-14 0,3 0 4 0,-2 0 1 15,3 0-8-15,-1 2-6 0,-3-2-6 16,-6 3-9-16,-4 0-7 0,3 0 12 16,-1 1-2-1,-2 1-72-15,2-3-2 0,1 4 12 0,-1-3 1 0,0 3-1 0,3-3 19 0,-3 1-24 0,3 1 13 16,-2-2 13-16,2 3 8 15,-3-2 5-15,0 1-16 0,1-3 3 0,-4 4 15 0,-1-1-10 16,-4-1 13-16,1 2-8 0,-1-3-4 16,-1 1 6-16,1-1 6 0,-1 1-13 0,-2 0-10 15,-1-1 31 1,0 0-19-16,-1 0-4 0,0 2 20 0,-2-1-8 0,-2-1-5 0,-1 1 18 16,3 0 1-16,-5 0-1 0,3 1-10 0,-2 0 5 15,-1-1-16-15,1-1 14 0,1 3 4 16,0-2-12-16,0 1 13 15,1-2-14-15,-3 3 6 0,3-2 10 0,-2 2-7 0,2-1 15 16,-1-1-13-16,1 0-8 0,2 1 10 0,-3 1 1 16,1 0 10-16,1-1 0 15,-2 0-13-15,1 1 18 0,2 0-16 16,-3-2-7-16,1 2 5 0,-1 0 5 0,1-1-15 0,-4 2 10 0,1-1 15 16,0-1-17-16,0 2 9 0,-2-1-9 15,1 2-3-15,0-2 5 0,2 1 2 0,-2-1-4 16,1 1 2-16,0 0-11 0,0-1 17 0,2 2-14 15,-2 0 5 1,4-2 11-16,-3 1-8 0,1-1-8 0,1 2 13 0,1-2-5 0,1 0 0 16,-2 1-10-16,2 1 2 0,-1-2 3 15,1 1-2-15,1-1 2 0,1 2 5 0,0-2-18 16,-1 0 2-16,1 3 14 0,0-3-3 0,1 2-8 16,-3-1 3-16,3-1 10 0,-1 1-11 15,-2 1 11-15,3-2-7 0,-3 0 7 0,2 0-3 16,-2 0-5-16,0 1 1 0,2-1 17 0,-2 0-10 0,1 0 3 15,-1 1-16-15,-1-1 3 16,1 2 12-16,0-2-12 0,0 1 7 0,0 1 6 16,0-4-11-16,0 4-7 0,0-2 15 0,0 0-3 15,0 0-12-15,-1 0 15 0,1 0 10 0,1 0-7 16,-1 0-3-16,0 0 5 0,-1 0 2 16,1 0-9-16,-2 1 4 0,2-1 4 15,-1 0-9-15,1 0-10 16,0-1-2-16,-2 1 5 0,2 0-6 0,0 1 6 0,-3-1 0 0,3 0-29 0,-2 0 27 15,2 1-1-15,-3-1-5 16,0 0 5-16,0 0-18 0,-1 0-7 0,-2 1 12 16,1-1 1-16,-3 0 9 0,0 0-7 0,1 0-10 15,-1 0 13-15,0 3-3 16,-2-3-6-16,0 0 1 0,0-3 5 0,-3 6 10 0,2-3-4 16,-7 0 14-16,11 0-15 0,-4 0 3 0,-2 1 15 15,-5-1-8-15,10 0 5 0,-10 0 3 0,8 0-10 16,-8 0 13-16,10 0-8 0,-5 1 7 15,-5-1 6-15,14 0-3 0,-7 0-10 16,0 1 7-16,1-1 6 0,0 0 0 0,3-1-16 0,-1 1 0 16,0 0 14-16,3-1-4 0,-1 1-17 15,2 0 17-15,1-1-4 0,3 1 7 16,-2 0-3-16,1-3 14 0,1 3-19 0,0-1 6 16,2 2 12-16,-1-1-10 15,3-1 11-15,1 0-6 0,3 0 10 0,0 1-15 0,-1-2 24 0,2 2-32 16,5-1 16-16,-1-1-3 15,2 0-10-15,-2 2 5 0,3-3 3 0,-3 2 12 16,2-1-30-16,3-1 8 0,-3 3 4 0,0-1-7 0,13-1 10 16,-9 0-2-16,-4 2-1 15,0-1 6-15,3 1-29 0,0-2 32 0,8 1-11 0,-4-1-3 16,-3 0 6-16,-4 2-1 0,3-1-4 16,-3 0 2-16,0 1 2 0,1-1 3 0,-3 1-12 0,2-3 4 15,0 3 11-15,0 0-11 16,-2 0 8-16,2 0-12 15,0-2 20-15,-2 2-13 0,0 2 12 0,3-5-7 0,-1 3-2 0,0-2 2 16,-2 2 18-16,2-1-23 0,-2 1-2 0,0-1 12 16,0 0-2-16,2-2-14 15,-2 1 4-15,-6 2-3 0,1-1 2 0,2-1-7 16,-2 2 0-16,0-2 2 0,-3 2 21 0,2-1-11 16,-2 1-2-16,0 0 11 0,0 0 1 0,1 0-14 0,1 0 7 15,-1-1-13-15,0 1 6 0,0-1-3 16,1 1 2-1,-2 0-5-15,3-2 6 0,0 1-8 0,-1-1 15 0,-2 2-16 0,1-1 9 16,-1 0 22-16,0 1-17 0,0-3 12 16,0 2-22-16,-5 0 4 0,0 1-10 0,0 0 6 15,2-1-9-15,-2 1 29 0,-2 0-16 16,1 0 11-16,1 0-13 0,0 0 5 0,0-3 5 0,-2 3-7 16,2-1-6-16,0 1 8 0,2-1 10 15,-2 1 13-15,5-1-28 0,-5 1 2 16,1-2-2-16,5 1 5 0,-3-2-2 0,3 2 9 0,-2-1-17 15,1 1 10 1,1 0 8-16,-4-1-11 0,3 2 6 0,0-3-13 0,-2 3 17 16,4-1 11-16,-4 1-23 0,2-1 8 0,0 0 7 0,0 1-7 15,0 0-6-15,-2 0 36 0,4-2-38 16,-2 1-8-16,-4 1-2 0,1 0 10 0,3-2 13 16,0 2-8-1,-2 0 0-15,2 0-3 0,-1-1 0 0,-1 1-7 0,0 0 0 0,2 0 18 16,-6 0-6-16,2 0-4 0,1 0-1 15,0 0-12-15,-1 0 20 0,3 0-8 16,-1 0 13-16,-3 0-2 0,3 1-10 0,-3-1-4 0,0 0 17 16,2 2-6-1,-5-2 0-15,3 0-2 0,0 0-11 0,-2 0 5 0,-1 1 3 0,1 1 13 16,-1-2-5-16,1 0-18 16,-1 1 12-16,0 0 13 0,0 0-15 0,1-1-7 0,-3 0 4 0,4 0 19 15,-4 0-14-15,0 0-7 16,3 0-3-16,-1 0 6 0,0 0 9 0,1 3-7 0,2-3 8 15,-3 0-16-15,3 0 1 16,0 0-9-16,-3 0 16 0,3 1 3 0,0 0 2 0,-2 0 5 16,2-1-12-16,2 0 7 0,-2 0-3 0,2 0-7 15,-1 0 16-15,1 0-14 0,3 0-7 16,-2 1 15-16,2-1-5 0,-5 2 5 0,5-2-5 16,-2 1 3-16,1-1-3 0,1 3 2 0,-2-3 6 15,2 0-13-15,-2 0 5 0,1 0 0 16,-1 1 7-16,0 1-2 0,4-2-10 15,-4 0 10-15,2 2 6 0,0-2-22 0,0 0 9 16,2 0-6 0,-1 1 3-16,-1-1 0 0,0 3 8 0,3-2-6 0,-3-1-7 0,2-1 12 0,1 1 9 15,2 0-17-15,0 0 24 0,1 1-28 16,-2-1 10-16,-1 0 3 0,3 0 4 0,-4 0-2 16,6 0 3-16,-5 0-16 15,-1-1 14-15,-1 2-4 16,4-2-4-16,-5 1-9 0,2 0 11 0,1 0 3 0,0 0-1 0,1 0-17 0,-1 0 18 15,2 0 7-15,-2 0-10 0,2 0 5 16,3 0-18-16,-3 0 13 0,3-3 5 0,0 3-10 0,-1 0 28 16,1 0-23-16,-3 0-5 15,0 0-3-15,-4 3 8 16,2-6 0-16,-1 6 3 0,1-3 10 0,-3 0-13 0,3 0 28 16,-1 1-20-16,0-1-3 0,-2 0-13 0,3 0 29 0,-3 0-32 15,3 0 4-15,-1-1 2 0,-1 1-3 16,1 0 0-16,1 0 6 0,-3 0-11 0,0 1 21 15,3-1-8-15,-3 0-3 0,0 1 11 16,0-1-3-16,0 0-5 0,0 1-5 0,1-1 17 0,1 0-12 16,-1-2 3-16,-2 2 5 15,4 0-8-15,-3 0 2 0,-2 0 6 0,4 0 7 16,0 0 1-16,-2 0 4 0,1 0-7 0,1-1 2 0,3 1 1 16,3-3 7-1,0 3-3-15,0-1-10 0,3-1-5 0,-3 2 13 0,1-3 5 16,-1 1 3-16,2 0-13 15,-2 2 5-15,3-3 0 0,-3 1-11 0,2 2 19 0,0-4-16 0,-2 3 16 16,0-1-16-16,0-1 5 0,-1 3 1 16,1-2-6-16,0 1 16 15,-1 1-29-15,4-4 85 0,-1 3-13 0,0-1-15 0,1 2-16 0,-1 0 11 16,-2 0-1-16,2 0-14 0,-2-2 25 0,2 2-24 16,-5-1-4-16,0 2 15 0,-2 1-28 15,-1-2 3-15,1 0 4 16,-5 1-9-16,2 0 7 0,-3 0 0 0,-2-1-3 0,-2 2-20 0,-1 0 8 15,-2-2 2-15,-3 1 3 0,3 1-3 16,-3-2 5-16,-1 0-7 0,-2 0-13 16,1 1 10-16,-3 1 16 15,-5-2-6-15,13 0-12 0,-9 0 9 0,-4 0-7 0,11 0 11 0,-11 0-6 16,5 0 5-16,-5 0-12 0,8 0 5 0,-8 0-6 16,5-2 1-1,-5 2 17-15,0 0-20 0,0 0 0 0,7-1-20 0,-7 1-3 0,0 0-3 16,0 0-10-16,0 0-15 0,0 0-23 15,0 0-18-15,3-2-47 0,-3 2-81 0,0 0-156 0,0 0-428 16,0 0 57-16,0 0 69 0,0 0 84 16,0 0 69-16</inkml:trace>
  <inkml:trace contextRef="#ctx0" brushRef="#br0" timeOffset="13162.2">926 3697 611 0,'8'-1'215'0,"2"1"-23"0,1-2-13 0,1 2-22 0,2-3-17 0,0 3-7 15,0 0-10-15,3-2 10 0,0 1-28 16,0 0-7-16,1-1-1 0,5 1 0 0,-5 0-23 0,5 1-2 15,-2 0-8-15,1 0 5 0,1-1-18 16,3 1 1 0,-3 0-9-16,3 0 6 0,-1 0-8 0,1 0 0 0,0 0 2 0,-2 0-2 0,0 0 5 15,2 0-5-15,0-1-2 0,-1 1 9 16,1 0-12-16,-1 0-8 0,1 0 5 0,0 0 16 16,0 0-26-16,-1-3 5 0,1 3 0 0,0 0-5 15,-1 0-5 1,-2 0 8-16,1 0-6 0,-1 3-4 0,2-3 4 0,-1 0 1 0,1 0 4 15,0 0-2-15,-2 0-10 0,1 0-8 16,1 0 8-16,-1 0 18 0,-2 0-21 0,1 0 3 0,1 0 10 16,-1 0-31-16,-2 0 24 0,1 0-1 15,1-3-7-15,-2 3-1 0,-4 0 9 0,2 0-11 16,1-1 10-16,-2 1-5 16,1 0-12-16,-2-1 4 0,6 0 9 0,-4 1 1 0,1-2-9 15,0 1 10-15,-2 0-13 0,3 0 0 16,-4 0 5-16,4-2 13 0,-3 2-8 0,0 0-7 15,2 0 7-15,-1 1 10 0,-1-1-12 0,2-2 2 16,-2 3 11-16,-1-2 2 0,1 2-13 16,1-1-13-1,-1 1 9-15,2 0-6 0,-4 0-3 0,2 1-2 0,0-1-8 0,-1 0 8 0,1 0 5 16,0 0-3 0,-2 0-7-16,2 0 10 0,-3 0 0 0,3 1-5 0,0-1 5 15,-3 0-10-15,3 0 15 0,0 0-5 0,0-1 13 16,-3 1-21-16,3-1 11 15,0 1-11-15,-3-2 13 0,2 2-10 0,1-1 5 0,-1 1 2 0,1-2 11 16,0 1-20-16,0 1 17 0,0-3-2 16,0 2-3-16,-2 1-10 0,2 0 7 0,-1-1 1 15,1 0-11-15,2 1 5 0,-2-1 6 0,3 1 7 16,-1-3-7-16,1 3 12 16,2 0-12-16,-5 0 4 0,3-2 1 0,2 1 2 0,-3 1-30 15,1-2 4-15,-1 1 19 0,1 1-6 0,1-2 1 16,-1 2 7-16,2-2-2 0,-2 1-3 15,0-1-13-15,-1 0 3 0,0 2 2 16,-2 0 10-16,0-1-4 0,3-2 76 16,-4 3-15-16,1-1 0 0,3 0-16 0,0-2-7 0,-1 2 10 15,-2 1-10-15,0-2-8 0,1 2 16 0,1-1-21 16,0-1-3 0,-2 1 1-16,0 0-3 0,2-1 7 0,-2 2-9 15,0 0 2-15,3-3 5 0,-3 3-16 0,0-1-4 0,-1 1 10 16,1-1-3-16,-2 0-5 0,2 1 3 0,-2-2 4 15,1 2-9-15,-2 0-8 0,1 0 5 0,-1 0 15 16,1-1-17-16,-1 1-3 16,-1 0 12-16,3 0-7 0,-4 1-7 0,0-1 14 0,3 0-4 15,-2 0-3-15,-1 0 0 0,0 0 13 0,2-1-3 16,-2 2-31-16,-2-1 32 16,2 0-17-16,-1 2 4 0,1-2 7 0,2 0 0 0,-2 0 3 15,0 0-8-15,0 0 0 0,-1 0-3 16,1 0 1-16,0 0 15 0,2 1 7 15,-1 0-23-15,-2-1-2 0,1 0 8 0,0 0 7 0,0 1-20 16,2-1 25-16,1 0-10 0,-2-1-5 16,2 2-5-16,-1-1 0 0,1 0-5 0,-1 0 0 0,-1 0 15 15,0 0-5-15,0 0 2 0,1 0 11 16,0 0-13-16,-2 0 8 16,2-1-13-16,1 1 0 0,-1 0-8 0,0 1 18 0,1-2 0 15,-1 0-13-15,1 0 6 0,-1 1-1 16,1 0-2-16,-1 0-5 0,0 0 12 0,1 0 16 0,1 1-10 15,-1-1-5-15,2 0 2 0,-2-1-10 16,1 1-3-16,-2 0-5 16,3 0 13-16,-2 0 5 0,-1 0-2 0,1 1 17 0,-1-1-25 15,3 1 10-15,-2 0-5 0,-1-1-7 0,1 0 7 16,1 3 0-16,-2-3 5 0,1 0-8 0,-1 0 3 16,1 1 3-16,-1-2-1 0,1 2-4 0,-1-1 2 15,0 0 23-15,0 1-31 16,-1-1 0-16,-1 1 13 0,2-1 1 15,-5 1 6-15,3 1-12 0,-1-2 11 0,-1 0-9 0,1 0-2 16,-1 0-5-16,-1 1 18 0,3-1-3 0,-3 0-15 0,-2 0 8 16,2 0 2-16,-3 0-16 15,2 0 6-15,-1 0 16 16,-1 0-6-16,3 0-3 0,-2 0 6 0,-1 0 15 0,1 0-18 0,0 1 8 16,-3-1-18-16,3 0 7 0,0 1 1 0,-1-1 2 15,4 1 3-15,-6-1-6 0,4 0 8 16,-1 0-4-16,0 3-4 0,0-3-15 15,-1 0 11-15,1 0 4 0,0 0-7 16,2 0 13-16,-2 0-16 0,-1 0 1 0,3 0 4 16,1 0 3-16,-1 0-3 0,0 0-15 0,1 1 29 0,-4 0-6 15,3-1 5 1,-1 0 13-16,1-1-18 0,0 2-2 16,-2-1 7-16,0 0 5 0,2 0-12 0,-3 1 7 0,3 1 6 0,1-4-4 15,-4 4-9-15,1-1-3 0,0-1 18 0,0 0 0 16,-3 0-11-16,2 0 1 0,1 0 0 0,-8 0-3 15,11 1-8-15,-6-1 11 0,2 1 7 0,-7-1 16 16,10 0-8-16,-10 0-13 16,9 0-10-16,-2 0 13 0,-7 0 3 0,10-1-11 0,-5 2 2 15,3-2 9-15,-8 1-19 0,13 0 1 16,-8 0 7-16,5 0-3 0,-3 0 8 0,1 0-10 16,0 0 16-16,0-1-3 15,2 1-13-15,-2 0-8 0,2-1 16 0,0 1-8 16,1-2-3-16,-4 2 6 0,1 0-6 0,0 0 1 15,0 0 25-15,2 0-26 0,-3 0-5 0,3 2 11 0,0-2 12 16,-2 0-20-16,0 0 8 0,0 1 2 16,2-1-3-16,-2 0-2 0,2 0 3 0,1 1 15 15,-1-1-10-15,0 0 2 16,0 1-8-16,1-1 6 0,1 0-23 0,-2 2 22 0,3-2-12 16,0 0 8-16,0 1 7 0,-1 1 3 15,4-2-23-15,-1 0 15 0,-4 0-10 0,5 0 10 16,1 0-3-16,-6 1 11 0,2 0-8 0,1-1-15 15,-3 0 20-15,4 0-10 0,-4 1 13 16,4-1 2-16,-2 2 3 0,-1-2 0 0,4 0-20 16,-5 1 7-16,1-1-8 0,0 0 8 15,4 2-15-15,-3-2 18 0,-1 0 2 0,2 0-10 0,-2 0 3 16,-1 3 2-16,1-2-5 0,1-1 10 16,0 0 5-16,-2 1-10 15,1 0 6-15,1 0-17 0,-3 1 9 0,3-2-6 0,-2 1 1 0,-1 0 4 16,2 1 9-16,-2-2-9 0,1 1-2 0,-1 1 5 15,0-1-7-15,-2 0 12 32,2 0-23-32,-2-1 16 0,2 4-8 0,-2-4 7 0,2 1 34 0,-2-1-49 0,-2 1 18 0,1 0-10 15,-2 1 23-15,0-1-15 0,-5-1 7 0,10 0-10 16,-10 0-5-16,6 0 25 16,-6 0-32-16,7 1 6 0,-7-1 6 0,0 0 16 0,8 0-14 0,-8 0 1 15,0 0-6-15,0 0 6 0,0 0 2 16,0 0-18-16,7-1-2 0,-7 1-34 0,0 0-7 15,0 0-21-15,0 0 3 0,0 0-57 16,0 0-68-16,0 0-121 0,0 0-438 0,0 0-92 16,-17-4 93-1,11 3 71-15,6 1 92 0,-15 0 64 0</inkml:trace>
  <inkml:trace contextRef="#ctx0" brushRef="#br0" timeOffset="24259.79">14415 3021 775 0,'0'0'369'0,"0"0"-34"15,0 0-12-15,0 0-24 0,0-5-25 0,0 5-28 16,0 0-77-16,0 0-21 16,0 0-15-1,0 0 0-15,0 0-10 0,0 0 3 0,-2-3-45 0,2 3 27 0,0 0-13 0,0 0-1 0,0 0-19 16,0 0 4-16,0 0-25 16,0 0 2-16,0 0-15 0,-6 12 2 0,4-9-7 15,0 3-5-15,2 0 23 0,-3 1-16 16,3 2-5-16,-3-1 1 0,3 3 4 0,-2-2 3 0,2 3-13 15,0-1 6-15,0 1 65 16,0 1-12-16,0 2-23 0,0 2 0 16,-2 2-12-16,1 1 22 0,1 2-18 0,-3 4-5 0,1 1-5 0,0-1 3 15,1 2-11-15,1-1-9 0,-2 2 27 0,-1-2-15 16,1-1 10-16,2 2-15 0,-1-7-16 16,-1 5 3-16,2-3-10 15,0-3-8-15,-2 2 18 0,2-2-7 16,-3-1-9-16,3-2-12 0,0 0-5 0,0-2 7 0,0-1 14 0,0-1 1 15,0 0-22-15,0-1 26 0,0-2-11 16,0-1-8-16,0 1 1 0,0-4-6 0,0 1 10 16,0 0-2-16,0-2 16 0,0 2-21 0,0-4 12 15,0 2-9-15,0-1 9 0,0-4-9 16,3 6 2-16,-3-3 8 0,0-3 10 0,0 4 2 16,0-4-20-16,2 2 10 0,-2-2-5 15,0 5-5-15,0-5 5 0,0 0 1 0,0 0 9 0,5 0-20 16,-5 0 7-16,0 0-7 0,10-2 0 15,-10 2 5-15,11-6 13 0,-6 4-16 16,0 1 11-16,3-2 5 0,0 0-13 0,2 1 0 0,0 0-10 16,2-1-1-16,4-2 14 0,-3 3-3 15,7-2 5-15,-1 0-7 0,3 0 2 16,4 2 5-16,3-4 7 0,-1 2-6 0,0 1 9 16,5-1-15-16,10 0 13 0,-9 0 2 15,10-1 8-15,-1 0-8 0,4-3 9 0,-4 3-14 0,3 3-13 16,-2-5 6-16,2 3-13 0,-3-2 33 0,-6 4-23 15,-2-2 2-15,6-1-4 0,-5 2 7 16,-3-2 2-16,-2 3-4 16,3-1 12-16,-3 0-12 0,2-1 15 0,8 1-23 0,-5-1 12 15,-5 3 11-15,1-4-13 0,-3 3 18 0,1-1-28 16,-1 0 23-16,-4 2-18 0,1-1 5 16,2 0-20-16,-5 1 38 0,0 0-8 0,1-2 3 15,-1 1-23-15,2 1 0 16,-4-1-5-16,0 1-6 0,1-1 19 0,-1-1 0 0,-1 1-21 0,-2 0 18 15,1-1-11 1,3 1 9-16,-3-2-6 0,-1 4 0 0,2-3 11 0,1 0-11 16,-1 1 1-16,0 0 14 0,1 2-4 0,-3-3-8 0,3 1 20 15,-4 1-10 1,1 1 8-16,0 0 10 0,3-3 8 0,-3 2-11 0,2 1-7 16,1-2 0-16,1 2-8 0,-3 0 5 15,1-1-10-15,3 1 3 0,0-2 12 0,0 2-5 0,-2 0-2 16,2-1 2-16,2 1-5 0,-2-1-12 15,1 1 17-15,-1 0-10 16,0 0-10-16,3 0 17 0,-3-1 19 0,3 1-18 0,-1 0-19 0,1 0-12 16,2 0 29-16,3 0-17 0,0 0 6 15,-6 0 0-15,8-1 23 0,-2 1 0 0,0 1-13 0,0-1-8 16,1 0-14 0,-1 0 24-16,0 0-14 0,0 1 12 0,-5-1-13 15,0 1 21-15,-3 0 2 0,2 1-12 0,0-1 7 0,-4 0-5 0,2 0 3 16,1 1 10-16,-4-2 7 0,1 2-4 15,-3-2 7-15,2 1-15 16,-2-1-18-16,2 2 7 0,1-2-45 0,-4 0-3 0,-1 3 7 16,3-3 6-16,-2 0 2 0,-4 1 8 0,0 0-10 0,-1 0 25 15,-1 0-5-15,2 1 31 0,-1-1-18 16,-1-1-7 0,4 0 4-16,-5 2 3 0,3-2-8 0,0 1-7 0,-3-1 7 15,3 3 1-15,-3-3 7 0,4 1-11 0,-4-1 1 16,0 1-23-16,2-1 41 0,-4 3-14 0,3-2-11 0,-1-1 1 15,-2 1 3-15,2 0 8 0,0-1-5 16,-5 0 7-16,3 0-7 0,-1 2 8 16,-2-1 14-16,3 1-6 0,0-2-17 0,0 0 29 15,-3 1-2-15,5 0-27 0,-2-1 24 16,2 1-20-16,0 1 7 0,-2-2-3 0,4 3 3 16,-3-3 13-16,1 3 5 0,0-2 2 0,0 0-12 15,1 0 2-15,1 0 3 16,1 1 15-16,-3-1-8 0,4 0-22 0,-2-1 10 0,0 2-8 0,2-1 7 15,1 1 9-15,1-1 7 0,-1 0-23 16,1 0 23-16,-2 2 10 0,2-2 0 0,2-1-28 16,-1 1 3-16,-1 0 0 0,5 2-11 0,-3-2 16 15,0 0-10-15,-1 0 12 0,1 0-2 16,3 2-16-16,-1-1 13 0,1 2-10 16,-3-4 8-16,0 1-3 0,2 0 16 0,1 0-44 15,-3 0 18-15,2 1 7 16,-2-2 1-16,-2 1-6 0,2-1 11 0,0 0 10 0,0 1-16 0,-3 0 6 0,1-1-13 15,1 1 2-15,-2-1 8 16,1 3 11-16,-3-3-4 0,2 0 1 0,-2 0-10 16,2 0-8-16,1 0 10 0,-3 1-3 0,-1-2-7 15,4 2 5-15,-4-1 13 0,1 1-10 16,1-1-11-16,0 0-2 0,-3 0 10 0,4 0-13 0,-2 1 8 16,-1-1 2-16,2 0-20 0,-1 0 16 15,-1 0 4-15,-1 0-5 16,1 0-15-16,1 0 26 0,-2 0-11 0,-4 0 13 15,4 0 3-15,-1 0-13 0,-3 0 7 0,3-1 9 0,0 1-6 16,-1 0 15-16,0 0-10 0,0 0-30 16,1 0 20-16,0 0 15 0,0 1-25 0,0-1 5 15,1 0-8-15,-1 0 21 0,2 0-3 0,-3 2 0 16,3-2-2-16,-2-2 2 16,1 2 2-16,-1 0 1 0,-2 2-3 0,2-2 16 0,-2 0-19 15,0 0-2-15,0 0 8 0,-2 0 7 16,-6 0-10-16,14 0-17 0,-7 0 7 0,-1 1 2 0,1-1 13 15,-7 0-7-15,13 0 2 0,-8 0 5 16,3 0-12-16,0 0-1 0,-8 0 3 0,12 0 0 16,-6 0 10-16,1 0 6 0,-7 0-4 15,11 0-17-15,-11 0 16 0,7 0-4 0,0 0 1 0,-7 0-6 16,8 0 1-16,-8 0 5 0,8 0-21 0,-8 0 21 16,0 0 2-16,8-3 10 15,-8 3-12-15,5-1-16 0,-5 1-7 0,5-1 20 16,-5 1-2-16,5-1-9 0,-5 1 1 0,3-5 3 15,-1 3 12-15,-2 2 5 0,3-5-17 0,-1 1 10 16,-2 4 9-16,1-5-4 0,-1 1-3 16,2-1 3-16,-2 0 3 15,3 2-9-15,-3-3-4 0,0 0-3 0,0-1 8 0,0-3-8 0,0 2-13 16,0-1 15-16,0-1-9 0,0-2 2 0,-3-1-3 16,3 0 3-16,0-2-3 0,-2 1-12 15,2 0 14-15,0 1-9 0,0-3 13 16,-1 2-16-16,2 1 2 15,-1-3 6-15,0 2 15 0,0 0-5 0,0-1-15 0,0 1-16 0,2-1 13 16,-2 3 21-16,3-4-26 0,-1 3 15 0,-1 0-18 16,-1 0 16-16,2 0 2 0,0 0 1 15,-2 1-1-15,3 0 6 0,-1 0-6 0,-1 1 5 16,1 1 3-16,0-2-10 0,-2-1 13 31,3 3-3-31,-2 2-13 0,-1-3 26 0,2 2-8 0,-2 0-13 0,0 0 0 0,0 3 1 16,0-3-1-16,0 2-5 0,0 2 31 0,0-2-38 0,0 2 15 15,-2 0 2-15,2-1-2 0,-1 0-3 0,-2 1 16 16,3 0-21-16,-2-1 5 0,2 2 1 16,-2 0 7-16,2-1 10 0,-1 0-13 15,0 1 1-15,1-1 2 0,-1 0 2 0,1 5 6 16,-3-6 2-16,1 4-17 0,2 2 2 0,-2-7-1 16,2 4 4-16,0 3 2 0,-1-3-8 0,1 3-20 15,-2-5 23-15,2 5-3 0,-3-4 6 16,3 4-27-16,-2-3 19 0,2 3-5 15,0 0 12-15,-9-1 11 0,9 1-5 0,-7 0-16 0,7 0 5 16,-10 0-7-16,10 0-1 0,-11 2 9 0,6 0-1 16,-3 0-10-1,-1-1 0-15,0 2 10 0,-1 0 1 0,0-1 2 0,-2-1 2 0,1 2 3 16,-1-2-2-16,-2 2 9 0,1 0-14 0,-4-1-11 16,2 1 13-16,-3 0 7 0,2-1-2 15,-1 1-18-15,0-1 16 0,-1 1 4 0,2 0 16 16,0-2-26-1,0 1 6-15,-1 0 4 0,1-1-7 0,-2 3 3 0,3-4-6 16,-3 1 3-16,2 1 0 0,-1 0-5 0,0-1 2 0,0 0 5 16,0 0 14-16,0 0-9 0,1-1-10 0,-1 3 14 15,1-3 6-15,-2 2-14 16,3-1 7-16,0 0 0 0,0 1-2 0,2-2-1 0,0 1 6 16,3 0-3-16,-5 1-10 0,3 1 0 15,-4-1 5-15,3-1 2 0,1 2 11 0,-4-2-21 0,2 0 19 16,1 0-16-1,-2 0 2-15,0 1-7 0,-3 0 15 0,3 0-13 16,-1-1 6-16,-2 1-6 0,3-1 8 0,-1 0 0 0,1 2-8 16,-1 0 11-16,-1-3-1 0,2 2-12 0,-1 0 10 15,1-1-15-15,-3 0 33 16,5 0-21-16,-5 1-25 0,5-1 33 0,-2-1 0 0,4 1-7 16,-4 1-1-1,5-1 1-15,-3-1 2 0,3 2-3 0,-3-2-10 0,2 0 26 0,-1 1-5 0,-1 0-6 16,-2 0-4-16,2-1 12 0,-1 0-25 15,2 2 22-15,-3 0-7 0,-1-2-2 0,-2 0 2 16,0 0 2-16,1 0 8 0,-4 0-17 16,5 0 17-16,-6 0-5 0,-2-2-7 15,4 2 2-15,-1 0 15 0,1 0-15 0,2 0-3 16,0-2 11-16,2 2-16 0,-1 0 3 0,-1 0 10 16,3 0-15-16,-1-1 5 0,-2 0 8 15,3 0-6-15,-3-1-2 0,2 1-5 0,-2 1 7 16,0-3 3-16,-2 3 5 15,-1-3-2-15,-1 2-11 0,-2 0 8 0,-1 0 8 0,-4-3-6 16,-1 4 11-16,-1-2-5 0,0 1-11 0,1 1-4 0,4-2 14 16,3 2-4-16,0-1-1 15,2 0-17-15,0 0 15 16,1-1-3-16,2 1 11 0,-2-1-10 0,4 1-1 0,-2 0-2 0,0 1 5 16,-2-2 15-16,-1 1-12 15,0 0-3-15,-3-1 2 0,0-1 6 0,1 2-23 0,-5-1 17 0,-1 1-9 16,-1-2 22-16,2 0-15 0,-3 3-8 0,3-3 11 15,-3 2 5-15,0-1-6 16,3 2 3-16,-2-3-5 0,1 1-5 0,6 1 3 0,-3 1 7 16,3-1 7-16,-2-1-9 15,2 0-6-15,-1 1-17 0,3-1 25 0,-1 0-13 0,-1 1 3 0,-1 1 5 16,2-2 5-16,-1 2 1 0,0 0-19 16,-1 0 2-16,1-2 11 15,1 4 18-15,-2-2-5 16,6 0-15-16,-2 0 20 0,2 0-34 0,0-2 9 0,0 2 7 0,0 0 12 0,5 0-9 15,-5 0-1-15,3 2 6 0,1-4-10 16,0 2-1-16,-2 0 6 0,1-1-9 0,2 1 19 16,-5 0-10-16,0 0 7 0,2 0-15 15,-4 0-10 1,0 0 9-16,2 0 19 0,-5 1-8 0,0 1-7 0,-3-2-6 0,3 1 31 0,0-1-13 16,-3 1-12-16,3 0-1 0,0-1-2 0,-3 2 5 15,4 0-10-15,-4-2-5 0,5 1 12 31,1-1 3-31,-3 0-5 0,-1 0 5 0,3 2 13 0,-3-2-18 16,0 2 17-16,1-1-1 0,0-1-11 0,-3 2 10 0,1-1-18 0,-1-1 8 16,-2 3-13-16,0-1 11 0,-3 0 2 0,0 0-10 15,3 0 15-15,-3 0-16 0,3 1-1 0,5-1 1 16,0-1 6-16,0 2 3 16,-1-2 2-16,2 0-13 0,-1 1 5 0,2 0 1 0,3-1-11 15,-2 0 18-15,2-1 7 0,0 3 11 0,2-3-15 16,-2 2-1-16,0 0-4 0,0-2 7 15,1 1-13-15,1 1 1 0,1-1 4 0,-3 1 16 16,0 0-16-16,2 0 8 0,1-2-12 16,0 1-4-16,0 0 24 0,4-1-8 0,-2 0 3 0,3 3-11 15,-1-3 9-15,1 1 6 0,0-1 6 0,3 0-7 16,-4 0-9-16,1 0-7 0,3 0 23 16,-4 0-13-16,1 0 3 0,0 1-13 15,2 1 5-15,-2-2 5 0,0 0-10 16,2 0 20-16,-2 1-15 0,2 1 2 0,-3-1 11 15,4 0-5-15,-4 0 2 0,1-1 6 0,0 2-11 0,3 0 2 16,-1-2 4-16,0 0-4 0,0 0 9 16,3 1 4-16,-3-1-5 0,8 0-9 15,-12 0 14-15,6 1-5 0,6-1-7 0,-10 1-5 16,10-1-1-16,-10-1 8 0,10 1-7 0,-10 1-3 16,10-1-5-16,-8-1 15 0,8 1-2 0,-7 1 5 15,7-1-8-15,0 0-23 16,-8 0-13-16,8 0-12 0,0 0-52 0,-8-1-20 0,8 1-39 15,0 0-25-15,0 0-36 0,0 0-15 0,0 0-57 16,-3-2-97-16,3 2-520 0,0 0 65 16,0 0 89-16,0 0 74 0,0 0 113 0,0 0 69 15</inkml:trace>
  <inkml:trace contextRef="#ctx0" brushRef="#br0" timeOffset="25611.37">19464 3656 854 0,'-10'0'292'0,"10"0"-3"0,0 0-91 16,-6 0 4-16,6 0-28 0,0 0 0 16,-5-2-18-16,5 2 5 0,0 0-30 0,0 0-3 15,0 0-13-15,0 0-5 0,-8-1-15 0,8 1-11 16,0 0 19-16,0 0-19 0,0 0 13 16,0 0 57-16,0 0-8 0,0 0-18 0,13 10 10 15,-5-5-76-15,2-1-9 0,3 2 4 16,7 0 14-16,6 5 6 0,13 1-23 0,2 0 2 15,15 7-2-15,0-1 18 0,1 1 27 16,6 0 37-16,2-4-13 16,4 7 41-16,3-3-16 0,7 0 16 0,3 0-39 0,3-1-20 0,0 0-2 15,4-2 4 1,1 2-30-16,0-1 23 0,21 4 18 0,-22-5-29 0,1-2-17 0,-6 0 5 16,3 2-11-16,-5-3 8 0,-2 0-12 0,-6-1 4 15,0 0 9-15,-7-4-14 16,-18 0-20-16,2 1-18 0,-9-1 23 0,-9-3-10 0,-7 1-16 15,-6-2-4-15,-3 1 12 16,-1-2 8-16,-4 0 15 0,2 0 5 0,-3-2-15 0,-1 1-7 0,0-1-11 16,-3 2 10-16,1-2-15 0,-1 1-8 15,-2-2 13 1,-1 3 23-16,-4-3-23 0,0 0-36 0,7 0-7 0,-7 0-42 0,0 0-37 16,0 0-50-16,0 0-25 0,0 0-36 0,0 0-35 15,0 0-60-15,-11-10-151 0,9 8-493 0,0-2-14 16,-4 2 111-16,4-2 66 0,-1 2 90 15,-4-1 99-15,2-1 73 0</inkml:trace>
  <inkml:trace contextRef="#ctx0" brushRef="#br0" timeOffset="26748.37">21984 4025 1267 0,'0'0'350'0,"0"0"-114"0,0 0-1 0,2-4-25 16,-2 4-13-16,0 0-2 0,0 0-26 0,0 0-6 16,3 13-9-16,-3-9-36 0,3 2-8 0,-1-2-10 15,-2 4-13-15,2-2-13 0,-2 1-2 16,1-1-6-16,-1 1 1 0,2-2 4 16,-2 2-9-16,0-1-24 0,0 0 8 0,3-3-7 0,-3 3-16 15,0 0 10-15,0-2-7 0,0-1-1 16,0 1 1-16,0 1 10 0,0-5-18 0,2 4 30 15,-2-4-17-15,0 0 5 0,0 0 2 0,0 0-10 16,0 0-2-16,0 0-16 16,0 0 16-16,0 0-6 0,2-10-15 0,-2 4 6 15,1 0-4-15,-1 1 16 0,2-1-12 16,-2-1 1-16,4 2 1 0,-3-1-10 0,0 1 9 0,1 2 6 16,-2-3-5-16,2 1-13 0,2 0-2 15,-2 3-3-15,-2 2 10 0,5-4-5 0,-5 4-3 16,3-1 13-16,-3 1 1 0,0 0-4 0,0 0-7 15,10 7 0-15,-6-2 18 0,-3-1-20 16,1-2 2-16,1 4 2 0,0-2-4 0,-3 2 2 16,2-3 10-16,1 2-5 0,-3 0-2 15,2-2-3-15,-1 2 2 0,0-1-10 0,0 0 21 16,-1-4 77-16,0 5-11 0,0-5 3 16,2 4 15-16,-2-4-12 0,4 2-3 15,-4-2 5-15,0 0-13 0,0 0-10 0,0 0 5 0,6-8-18 16,-3 4-10-16,0-1 21 0,-1 1-29 15,1-2 3-15,2 0-6 0,0 1-91 0,2 0 12 16,-4-1 16-16,3 3 5 0,1-2 0 0,-4 4 5 16,4-2 0-16,0 2 2 0,-7 1 14 15,9 0-1-15,-1 0 16 0,-3 3-3 16,0-2-21-16,3 1 14 0,-2 2-6 0,-2-1-5 16,1 0-15-16,0 0-18 0,0 1 3 0,-2 2-29 0,1-3-38 15,-3 0-39-15,4 0-30 0,-3 2-64 16,1-3-151-16,-1 2-471 15,1-1 46-15,0 0 66 0,-1-2 100 16,1 3 67-16,-3-4 79 0</inkml:trace>
  <inkml:trace contextRef="#ctx0" brushRef="#br0" timeOffset="27072.78">22314 4096 1139 0,'3'-6'401'0,"-1"0"-24"0,1-1-32 16,-2 1-30-16,1-2-105 0,-2 1-8 0,2 1 8 16,-2-1-33-16,0 2 4 0,0 0 1 0,0 0 46 15,-2 2-31-15,2 3 0 0,-2-6-23 16,1 2-15-16,1 4-11 0,0 0-20 0,0 0-10 16,0 0-8-16,-15 6 3 0,14-1-21 15,-3 0 0-15,1 2 0 0,2-4-51 0,-3 2 21 16,4 2 4-16,-2 0-20 0,2-1 6 0,-3 2-6 15,3-1-5-15,3-1-16 0,-1 0-17 0,0-2-21 16,1 2-31-16,4-1-7 16,-4 0-28-16,3 0 5 0,1-1-18 0,1-1-18 0,-1-1-1 15,3 2-6 1,1-4-42-16,-1 0-30 0,3 0-67 0,-2 0-151 0,3 0 41 16,-1 0-461-16,1-4 33 0,-2 4 103 0,1-2 85 15,1-1 9-15</inkml:trace>
  <inkml:trace contextRef="#ctx0" brushRef="#br0" timeOffset="27783.89">22615 4018 926 0,'-1'-3'376'0,"-4"0"16"0,5 3-41 0,-5-4-47 16,0 3 1-16,5 1-47 0,-10 0-9 16,10 0-34-16,-13 2-10 0,5 1-16 0,4-2-18 0,-4 1-20 15,2 4-5-15,-1-2-23 16,-1 2-10-16,3 0-13 0,0 0 2 0,-1-1-25 15,2 3 10-15,-2-4-3 0,4 2-7 0,-1 2-8 16,-2-3-2-16,5 0-6 0,0 1-10 0,0-1-2 16,0 0-3-16,3-2-13 0,1 0 3 15,-1 0 8-15,2 0-16 0,0-2 0 16,-5-1 13-16,8 1-90 0,-2-1 11 0,-6 0 2 0,12-1-5 16,-7-3 10-1,3 1 11-15,-2-2-6 0,-2 1-9 0,2 1 32 0,1-3 3 16,-4 2-15-16,1-3 12 0,0 5-15 0,-2-2 11 15,3-1 24-15,-5 3-9 0,3-2 15 16,1 1-2-16,-3 2-1 0,-1 1-17 0,5-5-3 16,-5 5 18-16,0 0-1 0,0 0 19 0,0 0-20 15,0 0-6 1,0 0-5-16,0 0 16 0,0 0-27 0,5 7 12 0,-5-7-1 0,2 5 10 16,1-3-10-16,-3-2-2 0,3 4 17 15,-1-1-7-15,-2 0 2 0,0-3-7 0,6 6-11 16,-4-5 6-16,-2-1 12 0,5 5-7 0,-5-4 5 15,0-1 12-15,7 2-12 0,-4 1 5 16,-3-3 95-16,6 1-16 0,-6-1 16 0,0 0-29 0,9 0 16 16,-9 0-10-16,0 0-9 0,9 0-24 15,-9 0-9-15,7-1 9 0,-7 1-4 16,0 0 11-16,8 0 0 0,-3 1 11 0,-5-1-22 16,5 2-78-16,-5-2 2 0,8 4 23 0,-2-4-3 15,-6 0-15-15,9 1 8 0,-6 2 5 16,3-1-16-16,-4 0 21 0,2-1 82 15,-1 3-18-15,2-3-7 0,-5-1-6 0,5 5 5 0,-2-4-5 16,-3-1-7-16,8 3 5 0,-5-1 2 16,-3-2 10-16,8 0-7 0,-8 0-36 0,9-2-44 15,-9 2-2-15,11-4 13 0,-4 1 22 16,0 1-7-16,1 1-10 0,0-3 15 0,1 4 16 0,-1 0-14 16,0-1-4-16,1 2 41 0,1-1-32 0,0 3-19 15,-2-2-6-15,2-1-8 16,-2 2-17-16,-1-1-13 0,1 2-29 0,0 0-30 15,-2 0-23-15,-2-1-20 0,1 2-26 0,-2-3-34 16,-1 4-40-16,0-2-47 0,-2-3-125 0,-2 7-570 16,0-3 76-16,-1 2 87 31,-2-1 97-31,0 1 77 0,0-2 70 0,-3 2 127 0</inkml:trace>
  <inkml:trace contextRef="#ctx0" brushRef="#br0" timeOffset="28700.8">22113 4347 1087 0,'0'0'366'0,"0"0"-38"16,-6 9-26-16,6-9-33 0,-1 7-16 0,1-1-22 15,0-3-39-15,0 2 10 0,0 2-33 16,0-1-16-16,1-2 3 0,-1 2-35 0,2 0-3 16,-2 0-16-16,0-3-15 0,3 2-3 0,-3-1-12 15,2-1 0-15,-2-3-16 0,1 4-2 16,-1-4 2-16,4 4-7 0,-4-4-3 0,6 0 2 15,-6 0-4-15,0 0-6 0,8-4 3 16,-8 4-7-16,6-6-4 0,-2 1-73 0,1 0-6 16,-3 3 13-16,4-4-7 0,1 2 7 15,-2 1 5-15,1-2 8 0,1 3-5 0,-2-3 28 16,1 4-5-16,0 1 5 0,-6 0-5 0,9 0 5 16,-2 0-3-16,-7 0 11 0,9 3-3 0,-5 0 0 15,2-1 8-15,-4 0 5 16,3 2 2-16,-2 1-7 0,1-3-3 0,-3 3-2 15,4-3 2-15,-3 2 3 0,-1-1 13 0,1 1-11 16,-2-4 29-16,3 5-24 0,0-3 21 0,-2 2 31 16,-1-4-13-16,1 3 7 0,-1-3-22 0,0 0-1 15,6 2 3-15,-6-2-2 0,0 0-8 0,0 0-1 16,0 0-1-16,9-7 17 16,-4 5-33-16,-2 0 5 0,2-3 0 0,0 1 18 15,2 1-16-15,-1 0-4 16,-1 0 17-16,1 2-17 0,1-2 4 0,-2 3 11 0,0-2-5 0,2 2-18 15,-7 0 5-15,11-1-11 0,-11 1-12 0,8 2-13 16,-1-1-18-16,-4 2-20 0,2-1-46 16,-2-1-16-16,1 2-15 0,0-2-54 0,2 2-51 15,-5-1-202-15,6 1-474 0,-6 1 123 0,4-1 31 16,-2 1 138-16,1 0-18 0,2-2 77 16</inkml:trace>
  <inkml:trace contextRef="#ctx0" brushRef="#br0" timeOffset="29477.14">22550 4449 1018 0,'3'-5'348'0,"-3"2"-28"0,0 3-15 0,0-8-29 0,0 6-20 0,0-3-38 0,0 5 48 16,0-7-7-16,0 7-1 0,-3-5-33 15,3 5-17-15,0 0-9 0,-3-1-42 0,3 1-1 16,0 0-10-16,0 0-13 0,-12 5-10 15,10-3-6 1,-1 3-4-16,0-2-6 0,-1 2-12 0,0 2 31 0,2-1-24 0,0 0-15 0,1 1 13 16,1-1-41-1,0 0-3-15,0 1-2 0,1-2-16 0,1 0-20 0,3-2-18 0,-2 1-15 16,3 1-26-16,-2-3-26 0,1 2-12 0,2-2-39 16,-1-2-23-16,-1 0-7 0,-5 0-49 15,18-2-21-15,-8-2-61 0,-2 2 0 0,4-3-84 16,-3-1 25-16,1 0 18 0,0-2 64 15,-2 2 46-15,2-6 54 0,1-1 51 0,-2 2 36 0,-1-3 48 16,3 3 47-16,-4 3 38 0,0-2 36 16,-1 2 12-1,-1 0 1-15,1 1 20 0,-4 2 0 0,3-1 3 0,-2 2-6 0,-1 2 6 16,0-2 69-16,-2 4-11 0,0 0-9 16,0 0-19-16,0 0 0 0,0 0-4 0,8 7-85 15,-8-1-1 1,0 0 4-16,2 0-16 0,-2 0 0 0,0 1-18 0,1 2-5 0,-1-2-11 0,2 0 6 15,-2 0 13-15,3-1-13 0,-3-1 0 16,0 1 2-16,2-2-33 0,-1 0 28 16,-1 1-7-1,0-3 0-15,0-2-3 0,2 6-13 0,-2-6 13 0,0 4 5 0,0-4-8 0,0 0 1 16,0 0-1-16,-8 1-12 0,8-1 5 16,0 0-3-16,-7 0 8 0,7 0-8 0,-8 2-10 0,5 0 5 15,-2 0-2 1,5-2-6-16,-5 6 9 0,0-3-1 0,3 1 10 15,0 1-12-15,-2 1 2 0,2-3 10 0,2 3 11 0,-1-1-16 16,1 0 0-16,0 1 13 0,0-3 0 0,0 1-15 16,1-1-3-16,1 0 5 0,3-1-2 0,-2 2-6 15,-3-4 6-15,10 1-5 0,-10-1-8 16,13-5 15-16,-5 4-13 0,-1-1 19 0,1-3-9 16,2 1 1-16,-2-1-13 0,-1 1 5 15,-1-2-3-15,2-1-2 0,-1 2-10 16,-1-2 17-16,1 2-2 0,-2 0 0 0,1 3-5 0,-2-2 18 15,-1 2 5-15,-3 2-10 0,7-1 35 16,-7 1-17-16,0 0-13 0,6 6 17 0,-4-3-7 16,-1 1 3-16,1 2-34 0,1 0 18 15,-1 0 14-15,0 1-19 0,-1-1 0 0,1 1-41 16,-2-1-15-16,0 0-31 0,3 0-36 0,-2-3-20 16,-1 3-34-16,1-2-32 0,-1-2-242 15,1 2-506-15,-1-2 184 0,0-2-41 0,0 0 121 16,2 4 61-16,-2-4 33 0</inkml:trace>
  <inkml:trace contextRef="#ctx0" brushRef="#br0" timeOffset="29598.81">22896 4421 703 0,'0'0'285'0,"0"-3"-60"0,0 3-107 0,-2-4-193 0,2 4-511 0,0 0 67 0</inkml:trace>
  <inkml:trace contextRef="#ctx0" brushRef="#br0" timeOffset="30291.78">22998 4412 1085 0,'0'0'361'0,"0"0"-21"0,0 0-30 0,-4 13-23 16,2-11-21-16,2 4-20 15,-1-1-34-15,1 1-7 0,-1-1-18 0,-1 0-24 0,2 0-17 16,0 1-13-16,0 0-2 0,2-1-11 0,-1 1-2 16,0 0-16-16,-1-3-17 0,2 1-16 31,2 1 3-31,-3-2-1 0,-1 0-9 0,5-1-8 0,-5-2 12 0,5 5-20 0,-5-5-10 0,8 0 10 16,-8 0-2-16,7-4-11 0,-7 4-2 0,9-7-1 15,-3 5-14-15,-5-4 19 0,4 1-19 16,-3 0 30-16,1 1-13 0,0-1-5 15,1-1-15-15,-4 0 79 16,1 2 18-16,2-1-28 0,-1 1-5 0,-1 0-3 0,0 2 8 0,-1 2-10 16,0-7 5-16,1 3 7 0,-1 4-25 0,0 0 2 15,-2-5-20-15,2 5-5 0,0 0-3 16,0 0-7-16,0 0-18 0,0 0 5 0,0 0 2 16,0 0-5-16,-11 9 3 0,11-9 23 0,0 4-26 15,0-4 3-15,0 5 12 0,0-5-12 16,0 0 15-16,4 5-10 0,-4-5-25 0,4 6 14 15,-1-6-2-15,-3 0-5 0,4 2 11 16,1 0 1-16,-5-2 4 0,8 1-9 0,-8-1 6 16,9 0 26-16,-9 0-27 0,9 0 17 15,-3-1 9-15,-2-1-25 0,-4 2 0 0,15 0 10 16,-9-1-18-16,-1 0 13 0,0 1 5 0,-5 0-3 0,13 0-22 16,-5 0 9-16,-3 0 19 15,3 2 5-15,-4 0-83 0,2-1 35 16,0 2-19-16,-2 1 10 0,0-2 21 15,-3 2-3-15,4-1-4 0,-3 0 6 0,-1 0 9 0,4 1-16 16,-3-2 41-16,-1 2-23 0,-1-4 1 0,4 6 11 16,-4-4-27-16,0-2 8 0,5 4 38 0,-5-4-3 15,3 2 8-15,-3-2-11 0,8 0-1 16,-8 0-1-16,0 0 5 16,10-6-2-16,-5 6-18 0,2-2 33 0,-3 1-11 0,1-1-4 15,-5 2-8-15,12-1 0 0,-6 1-20 0,2 0 74 0,-1 1-11 16,-1 2-4-16,1-1 9 0,0 2 14 15,1-2-49 1,-2-1-13-16,1 2-46 0,-4-1-31 0,2 1-36 0,0 1-71 0,-3-1-49 16,1-1-51-16,-3 3-154 0,3-3-693 0,-3 2 76 15,0-1 142-15,0-3 60 0,-4 10 129 0,0-7 33 16,-1 3 79-16,0 1 49 0</inkml:trace>
  <inkml:trace contextRef="#ctx0" brushRef="#br0" timeOffset="31448.07">22084 4822 857 0,'0'0'307'0,"0"0"-25"0,0 0-19 0,8 9-17 15,-4-7-36-15,-1 2-13 0,-3 0-20 0,3 1 43 16,1 1-15 0,-3 1-11-16,1-2-25 0,2 1-28 0,-2 1-16 0,0 0 1 0,0-2-26 0,2 2-1 15,-2-1-1-15,0 0-11 16,1-1-23-16,-1 1 10 0,-1-4-15 0,-1 2-8 15,2-1 10-15,0 1-12 0,1-1 0 0,-3-3 12 0,0 4 1 16,0-4-11-16,3 2 10 0,-3-2 13 16,0 0-25-16,0 0 5 0,0 0-6 15,0 0-71-15,0 0 11 0,0 0-1 0,5-10 26 16,-3 7-21-16,-2 3 3 0,3-7 12 0,-1 5 14 16,1-2-19-16,0 1 19 0,0-1-18 15,-1 0-6-15,4 1 3 0,-4-1 18 0,2 3-8 16,-1-1 21-16,0-1-29 0,-3 3 16 0,0 0 0 15,10-2 0-15,-10 2-5 0,8 3-3 16,-8-3 3-16,7 4 0 0,-3-3-6 16,0 3 6-16,-2 1-8 0,2-4-5 0,3 4 3 15,-4-2 10-15,3 1-8 0,-5-1 13 16,2 1 0-16,2 0-21 0,-3-2 6 0,3 1 2 0,-2 0 8 16,0-1 20-16,-3-2-31 0,4 4 9 15,-4-4-6-15,3 3-3 0,-3-3 9 0,0 0 4 16,10-2-10-16,-10 2-5 0,6-1 5 0,-2-2-2 15,-4 3-1-15,8-2 9 0,-8 2-11 16,6-2-11-16,-2 0 11 0,-4 2-10 0,6-1-10 16,-6 1-3-16,0 0-8 0,10 3-23 0,-10-3-12 15,8 2-4-15,-5 0-9 0,1 1 7 0,2-2-4 16,-1-1-14-16,-5 0 16 16,10 4 0-16,-3-3-1 0,0-1 6 0,1 0 15 15,-8 0 26-15,12-1-28 0,-5-3 15 0,0 3 23 16,-1-2-25-16,-1 1 17 0,1 1 8 0,1-2 0 15,-2 1 11-15,0 1 4 0,-5 1 18 16,8-1-4-16,-8 1 4 16,8 0 16-16,-8 0-24 0,8 2 6 0,-6 0-13 0,0 1 15 0,3-1 16 15,-2 2-18-15,2-3 15 0,-2 4-10 16,2-3-18-16,0-1 8 0,0 2 2 0,2-3-10 16,0 0 23-16,-7 0-13 0,12 0 6 0,-5 0 19 15,-2-3 24-15,1 2-7 0,-1-1 6 0,0-1 37 16,-2 1-31-16,-1-2-5 15,1 2 2-15,-3-2 8 0,0 4 1 0,0-8-29 16,0 6 20-16,-3-3-10 0,1 1-12 0,-1 1 17 16,-2 1-33-16,0-1 0 0,1 2-23 0,-3 1-21 15,7 0-14-15,-15-1-40 0,10 1-4 16,-3 1-51-16,-2 0-32 0,2-1-142 16,-2 4-139-16,2-3-450 0,4 1 109 0,4-2 103 0,-11 0 36 15,11 0 51-15</inkml:trace>
  <inkml:trace contextRef="#ctx0" brushRef="#br0" timeOffset="31989.55">22688 4731 1351 0,'8'0'433'16,"-8"0"-106"-16,8 3-17 0,-5 1-18 15,3 0-21-15,-2 0-25 0,4 2-26 0,-3 1-15 16,0 3 64-16,3-3-42 0,-3 2-24 15,2 0-19-15,-1-1-31 0,-1-2-2 0,1 2-20 16,-2 0-18-16,1-3-8 0,0 2-8 0,1-3 0 16,-2 1-94-16,-1 0 4 0,4-3 11 15,-6 2 8-15,1-2-3 0,-2-2-10 16,5 5-1-16,-5-5 12 0,0 0 9 0,0 0 0 16,0 0-23-16,0 0 3 0,0 0 13 0,-12 2-6 0,8 1-10 15,-5-2 19-15,1 4-9 0,1-2 11 16,-1 1-8-16,0-1 2 0,-2 2-12 15,2 2 3-15,0-3-6 0,-1 3 10 0,3-2 3 16,-2 1-2-16,5-3-16 0,-4 2 10 16,7 0-7-16,-3 1 7 0,1-4 1 0,2 3 4 15,0-5 1-15,5 3-3 0,-5-3-1 0,7-2-14 16,-7 2-8-16,13-1-16 0,-2-3 3 16,-1 1-15-16,3-3 2 0,2 0 6 0,-2-4-8 0,5 2 4 15,-4 0-1-15,0-2-6 0,2 2-2 16,-3-3-11-16,-1 4 13 0,-2-1 5 15,0 3-2-15,-2-2 18 16,0 1 2-16,-3 2 28 0,1 4-17 0,-2-1 2 0,-4 1-8 0,8 1 0 16,-8-1 6-16,8 5-6 0,-3 0 13 0,0-2-15 15,0 2 5-15,2 1 0 0,1 1-3 16,1-2-23-16,-2 2-22 16,4-2-11-16,-1 2-29 0,1-4-9 0,-2 0-16 0,1 2-7 15,-2-4-11-15,0 1-38 0,1-2-23 0,-1 2-74 16,0-2-1-16,-1 2-181 0,-1-4-335 15,0 2 61-15,1-2 38 0,0 2 85 0,-7 0 131 0</inkml:trace>
  <inkml:trace contextRef="#ctx0" brushRef="#br0" timeOffset="45319.37">5973 3916 739 0,'0'-4'359'0,"0"4"-45"0,0-6-29 16,0 2-19-16,0 4-18 0,2-4-41 0,-2 4-7 15,0-4-23-15,0 4-11 0,0 0-5 16,0 0-15-16,0 0 0 0,0 0 5 16,5 13-25-16,-5-1-11 0,3 4-8 0,1 5-20 0,0 5 0 15,0 13 8-15,2 3-13 0,-1 2-18 16,2 1-82-16,-4 3 3 0,3-1 12 15,0 2-12-15,-2-1 2 0,1-2 3 0,0-3-11 16,2-4-7-16,-2 1 2 0,1-12 6 0,-3-3-3 16,1-3-5-16,-1-3-18 0,2-3-11 15,-3 0-12-15,1-3-38 16,-3-1-67-16,3-3-69 0,1 1-36 0,-4-4-87 0,4 1-379 0,-2-2 74 16,0 0 41-16,1-2 129 15</inkml:trace>
  <inkml:trace contextRef="#ctx0" brushRef="#br0" timeOffset="46521.28">11838 3821 1016 0,'-2'-2'292'16,"2"2"-34"-16,-3-5-28 0,3 5-15 16,0 0-25-16,0 0-1 0,-7 9-27 0,7-1-9 0,-2 2-7 15,4 7-3-15,-2 4-15 0,0 8-7 16,2 10 1-16,3 5-11 0,-4 3-12 16,1 0-4-16,0 1-26 15,-2 2 64-15,3-1 3 0,-3 0-29 0,0 0-4 0,1-3-19 16,-1-1-9-16,2-3-34 0,0-8-11 0,0-7-32 15,-1-1-32-15,2-2-9 16,-1-4-34-16,0-2-53 0,1-4-60 0,-3 0-81 0,0-1-93 0,3-3-450 16,-1-2 82-16,-2-2 105 0,2 0 74 15,-2-2 3-15</inkml:trace>
  <inkml:trace contextRef="#ctx0" brushRef="#br0" timeOffset="47977.91">6575 4566 698 0,'0'0'223'0,"0"0"-5"16,0 0-24-16,0 0 1 0,0 0-1 15,0 0-7-15,0 0-10 0,23 4-31 0,-15-2-11 16,2 0-2-16,2-1-5 0,2 1-15 0,1 2 2 16,3-4-13-16,2 2-12 0,-1 0 12 15,6 1-30-15,0-2 66 0,6-1-7 0,2 0-13 16,3 3-70-16,13-3-7 0,0 2-5 15,2-2-3-15,-1 0-4 16,0 2 9-16,-1-2-7 0,-3 4-1 0,3-2-12 0,-3 0 8 16,-7 0-16-16,-4-1 11 0,1-1 9 15,-2 1-14-15,12 0 12 0,-8 1 0 0,-4-1-15 16,2 0-13-16,-3-1 13 0,3 0 17 0,-1 0-22 16,14-1 5-16,-10 1 2 0,-4-1-2 0,9-2 5 15,0 1-8-15,-8-2-2 16,-3 3 20-16,-2 0-18 0,-1-3 3 0,4 2-5 0,-1-3-6 15,0 4 11-15,-2 0-10 0,-2-3-9 16,4 2 12-16,-5-1-14 0,3 0 8 0,2 0 10 16,-2 1 3-16,-3 1-3 0,3-3-5 15,-3 3-10-15,3 0 0 16,0-3 5-16,-4 3 0 0,-1 1 0 0,0-1 18 0,-2 0-26 0,0 1 13 16,2 0 3-16,-3 0 0 0,1 0-6 15,-1 0 11-15,-1 0-5 0,2 0-13 0,-1 1 15 16,-2-1-5-16,2 1-2 0,2-1-6 0,-4 1-2 15,2-1 0-15,-1 3 18 0,2-3-13 16,-1 0-3-16,0 1 13 0,0-1-15 0,-2 0 3 16,2 0-4-16,-1 1 17 0,2-1-14 0,-1 0-10 15,2 0 24-15,-1-1-9 0,-1 2-7 16,3-1 15-16,-3 0-10 0,2 0-10 16,1-1 28-16,0 1 0 0,-3 1 0 0,2-2-16 0,3 1-9 15,-2 0 2-15,-1 0 12 0,6 0-9 16,-5-1 4-16,5-2 11 0,2 2-16 15,0-1 3-15,-2 2 0 0,2 0-2 0,1 0 2 16,1-3 18-16,-1 2-16 16,0 0 6-16,1 0 10 0,-1 1-18 0,-1 0 15 0,0 0 6 15,1 0-21-15,-4 0 25 0,3 1-14 0,-4-1-4 16,-1 0-12-16,3-1 15 0,0 2 62 16,1-2 0-1,2 1 15-15,-3 0-26 0,2 0 3 0,3 0-5 0,-2 0 0 0,-2-3-8 0,2 2-5 16,-3 0-2-16,0 0-8 0,-3 1 7 0,-3-1-10 15,1-2-10-15,-3 3 39 0,0-2-39 16,-2 1 2-16,-3 1-4 0,5-1 15 16,-6-1-34-16,-1 1 14 15,3 1-3-15,-5 0-6 0,2 0 3 0,-1-1 3 0,-2 1-8 0,-2 0 21 16,1-1-29-16,-4-1 1 0,3 2 12 16,-4 0-25-16,0-2-8 0,1 2-5 0,-3-1-47 15,-5 1-45-15,11-1-159 0,-6 0-696 16,-5-1 92-16,0 2 92 0,0 0 82 0,0 0 89 0,-16-3 95 15,3 0 3-15</inkml:trace>
  <inkml:trace contextRef="#ctx0" brushRef="#br0" timeOffset="51906.98">1044 5957 985 0,'31'-7'338'0,"0"1"-28"16,10-2-16-16,7-2-36 0,14-2-91 0,5-1-19 0,-3 2-27 15,-2-2-6-15,4 5-18 0,-1-5-33 16,-2 2-36-16,-9 4-28 0,8-4-77 16,-8 4 39-16,-3-1-105 15,0 3 4-15,-5-8-104 0,0 6-476 0,-4 1 87 0,-9 2 40 0</inkml:trace>
  <inkml:trace contextRef="#ctx0" brushRef="#br0" timeOffset="52175.47">1193 6025 972 0,'0'0'325'0,"15"2"-23"0,-4-2-12 0,4 0-27 0,6-2-20 15,9-2-10-15,14 1-43 0,3-6-21 0,3 1-18 16,1 0-3-16,4-1-20 16,-4 1-20-16,2 1-57 0,-1-1-28 0,2-2-46 15,10 0-74-15,-10 5-67 0,5-11-92 0,-11 11-512 0,-1 4 23 16,-9 0 103-16,-5-2 96 0</inkml:trace>
  <inkml:trace contextRef="#ctx0" brushRef="#br0" timeOffset="52937.01">10208 5976 898 0,'-11'5'325'0,"4"-4"-28"0,7 2-8 15,0-3-25-15,0 0 53 0,17 3-20 16,-1-3-36-16,7-4-105 0,21-2-15 15,4-2-5-15,17-4-8 0,4 2-18 0,1-5-8 16,3 2-15-16,-3-2-12 0,2 0-14 16,-3 2-28-16,-2-1-15 0,-6 2-23 0,-12 1-72 15,-3 3-61-15,-2 2-123 0,-13 0-525 0,-6 4 23 16,-5-1 88-16,-7 0 99 16,-2 0 41-16</inkml:trace>
  <inkml:trace contextRef="#ctx0" brushRef="#br0" timeOffset="53157.05">10303 6084 1228 0,'0'0'407'0,"15"3"-28"15,-2-3-36-15,2-3-26 0,13 0-4 0,14-3-62 16,7-2-24-16,12-3 1 0,6 0-64 15,-4 0-26-15,4 1-28 0,0-6-120 0,-1 7-49 16,-1-6-38-16,-4 5-64 0,1-2-60 0,-13 1-106 16,2 3-456-16,-5-2 76 0,2 3 42 0,-3-2 165 15,-2 0-12-15</inkml:trace>
  <inkml:trace contextRef="#ctx0" brushRef="#br0" timeOffset="53556.97">12505 5802 1021 0,'0'0'361'0,"0"0"-16"16,0 0-30-16,18 5-23 0,-5-5-23 0,3 1-8 0,1-2-26 0,9 1-25 0,5-5-20 15,-1 5-19-15,14-6-33 0,-6 4 62 0,8-4-21 16,-2-1-38-16,2 2-13 0,-3-1-56 0,-1-2-11 16,-1 2-48-16,-8 1-41 0,-7 0-70 15,-3 2-181-15,-2 0-576 16,-6 0 77-16,-2 3 23 0,-6-1 110 0,-1 1 67 0,-6 0-1 16</inkml:trace>
  <inkml:trace contextRef="#ctx0" brushRef="#br0" timeOffset="53794.96">12377 6059 985 0,'26'-6'445'0,"-8"3"-22"0,5-4-44 16,7 0-36-16,11-4-21 0,3 0-33 0,2 1-17 15,5-2-11-15,8-2 31 16,0 0-19-16,3 1-22 0,-1 0-25 0,1 0-14 0,-11 3-28 15,3 1-15-15,-3 2-33 0,-2-2-36 16,-3 1-44-16,-2 1-33 0,-11 1-36 16,-7 5-46-16,-5-3-38 0,-3 3-36 0,-3 1-110 0,-5-1-228 15,3 2-484 1,-3 0 92-16,-3-1 116 0,1 4 46 0,0-3 56 0,0 1 79 0</inkml:trace>
  <inkml:trace contextRef="#ctx0" brushRef="#br0" timeOffset="54318.94">16425 5821 1185 0,'-10'4'481'0,"8"-3"-26"0,2-1-32 15,0 0-57-15,22 2-10 0,-3-2-29 16,9-2-30-16,17 0-38 0,5-4-6 0,6 1-99 0,13-3-24 16,-2-1-12-16,7 1-13 0,-2-3-31 0,-1-2-20 15,-3 1-34 1,-5 2-58-16,-12 0-13 0,-6 2-41 0,-4-2-70 0,-8 4-96 0,-7 0-175 16,-6 1-478-16,-5 2 100 0,-5 2 86 0,-4 0 98 15,-4 1 79-15</inkml:trace>
  <inkml:trace contextRef="#ctx0" brushRef="#br0" timeOffset="54488.48">16599 5977 1338 0,'14'3'484'0,"1"-3"-108"0,3 0-15 0,5-4-54 15,7 3-15-15,15-6-54 0,3-3-30 0,13 0-50 0,1-4-40 16,2 2-67-16,-2-2-71 0,0-1-249 0,-4-1-576 15,-9 3 70 1,-5 0 99-16,-6 0 69 0,-10 1 83 0</inkml:trace>
  <inkml:trace contextRef="#ctx0" brushRef="#br0" timeOffset="60708.36">3122 7999 1016 0,'22'-16'271'16,"1"2"-35"-16,6 0-55 0,1-3-32 16,4-2-80-16,0 4 13 0,4-3-116 0,-5 2-173 15,3 1-448 1,-1-2 71-16</inkml:trace>
  <inkml:trace contextRef="#ctx0" brushRef="#br0" timeOffset="61986.5">3712 8981 1054 0,'-4'1'341'0,"4"-1"-24"0,0 0-20 16,-7 0-28-16,7 0-26 0,0 0-10 16,0 0-18-16,0 0 41 0,17-7-18 0,-3 1-31 15,6-4-38-15,13-5 10 0,4-3-20 0,11-5-29 16,4 0-40-16,-1-1-44 0,-2-2-18 16,2 3-17-16,0-2-37 0,-2 3-61 0,-11 6-64 15,3-3-128 1,-2 7-138-16,-1-1-395 0,0 1 42 0,-9 3 99 0,-3 3 64 0,-4 1 80 15</inkml:trace>
  <inkml:trace contextRef="#ctx0" brushRef="#br0" timeOffset="63079.9">6434 9869 785 0,'12'-6'243'16,"-1"0"-15"-16,2-1-43 0,-3 1-6 15,5-3-31-15,1 0-17 0,-1-1-6 0,3-1-53 16,3-1-6-16,-1-1-37 0,-1 1-60 16,3-2-59-16,-2 1-91 0,4-9-58 15,-4 9-380-15,-2 5 35 0</inkml:trace>
  <inkml:trace contextRef="#ctx0" brushRef="#br0" timeOffset="64449.81">6490 10750 911 0,'11'-6'361'0,"1"-1"-18"0,3 1-46 16,6-6-24-16,7-7-22 0,3 0-28 0,0-1-16 15,2-4-33-15,0 2-25 0,-1 1-29 0,3-1-89 16,-1 0-59-16,-1 3-36 0,0-1-28 16,-2 3-67-16,-6 5-71 0,-6 2-32 0,-2 1-142 15,-1 2-274-15,0 1 56 0,-4 0 66 0</inkml:trace>
  <inkml:trace contextRef="#ctx0" brushRef="#br0" timeOffset="65497.62">3570 11465 1108 0,'5'0'379'0,"3"0"-39"16,2-3-110-16,1 3-9 0,7-5-17 16,5-3-27-16,5 0 66 0,10-7-25 0,3-2-21 15,10-6-21-15,-1-3-42 16,3-3-29-16,1 2-41 0,-3-2-36 0,-2 2-74 0,-3-1-67 15,-7 8-51 1,-1 1-74-16,-7 0-72 0,4 2-437 0,-1 2 28 0,-9 3 97 16,-4 3 69-16</inkml:trace>
  <inkml:trace contextRef="#ctx0" brushRef="#br0" timeOffset="130569.3">8034 10461 819 0,'0'0'384'15,"8"-4"-44"-15,-4 3-15 0,-4 1-23 16,6-1-25-16,-4-1-21 0,-2 2-90 16,8-3 3-16,-8 3-18 0,2 0-5 0,-2 0 10 0,0 0-5 15,6-3-8-15,-6 3-4 0,0 0 68 16,0 0-23-16,0 0-23 0,-13-5 6 16,5 5-19-16,-2 1 6 0,-5 2-11 0,-3 1-30 0,-5 3 7 15,-3 4-7-15,-10 3-93 0,2 2 6 0,2-2 7 16,3 4-20-1,1-1-8 1,7-2 15-16,3-1-2 0,3 2 5 0,-1-2-7 0,6 2-6 0,0 3-10 0,5-4-3 0,0 2 19 16,5 2-16-16,3 0 2 0,-1 1-7 0,3 3 28 15,3 0-18 1,0-1 3-16,0 2 7 0,4 8-7 0,-4-6-5 0,2-1-1 0,3 4-2 16,-3-4 5-16,-2-4-7 0,-4-3 4 15,2 1-2-15,-4-3 13 0,4 0 0 16,-3-3-18-16,-1-1 13 0,0 0-8 15,1-2 17-15,-3-1-11 0,0-3-14 0,0 1 10 0,-3-1-22 16,1-3-6-16,2-3-7 0,-5 0-10 0,5 0-4 0,-8-6 14 16,6 2 5-16,-2-2-10 15,0 0-1-15,1 1 21 16,3 0-5-16,-2 0 0 0,2 1-5 0,0 4 8 0,5-2-1 0,-5 2 11 16,10 8 12-16,-5 3 29 0,8 7-5 0,2 12 5 15,1 5-14-15,-4 3-1 16,4 12 17-16,-1 1-18 0,-7-5 14 0,5 8-17 15,-1 1 4-15,-4-11-3 0,0 2-1 0,2-2-4 16,0-3-8-16,-1 0-10 0,1-3 2 16,2-5-28-16,1-3-35 0,0-6-24 0,-2-7-25 15,1-2-11-15,-2-3-25 0,3-4-34 0,0-2-71 16,0-5-87-16,-1-1-509 0,1-4 45 0,3-5 44 0,2-5 90 16,5-5 95-16</inkml:trace>
  <inkml:trace contextRef="#ctx0" brushRef="#br0" timeOffset="135112.68">4024 11535 1159 0,'0'0'381'0,"0"-7"-30"0,0 7-49 0,0-4-13 0,0 4-40 15,0 0 7-15,0-5-31 0,0 5 28 16,0 0-22-16,0 0-101 0,0 0-17 0,5 13 10 0,-2-6-16 16,-1 1 3-16,0 1-10 0,-1 2-28 15,4 1 5-15,-5 2-6 0,0 0-14 16,2 1 14-16,-2 0-43 0,0 1-12 0,0-1-37 16,1-1-4-16,-1 1-21 0,0 0-11 0,2-2-22 15,0 0-36-15,-2-1-29 0,3 0-40 16,-2 0-131-16,1-5-107 0,3 2-430 0,-2-2 112 15,1-1 54-15,2-3 169 0,-2 2-39 0</inkml:trace>
  <inkml:trace contextRef="#ctx0" brushRef="#br0" timeOffset="135487.84">4347 11490 1095 0,'5'13'389'0,"-5"-5"-112"0,1 1-14 0,1 1-32 0,3 3-29 15,-2 0 5-15,4 2-35 0,-2 1 4 0,3-3-45 16,2 3-19-16,0-1 1 0,0-3-8 16,1 0-21-16,2-1-7 0,2-2-5 0,-2 1-16 15,2-4 8-15,-2-1-2 0,0 0-21 16,-1-2-3-16,-1-3 21 0,-4 1 13 0,2-2-8 0,-2-2 12 15,1 1 16-15,-5-1-35 16,-1-3 30-16,0 1 0 0,-2-2-13 0,-4 2-15 0,1-2 2 16,-3 1 73-16,-2-1-19 0,1 0-15 15,-3 2-13-15,-3 0 7 0,3 0-58 16,-3 2-33-16,0 1-14 0,0 4-17 0,0-1-36 16,1 1-41-16,-1 4-69 0,2 0-118 15,-9 6-209-15,9-2-434 16,4 3 119-16,-3 2 56 0,3-2 140 0,-1 3 32 0</inkml:trace>
  <inkml:trace contextRef="#ctx0" brushRef="#br0" timeOffset="137606.46">3970 12553 831 0,'0'0'292'0,"-3"-6"0"0,3 6-36 0,-2-4 3 16,2 4-37-16,-2-2-14 0,2 2-22 16,0 0 52-16,-1-5-17 0,1 5 6 0,0 0-42 15,0 0 2-15,0 0-16 0,0 0-28 16,0 0-4-16,11 13 4 0,-7-7-20 0,-1 0-13 15,3 0-8-15,1 2-17 0,1 1-8 0,-1 0-1 16,3 0-9-16,-2-1 10 16,2 1-29-16,-2 0 9 0,1-1 1 0,-2 1-11 0,3-4-12 15,-2 3-22-15,-1-2 15 0,1-2-25 0,-3 1-1 16,0-1 57-16,0-2-31 0,-1-1-25 16,-4-1 0-16,9-1-1 0,-9 1 6 15,5-7 7-15,-5 3-2 0,0-5-18 0,0-1 0 16,-2-2 20-16,-4-1-10 15,0-3 0-15,-2-3 8 0,-3-3-8 0,1 1-7 0,-6-7 12 16,4 2-13-16,1 6 24 0,3 1-16 0,-4 0 23 0,4 2-18 16,3 4-2-16,-3-1 25 15,3 3-17 1,1 0-16-16,1 2 25 16,3-1-40-16,0 2 30 0,2-2-7 0,3 0 0 0,3 1 12 0,4-3-10 0,4-1-22 15,5 0 17-15,7-5 2 0,3 2 6 0,2-1-3 0,0-1-2 16,0 1-74-16,3 1-4 0,0-1 6 15,-3 2 21-15,2 0-3 0,-2 2 0 0,-8 2 7 0,0 3 32 16,-4-1-19 0,-3 3-7-16,-2-3 10 0,1 4-13 0,-4 0 5 0,0 1 24 15,-2-2-37-15,-2 2-5 0,0 1-12 0,-2-1-13 16,0 2-11-16,-1 2-15 0,-1-2 1 16,-5 2-6-16,0 0-8 0,0 0-15 0,5 6 0 15,-11-1-13-15,4 2-46 0,-6 2-28 16,1 1-51-16,2 2-49 0,-11 3-5 0,6 0-455 15,0 4 140-15,-1 2-15 0,-1-2 169 16</inkml:trace>
  <inkml:trace contextRef="#ctx0" brushRef="#br0" timeOffset="137934.79">4291 12394 1072 0,'0'0'340'0,"-3"-4"-27"16,3 4-27-16,-2-4-32 0,2 4-6 0,0 0-41 15,0 0-15-15,0 0 3 0,0 0-21 0,5 14 72 16,-1-8-44-16,-1 3 0 0,2 0-41 15,0 2 1-15,-2 0-32 0,2 2-7 0,-2 3-21 0,4-1-22 16,-4 0-19-16,2-1-43 16,-3 4-25-16,4-5-37 0,-3 0-15 0,1-1-41 15,1-1-76-15,1 0-101 0,-3-3-81 0,1 2-482 16,2-4 72-16,-2-2 70 0,2-1 81 16,-3-1 25-16</inkml:trace>
  <inkml:trace contextRef="#ctx0" brushRef="#br0" timeOffset="138249.81">4457 12397 1013 0,'0'9'397'0,"-2"-3"-16"0,4 2-56 0,1 0-28 0,-1 4-23 16,1 1-26-16,-1 0-27 0,4 2-4 0,-1 0-12 15,3-1-54-15,2-1 5 0,2-1-25 16,-1-1-29-16,4-1 21 0,-3-1-8 0,4-1-30 15,-3-3 12-15,0-1-33 0,2-2 7 0,-2-2 9 16,-3 0-6-16,1-2-5 0,-2 0 8 16,0-3 15-16,-1 2 0 0,-1-2 6 15,-4 0-22-15,-1 2 11 0,0-3-20 0,-4 2-16 0,0 1 5 16,-4-1-20-16,-1 2 10 0,-1 0-107 16,-5 2-1-16,-2 4-19 0,-1 1-24 15,-1 2-28-15,-4 2-34 0,3 3-45 0,0 3-131 16,0 1-92-16,6-4-454 0,1 4 111 15,-2 0 23-15,3-1 113 0,3 0 25 0</inkml:trace>
  <inkml:trace contextRef="#ctx0" brushRef="#br0" timeOffset="138767.99">4153 13043 1118 0,'7'-6'348'0,"0"-1"-10"0,4-2-15 0,6-5-108 16,4 0-18-16,5-5-26 0,5 0-22 15,2-2 43-15,0 1-5 0,3-1-21 0,0 2-10 0,2 1-33 16,-2 0-13-16,-3 2 5 15,1-1-48-15,-1 2-31 0,-7 3-39 16,-1 2-74-16,-4 1-74 0,-3 4-100 0,-6-1-81 0,4 2-467 16,-5 3 49-1,-1-2 120-15,-2 3 52 0</inkml:trace>
  <inkml:trace contextRef="#ctx0" brushRef="#br0" timeOffset="138957.78">4218 13190 860 0,'-2'1'317'0,"2"-1"-30"0,0 0-29 0,0 0-2 0,18-9-38 0,-8 3-26 0,3 1-13 16,0-4-23-16,4 1-18 16,4-4-43-16,10-5 38 0,0 0-66 0,2 0-85 0,0-1-118 15,-12 1-199-15,15-4-408 0,0-2 37 0,5-5 117 16,-8 4 52-16</inkml:trace>
  <inkml:trace contextRef="#ctx0" brushRef="#br0" timeOffset="139213.26">5029 12262 1156 0,'7'-6'331'0,"-4"5"-37"0,-3 1-28 0,10-4-51 0,-4 3-43 0,2-2-54 16,2 0-113-16,0 1-105 0,0-3-108 16,0 4-524-16,0-1 92 0,-1 0 31 0</inkml:trace>
  <inkml:trace contextRef="#ctx0" brushRef="#br0" timeOffset="139407.68">4980 12494 1223 0,'-3'3'422'16,"1"-1"-38"-16,2-2-43 0,0 0-37 0,0 0-22 15,0 0-34-15,0 0-35 0,13-11-29 0,-3 4-48 16,3-3-44-16,0-1-56 0,5-3-29 0,2 0-91 0,-2-1-93 0,8-4-112 15,2 0-438-15,0-1 21 0,1-1 40 16,-4 1 77-16,3 0 62 0</inkml:trace>
  <inkml:trace contextRef="#ctx0" brushRef="#br0" timeOffset="139614.91">5470 12119 895 0,'-5'5'428'0,"-3"1"-13"16,-2 1-39-16,2 2-8 0,-5 1-25 0,3 2-23 15,-2-2-23-15,1 1-43 0,1 0-6 16,-1 1-10-16,4-1-110 0,2-1-5 0,-3 1-28 16,2 0-8-16,4-1-3 0,0-1 1 0,-1 0-21 15,3-1-16-15,3 0 24 0,-1-2-36 0,3 0 2 16,1-1-10-16,2-2-2 0,4-1-42 16,-2-1 16-16,1 0-35 0,1-2-14 0,4-2-18 15,-1-1-14-15,1 0-32 0,2-3-59 16,0 0-63-1,-3 0-106-15,-5 1-76 0,8-4-440 0,-3 0 94 0,-1 0 44 16,-2 0 63-16,-2 1 91 0</inkml:trace>
  <inkml:trace contextRef="#ctx0" brushRef="#br0" timeOffset="139854.5">5475 12125 1402 0,'-5'12'428'0,"5"3"-37"0,0-4-22 0,0 4-49 0,2-1-10 0,1 5-16 0,2 4-28 16,2-1-53-16,1 5 12 0,2 6-51 16,1-2-23-16,2-5-41 0,0 4-38 0,-3-5-24 15,0-4-58-15,3-2-31 0,-3 0-56 0,1-1-34 16,-2-4-84-16,2-1-92 0,-3-3-67 16,2 2-493-16,0-4 119 0,-2-1 29 0,-3-2 53 15,1 1 111-15</inkml:trace>
  <inkml:trace contextRef="#ctx0" brushRef="#br0" timeOffset="140371.6">4818 11575 877 0,'11'3'313'15,"-1"3"-24"-15,8 1-36 0,3 2-4 0,12 9 37 0,-5-1-7 0,3 2-28 0,2 2-26 16,-2 1-22-16,0 0-16 0,-1 3-24 16,-3-1-19-16,0 1 9 0,-3-2-20 15,-1 1-40-15,-5-5-22 0,-3-3-25 0,1 1-23 16,-1-2-15-16,-5-3-23 0,0 0-31 0,1 0-52 15,-6-1-78-15,2-2-62 0,-2-5-105 0,-2 4-451 16,2-1 60-16,-3 0 40 0,1-2 90 16</inkml:trace>
  <inkml:trace contextRef="#ctx0" brushRef="#br0" timeOffset="140723.54">5163 12001 788 0,'0'0'389'15,"0"0"-41"-15,0 0-41 0,0 0-33 16,0 0-31-16,20 5-10 0,-12-3-18 0,-1-1-30 15,-1 0-11-15,3 1-16 0,-1-1-7 0,0-1-10 16,2 0-13-16,-2-1-23 0,0-1 3 16,0-1 20-16,-1 0-31 0,3 0-26 15,-3-1 9-15,1 0 2 0,0-2-23 0,-3 1-16 0,1-2 16 16,1-1-21-16,-2 1-22 16,-2-4-57-16,0 0-18 0,1-3-67 0,-4 0-60 0,1-2-145 15,-2-3-531 1,2-2 81-16,-1-1 46 15,0 2 126-15,-1 1 95 0</inkml:trace>
  <inkml:trace contextRef="#ctx0" brushRef="#br0" timeOffset="141193.01">4787 11699 934 0,'0'0'376'0,"0"0"-48"16,0 0-13-16,0 0-34 0,0 0-86 0,-1-17-24 0,1 12-10 16,0-3-7-16,0 0-11 15,1-1-20-15,3-3 56 0,-2-2-17 0,0 2-4 16,4-3-17-16,1 2-21 0,1-1-12 0,2 1-8 15,0-2-16-15,6 3-30 16,2-1-5-16,-1 0-19 0,4 4-37 0,0-1-24 16,-1 6-54-16,1 2-50 0,4-1-85 0,-2 1-75 0,1 2-153 15,4 2-396-15,3 1 122 0,0 1 51 16,-3 1 80-16</inkml:trace>
</inkml:ink>
</file>

<file path=ppt/ink/ink8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06:19.399"/>
    </inkml:context>
    <inkml:brush xml:id="br0">
      <inkml:brushProperty name="width" value="0.05292" units="cm"/>
      <inkml:brushProperty name="height" value="0.05292" units="cm"/>
      <inkml:brushProperty name="color" value="#0070C0"/>
    </inkml:brush>
  </inkml:definitions>
  <inkml:trace contextRef="#ctx0" brushRef="#br0">16192 8444 862 0,'0'0'376'0,"0"-3"-35"0,0 3-14 0,0 0-19 16,0 0-98-16,-3-3 10 0,3 3-26 0,0 0 1 31,0 0-24-31,0 0-10 0,0 0-7 0,0 0 0 0,0 0-19 0,0 0-30 15,0 0-5-15,-10 6 26 0,8-1-37 0,1-2-2 16,-1 2 5-16,2 1-15 0,-2 1-10 0,2-1 4 16,-3 3-4-16,3 0-3 0,3-1-3 15,-1 3-17-15,-2-3 81 0,2 3-17 16,-1-2-16-16,1 1-5 0,1 0-18 0,1-2 3 0,-1 2-8 16,2-3-18-16,-2 1 13 0,3-1-21 0,-2-1-7 15,2 0-1-15,-2-1-7 0,2 0-2 16,-1-2-3-16,2 0 7 0,-1-1-9 0,-1-2-1 15,2 0 3-15,-7 0-5 0,13-5-11 0,-7 3 22 16,1-2-19-16,0-2 2 16,1 3-14-16,-2-4 22 15,-1 2 0-15,0-2 6 0,0-1 7 0,-3-1 5 0,1 3 8 0,2-1 13 0,-3-1-8 16,-2-1-69-16,0 2 23 0,-2-1 18 16,0 1 5-16,-1 0-3 0,-2-1 3 15,0 0-2-15,0 2 15 16,-3 1 5-16,3-1-11 0,-1 3 9 15,-1-1-6-15,0-1 8 0,-1 4-23 0,0-2 10 0,0 0 8 0,1 2-16 0,-1 1 1 16,-2 1-24-16,2 2-17 0,0 0-26 16,-2 0-18-16,2 0-41 0,-2 2-10 0,3 1-34 31,-3 1-27-31,2-2-39 0,0 3-67 0,3-2-174 0,-1 0-529 0,2 2 112 0,1 1 49 16,0-2 105-16,-2 1 130 0,5-1 18 15</inkml:trace>
  <inkml:trace contextRef="#ctx0" brushRef="#br0" timeOffset="4790">24478 8186 719 0,'4'8'197'0,"-3"2"-38"16,0-1-78-16,-1 4-114 0,0-1-59 15,0 1-21-15,0 1-414 0</inkml:trace>
  <inkml:trace contextRef="#ctx0" brushRef="#br0" timeOffset="8495.31">24445 8108 1172 0,'0'0'402'0,"0"-4"12"0,0 4-58 0,0 0-26 16,0-4 1-16,0 4 37 16,0 0-15-16,0 0-10 0,0 0-30 15,0 0-19-15,0 0-7 0,0 0-103 0,0 0-25 0,2 12 2 16,-2-5-7-16,0 6 68 0,2 3-30 15,-1 2-20-15,-1 4-6 0,0 1-7 0,0 4-29 16,0 2-25-16,0 0-41 0,0 1-38 0,0-1-62 16,3-2-33-16,1 2-49 0,-3-2-28 0,1-2-33 15,3 2-36-15,-2-3-77 16,3 0-209-16,-2 1-349 0,2-6-61 0,-2 0 22 16,0 0 129-16,0-2 105 0,-1 1 43 0,2-4 49 15</inkml:trace>
  <inkml:trace contextRef="#ctx0" brushRef="#br0" timeOffset="9539.81">24398 8664 775 0,'1'-1'402'0,"-1"1"-23"16,8 0-23-16,-8 0-31 0,9 0-16 0,-9 0-32 0,9 1-21 16,-5 2-5-16,-1-1-90 0,-3-2-15 15,5 7-13-15,-3-4-5 0,-1 0-18 16,-1 3-20-16,0-1 2 0,-1 0-16 0,1 1 1 0,-4-3 5 16,4 3-13-1,-2-1-17-15,2-3-14 0,0 3 18 0,0 2-15 0,0-1-18 16,0-1 5-16,2 1 1 0,0 1-1 15,1 0 2-15,0-2 4 0,-1 1-14 0,2 0 26 16,-3 0-5-16,2 0-5 0,1-4 8 16,-3 4 76-16,1-1-2 0,1-3 15 0,-2 4-21 0,0-1-7 15,0-2-13-15,-2 1 3 0,0 1-23 16,-3-3-6-16,2 4 1 0,1-3-42 0,-6 0 9 16,6 1-16-16,-5-2-44 0,2-1-15 15,-2 4-31-15,0-5-40 0,2 1-44 0,4-1-39 0,-11 3-104 16,6-3-90-16,2 0-215 15,3 0-310-15,0 0 115 0,-6-4 34 0,6 4 76 0,0-5 75 16</inkml:trace>
  <inkml:trace contextRef="#ctx0" brushRef="#br0" timeOffset="11907.03">24576 8710 967 0,'0'0'369'0,"0"0"-26"0,8 1-16 0,-8-1-32 0,8 2-19 0,-8-2-17 16,7 4-42-16,-4-2-9 0,-3-2-19 16,7 1-71-16,-4 4-16 0,1-5-28 0,-4 0 24 15,6 6-16-15,-4-5-24 0,-1 3 6 0,1-1-10 16,3 2-15-16,-4-1 12 0,3-1-3 15,-1 3-17-15,0 0 7 0,-1-1 9 16,3 1-12-16,-2 0-9 0,1-1 7 0,-1-1-12 0,0 1-6 16,-1-2 18-16,-1 0-15 0,1 4 18 15,-2-3 5-15,0 1-23 0,0-2 8 16,0 2-14-16,-2 0 6 0,2-2-13 0,-2 3 16 16,-2-2-47-16,2-1-7 0,1 1 18 0,-3-2-49 15,1 2-3-15,3-4-58 0,-3 3-67 16,3-3-67-16,-4 3-45 0,4-3-39 0,0 0-446 15,0 0 26-15,0 0 98 0,0 0 40 0</inkml:trace>
  <inkml:trace contextRef="#ctx0" brushRef="#br0" timeOffset="12181.61">24704 8800 988 0,'12'0'304'0,"-12"0"-38"15,0 0-12-15,3 6-26 0,0-5-8 16,-3-1 0-16,5 6-33 0,-3-6 2 15,-2 0-12-15,8 3-8 0,-4-2-29 0,-4-1 81 16,8 1 12-16,-8-1-47 0,0 0 14 0,8-1-13 16,-8 1-108-16,3-4 16 0,1 1-18 15,-3 0-13-15,-1 3 0 0,1-7-5 0,1 1-16 16,-2 2-12-16,0 0-11 0,-2-1-9 16,4 0-27-16,-4-1-20 0,2 3-23 0,-2-1-7 15,-2-2-13-15,4 6-34 0,-3-6-25 0,-1 6-18 16,4 0-49-16,-10 0-90 0,4 0-55 0,1 2-474 15,-3 2 68-15,0 2 60 0,-4 0 107 16</inkml:trace>
  <inkml:trace contextRef="#ctx0" brushRef="#br0" timeOffset="12402.7">24399 8985 1338 0,'0'0'438'0,"15"-3"-46"0,-15 3-129 15,15-1-4-15,-5-2-34 0,1 0-28 0,5 2-15 16,1-4-16-16,2 2 8 0,2-2-38 16,-1 1-8-16,1 2-31 0,1-3-48 15,1 3-11-15,0-2-10 0,-2 2-20 0,2-3-41 0,-1 5-47 16,-3-4-32-16,-1 3-93 0,-4 0-59 0,-5 1-45 16,1 0-175-16,0 0-217 15,-2 1-21 1,-3-1 118-16,-5 0 40 0</inkml:trace>
  <inkml:trace contextRef="#ctx0" brushRef="#br0" timeOffset="12625.83">24391 9057 1205 0,'0'0'382'16,"21"0"-55"-16,-14 0-4 0,3-2-37 15,1 0-14-15,2-1-37 0,2 1-12 0,0-2-41 16,0 2-11-16,1-2-40 16,-3 2-29-16,3-2-7 0,-1 3-49 0,0-1-21 0,-2-2-27 15,0 2-47-15,0-2-35 0,-2 3-60 0,-1-2-40 16,0 0-67-16,-3-2-120 0,3 4-422 16,-2 0 130-16,-1-3 7 0,0 2 47 0</inkml:trace>
  <inkml:trace contextRef="#ctx0" brushRef="#br0" timeOffset="15444.71">17156 8040 430 0,'10'-4'130'0,"0"-1"-48"0,0 3-21 0,-1-2-17 15,-1 0-21-15,2 3 10 0,-3-3-63 0,3 1-11 16,1 0-57-16,-1 0-37 16,-3-2-129-16</inkml:trace>
  <inkml:trace contextRef="#ctx0" brushRef="#br0" timeOffset="20016.64">17387 7967 872 0,'-3'14'259'0,"3"-7"-21"0,-2-1-26 16,2 6-30-16,0-2-3 0,0 4-17 0,0 1-22 16,-3 4-91-16,3 3-44 0,0 4-51 15,0 0-97-15,-3 3-34 0,1 10-102 16,0 0-351-16,-1-1 11 0</inkml:trace>
  <inkml:trace contextRef="#ctx0" brushRef="#br0" timeOffset="29114.91">17682 8171 1011 0,'0'0'355'0,"-3"-1"-24"0,3 1-14 16,0 0-69-16,0 0-5 0,0 0-5 0,0 0-99 15,0-7-34-15,0 7 2 0,0 0 8 0,0 0-15 16,0 0-8-16,0 0-12 0,0 0-14 16,0 0 8-16,0 17 3 0,-3-15-8 15,3 4-12-15,0 0-6 0,0-1-2 0,0 2 7 16,0 1-20-16,-2 2-3 0,2-2 3 0,0 5-26 16,-2-1 8-16,2 1 10 0,-3 0-5 15,3 2-2-15,-1-2-1 0,1-3-22 0,-2 4 7 16,2-2 7-16,0-2 9 15,-2 2-13-15,2-4 2 0,0 3-8 0,0-4-4 0,0-1-6 16,2 0-10-16,-4 0 5 0,2 0 11 16,0 0 4-16,0-1-4 0,0-3 12 0,0 4-12 0,0-6 7 15,0 5-3-15,0-5-9 0,0 0 4 16,0 0 18-16,0 0 6 0,0 0-29 0,0 0 16 16,0 0-3-16,2-18-15 0,-2 12 2 0,0 0 5 15,0-2 6-15,0-1-6 0,0 0 9 16,2-2-6-16,-2-1 10 15,0 0 5-15,0 0-23 0,0 2 6 0,0 0 4 0,0-3 9 16,0 5-4-16,0-3 1 0,0 4 18 16,0-2-14-16,1 0 4 0,-2 3-6 0,1 0-7 0,0 1 2 15,0 1 2-15,-2 0 4 0,2 4-6 16,2-6 8-16,-2 6-3 16,0 0 5-16,0 0-7 0,0 0 23 0,0 0-26 0,0 0 0 0,-2 18 26 15,0-11-6-15,2 3-30 16,-3-2 15-16,3 5-7 0,0 0-13 0,-3-1 2 15,1 1-10-15,2 0-5 0,-2 0 23 0,2-2-23 16,0 0-10-16,-1 0 17 0,-1-1-20 16,2-4-5-16,0 1-17 0,0 2-24 0,0-3-16 15,0 0-9-15,-3-2-49 0,3 1-44 0,0-1-20 16,0-4-103-16,0 0 16 0,0 4-438 0,0-1 49 16,0-3 84-16,0 0-2 0</inkml:trace>
  <inkml:trace contextRef="#ctx0" brushRef="#br0" timeOffset="30151.68">17543 8626 1008 0,'0'0'392'0,"0"0"-49"0,0 0-36 0,-2 10-28 0,2-4-13 15,-3 0-15-15,3 2-39 0,-2-1-25 16,2 4-69-16,0 0-21 0,0-1-17 16,0 1-11-16,0 1-51 0,0-3-3 0,2 2-51 0,-2 2-46 15,0-1-56-15,0-2-85 0,3 0-53 16,-3 1-21-16,2-5-420 0,-2 4 0 0,3-3 136 15,2 0 21-15</inkml:trace>
  <inkml:trace contextRef="#ctx0" brushRef="#br0" timeOffset="30537.36">17646 8659 1000 0,'8'-9'423'0,"-4"6"-32"0,2 0-40 16,-1-2-31-16,2 4-13 0,-1 1-102 0,-6 0-5 15,0 0-21-15,13 4 8 16,-11-2-11-16,0 4-30 0,1-1-8 0,-2 1-25 0,-2 2 64 16,-2-1-3-16,-1 5-34 0,1 1-1 0,-5 1-22 15,3 0-1-15,-2-1-4 16,1-2-17-16,1-1-11 0,2 2 6 0,-1-4-29 15,1 1 14-15,0-1-22 0,1-2 4 0,-1 1-4 16,3-3 9-16,-2-2-21 0,-1 4 10 0,3-2-15 16,0-4 18-16,3 6-19 0,-3-6 4 15,5 2-11-15,0-1-10 0,-5-1-5 0,10 0 0 16,-3-1-13-16,-7 1-31 0,14-5-5 16,-4 5-20-1,-3-4-39-15,1 1-15 0,2 1-3 0,1-3-51 0,-3 0-30 0,2 2-83 16,-2 0-124-16,-1-2-47 15,1 1-441-15,-1 0 47 0,1 2 123 0,0-2 46 0,-1-1 99 0</inkml:trace>
  <inkml:trace contextRef="#ctx0" brushRef="#br0" timeOffset="30844.98">17892 8660 1067 0,'-13'1'374'0,"6"1"-1"0,7-2-48 0,-11 0-38 15,6 0-18-15,5 0-3 0,-8 4-59 0,5-2-2 16,1 0-36-16,0 1-20 0,2-3 7 0,0 7-26 16,4-3-17-16,-1-1 0 15,2 4 14-15,-2-2-11 0,5 1-11 0,-1-2-18 16,-2 1 0-16,1 0-62 0,-1 0-12 0,0 2 28 16,0-3-13-16,-3 2 11 0,4 0 12 15,-4-3-10-15,-2 3-5 0,0 0-8 0,0 0-8 16,0 1 8-16,-3-2-7 0,-2 2-13 0,3-1-32 15,-3 0-22-15,0-1-38 0,2 0-29 16,-2 1-33-16,0-3-61 0,-1 3-95 16,-1 0-77-16,4-2-468 0,-1-1 46 0,-2 2 87 15,3-3 56-15,-1 3 56 0</inkml:trace>
  <inkml:trace contextRef="#ctx0" brushRef="#br0" timeOffset="32302.2">22130 8219 831 0,'0'0'374'0,"0"0"-44"0,0 0 11 0,-7 5-47 15,7-5-28-15,0 8-23 0,0-3-4 16,-1 0-24-16,1 2-18 0,0-1-8 0,0 2-28 16,0 2-30-16,-3-1 10 0,3 0-6 0,0 1-22 15,0 0-13-15,0-1-16 0,-2 1-2 16,2-1-20-16,0 0 14 0,0 0-42 0,0 0-6 16,0-1 13-16,0-2-28 0,2 0 17 0,-2-1-14 15,0 0 2-15,0 0 10 16,0-1-3-16,0-4-7 0,0 0 3 0,0 0-8 0,0 0 22 15,0 0-27-15,0 0 10 0,0 0 10 16,0 0 0-16,0-19 0 0,-2 10 16 0,2 0-21 16,-2-2-18-16,1-2 28 0,-1 1-17 15,-1 0-1-15,1-1-5 0,1 0-5 0,-3 1-5 16,1 0 21-16,3 4-3 16,-1 0-13-16,-3-1-5 0,4 1-38 0,-2 2 9 0,2 1-9 15,0-2-11-15,-3 6-25 0,3 1-10 0,0 0-52 16,0 0-46-16,0 0-92 0,0 0-115 15,-1 8-445-15,1-8 74 16,1 16 2-16,-1-7 77 0,3 3 95 0</inkml:trace>
  <inkml:trace contextRef="#ctx0" brushRef="#br0" timeOffset="33838.51">23153 8229 1108 0,'0'0'266'0,"0"0"-13"0,0 0-2 0,0 0-23 15,-6 9-13-15,6-4-13 0,0 3-22 0,0-1-12 16,-2 4-19-16,2-1-3 0,0-1-13 16,0 4 3-16,0 0-24 0,-2-1-17 0,2 0-11 15,2-1-12-15,-2-2 7 0,0 2-25 0,0 1 2 16,0-5-2-16,0 4-18 0,0-4 15 15,0 1-2-15,-2-2-11 0,4-1 3 0,-2 2 13 16,0-4 7-16,0-3 1 0,0 3-13 16,0-3 32-16,0 0-37 0,0 0 5 0,-5-11 2 15,5 3-10-15,-1 1-18 0,-3-4 20 16,2-1-20-16,0 0 5 0,-2-2 59 0,2-2-10 16,0 2-41-16,-2 1 3 0,4 0-32 31,-2 0-14-31,0 5-19 0,2-1-28 0,-1 1-25 0,0 2-11 0,1 1-22 0,0 5-14 0,1-3-30 15,-1 3-44-15,0 0-89 0,0 0-77 0,-2 10-494 16,2 0 72 0,1 3 114-16,-2 0 42 0,-2 0 74 15</inkml:trace>
  <inkml:trace contextRef="#ctx0" brushRef="#br0" timeOffset="34324.21">22999 8631 1213 0,'0'-5'330'16,"0"5"-23"-16,5-3-18 0,-5 3-25 15,5-1-18-15,-5 1-47 0,0 0-1 0,13 3 11 16,-10-2-22-16,-1 4-18 16,1 0-2-16,-3-1-16 0,-3 1 69 0,1 2-13 0,-1 2-25 15,-4-1-23-15,1 4-78 0,-1-1-6 0,-1 2-4 16,0-5-7-16,2 2-12 0,-2-1-9 15,1 0 1-15,3-2-6 0,0-1-5 16,0 0-2-16,-1-3 0 0,4 2-6 0,-3-3-17 16,1 3 12-16,3-1 6 0,0-4-13 0,-1 2-6 15,1-2 9-15,1 6-8 0,-1-6-34 0,7 1-5 16,-7-1-20-16,6 1-28 0,-6-1-21 16,11-1-15-16,-11 1-36 0,10-1-36 0,-3-3-136 15,2 2-43-15,-7 2-10 0,5-1-446 0,0-3 39 16,-4 4 110-16,3-4 117 0,1 0 24 15</inkml:trace>
  <inkml:trace contextRef="#ctx0" brushRef="#br0" timeOffset="34482.31">23076 8624 985 0,'5'-4'381'0,"-5"4"-17"0,7-2-16 0,-3 1-33 0,-4 1 7 0,10 1-45 0,-10-1-103 15,10 4-5-15,-7-2-16 16,1 3-7-16,2-3-15 0,-1 5-26 0,-2-1 7 0,-1 0-17 16,0 3-23-16,0-1 12 0,-1 1-53 0,-1 0-44 15,-1 1-15-15,-3 1-62 0,2-2-56 16,1 3-171-16,-4-1-113 0,2 2-356 0,2-7 16 16,-3 4 107-16,2-1 74 0</inkml:trace>
  <inkml:trace contextRef="#ctx0" brushRef="#br0" timeOffset="34855">23198 8638 609 0,'0'0'215'0,"-2"-6"15"16,2 6-5-16,-4-1-22 0,4 1-4 0,0 0-20 16,-11 0 6-16,11 0-91 0,0 0 6 15,-7 4 13-15,7-4-6 0,-3 5 14 0,0-1 73 16,1 0 3-16,2 2-2 0,0-1-19 16,2 0-17-16,1 2 18 0,-1 1-83 15,1 1 24 1,-1 1 3-16,1 0 88 0,0 0-14 0,3-1-34 0,-4 2-2 0,0-3-8 0,2 2-21 15,-3-3-14-15,-1 2-1 0,3-1-15 16,-3-2-21-16,-3 1-23 0,3 0-22 0,-3 0-29 16,-1-1-15-16,0 0-54 0,-3 0-24 0,4 1-52 15,-2-1-127-15,-2-1-173 16,4 1-494-16,-3 1 79 0,-1-2 85 0,2 1 109 0,0 0 24 16,-2 0 66-16</inkml:trace>
  <inkml:trace contextRef="#ctx0" brushRef="#br0" timeOffset="35119.28">22913 8963 888 0,'0'0'356'0,"9"-4"-39"16,-4 1-33-16,1 2-31 0,4-4-25 0,0 5-41 15,0-5-61-15,1 3-50 0,1-1-96 0,-2 0-103 16,-2 3-197-16,3-4-409 0,1 2 130 16,0 2-16-16</inkml:trace>
  <inkml:trace contextRef="#ctx0" brushRef="#br0" timeOffset="35295.83">22996 8998 1072 0,'0'0'338'0,"0"0"-44"0,0 0-15 16,0 0-38-16,0 0-49 0,11-10-28 15,-6 10-34-15,0-3-58 0,3-1-64 0,0 1-101 16,-1-1-104-16,3-1-545 0,1 4 102 0,-1-3 72 15</inkml:trace>
  <inkml:trace contextRef="#ctx0" brushRef="#br0" timeOffset="35670.06">23033 8706 1149 0,'0'0'320'16,"7"0"-36"-16,-7 0-20 0,13 0-42 15,-5 0-2-15,-1 0-53 0,1 0-75 0,2 1-43 16,2 0-83-16,-3 1-73 0,1 0-72 0,3-1-554 15,-3 0 81-15,-2 2 84 0</inkml:trace>
  <inkml:trace contextRef="#ctx0" brushRef="#br0" timeOffset="48226.18">18737 8185 1220 0,'0'0'420'0,"-4"-4"18"16,4 4-23-16,0 0-62 0,0 0 3 0,0 0-41 15,0 0-36-15,0 0-13 0,-3 13-44 0,6-7-22 16,-3 5-13-16,0-3-31 0,2 2 5 16,-2 2-17-16,3 1-21 0,-3-2-3 0,3 3-43 15,1-4-6-15,-3 2-9 0,1 0-9 16,1 1-22-16,-1-4-13 0,-1 0-31 0,1-3 3 15,0 4 5-15,2-2 5 0,-3-2-3 16,0 0-12-16,-1-1 28 0,2-2-18 0,-2-3-11 16,0 4 32-16,0-4-9 0,0 0-12 0,0 0 10 15,0 0-5-15,0 0 3 0,0 0-18 0,-3-18 35 16,-2 8-15-16,3 3 8 0,-3-6 0 16,0 1-21-16,0 0 29 0,-1-1-1 15,1 0-12-15,0 1-3 0,3 3-5 0,-1-1 28 0,-2 3-2 16,2 1-8-16,1-1-3 15,-3 2-18-15,2 2-12 0,0 0-5 0,3 3-24 16,-5-3-40-16,5 3-24 0,0 0-23 0,0 0-45 16,-10 6-90-16,10-6-134 0,-2 3-539 0,2 1 71 15,0-4 111-15,0 8 65 0,2-3 68 16,-2-4 56-16</inkml:trace>
  <inkml:trace contextRef="#ctx0" brushRef="#br0" timeOffset="49471.53">22107 8242 867 0,'0'0'353'0,"-1"15"-35"0,1-9-21 0,0 0-31 16,0 2-23-16,-2 1-30 0,2 1-27 0,-2 1-14 15,2 2-11-15,0-3-2 0,0 4-29 0,0-1-17 16,0-2-3-16,0 0-36 0,0-2 3 16,0 3-15-16,0-5-6 0,0 4-18 15,0-4 24-15,0 0-26 0,0-1 5 0,0 0 7 0,0-2-9 16,0-1-16-16,0-3 18 16,0 0-3-16,2 4-23 0,-2-4 37 0,0 0-24 15,0 0-13-15,0-16 18 0,0 10-5 0,0-2-2 16,-2-2-11-16,2 0 1 15,0-3-1-15,-3-2 8 0,3 4-13 0,0-5-7 0,-1 4 5 16,-1 0-24-16,0 3 4 0,2-1-29 0,-2 2-6 16,2 2-37-16,-3-1-31 0,2 2-41 15,-1-1-77-15,0 3-28 0,2-4-64 0,-3 6-482 16,3 1 114-16,0 0 12 0,0 0 79 0</inkml:trace>
  <inkml:trace contextRef="#ctx0" brushRef="#br0" timeOffset="60568.18">20299 4446 744 0,'0'0'397'0,"-2"-2"-21"0,2 2-30 0,0 0-18 0,-3-3-11 16,3 3-25-16,0 0-108 0,-2-4-7 0,2 4-13 16,0 0-6-16,0 0 14 0,0 0-26 15,0-4 20-15,0 4-43 0,0 0-23 0,0 0-3 16,0 0 5-16,0 0-22 16,0 0-3-16,-3 11 4 0,3-8-4 0,0 4-20 0,-3 0-11 15,3 3-5-15,-2 2-26 0,2 0-15 0,-2 2-18 16,2 1-31-16,0 1-33 0,0 0-23 15,2 0-20-15,-2 3-5 0,0-1-34 0,2 0-62 16,-2 0-134 0,0-1 27-16,2 2-481 0,-1 0 38 0,2-1 129 0,-1 2 55 0</inkml:trace>
  <inkml:trace contextRef="#ctx0" brushRef="#br0" timeOffset="60956.52">20351 5097 1046 0,'0'9'308'0,"0"-1"-19"0,0 3-28 0,0-2-115 0,2 6-13 0,-2-1-10 16,2 0-59-16,-1 3-13 0,1 1-46 0,3 1-87 15,-2 0-61-15,-1 0-36 0,1-1-466 0,2 1 20 16,0 1 62-16</inkml:trace>
  <inkml:trace contextRef="#ctx0" brushRef="#br0" timeOffset="61242.31">20396 5793 975 0,'-2'3'238'16,"0"1"-16"-16,-1 1-12 15,2 1-15-15,-3 1-24 0,2 1-25 0,1-1-2 0,0 2-16 16,-1 0-13-16,0 3-20 0,-3 0-1 0,5 0 50 16,0 0-27-16,-3 1-4 0,3-1-57 15,-2 2-2-15,2 0-26 0,-2 1-79 16,1-1-18-16,-1 0-44 0,2 3-74 0,-3-4-58 16,3 2-457-16,3 1 65 0,-6-2 15 0,3-1 69 15</inkml:trace>
  <inkml:trace contextRef="#ctx0" brushRef="#br0" timeOffset="62327.25">20325 6374 849 0,'-2'3'361'0,"1"3"-28"0,0 2-31 0,1 1-15 15,-1-1-39-15,-2 3 5 0,1 0-43 16,2 4-18-16,-2 2-33 0,1 2 5 0,-2 0-39 16,3 1-15-16,-2-1-5 0,2 6-23 0,-3 0-10 15,1 0 7-15,-1 1-33 0,1 1-18 16,1 0-20-16,-1-2-23 0,0 1 7 16,-1-1-20-16,3-2-18 0,0-2-41 0,-1 1-10 15,1-1-39-15,1-1-41 0,-1-2-33 16,0 1 16-1,0-1 33-15,0 1 15 0,0-6 13 0,3 3 7 0,-3-2 31 0,2-1 24 0,-2-2 17 0,0-2 67 16,-2 1 5-16,2-2 12 0,0-1 11 16,0 0 13-1,2 1 13-15,-2-5 2 0,0 2 5 0,0 2 34 0,0-3 20 0,0 0-29 16,0 2-1-16,0 0 19 0,0-1-4 16,0 2-21-16,-2 3-10 0,2-3 8 0,0 4-6 15,0-3-20-15,0 3 0 0,-3-2-2 0,3 3-14 16,0-1 14-16,0 2-4 15,0 0-4-15,0 0-8 0,0 4 5 0,0-2-30 0,0 1-11 16,0-2 6-16,0 3-16 16,0-2-44-16,3-2-12 0,-3 4 10 0,0-2-34 0,0 0-22 15,0 0-6-15,2 0-48 0,-2-1-54 0,0 0-212 0,0-3-64 16,3 1-144-16,-3 1 8 16,2-5 292-16,-2-1 140 0,0 3 114 0,0-2 37 15,0-2 42-15,0 2 12 16,0 1 44-16,0-3 46 0,3 1-23 0,-3 1 33 0,0 1 46 15,0 1 29-15,2-4-14 0,-1 4 65 0,-1-2-16 16,2 0-15-16,-2 2-13 16,0-1-2-16,0 2-29 0,2-3-10 0,-2 2 3 0,0 2-18 15,3-3-8-15,-3 2-13 0,0 0-25 0,0 3-16 16,0-1 8-16,1-1-28 0,-1 2-3 0,0-2-15 16,0 1-28-16,0-1-33 0,2 0 7 15,-2 4-8-15,0-3-9 16,0 0 2-16,0 1-1 0,0-1-4 0,0 0 18 0,0 1 2 15,0 0-18-15,0-1 13 0,0 0 21 0,0-4-3 16,0 1 28-16,0 2-5 0,0-3-23 16,0 2 8-16,0-2 20 0,0 1-13 0,0-1 19 15,2 0-11-15,-4-1 10 16,2 2 28-16,0-1-25 0,0 0 5 0,0-1 8 0,0 0-13 16,0 3 4-16,2-3-19 0,-2 1 10 0,0-1-13 15,0-1 28-15,0 3-26 0,0-2 1 0,0 2-6 16,3-2 16-16,-3 0-16 0,0 3 18 15,0-4-28-15,1 4 16 0,0-4-21 32,-2 1 8-32,2 1-1 0,-1 0-12 0,0-3-8 0,0 0-5 0,0 1 21 0,0-1-31 0,0 1 0 15,0 0 12-15,1 0-7 0,-1 2-10 16,0-2 5-16,0 1-18 0,0-2 5 0,2 2-8 16,-2-2-12-16,-2 2 22 0,4-1-4 0,-2-1-47 15,0 1 1-15,0-2 20 0,0 3-49 16,0-2 18-16,0 0-61 0,2 1-24 15,-2-1 19-15,-2 0-23 0,4 1-67 0,-4-1-82 0,2-1-343 16,0 2 56-16,0-1 29 0</inkml:trace>
  <inkml:trace contextRef="#ctx0" brushRef="#br0" timeOffset="64286.56">20071 8746 1341 0,'0'3'379'0,"0"-3"-31"16,-3 4-33-16,3-4-16 0,0 0-110 0,3 8-17 16,-3-8-18-16,5 5-11 0,-2-2-7 0,0 1-16 15,4-1-8-15,0 1 16 0,1-1-28 16,1 2-13-16,3 0 67 0,1-1-13 15,4-1-1-15,-4 4-24 0,7-3-14 0,-3 2 3 0,5-2 3 16,-3 0-42-16,3 1 19 0,-1 0-27 16,2-2-1-16,-2 3-9 0,-1-1-2 15,-2 0-30-15,3-2 14 0,-4 2-6 0,-1 0 1 16,-3-3 3-16,3 4-33 0,-2-6 0 0,-1 4-13 16,-2-2 13-1,-1-2-13-15,1 1 3 0,-2 2 7 0,-1-3-7 0,0 0 2 16,-1-1 3-16,1 1-1 0,-3-2-4 0,3 1 10 0,-3 1-8 15,-5 0 16-15,10-6-6 0,-7 6 11 16,2-3-24-16,-2 0 16 16,-1 1 8-16,1-3 2 0,2 1 8 0,-3 1-2 0,-1-2-4 0,1-1-9 15,0 0 0-15,2 0-9 0,-3-2 29 0,0 1-10 16,1-1-13-16,1-1 0 16,-2-2-5-16,1 2-10 0,-2-2 20 0,0-1-13 15,0-1 31-15,2-1-28 0,-2-1-3 0,0 1 16 16,0 0-13-16,0 0 0 0,0-2 20 15,0 2-28-15,0 0 34 0,0-2-6 0,0 4-17 0,-2-1-11 16,2-2 3-16,0 3 5 16,-1 0 12-16,1 1-12 0,-1 2 15 0,0-1-22 15,1 1 14-15,-3 1 16 16,3 0 3-16,-2 2-32 0,2-1 27 0,0 2-14 0,-1-1 6 16,1-1 5-16,-1 4-8 0,1-2-13 0,-1 1 21 0,1-1 18 15,0 5-26-15,-3-7 13 0,1 6-11 16,2 1-1-16,0-6 19 0,-2 3-10 15,2 3 11 1,0 0-28-16,0-7 17 0,0 7 0 0,-1-3-5 0,1 3 16 0,-2-4-16 0,2 4-5 16,0 0 31-16,-3-2-23 0,3 2-13 0,0 0 13 15,-2-5-23-15,2 5 4 0,0 0 6 16,0 0-2 0,0 0 2-16,-5-3 5 0,5 3-2 0,0 0-1 0,-4 0-4 0,4 0 30 15,0 0-26-15,0 0 6 0,-14 0 0 0,14 0 2 16,-8 1-2-16,8-1-1 0,-10 0-22 0,10 0 12 15,-9 1 32-15,0-1-27 0,4 1-7 0,5-1 10 16,-16 0-15-16,6 2 18 16,0-1-16-16,2-1 21 0,-3 1-13 0,-1 0 2 0,2-1-2 15,-1 1-5-15,-1 0 13 0,-4 2 2 0,4-2 8 16,-4-1-16-16,3 3 4 16,0 0-17-16,-3-3 11 0,2 6-2 0,4-5-1 15,-4-1-12-15,2 4 10 0,1-2 7 16,-4 1-9-16,7-1-6 0,-1-1 23 0,0 1-10 15,-1 1 5-15,2-1 0 0,-2-2 11 16,5 1-21-16,-2 2 28 0,1-2-18 0,-1 0-8 0,7-1 8 16,-10 4-7-16,4-3 7 0,1 0-13 0,5-1 11 15,-7 0-16-15,7 0 10 16,-8 1 8-16,8-1 16 0,-8 2-16 0,8-2-5 16,-5 1 8-16,5-1-16 0,0 0 6 0,-5 3-6 0,5-3-2 15,0 0 15-15,-8 0 0 0,8 0-10 0,0 0 28 16,0 0-21-16,0 0-14 0,-5 0 6 15,5 0 1 1,0 0 5-16,0 0-13 0,0 0-2 0,0 0 7 0,-3 4 1 0,3-4 12 16,0 0-13-16,-1 5 11 0,1-5 35 15,1 6-20-15,0-2-3 0,-1 1-2 0,0 1 3 16,2 1-4-16,-2 2 1 0,5 1-5 16,-5 2 0-16,0-1 22 0,3 1-7 0,-1 2-12 0,-2-1 17 15,2 2-13-15,-1 0 3 0,-2-1 15 16,1 4-28-16,-2-5 0 0,4 0-10 0,-1 0 13 15,-1-1 10-15,0 0-41 0,-1-3 49 0,2 1-11 16,-2-3-7-16,1 2-6 16,1-3 16-16,-1 1-21 0,0-2 3 15,2 2 3-15,1-4 7 0,0 3-10 0,-1 0 8 0,3-2 2 16,-2-2-38-16,5-1 23 0,-4 2-31 0,2-1-5 16,2-2-28-16,2 0-21 0,-3 0-7 15,3 0-69-15,1-2-103 0,-1 1-153 0,5-2-541 16,-2 3 85-1,0-1 72-15,5 0 92 0,-8 1 97 0,4 2 28 0</inkml:trace>
  <inkml:trace contextRef="#ctx0" brushRef="#br0" timeOffset="67635.64">19648 9049 1123 0,'7'0'387'0,"-7"0"-29"0,7 0-23 0,-7 0-15 15,6 1-25-15,-6-1-21 0,6 1-11 0,-6-1-12 16,2 5-102-16,-2-5-4 0,6 2-14 0,-6-2-21 16,2 5 5-16,-2-5 6 0,-5 6-11 15,2-3-11-15,-2 0 73 16,-2 1-16-16,-6-1-2 0,0 2-39 0,-2 2 3 15,-3-1 10-15,-8 0-3 0,0 1-15 0,-14 4-20 0,-1-2 12 16,-4 1-30-16,-4-2 2 0,-4 2-2 16,-14-1-21-16,1 2-79 15,-6 1 2-15,3-1 11 0,-3-2-8 0,-2 3 2 16,-1-5 21-16,-4 3-20 0,2-2 7 0,-2 3-10 0,-1-3-3 16,2-1 6-16,2 3-11 0,-1-2 23 15,5-1-7-15,1 2 10 0,14-7-3 0,1 4 1 16,2-2-11-16,3-1 10 0,2 2 0 0,3-4 3 15,10 0-5-15,5 2 5 16,3 0 0-16,2-3 2 0,3 0-7 0,3 3 15 0,-1-2 0 0,1 1-5 16,4-2 16-16,1 0-16 0,2 0-3 15,0 3 11-15,3-3-3 0,-1 0-8 16,2 1-7-16,1 0 25 0,0-1-12 0,1 0-1 0,-1 0-12 16,2 1 36-1,1 0-8-15,-2 2-11 0,7-3 4 0,-11 2 1 0,7-1-22 16,-2 0 18-16,1 2-13 0,5-3 20 0,-7 2 0 0,1-2 1 15,6 0-14-15,-5 3-2 16,0-2 3-16,5-1 25 16,-5 2-7-16,2 1-9 0,3-3-7 0,-5 2 11 0,5-2-6 0,-5 2 0 0,5-2 8 15,-5 0 5-15,5 0 8 16,0 0-3-16,-5 4 5 0,5-4-2 0,0 0-26 0,-7 1 29 16,7-1-6-16,0 0-5 0,-6 1-5 15,6-1 23-15,0 0-23 0,-3 2-1 16,3-2-4-16,0 0 3 0,0 0 2 0,-7 2 12 0,7-2-14 15,0 0 22-15,-5 1-30 0,5-1 10 16,-6 2 0-16,6-2-18 0,-7 4 20 0,7-4 0 16,-5 1-25-16,5-1 23 0,-6 1-15 0,6-1 10 15,-5 2-11-15,0 1 21 0,5-3-25 0,-10 0 12 16,7 0-5-16,-4 4 3 16,7-4 15-16,-8 1-34 0,3 0 19 0,-3-1-5 15,3 1 15-15,-3-1-16 0,1 2-15 0,-4 0 24 16,1 0-16-16,0-2 15 0,0 1-5 0,-3 2-8 15,-3-1 29 1,2 1-11-16,-2-1-12 0,-2 2-8 0,0 0-3 0,-3 1 16 0,-2-1-6 16,0-1-12-16,-3 4 15 15,-2-2-13-15,1 1-2 0,-2 0 15 0,1-2-17 0,-1 2 22 0,-1-3-33 16,1 2 18-16,1-2 10 0,0 1-26 16,-2-3 37-16,6 2-21 15,-4-1 5-15,3-2 5 0,2 1-13 0,2 2 18 0,3-3-23 16,0 1 1-16,2-1 14 0,1 0-12 0,0 0-3 0,7 1-7 15,-5-1 17-15,3 0-56 16,3 0-5-16,-1 0-20 0,2 1-3 0,-1-1-21 16,7 0-7-16,-11 0-13 0,7 1-2 15,4-1 7-15,0 0-28 0,-8 0-18 0,8 0 5 16,0 0-36-16,0 0 13 0,0 0-40 16,0 0-40-16,0 0-83 0,0 0-6 0,23-1-489 0,-16-2 41 15,3 0 106-15,-1 2 60 0,3-4 65 16</inkml:trace>
  <inkml:trace contextRef="#ctx0" brushRef="#br0" timeOffset="68070.16">16866 9181 1144 0,'-18'3'450'0,"0"1"-30"0,1 0-39 0,-4 0-20 16,-2 5-66-16,-13 2 17 0,-2 4-43 15,1-1-29-15,-1 4-4 0,0 2-54 16,-8 4-11-16,4 4-7 0,-1 0-13 0,7-6-18 0,3 0-10 16,-3 4 5-16,5-2 2 0,0 1-40 15,3 0 10-15,0-1-36 0,5-2 5 16,5-3 23-16,5-4-13 0,1 3-15 0,3-4 5 15,2 2-10-15,4-1-18 0,3 1-2 0,1 0-1 16,3 2 3-16,9 1-8 16,3 10-63-16,9-5-11 0,4 1 23 0,4-3-10 0,13 3-1 15,6-6 19-15,1 0-8 0,4-2 18 16,-9-5-15-16,1-1-8 0,-1-2 23 16,3 1-13-16,-2-1-13 0,-2-1 14 0,-1 0-1 0,-2-1-36 15,-3 1 1-15,-9-3-6 0,-5 1-41 16,-2 2-15-16,1-3-23 0,-3 1-41 15,-3 0-56-15,1 1-131 0,2 1-167 0,-3-3-406 0,-2 2 105 0,3-3 148 16,0-1 36 0,1-2 64-16</inkml:trace>
  <inkml:trace contextRef="#ctx0" brushRef="#br0" timeOffset="68851.53">21806 9406 1103 0,'-7'0'268'0,"5"3"-42"15,2-3-1-15,-3 4 10 0,3-4-7 0,0 0-18 16,8 6-23-16,2-2 18 0,3-3-8 16,5 1-46-16,3 0 23 0,9 0 54 0,3 0-23 15,18-1-98-15,4 2 16 0,19-2-3 0,5 0-2 16,7-1 0-16,-2 0-18 16,0 0 15-16,6 3-44 0,-3-3-1 0,2 0 6 0,4 0-9 15,-6-3-6-15,-1 3-9 16,-1-3-6-16,-5 0-8 0,5-1-2 0,-2 1-5 15,2-3 4-15,-3 3 4 0,-1 0-6 0,-4-4 18 0,-3 1-30 16,-5 0-19-16,-11 5 21 0,-3-5-10 31,2 5 2-31,-6-1-2 16,-5 0 10-16,-5 1-5 0,-10 1-15 0,0 0-3 0,-6 0 18 0,1 1-26 0,-3-1-2 0,0 2-3 16,-5-2-2-16,2 1-14 0,-2-1 6 0,-2 0 31 0,-1 1-13 15,-2-1 0-15,-3 1-5 0,0-1 10 0,1 0 2 16,-4 0-17-16,1 0-1 15,-2 0-27-15,-6 0-11 0,10 0 6 0,-10 0-34 0,3 2 2 16,-3-2-17-16,0 0-39 0,0 0-25 0,0 0-36 16,0 0-100-16,0 0-66 0,-13 5-480 15,13-5 40-15,0 0 109 0,0 0 46 0,0 0 52 16</inkml:trace>
  <inkml:trace contextRef="#ctx0" brushRef="#br0" timeOffset="69176.97">24186 9184 1121 0,'0'0'350'0,"0"0"6"0,0 0-64 0,0 0-21 0,0 0-7 0,0 0-23 16,0 0-34-16,13 10-8 0,-3-4-14 0,5-2-9 15,1 2-19-15,2-2-1 0,2 4-23 16,4 0-15-16,1-1-14 0,-2 0-1 0,3-1-16 16,-3 0 10-16,3 5 23 0,-4-2-12 15,-1 3 79-15,1 0-3 0,-3 0-33 0,-1 1 23 16,0 3-38-16,-5 0 5 0,-3 3-31 0,-5-1-13 16,-6 4 8-16,-5 3-18 0,-10 9-31 0,-9 7-28 15,-8-1-53-15,-4 1-52 16,-6 1-66-16,-3 3-164 0,-3 2-781 0,0-3 164 15,-3-1 76-15,-6-1 80 0,-2-1 129 0,-21 12 34 0,4-4 45 16</inkml:trace>
</inkml:ink>
</file>

<file path=ppt/ink/ink8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08:21.4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C00000"/>
    </inkml:brush>
  </inkml:definitions>
  <inkml:trace contextRef="#ctx0" brushRef="#br0">9859 2836 1057 0,'-5'-2'435'16,"0"2"-51"-16,5 0-34 0,-5-1-37 16,5 1-34-16,0 0-18 0,0 0-13 0,0 0-23 0,21-2-25 15,-4 2 2 1,7-2-35-16,8 2 4 0,5 2-35 0,16-1 7 0,6 1 49 15,16 0-26-15,1 1-15 0,4-1 6 0,2 1-45 16,1 0-9-16,-2 3 4 16,-1-1-35-16,-1 2-26 15,-5-3-36-15,1 2-20 0,-5-2-36 0,-12-1-16 0,-2 0-17 0,-1 0-34 0,-7 1-30 16,-2-2-36-16,-7 0-92 0,-9-1-111 0,-7 2-424 16,3-3-59-16,-8 0 89 0,-2 0 75 15,-4 0 61 1,-2 0 61-16</inkml:trace>
  <inkml:trace contextRef="#ctx0" brushRef="#br0" timeOffset="330.86">9562 2979 1197 0,'0'0'395'0,"0"0"-40"15,0 0-19-15,36-1-39 0,-6-2-105 0,19 2-21 16,10-1-10-16,16 4 19 0,4-2-45 0,6 1-2 16,4 2-12-16,3 1-6 15,4 0-13-15,1-1-7 0,-2 2 7 0,-1-2-38 0,-1 2-2 0,-1 1 2 16,-4 0-18-16,-2-1 8 0,-1 1-3 16,-5-2-21-1,-6 1 14-15,-5 1 2 0,-15-2-31 0,-5-1-7 0,-1 0 2 0,-11 1-22 16,-9-1 4-16,-5-2-15 15,-1 2 2-15,-5-1-12 0,-3-1 15 0,2 1 0 0,-6 0 3 16,1-2-18-16,-3 1-29 0,-4-1-7 0,2 0-5 16,-6 0-23-16,7 1-29 0,-7-1-38 0,0 0-38 15,8 0-92-15,-8 0-67 0,2 0-433 16,-2 0 55-16,0 0 127 0,0 0-8 16</inkml:trace>
  <inkml:trace contextRef="#ctx0" brushRef="#br0" timeOffset="8303.48">15451 2739 1044 0,'-5'0'461'15,"5"0"-39"-15,0 0-36 0,0 0-22 0,0 0-21 0,0 0-23 0,39 1-18 16,-14-1-51-16,11 0-8 0,15 0-28 16,8 2-28-16,18 0 0 0,0-4-23 15,5 4-13-15,0-2-21 0,2 0-15 0,6-2-7 16,-2-1-31-16,1 4-26 0,-1-2-10 15,-7-1-41-15,-3 2-39 0,-2-2-45 0,-17 2-42 0,-2 2-35 16,-6-2-156-16,-18-2-157 0,3 4-463 16,-10-2 72-16,-3 0 97 0,-5 0 93 15,-8 1 63-15</inkml:trace>
  <inkml:trace contextRef="#ctx0" brushRef="#br0" timeOffset="8536.92">15700 2845 1177 0,'3'1'381'0,"-3"-1"-17"15,20 1-19-15,-2-1-27 16,10-2-21-16,20 1-18 0,4 1-41 0,7-3 2 0,18 0 29 0,2-2-36 16,5 1-38-16,2 0-47 0,1 1-35 15,-3 0-54-15,-4 1-59 0,-1-2-36 16,-1 1-85-16,-4 2-96 0,3-1-72 0,-1-7-95 0,4 7-423 15,-3 0 24-15,0-3 95 16,2 1 30-16,3 0 95 0</inkml:trace>
  <inkml:trace contextRef="#ctx0" brushRef="#br0" timeOffset="9027.79">20043 2933 1331 0,'-8'-2'455'0,"6"4"-63"0,2-2-21 0,0 0-38 0,0 0-16 16,18 7-30-16,-7-6-36 0,5 2-72 0,5-2-36 15,10 0-20-15,2 0 8 0,16 2-21 16,2-2-13-16,3 0-15 0,0-2-16 0,2 0-37 16,-1-2-27-16,0 1-15 0,2-2-51 15,-3 1-30-15,0 0-32 0,-2-3-15 0,-4 3-115 0,-2-2-92 16,-10 3-100-1,-7-1-381-15,-7 1 82 0,-4-1 96 0,-5 1 73 0</inkml:trace>
  <inkml:trace contextRef="#ctx0" brushRef="#br0" timeOffset="9301.56">20058 2994 1008 0,'10'2'443'15,"4"2"-41"-15,3-1-116 0,5 0-14 16,5 1-32-16,4-1-27 0,13-1-16 16,4-1-15-16,2 3-19 0,0-3-9 0,-1 1-29 15,-1 0-30-15,1-1-3 0,-10 0-7 16,-3 0-21-16,-5 1-3 0,-3-2-45 0,-3 2-14 16,1-2-7-16,-5 1-18 15,-6 0-10-15,3-1 10 0,-6 0-52 0,-2 1 19 0,0 1 0 16,-4-2-6-16,-3 0-35 0,-3 0-18 0,7 3-31 15,-7-3-10-15,0 0-46 0,0 4-6 0,0-4-43 16,-5 6 6-16,0-3-21 0,3 0-339 0,-2 0 14 16,-2 1 10-1</inkml:trace>
  <inkml:trace contextRef="#ctx0" brushRef="#br0" timeOffset="16077.82">12234 3769 898 0,'-3'-5'282'0,"3"5"-42"0,0 0-20 16,0 0 59-16,0 0-10 0,0 0-18 0,-6 18-13 15,2-7-41-15,-1 2-2 0,-1 8-24 16,1 3-15-16,-5 13 0 0,5 0-35 0,-6 2-4 0,1-1 1 16,0 1-28-16,-1 2-6 0,1-3-2 15,3 0-8-15,-3-1-17 0,2-1 7 16,0-8-18-16,3-4 0 0,0 1 5 0,0-3-13 15,2-2-9-15,-2-1-1 16,0-1 8-16,2-2-3 0,1-3-13 0,-1 2 8 0,1-2-10 16,1-5 3-16,1 2-1 0,-2-1-2 0,0-2-8 15,2-1-17-15,0 1 35 0,0-1-20 16,0-1 10-16,0-1-6 0,2 2-12 0,1-4 16 16,-1 1-14-16,3-1 3 0,-2 0 16 0,3 1-1 15,1-2-15-15,0 0 8 0,3 0-3 16,-1-1-15-16,3 4 18 15,1-3-5-15,-2-1 15 0,4 1-23 16,3 2 10-16,0-3 11 0,2 1-1 0,1 0-10 0,4 1-5 16,-1-2 6-16,1 4-1 0,1-4 16 0,7 0-26 15,-2 2 0-15,2-2 25 0,3 1-33 0,10 2 6 16,-10-2 4-16,0 0-12 0,-3 2 10 16,1-2 10-16,-1 0 16 15,-2 1-29-15,5 1 21 0,-3-2-89 0,0 0-1 0,-2 0 5 16,3 0 21-16,-1 2 0 0,0 0 21 0,-2 0-24 0,0-1 26 15,-1 2-15-15,-2-2 30 0,1 0-2 16,1 1 5-16,-2 1-16 16,1-2 8-16,-1 1 3 0,-5 1 5 15,3-3-3-15,-3 4 1 0,3-4-4 0,-3 2 9 0,-1-2-11 0,2 2 8 16,-1 1 20-16,0-2 1 16,0 2-11-16,3-4-18 0,-3 2 3 0,2 1 12 15,1-1 1-15,-3 0-3 16,5 1 2-16,-2-2-4 0,4 1 4 0,-4 1 4 0,0-2-12 0,0 0 1 15,-1 4 13-15,1-5 0 0,2 2-8 0,-3-1 15 16,1 2-7 0,0-3-11-1,-3 2 13-15,2 0-10 0,-1 1 13 0,1-2 0 0,-1 1-13 0,1 1 0 0,-2-3 0 0,1 2-3 16,-2 1 11-16,4-2 2 0,-5 0-17 0,2 2 14 16,-1 0-9-16,-1-3 2 0,2 1 5 0,-2 0-8 15,2 2 8-15,-1-2 1 16,-1 1-4-16,3-2-4 0,-1 4 12 15,2-4-10-15,-2 1 2 0,0 0 3 0,3-1 3 0,-1 0 0 0,1 1-11 16,-1-2 3-16,2 2 0 0,-2-2 3 16,1 1 5-16,2 1-6 0,-5-1 6 0,3 0-13 15,-1-1 5-15,1 1-8 16,-1 0-5-16,-1 0 23 0,1 0-15 0,1-1 10 0,-3 0 16 16,3 1-29-16,-1 0 11 0,1 0-3 15,-1 0-16-15,1-1 27 0,-3 1-6 0,3 0-3 16,-3 1-2-16,3-2 3 0,-3 1 2 0,0 1-5 15,2-1 5-15,-6 0-15 0,1 0 18 16,-2 0-11-16,2 1-5 0,-4-1 1 0,2 1 12 16,0-1-10-16,-3 0 35 0,1 0-27 0,2 0-11 15,-6 0 16 1,1 0-13-16,3 0 0 0,-1 0-3 0,-2-1 16 0,-3 0-21 0,0 1 10 16,3 0 14-16,-5-1-1 15,2-2-8-15,-3 3 3 0,-1 0-12 0,2 0 9 0,-1-2-7 16,-7 2 10-16,13-1-5 0,-8 0 8 15,2-1-13-15,-1 1 0 0,-6 1 12 0,10-1 14 0,-3 1-24 16,-1-3 6-16,-6 3-8 0,10-2 15 16,-5 1-10-16,1 0 3 15,1 1 4-15,-2-3-9 0,1 2 2 0,1 1 5 0,-7 0 3 16,8-2-1-16,-3 0-12 0,0-1 15 0,0 3 11 16,-5 0-26-16,10-2 7 0,-7 0-7 31,2 0-3-16,-5 2 1-15,7-2 20 0,-7 2-29 0,8 0 6 0,-8 0 2 0,6 0 11 0,-6 0-13 0,0 0 17 0,13 0 4 16,-9-3-14-16,-4 3-7 0,11-1 5 0,-8 1 7 0,-3 0-7 16,10-2 3-16,-6 2 19 0,-4 0 1 0,8-5-15 15,-2 4 7-15,-2-2 11 16,-1 1-32-16,3 1 19 0,-2-3 7 16,2 0-4-16,-2-1-14 0,2 1 13 0,-1 1-7 0,0-3-11 15,0 1 34-15,0 0-24 0,-2-1 1 0,2-1 20 16,0-1-28-16,1 1 7 0,-2-2 9 15,2-1-4-15,-2-1-9 0,-1 0 20 0,4-1-6 16,-3-1-9-16,1-4 7 16,3 1-7-16,-4-2-1 0,4 1 4 0,-2-4 4 0,1-1-10 15,3 1-3-15,0 1-2 0,-2-3 5 0,0 3 0 16,2-1 13-16,-2-1 0 0,0 2-1 16,-1-3 4-16,1 2 4 0,2-1-20 15,-2 1 13-15,0-1-5 16,-1 3 5-16,1 0-8 0,0 0 8 0,-1 4-1 0,-2-2 1 15,3 2-13-15,-5-1 10 0,4 2-5 0,-1 1 8 0,-2 1 5 16,-1 1-18-16,3-1 3 0,-4 3 10 16,3-1-13-16,-2 2 10 0,-1 1-8 15,0 1 24-15,2-1-18 0,-4 1 10 0,2 2 20 0,0 0-20 16,-2 0-3-16,0-1-10 0,3 3 6 16,-3 2 6-16,0-8-4 0,0 8 15 0,-3-4-35 15,1 0 25-15,0 2-23 0,2 2 12 0,-6-4-7 16,1 1 10-16,2 1 1 0,3 2-9 15,-10-2 3-15,5 2-10 16,-1-1 8-16,-3 0 5 0,1 1-6 0,-2-4 11 0,-1 4-5 16,-1 0-3-16,-1-1 5 0,-3-1-18 0,1 2 13 15,-1-3 3-15,-6 2 66 0,1 0-20 16,-2-2 18-16,0 0-16 0,-5-1-82 16,-3 1-7-16,0-1 8 15,0 2-1-15,-2-2-2 0,-13-1-6 0,2 1 4 0,-5-2-4 0,-1 0 19 16,-4 1-21-16,0 0 11 0,0 2-9 0,-3-2 22 15,-12-1-6-15,0 1 7 0,3-2-9 16,7 3 15-16,2 0-13 0,-13-2 5 16,1 1 3-16,13 0 0 0,-10-2 17 0,9 2-9 15,3 2-11-15,0-3 21 0,0 0-16 0,1 2 5 0,-1-1 1 16,2-2 2 0,-3 1 10-16,-2 0-10 0,0 2-2 15,4-2 2-15,-1 0-16 0,2 0 29 0,-1 0-21 0,3 2-4 0,0-3 1 16,1 1 14-16,-2 3 5 0,4 0-6 0,1-1-4 15,0 0 17-15,7 2-23 0,8-1 18 0,-1 1-22 16,1-1-4-16,2 0 32 16,-1-1-21-16,4 2-8 0,3 1 28 15,-2-2-15-15,4 2 3 0,-4 0 17 0,4 0-38 0,3-1 26 16,-1 2-16-16,2 0 16 0,-1-1-8 0,2 1-8 16,-2 0 18-16,3 0-20 0,0 1 10 0,2-1 0 15,1 2-15-15,1-2 30 16,-2 1-10-16,3-1 3 0,-1 1-18 0,4 0 12 0,-1-1-9 15,1 0-19-15,-1 0-23 0,8 0-17 16,-13 0-16-16,8 0-33 0,5 0-26 0,-7 3-33 16,1-3-64-16,6 0-67 0,-5 4-35 15,5-1-533-15,0 0 74 0,0-3 93 0,3 5 99 0,2-1 80 16</inkml:trace>
  <inkml:trace contextRef="#ctx0" brushRef="#br0" timeOffset="18539.82">18730 3790 629 0,'0'0'269'0,"-5"-6"-16"0,5 4-30 0,0 2-8 0,-5-3-43 16,5 3-21-16,0 0 15 0,0 0-99 15,0 0 2-15,-5 8 7 0,5-1-9 16,-2 2 10-16,-1 3-3 0,0 6-5 0,-2 8 5 15,0 11 11-15,-3 4-14 0,-2 0-22 16,3 2 5-16,-1 1-16 0,-3 10 8 0,1-10 16 16,2 1-26-16,0 0-3 0,1-2-2 0,0-1 12 31,1 2 3-31,1-6-30 16,-2 0 12-16,4-7-5 0,0-3-18 0,0-1 15 15,-1-2-17-15,1 0-11 0,-2-4 24 0,3 2-27 16,-2-5 24-16,2-2-3 0,0-1-15 0,-1-2 18 0,0 0-3 0,1-1-15 15,2-4-13-15,0 1 5 0,-2-1-4 0,2-1-7 16,0-2 17-16,0 1-14 0,2-4 21 0,3 0-12 16,-2 1 14-16,4-1-17 0,-2-1 15 0,5-1-10 15,-1 0-6-15,3 2 16 0,4-4-10 0,-1 1 2 16,3 0 13-16,5 0-7 16,0-2-8-1,8 2 66-15,0-2 16 0,15 0-11 0,2-1-5 0,1 1-2 0,2 2-3 0,0-2 8 0,3 0-23 16,-2 2 20-16,5 1-12 15,-2-3 10-15,2 2-8 0,5 1-21 0,-1 0 24 16,16-2-21-16,-3 4 15 0,1-2-30 0,-12 3 33 16,7-2-2-16,-11 3-11 0,12 0-5 15,-14-1 18-15,2 1-30 0,11 0 7 16,-12-1 0-16,-1 2-5 0,12 0 7 0,-12 1-4 0,-2-4 2 16,-3 2-5-16,2 2-16 0,-5-4 14 15,0 2 14-15,-1 2-35 0,-2-1 10 0,-1-3-10 16,0 1 5-16,-7 0 8 0,-5-1-11 0,1-2 9 15,0 4 4-15,12-2 13 16,-8-1-23-16,-5 2 5 0,0-3 8 0,1 1-6 0,-3 1 1 16,0-1 2-16,0 1-15 0,1-1 13 15,-6 0-3-15,2-2-2 16,-2 2 2-16,1-1 5 0,-1 0-18 0,-1 0-2 0,-1 0 23 0,0 0-6 16,-4-1 6-16,1 1 3 15,0 0-11-15,-1 0-8 0,0 0 13 16,-2 0-10-16,0 0 11 0,0 0-11 0,0 0 0 0,-3-1-21 0,3-2 29 15,-2 3 0-15,-1 0-8 16,1-2-3-16,-1 1 0 0,0 1 9 0,-2-3-4 16,3 2-4-16,-2 0-4 0,0 1 14 0,1-3-18 15,-5 1 18-15,6 1-1 0,-3 0-9 16,-1 0 4-16,1-1-2 0,0 1-7 0,0-1-4 16,2 2 1-16,-4 0 8 0,3-3-14 0,-1 1 11 15,-2 2 8-15,-1 0-19 0,3-1 21 16,-2 1-12-16,-1 0-11 0,2-1 5 0,-2-1 3 15,0 0 7-15,-1 2-5 0,-1-2 14 16,2 2-1-16,0-3-13 0,-3 2 23 0,4 1-12 16,-4 0-11-16,1-1-5 15,-3 0 19-15,3 1-19 0,1 0 15 0,-1-1-9 0,-2-1-6 0,-1 2 3 16,-5 0 15-16,13-2-3 0,-8 1 3 0,0-2-2 16,2 1-3-16,-1 2-5 15,-1-1 10-15,0-3-2 0,0 3-11 0,0-1 8 16,0-2-10-16,1 2 15 0,-1-2-5 0,2 1-5 15,-1 0 30-15,1-1-32 0,1 0 1 16,0-1 19-16,0 3-8 0,2-4-10 0,-5 3 10 16,5-1-7-16,-3-2 9 0,2 1-7 15,1-1-2-15,-2 1-1 0,2-1-2 0,0-1 18 16,-3 1 0-16,5-3 0 0,-3 1 2 16,-1-2-2-16,2-1 25 0,0-2-40 0,3 2 2 0,-5-2 18 15,5 0-3 1,-1-4-10-16,1 1 18 0,0-3-28 0,0 0 18 0,7-6 10 15,-7 2-8-15,3-4-5 0,-3 3 13 0,2-2-33 0,-5 1 26 16,0 4-6-16,1-1-18 16,0-2 21-16,1-7 5 0,-4 5 0 15,2 1-23-15,-3 2 30 0,1-2-17 0,0 0-6 0,-1 1 11 16,1 2 3-16,-1-2-11 0,-1 1 10 0,-1 1-7 16,1 0-8-16,-2 3 15 0,1 1 0 15,-2 2-15-15,2 3 11 0,-5-2-1 0,3 2-15 16,1 1 15-16,-3 4 0 0,2 0-5 0,-1 0 11 15,-2 3-6-15,2-4 18 16,1 4-25-16,-3 1 10 0,0-1-1 0,0 0 1 0,3 0-13 16,-3 2 5-16,2-2-2 0,-2 5-1 0,0-6 11 15,0 4 0-15,0 2-28 0,-2-6 33 16,2 6-24 15,-4-5 12-31,0 3-1 0,4 2-3 0,-8-3-17 0,3 2 17 0,0 0-14 0,-3 0 12 0,1-1 10 0,-6-1-8 0,2 2-12 16,-4-3 18-16,-3 2-24 0,-2-3-1 15,-3 1 6-15,-3-3 4 0,-2 3-6 0,-13-5-5 0,2 2-10 16,-2-1 12-16,-2-1 19 16,-1 0-8-16,-5-2-10 0,-2 2 15 0,-13-2-16 15,-3 0 6-15,1-1 7 0,3 2-2 16,-3-1 3-16,0-1-6 0,-1 1 13 0,1-2-20 0,1 0-1 16,-4 2 19-16,2 1-11 0,-4-2 6 15,2 1 7-15,2-1-3 0,0 1-4 0,-2-1 15 16,5 2-11-16,0 0-7 15,-3-2 0-15,3 2-10 0,-2 0 2 0,-1 1-3 0,15-1 11 16,-11 2-2-16,11 1 2 0,1-1-1 16,2 1-6-16,1 0-4 0,6 1 16 0,4 3 0 15,-3-4-18-15,5 2 13 0,5 1 3 0,1 2 32 16,-1 1-32-16,0-2 2 16,1 2 18-16,-1 0-16 0,5 1-9 0,0 0 17 0,0-2 0 15,-2 2-10-15,3-1-5 0,-1 1 2 16,3 0-7-16,-3 1 18 0,3 1-8 0,0-1 5 15,6 0-5-15,0-1-18 0,-3 1 8 0,5 1-6 16,-1 1 16-16,1-3 8 16,0 4-5-16,4-4-6 0,-1 1 1 0,-1 0-6 0,2 2 16 15,-1-2-11-15,1 2 8 0,-4 0-2 16,6 0 4-16,-3-1-14 0,2 1 9 0,0 1 14 16,0-2-19-16,-1 1 6 0,4 0-3 15,-1-1 2-15,0 1-4 0,0-1 9 0,1 0-14 16,2 1 4-16,1-3-7 0,4 0 7 0,-12 2-2 15,10-1-8-15,2-1-2 0,-8 3 12 0,8-3 16 16,-7 1-18-16,4 0-3 0,3-1 6 16,-7 4 2-16,3-4 5 15,-2 2-15-15,0 1 17 0,2-1 9 0,-4 0-9 0,0 1-7 0,-3 2 21 16,-1-1-42-16,-2 0 19 16,-3 2 7-16,-1-3-25 0,-2 3 25 0,-4 4-5 15,-1-3-11-15,-12 5 4 0,2-1 12 0,-4 3-31 0,-1-2-22 16,-1 1-45-1,-1 0-78-15,1 2-113 0,-2 0-179 0,2 1-403 16,-1 0 83-16,0-1 48 0,0 1 98 0,0-1 61 0</inkml:trace>
  <inkml:trace contextRef="#ctx0" brushRef="#br0" timeOffset="22812.84">3152 9123 870 0,'0'-4'420'16,"0"4"-13"-16,3-6-80 15,-1 3-9-15,-2 3-21 0,0-4-13 0,0 4 71 16,0 0-47-16,3-4 1 0,-3 4-40 0,0 0-15 16,0 0-98-16,-3 16 13 0,-1-9-6 0,1 5-24 15,-8 2-6-15,1 5 38 0,0 3-68 16,-11 9 4-16,4-2-10 0,-4 4 1 0,0-1-14 16,1 0-22-16,2-1 12 0,0-4-10 0,5-2-16 15,3-6-4-15,2-1 17 16,0-3-17-16,1-2 7 0,4-3-28 0,-2 1 3 15,2 0-11-15,1-3-2 0,0-2-5 0,4-1-1 0,-2 0 9 16,3-2 12-16,2 1-8 0,0-3-17 16,5 1 17-16,-2-2-20 0,4-2 18 15,-1 1 5-15,4-2 0 0,0 2 13 0,1-5-46 16,2 4 5-16,0-2-11 0,-1-3-14 16,0 4 7-16,1-2-41 0,-4 1 12 0,-1-1 4 0,2 1-21 15,-2 0-23-15,1 0 15 16,-4 2-26-16,-3-1-7 0,3 0 0 0,-2 1-31 0,0-2-20 15,0 3-8-15,-3-1-7 0,2-1-44 0,-1 0-67 16,-3 0-118-16,-1 2 37 0,3 0-485 16,2-4 62-16,-4 3 65 0,2-2 60 15,1 3 75-15</inkml:trace>
  <inkml:trace contextRef="#ctx0" brushRef="#br0" timeOffset="23374.49">3544 9216 1343 0,'0'0'451'0,"0"0"-106"0,0 0-37 0,0 0 4 16,6 13-38-16,-6-5-16 0,0 2-20 16,0-1 49-16,0 8-21 0,0 2-25 0,-3 1-6 15,1 2-43-15,1 5-2 0,-1-3-24 0,-1-3-17 16,0 1 4-16,3-1-15 0,-2-1-30 0,2-1 2 15,0-4-18-15,0-1-18 16,2 0-2-16,-2-2-5 0,3-2-6 0,0-2-12 0,0 0 32 16,2-2-37-16,-2-1 7 0,1-3 0 15,4-2-28-15,-3 0 34 0,2-2 4 16,2-4-12-16,1-1 7 0,0-3 0 0,0-2 3 16,3-2 16-16,2-5-27 0,-2 1-94 15,7-7 0-15,-1 0 18 16,-3 5-8-16,-2 2 3 0,2-1 23 0,-4 4-19 0,-1 0-1 15,-1 2 32-15,0 3 3 0,-2 1-35 0,-3-2 27 16,3 3 3-16,-2 3-18 0,-2-2-7 0,1 1-22 16,0 1-11-16,-2 1-58 0,0 0-19 15,1 3-24-15,-1-2-46 0,-3 3-51 0,6-2-61 16,-6 2-136-16,9 5-440 0,-3-4 9 0,-3 3 68 0,1-1 153 16,-1 3-8-1,2-1 111-15</inkml:trace>
  <inkml:trace contextRef="#ctx0" brushRef="#br0" timeOffset="24552.78">3039 10279 1182 0,'0'0'392'15,"-10"8"-29"-15,7-1-35 0,-2-1-21 0,0 6-23 16,0 0-18-16,-3 1-84 0,0 4-26 0,1 4-25 16,-3-2 2-16,2 5-31 0,1-3 1 15,-2 1-16-15,2 1-3 0,-1-1-28 0,1-2-22 16,1 2-21-16,1-7-31 0,0 3-23 15,0-1-31-15,2-4-64 0,1 0-68 0,-1-3-104 16,1-1-63-16,2-1-420 0,0-3 57 16,2 1 99-16,1-2 49 0</inkml:trace>
  <inkml:trace contextRef="#ctx0" brushRef="#br0" timeOffset="24796.54">3181 10279 1249 0,'0'-3'440'0,"0"3"-36"16,0-4-27-16,0 4-29 0,0 0-26 0,0 0 70 15,-8 9-41-15,8-3-31 0,-3 4-26 0,0 0-20 16,-1 5-118-16,1 0-28 0,3 4-8 0,-7 0-5 16,4 3-15-16,-2-1-15 0,2-2-19 15,0 4 1-15,-2-1-29 0,0-2-30 0,2 0-31 16,-1 0-28-16,1-2-42 0,0-4-29 0,3 3-47 15,-4-2-34-15,0-1-101 0,4-4-75 16,0 3-522-16,-2-5 64 16,2 1 107-16,0-2 24 0,0-3 61 0</inkml:trace>
  <inkml:trace contextRef="#ctx0" brushRef="#br0" timeOffset="25025.78">2953 10519 1182 0,'-1'-2'476'16,"1"2"-51"-16,-5-5-23 0,5 5-33 0,-3-1-42 15,3 1-35-15,0 0-10 0,0 0-37 0,0 0-2 16,0 0-38-16,21 1-5 0,-11 1-41 16,0 0-6-16,3 0 44 0,0-1-10 0,0 2-51 15,2 0-57-15,-1-2-64 0,1 2-22 0,2-1-60 16,-4-1-53-16,3 2-116 0,-3-3-188 0,2 1-557 15,-2 1 90-15,-1-2 113 16,-1 2 31-16,2-2 102 0,-3-2 43 0</inkml:trace>
  <inkml:trace contextRef="#ctx0" brushRef="#br0" timeOffset="25353.62">3352 10448 1090 0,'0'0'381'0,"0"14"-4"0,0-8-9 15,1 1-38 1,0 4-17-16,0-3-37 0,4 4-33 0,-5 1-17 0,5 0-17 16,-2 4-24-16,2-3-14 0,-1-1-15 0,4 3-23 15,-2-5-7-15,-1-1-3 0,2 1-11 0,1-3 6 16,-3-3-26-16,3 2 21 0,0-2-21 16,-1-3 46-16,1-1-30 0,0-1 4 0,0-1 6 15,2-1-8-15,-2-3 3 0,2-2 58 0,-3 4-12 16,1-6-13-16,0 3-5 0,-1-3-8 0,1-1-10 15,-1 1-26-15,-1-3-28 0,2-1-2 16,-3 2-96-16,0 0-1 0,2-1-27 16,-4 2-35-16,2 0-8 0,-2 2-40 0,2-2-24 15,-2 3-31-15,2 0-9 0,-3 1-52 0,1-1-52 16,2 1-150-16,0 1-56 0,0-1-431 0,0 0 83 16,-2 1 81-1,4-2 113-15,1 2 59 0,2-3 38 0</inkml:trace>
  <inkml:trace contextRef="#ctx0" brushRef="#br0" timeOffset="25836.6">4344 9314 1192 0,'0'0'379'0,"0"0"-33"0,8-5-34 16,-8 5-36-16,10-2 50 0,-2 2-37 0,2-1-46 16,3 1-43-16,-2 0-52 0,3 0-30 15,-3 0-64-15,5 0-80 0,-1 1-120 0,-2 2-143 16,-3-1-487-16,0-2 31 0,-2 6 36 16,-1-4 87-16,-2 3 113 0</inkml:trace>
  <inkml:trace contextRef="#ctx0" brushRef="#br0" timeOffset="26022.09">4352 9459 1067 0,'0'0'381'0,"-3"2"-25"0,3-2-21 16,0 0-58-16,0 0-29 0,0 0-30 16,18-2-31-16,-10 0-36 0,0 1-18 0,4 1-36 15,-3 0-38-15,3 0-59 0,1 1-69 16,-3 3-64-16,3-3-105 15,-3 6-377-15,1-1-96 0,-1 1 7 0,-2 4 69 0</inkml:trace>
  <inkml:trace contextRef="#ctx0" brushRef="#br0" timeOffset="26443.81">4139 10450 1131 0,'0'0'397'0,"0"0"-39"0,-3-3-46 0,3 3-2 16,0 0-31-16,0 0-33 0,11-4-18 15,-5 4-21-15,1 0-18 0,3-1-30 0,0 0-31 16,1-1-31-16,1 0-35 0,1 2-34 0,-2 0-64 16,4 0-41-16,-3-1-112 0,1 0-157 15,-2 1-478-15,2 1 23 0,-6 0 120 16,1-1 72-16,-3 4 43 0</inkml:trace>
  <inkml:trace contextRef="#ctx0" brushRef="#br0" timeOffset="26627.31">4118 10601 908 0,'0'0'297'16,"0"0"-18"-16,0 0-36 16,0 0-38-16,24-1-16 0,-17 1-12 0,1-2-34 0,5 0-71 15,-5 0-67-15,5 1-130 16,2-1-67-16,-3 0-517 0,4 0 43 0,-6 1 126 0</inkml:trace>
  <inkml:trace contextRef="#ctx0" brushRef="#br0" timeOffset="31659.41">5365 9087 959 0,'0'0'328'0,"23"0"-39"0,-13-2-15 0,0 0-18 0,3 0-36 15,-2 2-18-15,2-1-20 0,2-3-90 16,-3 4-12-16,1-1 4 0,-2-1 1 0,-1 2-9 16,0-1-9-16,0-1 10 0,-2 4 0 0,-3-2-1 15,1 2 1-15,-2 0-3 0,1 2 19 16,-5-1 73-16,1 3-7 0,-2-1 4 15,-1 6-22-15,-3-2-8 0,2 2-5 0,-4 3-10 0,-1 1 5 16,0 0-72-16,-2 4 5 0,-3 0-15 47,2 0-5-47,-1-1 0 0,2 2-8 0,-1-1 3 0,1-1-11 0,3 0 1 0,-1-5-13 0,3 4-14 0,-1-6-11 0,1-1-30 0,0 1-9 16,3 0-33-16,0-3-39 15,1-1-21-15,1-1-43 0,-2 0-66 0,2-1-98 0,-3-1-26 16,6-1-465-16,-3-2 87 0,0-1 92 15,0 0 43 1</inkml:trace>
  <inkml:trace contextRef="#ctx0" brushRef="#br0" timeOffset="31832.66">5211 9347 1128 0,'0'0'333'0,"0"0"-39"16,0 0-9-1,0 0-19-15,10-6-20 0,-5 4-34 0,5 1 8 0,3 1-33 0,3 0-8 0,2-2-23 16,0 2-18-16,3 2-25 0,2-4-3 16,2 2-38-16,-2 0-39 0,0 0-33 15,3 0-41-15,-5-2-48 0,1 3-93 0,-1-5-177 0,-1 4-421 16,-4 0 32-16,2 0 73 0,-3 0 58 16</inkml:trace>
  <inkml:trace contextRef="#ctx0" brushRef="#br0" timeOffset="32231.45">5729 9141 1059 0,'8'-3'400'15,"2"3"-55"-15,3 0-10 0,-6 4-22 0,3-2-29 16,-2 3-26-16,0 0-14 0,0-2-17 0,-1 4-12 16,-4 1-35-16,2 1-12 0,-3 1-9 15,-2 3 46-15,0 0-13 0,-2 1-21 0,-3 0-20 16,-3 4 0-16,3-3-23 0,0 0-10 0,-1-2-28 16,2-2 7-16,1 1-23 0,0-2-2 0,1 0-11 15,2-1-4-15,2 0-4 16,-2 0 6-16,3-4-13 0,4 1-7 0,1 1-19 0,0-3-7 15,0 1-18-15,5-2 0 0,-1 0-11 0,1 1-19 16,1-4-27-16,1 4 3 16,0-2-20-16,0 1-39 0,1-2 8 0,-3 0-41 15,2 0-56-15,-2 2-59 0,-1-1-113 16,-4 0-397-16,2 1-109 0,-2-1 111 0,0-1 63 0,-1 4 132 16,-1-4-22-16</inkml:trace>
  <inkml:trace contextRef="#ctx0" brushRef="#br0" timeOffset="34734.55">5185 10381 1351 0,'8'-2'435'15,"0"-2"-30"-15,2 4-108 16,0 0-18-16,-2 0-29 0,2 4-17 0,-2-2-13 0,0 2-20 16,-1 1-8-16,-4 2-36 0,2 0-18 0,-5 1 1 15,0 2-11-15,-5-1-8 0,0 3-15 16,-1 0-18-16,-3 1-8 0,1-1-4 0,0-1-4 15,3-3-9-15,-3 0-6 0,3-1 3 16,0 0-23-16,0-2-1 0,2 0-11 0,3 0 4 16,0-1 7-16,3 0-22 15,-1 0 15-15,1-2 6 0,2 2-1 0,2-1 0 0,1 1-12 16,0-2 35-16,0 3-23 0,-1-4-2 0,1 4 15 16,0-3-5-16,-3 1 8 15,2-1-11-15,-1 2-10 0,-2-2 29 0,2 0-16 0,-4 2 15 16,1-3-5-16,-3-1 3 0,-2 9 0 0,-1-6 15 15,-3 2 54-15,-3 0-1 0,1 1-19 16,-2 0-11 0,-4 0-15-16,2-2-21 0,-6 3-28 0,3 0-25 0,-1-2-31 0,-2 0-8 0,5 0-54 15,1-1-40-15,-1 0-57 0,0 0-38 16,3-2-52-16,2 2-161 16,1-3-545-16,1 0 24 0,1-1 111 0,5 0 86 15,0 0 55-15,-7-6 98 0</inkml:trace>
  <inkml:trace contextRef="#ctx0" brushRef="#br0" timeOffset="35114.07">5534 10431 1231 0,'11'4'404'0,"-2"-2"3"16,-1 4 18-16,-3-1-26 0,-2 1-45 0,0 0 14 15,-1 0-38-15,-2 2-40 0,0 0-34 16,-5 4-6-16,0 1-40 0,-3 2-2 0,-2 0-21 16,-3 1-24-16,1 0-30 0,-2 0 16 0,1-1-11 15,3-3-20-15,0 0-18 0,2-4-6 16,1 1-9-16,-1-2 10 0,2-1-19 0,2 0 24 16,-1-2-13-16,2 1 3 0,1-1-3 0,-1-1-23 15,3-3 20-15,5 5-7 0,-3-1-5 16,4-2-13-16,1-1-6 0,4 2-9 15,-1-3-3-15,3 1 5 0,-1-1-20 0,4-1-29 16,-3 0-15-16,2 1-5 0,1-2-41 31,-1 1-20-31,-2-1-3 0,-1-1-31 0,-1 2-33 0,-1 0-31 0,3-1-59 0,-6-1-68 0,3 1-170 16,-1 0-593-16,-1 0 124 0,-1 1 94 0,3-1 101 16,-3-2 59-16,1 2 100 0,0-2 24 0</inkml:trace>
  <inkml:trace contextRef="#ctx0" brushRef="#br0" timeOffset="35461.78">6034 10451 1343 0,'0'0'428'0,"0"0"-21"0,0 0-31 0,0 0-5 0,0 0 31 15,-20 11-38-15,9-5-19 0,-4 1-35 0,2 4-8 16,-7 0-5-16,1-1-57 0,1 2-22 15,-2 0-8-15,0 4-28 0,4-4-3 16,-2-1-20-16,0 3-32 0,5-4 7 0,3 0-29 16,0-2 12-16,2 0-17 0,0 2-10 0,4-3 25 15,1 0-18-15,0 0-12 0,3-2 9 0,0 1-101 16,3 1 9-16,-3-1-2 0,7-1 8 16,-1 0 2-16,2-2-15 0,4 3 23 0,-1-2 0 15,4-2-28-15,-2 2-1 0,2-1-1 0,1-3-17 16,-1 0-17-16,1 0-33 0,1 0-8 15,-4-2-33-15,0 1-19 0,2-3-29 16,-4 3-32-16,-1-3-23 0,0 0-35 0,-2-2-83 16,2 1-112-16,-7 0-20 0,4-2-477 0,-2-1 62 31,1-1 120-31,-4 1 66 0,1-5 65 0,2 2 36 0</inkml:trace>
  <inkml:trace contextRef="#ctx0" brushRef="#br0" timeOffset="35626.25">6029 10456 1231 0,'-8'11'422'0,"5"-3"13"15,1 4-35-15,0 0 1 16,-4 6-14-16,3 1-29 0,-1 6-28 0,-1 0-12 16,-3 9 71-16,5-3-69 0,-2-6-5 0,-3 11-26 15,3-6-54-15,3-6-50 0,-3 1-78 0,2 0-79 16,1-5-79-16,1 1-92 16,1-1-123-16,0 0-704 0,0-4 5 0,0 1 105 0,-2-3 92 15,2 1 89-15,-3-2 34 31,0-4 95-31</inkml:trace>
  <inkml:trace contextRef="#ctx0" brushRef="#br0" timeOffset="47547.41">5024 12144 1139 0,'0'0'337'0,"0"0"-22"0,0 0-15 0,0 0-49 16,12 5-21-16,-2-5-15 0,1 2-20 16,2-1-19-16,2 0-22 0,1 0-29 0,1 0-33 15,1 0-25-15,0 1-24 0,-2-1-27 16,1 1-55-16,-1-1-71 0,-1 0-84 0,1 2-44 15,-8-1-133-15,4 1-408 0,-3-2 96 16,1 0 35-16,-5 1 106 0</inkml:trace>
  <inkml:trace contextRef="#ctx0" brushRef="#br0" timeOffset="47720.01">5052 12294 924 0,'-8'0'276'0,"8"0"-7"0,0 0-39 0,0 0 18 0,0 0-56 0,0 0-5 0,0 0 54 16,26 0-26-16,-18 0-33 0,9-1-42 0,-1-3-9 0,2 0-31 15,5-1-62-15,-2 0-81 0,4 0-103 16,11-6-133-16,-5 5-448 16,-5 0 15-16,1 1 83 0,-1-1 73 0</inkml:trace>
  <inkml:trace contextRef="#ctx0" brushRef="#br0" timeOffset="48868.52">5737 12094 1126 0,'8'-1'356'0,"-8"1"-54"15,10 0-5-15,-3 0-16 0,1 1-7 16,0 2-21-16,1 0-27 0,0 1-4 0,1 3-32 15,0-1 15-15,-2 2-34 0,-3 1-7 16,-5 0-11-16,0 1-12 0,0 2-15 0,-5-1-1 16,-1 4-25-16,-4-1-3 0,3 0-20 0,-3 1 13 15,-1-1 2-15,1-1-8 0,0-1 3 0,4-2-2 16,-3-2 14-16,3 1-4 0,1-2 10 16,0-2-20-16,-2 1-1 0,3-2-7 15,2 1-18-15,-3-1 12 0,5 1-1 0,0-5-17 16,0 5-2-16,3-2-10 0,1-2 11 0,0 2-9 15,3-2-7-15,0 0 2 0,2-1-7 16,1 2-3-16,2-1 3 0,1-1-23 0,-2 0-13 16,1 0-19-16,1 0-27 0,-3 0-15 15,0 0-39-15,0 0-8 0,1 0-17 0,-5 2-39 16,1-2-34 0,0 0-63-16,-1 0-123 0,-2 0-120 0,4-2-461 0,0 2 138 0,-3-3 43 0,3 2 134 15,-3 1 56-15,0-4 82 0</inkml:trace>
  <inkml:trace contextRef="#ctx0" brushRef="#br0" timeOffset="49246.34">6318 12139 1057 0,'0'0'402'0,"-7"-4"-44"0,7 4-15 0,-15 1-46 15,6 0-21-15,-5 3-17 0,0-1-6 16,-1 1-30-16,-1 1-8 31,1-2 8-31,3 1-37 0,-2 2-9 0,4-4-34 0,0 2-9 0,3 1-7 0,-1-1 12 0,3 1-32 16,4-2-2-16,-1 2-2 0,4-1-14 0,1 0-12 16,2 2 7-16,3-2-22 0,0 2 2 0,2 0 10 15,1 1-23-15,-1-2 3 0,0 1 7 16,0 0-9-16,-2 0 7 0,0-1 2 15,-1 0-5-15,-2 0-10 0,0 0 13 0,-4 1 0 0,1 1-21 16,-2 0 6-16,-3 1 2 0,-2-1-10 16,0 1-11-16,-3 0 6 0,-2-2-18 15,0 4-26-15,-5-2-28 0,1 1-28 0,-1-2-28 16,0 1-23-16,0-2-52 16,1 0-40-16,2 0-19 0,-1-1-68 0,3-2-170 0,2 1-496 15,0-1 149-15,3-3 15 0,0 0 102 0,0 3 97 16,5-3 24-16</inkml:trace>
  <inkml:trace contextRef="#ctx0" brushRef="#br0" timeOffset="49602.82">6387 12167 1156 0,'18'-4'367'0,"-2"0"-9"0,-1 1-28 0,-5 2 3 0,1 1 5 0,-3 0-6 15,0-1-32-15,-1 3-16 16,-2 1-23-16,-2 1-13 0,-1 1-4 0,-4 3-32 15,-1 1-12-15,-2 1 69 0,-5 3-14 0,-1 0-37 16,-2 3-16-16,1 1-5 0,-1-2-51 0,3-2 28 16,0-1-20-16,2-2-41 0,0-1 17 15,3 1-20-15,5-2-25 0,0-2 40 0,0 2-25 16,5-3-11-16,3 0-2 0,2 1-5 16,0-1-20-16,3-2-8 0,3 1-3 0,-1-3-36 15,3 2-17-15,0-1 4 16,0-2-30-1,3 0-28-15,1 0-34 0,-4 0-23 0,0 1-32 0,0-1-35 0,-2 0-14 0,-4 1-54 0,-1 0-57 16,-1 1-69-16,-4 0-227 16,1 0-462-16,-5 2 157 0,-1-2 54 0,-1-2 138 0,-3 9 69 15,0-3 48-15,-7 0 52 0</inkml:trace>
  <inkml:trace contextRef="#ctx0" brushRef="#br0" timeOffset="49881">5098 12634 1187 0,'16'-5'379'0,"-1"5"-41"0,1 0 2 0,9 0-32 0,8 0-14 0,16 1-7 0,2-1-44 0,3 1-10 0,3 2-6 0,17-3-35 0,3 2-15 0,0 3-8 0,5-4-44 0,-3 4-20 0,-2-3-7 16,0-1-19-16,-2 4-33 0,-4-1-5 16,-14-2-13-16,-3 2-43 0,-6-1-11 15,-9-2 8-15,-6 3-61 16,-10-3-36-16,0 0-54 0,-2 2-56 0,-6-2-77 16,-3 0-70-16,-3 0-485 0,0 1 122 0,-6-1 26 31,-3-1 67-31,0 0 58 0</inkml:trace>
  <inkml:trace contextRef="#ctx0" brushRef="#br0" timeOffset="50186.78">4653 12834 952 0,'-19'2'361'0,"9"0"-34"0,4 0-4 0,7 0-8 16,-1-2-31-16,18 1-3 0,0-1-32 15,7 1-16-15,11-1-13 16,21 0 5-16,4 0 51 0,19-1-50 0,1 0 30 0,7 0-16 0,-1 0-30 16,0-1 13-1,2 1-39-15,1-1-94 0,3-1 7 0,2 1-18 0,-5 1-4 0,0 0 9 16,-1 0-28-16,-5-1 34 0,-4 1-49 0,-1 1 23 16,-17 0-31-16,-5-1-10 15,-1 2 26-15,-8-2-29 0,-9 2-15 0,-9-1-2 0,-6 0-26 16,-6 0-21-16,-1 0 3 0,-1 0-20 15,-5 1 0-15,-1-1-19 0,-2 2-22 0,-4-1-29 16,-4-1-45-16,0 0-55 0,0 0-78 16,0 0-98-16,0 0-34 0,-25-7-485 0,10 4 127 15,-1-1 93-15,-5-2 53 0,-4-2 62 0</inkml:trace>
  <inkml:trace contextRef="#ctx0" brushRef="#br0" timeOffset="51327.33">2893 12097 1057 0,'0'0'476'0,"-2"-4"-49"0,2 4-30 0,0 0-46 0,0 0-34 16,0 0-20-16,-6 13-23 0,4-2-10 15,2 0-49-15,-2 2-8 0,-2 2-10 0,2 4-33 16,0 0-31-16,-1 2 0 0,0 2-26 0,-2 1-32 15,3-4-27-15,-5 2-48 0,4-3-33 16,0 0-39-16,0-1-43 0,1-4-31 0,-1 3-125 16,0-6-141-16,2 1-469 0,0-1 44 15,1 1 110-15,0-3 52 0,0-1 65 0</inkml:trace>
  <inkml:trace contextRef="#ctx0" brushRef="#br0" timeOffset="51673.7">2895 12072 1195 0,'13'-13'356'0,"1"4"-44"0,-2 1-28 16,-1 2-5-16,-1 1-100 0,0 4-15 0,0 0 5 16,-2 2-23-16,0 0 61 15,-1 4-17-15,-2 0-14 0,-2 3-12 0,-1 0-18 0,-4 4-3 0,-3 1-38 16,-1 4 0-16,-4 3-7 0,-2 0-27 15,-8 6 11-15,1-2-15 0,-1 1-3 16,2-5 25-16,3-3-35 0,1-1 18 0,-1 1-6 16,2-5-15-16,1 0 24 0,4-2-34 0,0-1 23 15,1 0-6-15,1-1 12 0,2-2-40 16,1 1 34-16,0 1-28 0,3-4 20 16,3 4 1-16,-1-2-21 0,3-1-8 15,1 1 2-15,2-1 11 0,1 1-10 0,2-2-23 16,1-1-31-16,1 1 2 0,3-3-30 0,-3 2-28 0,4-2-36 15,-1 0-57-15,1-2-127 16,1 2-152-16,3-3-501 0,-3-1 143 0,1 0 31 0,-4 1 84 16,2 0 75-16,-1-2 63 0</inkml:trace>
  <inkml:trace contextRef="#ctx0" brushRef="#br0" timeOffset="52398.21">3237 12209 1144 0,'-15'5'440'0,"1"0"-41"0,2 0-35 0,1 1-21 0,1 1-39 16,0 0-7-16,-2 3-46 0,3 0-33 16,-1 1-14-16,0 0-14 0,2 0-3 0,0 0-26 15,1 0-7-15,4 1-49 0,0-2-8 0,1-1 0 16,2 1-30-16,0-2-37 0,0-1-9 0,3 1-6 15,2-1 8-15,0-1-18 0,1-2 13 16,1 0-15-16,1-2 7 0,-1-2 16 0,1 3-1 16,0-6-20-16,-1 2 3 0,1-2 20 0,2-2-23 15,-4 0 8-15,1-1 5 0,0-2 10 16,-1 1 5-16,-4 0 16 0,3-2-16 16,-2 1 1-16,0-1 7 0,-1 2 12 15,-2 0 22-15,0 2-37 0,0-1 18 16,0 2 6-16,-2 0-24 0,2 4 11 0,-2-6 2 0,2 6-23 0,-4-3 13 15,4 3-18-15,0 0 3 0,0 0-21 16,-10 6 5-16,6-4 16 16,3 2-19-16,1-4 6 0,-5 7-18 0,5-3 5 0,-2 0-10 15,2 0 0-15,0-4 10 0,-1 7 0 16,1-7-6-16,3 6-4 0,0-4 2 0,-1 1 6 0,0 1 20 16,4-3-26-16,-4 1 0 0,3 1 16 15,-1-3-13-15,0 3-8 0,2-1 8 16,-1-1-8-16,3 3 8 0,-1-1 13 0,1 0-16 0,-3 0 16 15,2 2 12-15,1-2-12 0,-1 3 18 16,-1-2-24-16,-1 3 11 16,2-1 18-16,-1-1-24 0,-1 1 16 15,0 0 8-15,0-1-28 0,-2 1 17 0,2-2 1 0,-3 2 4 16,1-2-17-16,0-2 30 0,-1 3-7 16,-1-2 33-16,1 0 10 0,-2-3 3 0,5 3-8 15,-5-3 18-15,0 0-13 0,0 0-10 0,0 0 6 16,8-7-4-16,-6 3-2 0,1-1-18 15,2-1-10-15,-2 1 10 0,2-1-10 0,2 1 2 0,-1 1-7 16,0-1-5-16,1 1 12 0,0 2 0 16,0-2-30-16,1 3-8 15,-2-1 18-15,1 0 15 16,1 3-22-16,0-1 9 0,0 2-23 0,-1 0 3 0,3-2-23 0,-3 4-23 0,1-3-48 16,0 3-4-16,0-2-4 15,-1 2-59-15,1-1-59 0,0 0-1 16,0 0-88-16,2 0-126 15,-7 0-90-15,9-2-489 0,-2 2 108 0,1-3 90 16,2 0 137-16,-3 0-7 0,1 0 110 0,1-3 31 0</inkml:trace>
  <inkml:trace contextRef="#ctx0" brushRef="#br0" timeOffset="52858.62">3716 12382 957 0,'-10'1'376'0,"10"-1"-30"0,-5 3-34 0,2-1-18 0,-2 3-2 15,-1 1-41-15,4 1 69 0,-2 1-8 0,0 2-23 16,2 2-35-16,-3 1-19 0,2 0-27 0,-1 4-11 16,1 1-28-16,-4 3-5 0,-1 1-19 0,2 0-29 15,-1 1 1-15,-3-2-14 0,2 0-44 0,0-6 23 16,3 2-16-16,-2-2-15 0,1-3 8 16,1-2 0-16,3-2-8 0,-2-1-20 0,2-1 0 15,0-1-6-15,2-2 6 0,0-3 10 0,0 0-33 16,0 0 27-16,0 0-19 0,0 0-21 15,18-9 0-15,-11 2 17 0,1-2-55 0,4-1 2 16,2-2-10-16,1-2-3 0,0-2-20 16,1-1 12-16,7-6 3 0,-2 0 1 15,-4 4 1-15,4-5 6 16,-6 6 5-16,-2 4 13 0,-3 2 22 0,-2 2 1 0,-1 2 15 0,-2 1 34 16,-1 1 14-16,0 2-4 0,-6 2 18 15,2 2-16-15,0 0 23 0,0 0-15 0,0 0 7 16,-13 7-25-16,8-2 13 15,0 0 8 1,-1 1-3-16,2-1-3 0,-2 2-36 0,2-3 37 0,1 4-50 0,0-2-20 0,1-1-50 16,2 1-22-16,-3 0-12 0,6-1-62 0,-1-1-43 0,1 0-105 15,5-1-128-15,1-1-318 32,4 1-156-17,0-2 52-15,2-1 140 0,3 0 77 0,1 0 54 0</inkml:trace>
  <inkml:trace contextRef="#ctx0" brushRef="#br0" timeOffset="54590.86">8005 8998 1082 0,'-10'29'330'0,"0"8"-15"15,-8 24 0-15,-7 32 31 0,-4 12-26 0,-4 16-29 16,-1 17-106-16,-4 13-1 0,-5 51-23 0,-1 2-25 16,3 6-5-16,0 0-16 15,3 5-23-15,-4-1-10 0,7 1-62 16,-6-6-22-16,2-3-52 0,8-45-100 0,-10 45-158 16,11-52-205-16,-4 0-233 0,1-7-8 0,2-7 118 15,5-8 41-15</inkml:trace>
  <inkml:trace contextRef="#ctx0" brushRef="#br0" timeOffset="58052.89">9600 8826 1190 0,'0'0'381'0,"0"0"-35"0,0 0-21 0,0 0-26 15,-17 6-30-15,7-1 7 0,1-1-48 0,-3 2-10 16,-2-2-3-16,-1 5-15 0,-2-2-11 16,1 1-28-16,3-2-23 0,0 1 19 0,3-2-32 15,0 0-15-15,2-3 5 0,3 5-5 16,-2-2-51-16,4-1 44 0,3 0-52 16,0 2 3-16,2-1-3 0,1 0 8 0,2-1-24 15,3 3 1-15,2 1 3 0,-3-2-4 0,4 2-11 16,2-2 6-16,0 4 14 0,-1-1-11 15,1-2-15-15,-3 0-72 0,1 2-7 0,2-3 10 16,-6 1 20-16,3-1-8 16,-4 0 1-16,1 0 23 0,-4 0 4 0,-3 0-4 0,0-2 20 15,-2 4 5-15,-1 0-20 0,-5-2 28 16,-2 2-20-16,-3-2 25 0,-5 5-3 0,3-3-10 0,-8 1 3 16,2 0-18-16,-2-2 26 0,5 0-34 0,-7-1-5 15,6-1-5 1,-1 1-31-16,5-5-7 0,-1 5-16 15,3-6-23-15,3 2-41 0,-3 0-20 0,6-2-46 0,7 0-39 0,-8-4-95 16,3 4-127-16,5 0-359 0,0 0 70 16,13-13 58-16,-1 7 54 0,-1 0 92 0</inkml:trace>
  <inkml:trace contextRef="#ctx0" brushRef="#br0" timeOffset="58336.92">9731 8880 1113 0,'0'0'430'0,"3"-5"-31"0,-3 5 19 16,0 0-24-16,0 0-33 0,0 0-21 16,0 0-2-16,-13 7-28 0,7-1-57 15,-1 0-33-15,2 3 18 0,-3 1-33 0,0 3-39 16,1 0 1-16,-1 4-21 0,0-2 2 0,1 2-28 16,2 0-17-16,-1-2-14 0,-1 3-2 0,4-2 8 15,1 0-23-15,-1 1 7 16,0-4-17-16,6 3-3 0,-3-3-26 0,0 0-5 0,3 0-36 15,-1-4-22-15,1 2-1 16,4-1-23-16,-1-2-12 0,4-2-24 0,-3 1-12 0,4-2-32 16,-1-3-24-16,0-1-24 0,1 1-64 15,1-2-115-15,-1-2-99 0,1 1-480 16,-2-1 93-16,1-2 115 0,-1 1 2 0,0-2 78 0,-4 0 83 16</inkml:trace>
  <inkml:trace contextRef="#ctx0" brushRef="#br0" timeOffset="58541.08">9652 9055 1197 0,'4'-5'392'0,"-4"5"-44"0,13-2-36 0,-7-2-35 0,4 4-31 15,2-2-13-15,2 1-54 0,3-2-31 0,4 1-43 0,2 0-46 16,0-1-59-16,5 2-110 0,-5-2-87 0,3-2-64 15,-3 2-510-15,0 3 80 0,1-2 62 16,-4-3 78-16</inkml:trace>
  <inkml:trace contextRef="#ctx0" brushRef="#br0" timeOffset="59143.31">10077 9001 691 0,'-13'-1'363'0,"5"1"-22"0,-2 1-14 16,-2 4-73-16,-1-3-27 0,0 2-19 0,-2 3-6 15,-1-1 5-15,1 0-15 0,-1 1 46 16,1 3-25-16,0-2-8 0,5-1-19 0,1 0-22 15,-1 2 8-15,3-1-34 0,-1-1-31 0,3-1-2 16,2 1-12-16,1 0-24 0,2-2 7 16,0 0-29-16,2 0-4 0,1-2-10 15,-1 0 24-15,4-2-27 0,1 0-4 16,-7-1 0-16,15-2-16 0,-6-1 36 0,0 0-28 0,2-1-13 16,1 0 13-16,-1 1 10 0,-1-2 23 15,0 1-18-15,-2 1-2 0,2 1 23 0,-2-2-26 16,0 4 0-16,0 0 23 0,-1 0-7 15,1 2 5-15,0 1 2 16,-3-1-15-16,2 4-1 0,-1 0-1 0,-2 1-14 0,-3 3 6 16,1-2-3-16,-2 3-3 0,-2-4-4 0,1 6-1 0,-3-3-56 15,1 1 0-15,-2-1 8 16,-1-2 15-16,2 1 18 0,-2-2 18 0,2 0 30 16,1-1 1-16,-3-1 13 0,2-3 42 0,-2 3 32 15,4-4-31-15,-4 0 5 0,6-1 8 16,0 0-16-16,0 0-10 0,-7-3-17 0,7 3 9 15,3-10-20-15,-1 5-31 0,3-2 1 0,1 0-29 16,3-2-33-16,-1 0-18 0,3 0-21 0,-1-3-28 16,2 1-48-16,1-2-8 15,0 2-23-15,0-2-39 0,0 0-37 0,2-2-73 0,0-1-51 16,1 3-63-16,-1-4 25 0,-1 2 51 0,1-2 53 16,0 4 58-16,-2-1 78 0,-1 2 90 15,-1 1 72 16,-4 3 51-31,1 0 56 0,-3-1 26 0,1 4 2 0,-1 0 21 0,-2 1 3 0,1 0-3 0,-1 2 12 0,-3 2 9 0,0 0-6 16,0 0-15-16,0 0 5 0,3 13 0 16,-6-7-3-16,3 5-12 0,0-2-10 0,0 4-22 15,0 2-4-15,0 0 0 0,-3-2-21 0,3 4-15 16,-2-3-38-16,0 4-26 16,1-5-38-16,1 3-39 0,-2-1-74 0,-1-2-26 0,1 0-97 15,2 1-97-15,-1-4-69 0,1-3-453 16,-2 4 81-16,2-4 65 0,-3 0 86 0,1-2 62 15</inkml:trace>
  <inkml:trace contextRef="#ctx0" brushRef="#br0" timeOffset="59358.07">10164 9164 1072 0,'-2'-2'461'16,"2"2"-67"-16,-3-5 0 0,3 5-33 0,0-3-21 15,0 3-14-15,5-5-47 0,-5 5-18 16,8-5-23-16,-3 3-72 0,3-1-46 0,2 1-4 15,2-2 9-15,2 2-41 0,1-4-12 0,1 2-33 16,1 1-19-16,4-2-38 0,-3-2-31 16,0 5-32-16,2-2-42 0,-4 2-72 0,2-1-125 15,-1 1-269-15,-1 2-273 0,-1-3 148 0,1 3 17 16,-4-1 50-16,-1 1 89 16</inkml:trace>
  <inkml:trace contextRef="#ctx0" brushRef="#br0" timeOffset="60294.3">10485 9090 1123 0,'-3'4'405'0,"1"-1"-37"0,2-3-45 0,-5 5-29 0,4-1-30 16,-1 1-8-16,-1 0-41 0,3-2-41 15,0 2 10-15,0-1-25 0,0 1-16 16,3 0-10-16,-3-2-23 0,0 1 3 0,3 1-26 16,-1-4-10-16,1 4 7 0,-3-5-7 0,5 2-16 15,-3 1 9-15,-2-3-29 0,8 1 10 0,-3-1 13 16,-5 0-31-16,11 0-10 0,-11 0 10 15,7 0 1-15,-1 0-22 0,1 0 6 0,-7 0 16 16,11 5 12-16,-7-3-16 0,2-2-17 16,-1 4 10-16,2-2-7 0,-2-2 4 0,3 0 6 15,0 2-26-15,-3-2 0 0,5 0-8 0,-3 0 3 16,2-2-16-16,1 2 3 0,-2-5 6 16,0 4 4-16,2-6 23 15,-3 2 13-15,3-1-2 0,-2-1 18 0,0 1-3 0,-3-4 10 16,2 1 10-16,-1-3-15 0,-1 3 11 0,2-2 1 15,-1 0-12-15,-4-2 21 0,3 3-11 16,-2 0-7-16,2-2 12 0,-3 6-71 16,2-1-18-16,-2 0 10 0,0 2 3 0,1 0 12 0,-3 5-10 15,3-1 8-15,-3 1 5 0,0 0 3 16,0 12-13-16,0-5 17 0,-3 5-4 0,3 3-13 16,-3 2-6-16,3 2 1 0,-2 3 0 0,0-2-6 15,1 5-17-15,-2 1-19 16,1-7 24-16,0 9-54 0,2-6-3 0,-3 3 19 15,3-1-3-15,3-3 7 0,-3 0 18 0,0 0-7 16,-3-2 0-16,6-5 17 0,-3 2-7 0,0-3 10 16,2-3 34-16,-2 0 12 0,0-4 13 15,-2-1 5 1,2-3 13-16,0-2 3 0,0 0 27 0,0 0-9 0,0 0 20 0,0 0-3 0,4-19 6 16,-4 6-21-16,4-1 20 0,3-10-15 15,-2 0-25-15,5-8 22 0,1-2-9 0,1 3-4 16,4 0-7-16,-4 8-15 0,-1 5-8 0,-3 2 13 15,2 4-16-15,-2 3 14 16,-1 1-6-16,1 3 21 0,-3 3-9 0,0 1-9 16,-5 1 113-16,0 0-22 0,8 7-4 0,-8-1-18 15,-2 1-18-15,-1 0 5 0,-2 3-18 0,-1-1-2 16,-4 3-3-16,0 0 10 0,-1-1-105 16,-1-1-5-16,1 1-18 15,-1 0 1-15,2-3-22 0,-1 0-47 0,1-3-6 0,0 1-41 16,2-1-39-16,-2-2-30 0,4 0-100 0,-1-1-130 0,-1-2-461 15,3 0 33-15,0 0 85 0,5 0 66 16,-13-2 87-16,8 1 41 0</inkml:trace>
  <inkml:trace contextRef="#ctx0" brushRef="#br0" timeOffset="60572.54">9487 9315 1371 0,'0'0'443'0,"0"0"-15"0,0 0-11 0,29 0-69 0,-7 0-30 0,12 3-60 0,17-3 1 15,8 1-32-15,-2 0-22 16,4 2-23-16,11-1-26 0,-2 4-36 0,-12-6 3 0,-2 4-33 15,-1-1-49 1,-2 0-16 0,-1-2-27-16,-4 1-26 0,-7-2-26 0,-8 0-46 0,-7 0-51 0,-3 3-77 0,-3-2-53 0,-4 0-57 15,-3-1-256-15,0 0-207 0,-6 0 43 0,-4 1 90 16,-3-1 59-16</inkml:trace>
  <inkml:trace contextRef="#ctx0" brushRef="#br0" timeOffset="60868.98">9434 9462 906 0,'-21'6'320'0,"8"-5"-26"0,3 5-15 0,5-6-18 0,3 6 8 16,2-5 51-16,0-1-18 0,10 6-13 15,2-2-38-15,7-2-23 0,6 3-23 0,3-4-88 16,16 4-22-16,7-3-5 0,0 1-9 0,1-2-4 15,1 0-20-15,-1-1 1 0,-4 0-14 0,1 0 2 16,-8 0-13-16,-7 1-12 16,-1-1-8-16,0-1-42 0,-7 1-12 0,-3 0-2 0,0 0-13 15,-5 0-29-15,-2 0-2 16,2 0-31-16,-6-1-7 0,-2 2-11 16,1-1-35-16,-1 0-72 0,0 0-57 0,-2 0-25 0,0 0-440 15,-3 0 63-15,3 0 68 0,-1 0 58 0</inkml:trace>
  <inkml:trace contextRef="#ctx0" brushRef="#br0" timeOffset="62355.95">10464 9106 903 0,'0'0'297'0,"0"0"-18"0,0 0-10 0,0 0-21 15,8 10-97-15,-6-7-13 16,-1 1-7-16,-1 1 20 0,0-1-39 0,2 1-9 0,-2 0-3 15,3-2-31-15,-1 3 15 0,-2-1 8 16,1 0-28-16,1-2-12 0,0 2 14 16,1-1-10-16,-3-2-9 0,3 3 19 0,1-3-12 15,-1 2 15-15,2-2-26 0,-5-2 83 0,8 0-6 16,-8 0-23-16,8 0 16 0,-8 0-3 16,10-4-25-16,-5 1-26 0,-3 2 15 0,4-4-18 15,-1 0 3-15,-2 2-3 0,1-3 3 0,2 1-15 16,-4-2-11-16,1 1-20 0,-1 1-21 15,3-2 8-15,-4 1-36 0,4 0-10 0,-3 3-36 16,-1-2-33-16,1 0-69 0,0 4-90 16,1-4-44-16,-3 5-42 0,5-3-480 0,-5 3 103 15,5-2 48-15,-5 2 80 0</inkml:trace>
  <inkml:trace contextRef="#ctx0" brushRef="#br0" timeOffset="66471.75">12116 8869 1343 0,'-3'4'374'0,"-2"-2"-36"0,2 5-21 0,-2 0-40 15,0 3-29-15,2-2-12 0,-4 5-34 0,1-1-23 16,1 3-43-16,0-1-24 0,0 0-30 16,0 2-38-16,0-2-57 0,-1 0-51 0,4-1-77 15,-3 1-94-15,2-2-26 0,3-1-507 16,-2 1 59-16,2-6 20 0,0 4 162 0</inkml:trace>
  <inkml:trace contextRef="#ctx0" brushRef="#br0" timeOffset="66827.02">12154 8991 1062 0,'0'-3'320'0,"0"3"-39"0,0-6-27 0,0 6-11 0,0 0-38 0,0 0-8 16,0 0-8-16,0 0-25 0,-6 11-13 15,6-4-13-15,0-1-25 0,0 3-3 0,0 1-15 16,4-3 7-16,-2 4-12 0,3-3-29 0,-2 2 0 15,1-1-12-15,2 2-3 16,-1-5 62-16,3 1 12 0,0-1-36 0,-1 0-7 16,1-3 10-16,0 1-15 0,2-3 12 0,-2 2-17 15,-1-3 20-15,0-1-74 0,1-1 12 16,-5 1 9-16,5-2 27 0,-3-1-15 0,-2 0 80 16,1 2-19-16,-1-4 16 0,-2-1-10 15,1 3-16-15,-2 0 3 0,-2-3 0 0,1 2-26 0,1 0 3 16,-3-1-16-16,-1 0-20 15,1 0 23-15,0 1-33 0,-2 1-21 0,3 0 0 0,-4 2-33 16,2-2-31-16,0 2-20 0,0-1-15 16,4 3-34-16,-6-1-46 0,6 1-16 0,0 0-91 15,-7-1-164-15,7 1-502 0,-3 7 82 0,3-7 89 16,3 6 72-16,-3-3 72 0,0-3 69 16</inkml:trace>
  <inkml:trace contextRef="#ctx0" brushRef="#br0" timeOffset="67153.42">12479 8969 1226 0,'0'0'404'0,"0"0"-35"0,0 0-14 0,-7 13-50 16,2-7-8-16,4 0-44 15,-1 1-15-15,-3 3-15 0,2-2-39 0,-1 4-22 0,1-4-14 16,0 3-20-16,1 1-23 16,-1-4 15-16,0 3-43 0,3-3 5 0,-2 3-8 0,2-5 3 15,0 4-36-15,2-2-8 0,1-1-20 16,-3 0 10-16,5-2-28 0,-3 1-5 0,4 0-29 16,-1-4-9-16,-2 2-11 0,2-1-31 15,2 0-43-15,-2-1-64 0,3-2-74 0,-8 0-103 0,13-1-504 16,-6 1 182-16,-1-1-23 0,-6 1 94 0,10-3 95 15</inkml:trace>
  <inkml:trace contextRef="#ctx0" brushRef="#br0" timeOffset="68168.6">12462 9105 939 0,'0'0'230'0,"-3"-5"-17"16,3 5-11-16,0 0-20 0,0 0-44 0,8-3-23 15,-3 1-51-15,0 1-33 0,-5 1-16 16,13-4-58-16,-8 3-60 0,3-1-14 16,-3 2-32-16,2-4-15 0,-1 2-184 0,-1 2-125 0,2-1 94 15,-4-3 261-15,2 4 51 16,-2-3 78-16,-3 3 73 0,2-4-68 0,-2 4 47 0,0-6 32 16,0 6 10-16,-2-6 31 0,2 6-1 15,-3-4 11-15,3 4-2 0,0-5 7 16,-3 1 0-16,3 4-8 0,0-6-15 0,0 6-2 15,0-7-16-15,0 7-18 0,3-4 13 0,-3 2-5 16,0 2-26-16,5-5-15 16,1 4-6-16,-6 1 6 0,4-1 0 0,2 0-18 0,-6 1 23 15,10 0-28-15,-10 0 2 0,7 2 11 16,-1 1-6-16,-1 0 6 0,0 3-18 16,0-2-18-16,0 2 17 0,-3 1 34 0,1-2-20 15,2 2-8-15,-2-1-13 0,0 0-5 0,-3 1 30 16,0-3-2-16,2 3 0 0,-2-2 18 15,0 0-15-15,0 1 20 0,0-1-2 0,0 0 20 16,0-2-8-16,0-3 8 0,-2 6 72 0,2-2-13 16,0-4-8-16,0 0-2 0,0 6-24 15,0-6 9-15,0 0 4 0,0 0-43 0,0 0 7 16,0 0-9-16,0 0-24 0,0 0 18 0,0 0 1 16,0 0-22-16,15-5-7 0,-15 5 11 15,5-4 14-15,-5 4-48 0,0 0 23 0,0 0-22 16,13 3 4-16,-13-3-3 0,5 2-12 15,-5-2 18-15,7 1-11 0,-4 0-20 0,-3-1 13 16,5 3 8-16,-5-3 4 0,3 2-25 0,-3-2-18 16,6 1 18-16,-6-1-23 15,7 2 15-15,-7-2-4 0,7 2 9 0,-7-2-25 0,8-1 0 16,-8 1 10-16,8 0-10 16,-8 0-21-16,10-1 8 0,-5-1-20 0,0 1-16 15,-5 1-2-15,11-3-6 0,-4 0 8 0,-2 2-2 0,3-2-11 16,-3-1 24-16,1 1 12 0,1 0-10 15,-2-2 26-15,1-2-3 0,1 5 5 16,-2-2 8-16,0-2 20 0,0-1-2 16,-2 5 30-16,2-2 24 0,-3-1 7 0,1 3-5 15,-3-2-8-15,0 4 6 0,0 0-6 0,0 0 1 16,0 0-11-16,0 0 0 0,3 11 26 0,-3-5-23 16,-3 4 15-16,1-1 10 0,1 4-20 15,-1-1 7-15,0 2 16 0,2 1-38 0,-3 0 27 16,2 1-20-16,-1 1-74 0,2 0-15 0,0-3 0 15,-2 2 27-15,2 0-4 0,0-1-26 16,0 0 18-16,0-4 13 0,0 2-11 0,0-4 21 16,0 0 26-16,0-2 2 0,0 0 25 15,0-1 14-15,0-3-3 0,0-3 18 0,0 0 5 0,0 0-3 16,0 0 24-16,0 0 48 0,10-10-5 16,-7 3-21-16,2-3 11 0,0 1-8 15,3-4-15-15,0-3 5 16,2 3-11-16,-3 1-7 0,3 0-15 0,1 2 9 0,-4 0-17 15,1 3 15-15,-3 1-15 0,3 1-5 16,-3 4 20-16,-2 0-15 0,-3 1 8 0,0 0-1 0,0 0-7 16,0 7-5-16,-1-1-5 0,-3 1-3 0,-4 3 7 15,2-1-24-15,-1-1-4 16,-1 2 8-16,0 0-22 0,-2-1 14 0,0 1-78 0,0-1-22 16,0 0-2-16,0-2-45 0,2 0-55 0,3-1-30 15,-3-4-65-15,3 2-142 0,-3-2-157 0,5-1-440 16,3-1 87-16,0 0 100 15,0 0 109-15,10-9 40 0,-7 3 86 16</inkml:trace>
  <inkml:trace contextRef="#ctx0" brushRef="#br0" timeOffset="68509.98">13054 9031 1379 0,'0'0'425'0,"0"0"-90"15,0 0-25-15,0 0-18 0,0 0-26 0,0 0-7 16,2 13-37-16,-2-7-22 0,0 1-16 0,-2 3-22 15,0-1-6-15,2 2-10 0,0 0-47 16,0 0-52-16,0-1-32 0,-4 6-61 0,4-3-28 16,0-3-19-16,0 2-70 0,3 2-22 0,-2-2-45 15,1 0-39-15,0 0-41 0,1-1 52 16,2-3 28-16,-2 1-32 16,2-2 81-16,0-1 81 0,0-1-15 0,0-2 71 0,1 1 49 15,-2-3 31-15,4-1 31 0,-8 0 48 0,10 0 23 16,-4-1 5-16,-1-1 6 0,0 0 4 15,0-3 24-15,0 2-16 0,-2-2-12 0,1-1 25 16,-1 3-10 0,-2 0-8-16,1-4 8 0,-2 5-34 0,2-2-12 0,-2 4 20 0,0-5-41 15,0 5 8-15,0 0-15 0,-5-1-16 16,5 1-7-16,0 0-11 0,0 0-10 0,-13 5-18 0,11-4-38 16,-1 3-5-16,1-2-47 0,-1 3-20 15,1-3-58-15,-1 2-58 0,1-2-55 16,-1 3-77-16,3-5-52 0,3 5-437 0,-3-2 72 15,2 1 61-15,0-2 118 0,-1 2 46 0</inkml:trace>
  <inkml:trace contextRef="#ctx0" brushRef="#br0" timeOffset="69009.88">13167 9256 1233 0,'-3'0'359'0,"-2"0"-9"0,2 4-48 15,-1-1-33-15,0 0-8 16,2 0-25-16,0 1-32 0,-1-2-19 0,3-2-14 0,0 7-81 16,-3-2-31-16,6-1 2 0,-3-1-2 15,0-3 10-15,7 5-2 0,-3-4-1 16,-4-1 3-16,7 1 13 0,-7-1-5 0,10 0 15 15,-10 0 29-15,10-3-11 0,-7 2 12 16,2-2 19-16,0 1-8 0,-2-2 8 0,-3 4 69 16,2-6-44-16,-2 4 1 0,0-3-9 0,0 5-24 15,-2-7-4-15,0 3-10 0,1 1-33 16,-4-2-5-16,3 4-18 0,-1-4-43 0,-4 5-42 0,7 0-27 16,-9-5-32-16,5 4-12 0,4 1-82 15,-10 0-15-15,10 0-152 0,-14 0-178 16,12 0-480-16,2 0 80 0,0 0 113 0,0 0 72 0,0 0 101 15,0 0 68-15</inkml:trace>
  <inkml:trace contextRef="#ctx0" brushRef="#br0" timeOffset="69548.72">13248 9268 1067 0,'0'0'427'0,"0"6"-81"0,3-5-31 0,-3-1-18 0,1 7-36 15,1-3-36-15,-2-4-7 0,5 2-24 0,-5 1 6 16,5-1-34-16,-5-2-2 0,8 1-8 16,-8-1-10-16,10 0 15 0,-10 0-99 15,11 0 2-15,-11 0 13 0,10-1-8 0,-6 0 0 16,-4 1 20-16,11 0 16 0,-11 0 5 16,10 1 8-16,-5 0 13 0,0 2 50 0,-2 0-4 15,0 1-34-15,1-2 19 0,0 4-19 0,-2 1-15 16,-2-1 20-16,0 4-27 0,-2-1-4 0,2 3-27 15,-4-1-6-15,0 1 19 16,1-4-16 0,-2 5-15-16,2-2-16 0,-2-3 10 0,2 2-7 0,-1-2-13 0,1-2-2 0,2 1-8 0,-1-2-6 15,2-3-37 1,0-2 37-16,0 5-32 0,0-5 15 0,0 0-11 0,0 0-9 16,18-6-1-16,-7 1 10 0,-1-2-30 0,3 0-8 15,2-4 34-15,-2 3-39 0,2-4 3 16,0 4-19-16,-2-3 27 0,1 3-4 0,-2-2 9 0,-2 4 4 15,1 0 14-15,-3-1-22 0,-1 1 32 16,0 3-16-16,-1 0 8 0,-2 1 0 0,-4 2-13 16,6 0-3-16,-6 0 32 0,0 0-16 0,0 0 10 15,0 0-16-15,10 2 27 16,-10-2-1-16,5 4-5 0,-2-2 19 0,-3-2-9 16,10 0-5-16,-7 0 19 0,-3 0-4 0,13 0-7 0,-6 0 3 31,1 0-92-31,2 0-6 0,-2 0 8 0,2-1-21 0,1 0-2 0,-4-2-30 0,3 2-40 15,-4 1-24-15,2 0-34 0,-1-3-62 16,-2 3-153-16,-5 0-84 0,10-1-487 0,-10 1 102 16,0 0 78-16,8 1 84 0,-8-1 81 15,3 3 106-15</inkml:trace>
  <inkml:trace contextRef="#ctx0" brushRef="#br0" timeOffset="74085.39">8554 10561 936 0,'0'0'318'0,"-8"-1"-57"0,8 1-8 0,0 0-25 15,0 0-41-15,0 0-8 0,0 0-23 16,0 0-2-16,0 0 2 15,0 0-18-15,29-1-30 0,-17 1-1 0,-1 1-7 0,2-1-10 0,2 1-8 16,-2-1-24-16,4 0-9 16,-1 0 0-16,-1 1-67 0,3-1 0 0,-2 0-49 15,-3 0-33-15,2 0-53 0,0 4-85 0,-4-2-18 16,-3-1-100-16,2 0-340 16,0 3 12-16,-2-2 103 0</inkml:trace>
  <inkml:trace contextRef="#ctx0" brushRef="#br0" timeOffset="74284.64">8462 10716 785 0,'0'0'331'0,"0"0"-32"0,0 0-10 0,0 0-35 16,0 0-19-16,13 3-22 0,-3-1-19 15,2-1-17-15,2 0-8 0,6 0-21 0,-2-1-28 16,5 0-17-16,0 0-24 0,3 2-20 0,-3-2-38 15,3-2-16-15,-3 2-82 16,0 0-77-16,-1-1-122 0,-1 0-466 0,-3-2 53 16,-2 3 70-16,-1-3 37 0</inkml:trace>
  <inkml:trace contextRef="#ctx0" brushRef="#br0" timeOffset="74629.92">8677 10482 1052 0,'0'0'291'16,"18"4"-24"-16,-8-2-19 0,1 4-28 15,1-2-10-15,2 2-10 0,0 1-29 0,2 0-33 0,-1 4 16 16,1-2-21-16,-1 2 21 0,-1-1-39 15,1 4 23-15,-3-2-20 0,1 1-6 0,-5 1-84 16,-3-1 21-16,0 3 7 0,-2-1 3 16,-3-2-23-16,-6 4 8 0,-1 4-6 0,-4-1 8 15,-6 8-18-15,-4-3 11 0,-2-1-9 0,0 0-32 16,0-2-29-16,0-4-7 0,7-4-42 16,-1 1-30-16,6-2-41 0,-1-4-30 0,2-1-137 15,1-1-196-15,1 0-229 16,4-4 39-16,-2 2 62 0,4-3 43 0</inkml:trace>
  <inkml:trace contextRef="#ctx0" brushRef="#br0" timeOffset="75361.66">9311 10600 1090 0,'-8'-2'356'0,"0"1"-11"0,-2 2-32 0,0 1-109 15,-3 2-14-15,-3-1-9 0,1 5-19 0,0 1-24 16,-1 1 5-16,-1 0 6 0,1 3-37 16,3-1-9-16,1 0-3 0,1 1-29 0,1 0 1 15,0-1 7-15,4-2-17 0,1 1 2 0,2-4 38 16,3 2 3-16,0-3 13 0,3 0-47 15,2-1 6-15,3-3-15 0,0 1 2 16,2-2-16-16,3-2 1 0,0-2-21 0,3 0 18 0,4-3-2 16,-2 0-8-16,-3-3 10 15,1 1-26-15,-2-3-2 0,-1 1 28 0,1-1-18 16,-2 0 0-16,-4 2-17 0,2-1 17 0,-5 4 5 16,3-1 8-16,-3 1-10 15,0 1 2-15,-2 4-18 0,2-1-9 0,-5 2 17 0,0 0 5 16,0 0-13-16,2 7 11 0,-2-1-11 0,-2 0-15 15,2 2 15-15,-2 2-2 0,-2-1-26 16,4 3-10-16,-2 2-41 0,0-3-2 16,2 2-44-1,0 0-54-15,0-2-79 0,2 2-95 0,0-2-315 0,-1-3-181 0,2 3 50 0,1-3 124 16,-1-2 41-16,2-1 55 0</inkml:trace>
  <inkml:trace contextRef="#ctx0" brushRef="#br0" timeOffset="75806.64">9465 10569 821 0,'-3'-7'361'0,"3"6"-26"0,0 1-48 16,-5-2-31-16,5 2 18 0,0 0-28 0,-8 13-42 16,3-4-12-16,-1 4-15 0,2 4-8 15,-2 1-18-15,1 5-15 0,-2 1-26 0,2 1-26 0,-6 9 6 16,6-4-52-16,0 6-20 15,-2-7-33-15,1-4-24 0,2-1-20 0,0 1-10 16,-1-2 23-16,3-2-23 0,-1-3 21 0,0-3 19 16,1 2 27-16,-3-5 53 0,5-1 18 15,-3-1 8-15,1-4 7 16,0 0-4-16,-2-3 12 0,2 1 21 0,2-4-29 0,-5 0-74 0,5 0 31 16,0 0 5-16,0-16 3 15,0 5-21-15,0-3 10 0,3-4-9 0,1-5-1 16,2-2-3-16,4-8 14 0,1 0-19 0,1 4 13 0,1 3-15 15,-3 6 5 1,3 3-15-16,-2 1 0 0,1 3 10 0,-2 5 10 0,-2 1 5 16,0 3 16-16,-1 3-8 0,1 2 20 0,-8-1-7 0,8 7-11 15,-6-1 1-15,1 3 56 16,-6 0 15-16,1 3-41 0,0-1 18 0,-1 2-15 16,-5 2-15-16,0 1-1 0,-2-2-5 15,-2 3-7-15,1-2-34 0,-4 2-27 0,4-3-12 16,1-1-9-16,0-2-21 0,2-1-17 15,0-2-55-15,3 0-20 0,0-2-33 0,0-1-92 0,3-2-113 16,2 0-525-16,0-3 118 0,0 0 8 16,0 0 130-16,12-7 24 0,-7 1 71 15</inkml:trace>
  <inkml:trace contextRef="#ctx0" brushRef="#br0" timeOffset="76256.75">9567 10514 957 0,'2'-8'315'0,"-2"3"-11"0,0 1-27 0,0 1-29 0,0 3-10 16,0 0-2-16,0 0-29 0,-2 16-18 16,0-8-2-16,1 5-10 0,1 3-29 0,-5 3-20 15,3 4 5-15,-1 3-23 0,-2 2-7 0,2-2-11 16,1 4-20-16,-6 7-11 16,6 1-15-16,-1-6-28 0,0-7-8 0,1 1 3 0,2-2-23 15,-2-4-6-15,2 1 22 0,-1-6-19 0,1 2 18 16,0-3-13-16,0-2 24 0,0-2 30 15,0-1-13-15,0-1-7 0,-2-3 22 16,-1-4 6-16,3-1 0 0,-2 3 10 16,2-3-21-16,0 0 72 0,-3-13 11 0,3 3-11 0,0-2-18 15,2-7-2-15,-1 1 5 16,1-7-16-16,4 0-20 0,1 0-13 0,0 0 19 0,1 3-6 16,2 1 2-16,-2 6-10 0,0-1-4 0,0 6-4 15,-1 0 29-15,-1 3-23 0,-1 4 7 0,2 0-71 16,-4 3 5-16,-3 0 10 0,8 5 26 15,-6-1-16-15,1 3 11 0,-3 0-16 0,0 2-15 16,-3 0 20-16,0 0 8 0,-1 3-10 0,-1-1-5 16,-1 0-3-16,1-1-18 15,-3 3-31-15,3 0-20 0,-2-2-7 16,-1-3-34-16,3 1-15 0,-1-1-14 0,2-1-35 16,-2-1-5-16,4-2-76 0,-3-2-88 0,5-2-100 15,-3 1-491-15,3-1 117 0,0 0 47 0,0 0 115 16,0 0 53-16</inkml:trace>
  <inkml:trace contextRef="#ctx0" brushRef="#br0" timeOffset="76800.36">9769 10488 1267 0,'0'0'391'0,"0"0"-9"0,-4-1-65 0,4 1-5 0,0 0-40 0,-9 12-11 15,5-5-34-15,1 3-14 0,-2 0-29 0,0 4-10 16,2-1-7-16,-2 3-19 0,0 1 1 16,0 0-39-16,2-1-18 0,0 2 13 0,3-4-44 15,0 2-7-15,0-2 23 0,3-1-3 0,0-2-25 16,0 2-19-16,1-2 9 0,2 0-16 16,-2-1-3-16,2-4 8 0,2 0 8 0,-4-1-3 15,2-2 3-15,1 1-18 0,-1-4 3 16,1 1-3-16,1-2-6 0,-8 1 11 0,10-2-12 0,-2-1 4 15,-3 0 3-15,0 0-5 16,0 2 18-16,0-1-21 0,-5 2 28 0,8-4-33 31,-5 4-12-15,-3 0 17-16,0 0-3 0,10 0-4 0,-10 0-3 0,5 3 23 0,-5-3-28 0,5 2 20 0,-5-2-4 0,5 2-6 16,-5-2 10-16,5 3-10 0,-5-3 11 0,8 2-6 0,-8-2-13 15,0 0 11-15,13-2 7 0,-10-1 3 16,1 2-10-16,-4 1 23 0,8-2-14 0,-2 1 1 15,-2-2 26-15,-4 3-29 0,8-1 6 16,-8 1 27-16,0 0 1 0,8 4-11 0,-3-2 3 16,-3 3 23-16,-2 2 16 0,1 0 12 0,2 4-31 15,-3-1 1-15,0 1 12 16,-4 2-7-16,2 0-9 0,-3 4-81 16,0 2-15-16,-3 0 2 0,-2 1 18 0,0-1-23 15,2-2 3-15,0-1-26 0,-2-1-31 0,2-1-12 0,0-3-16 16,1 0-31-16,0-1-28 0,1-1 8 15,1-2-89-15,0-2-137 0,2-2-55 0,1-2-479 16,-1 1 89-16,3-2 74 0,0 0 52 16,0 0 84-16</inkml:trace>
  <inkml:trace contextRef="#ctx0" brushRef="#br0" timeOffset="77024.2">10069 10675 1156 0,'0'0'377'0,"0"0"-47"0,4 10-20 0,-4-5-19 15,-1 4-40-15,1-1 8 0,0 4-44 16,-3 0-28-16,1 1 2 0,2 3-28 16,-3-2-12-16,3 0 63 0,-5 4-30 0,3 1-21 15,-1-3-53-15,-2 2-49 0,2-3-39 0,-1 2-48 0,0-3-41 16,2-2-97-16,0-1-98 0,-1-2-100 15,3-2-516-15,0 0 97 0,0-2 63 16,0-2 109-16,0-3 53 0</inkml:trace>
  <inkml:trace contextRef="#ctx0" brushRef="#br0" timeOffset="77756.22">10115 10700 1011 0,'0'9'412'15,"0"-2"-8"-15,0 1-53 0,0 0-36 16,0 3-41-16,0-3-80 0,0 3-17 0,0 0-39 16,0-2 5-16,0 2 8 0,1-2-33 15,1 1-10-15,-2-3-16 0,3 3 7 0,-3-3-4 16,0-1-23-16,2 0 25 0,-2-1 0 16,1-1 80-16,1 1-3 0,0-4 13 0,1 2-23 15,-3-3-36-15,5 2 5 0,-5-2 0 16,8 0-3-16,-8 0-25 0,0 0 8 0,12 0-26 15,-6-2-13-15,-6 2 3 0,7-3-15 0,-2 2-1 16,-5 1-20-16,9 0-13 0,-5 0-38 16,-4 0-5-16,10-2-29 0,-10 2-35 15,10 1-21-15,-10-1-28 0,9-2-41 0,-2 0-13 0,-2 0-48 16,1 0-6-16,-2-1 16 0,4 2-33 16,0-4 43-16,-3 3 23 0,0-2 26 15,0 1 25-15,0-1 44 0,-2 2 30 16,2-1 45-16,-2 0 45 0,2 1 25 15,-5-1 19-15,0 3 5 0,7-2-3 0,-7 2 6 0,0 0-4 16,0 0 24-16,0 0-31 0,6 5 52 0,-6-1-6 16,0 2-5-16,-3 1 13 0,1 4-23 0,-1 0 17 15,1 2 11 1,-1 1-2-16,-4 4-3 0,1 0-11 0,-4 3-9 0,2 2-11 0,-2-2-18 16,-3 9 0-16,0-6 11 0,3-3-21 15,-3-2 0-15,3 0-21 0,0-3 6 0,2-3-29 16,1-3 34-1,1-1-11-15,1-1 6 0,0-3-3 0,5-1-15 0,-3-2-26 0,3-2 33 0,0 0-25 16,8-11-10-16,0 3 10 16,2-6-47-16,5-2-17 0,6-10 10 0,2 0-102 15,0-4-8-15,5 3 0 0,-2-2 5 16,-3 2-3-16,0-2-27 0,-2 4-8 0,-3 6-24 16,-3 0-32-16,-5 6-65 0,0 0-92 0,0 2-511 15,-4-2 91-15,-1 5 72 0,0 1 123 0,-5 1 36 16</inkml:trace>
  <inkml:trace contextRef="#ctx0" brushRef="#br0" timeOffset="77935.05">10031 10600 678 0,'0'0'269'0,"0"0"-54"0,0 0-69 16,0 0-103-16,0 0-171 0,0 0-473 15,13 6 32-15</inkml:trace>
  <inkml:trace contextRef="#ctx0" brushRef="#br0" timeOffset="81781.85">10854 10669 801 0,'0'0'245'0,"0"0"47"16,0 0-28-16,13 6-34 0,-5-3-28 16,2-2 1-16,0-1-22 0,0 2-14 0,0-2-49 15,1 0-14-15,1 4-65 0,-1-3-26 0,-1 1-70 16,0 1-73-16,1-2-72 0,-1 1-528 15,-2 2 98-15,1-2 43 0</inkml:trace>
  <inkml:trace contextRef="#ctx0" brushRef="#br0" timeOffset="81998.28">10857 10826 1062 0,'0'0'335'15,"-8"3"-28"-15,8-3-28 0,-5 2-28 0,5-2-13 16,0 0-43-16,0 0-16 0,0 0-3 0,0 0-9 16,0 0-31-16,0 0-1 15,20-6-17-15,-12 6-108 0,2-2-7 0,-2 0 7 0,5 0-38 16,-3 1-18-16,1 0 2 16,1 1-10-16,-2-1-27 0,-2 0-27 0,2-2-40 0,-2 3-39 0,2-1-90 15,-2 1-214-15,-1-1-190 0,1 1 15 16,0-1 144-16</inkml:trace>
  <inkml:trace contextRef="#ctx0" brushRef="#br0" timeOffset="82891.38">11462 10550 962 0,'0'0'356'0,"0"0"-36"16,0 0-23-16,0 0-13 0,-6 11-26 0,4-4-27 0,0 1-24 15,-2 3-28-15,2 2-2 0,0 3-29 0,-1 0 3 16,0 4-13-16,-1-1-40 16,3 0 9-16,-4 0-40 0,3-1-24 0,-1 2-22 15,1-1-26-15,-4 0-54 0,4-3-21 0,0 2-24 16,-4-2-76-16,4-2-65 0,2-1-60 15,-3 1-460-15,3-3 45 0,0-1 127 0,0-2 6 16</inkml:trace>
  <inkml:trace contextRef="#ctx0" brushRef="#br0" timeOffset="83307.82">11487 10543 982 0,'10'-12'305'0,"-2"6"2"0,2 0-120 0,-2 3-18 0,0-1 8 16,-1 3-44-16,-1 1 7 0,2 0-14 0,-3 1-6 16,2 1-15-16,-4 2 5 15,-1 1-7-15,1 2-34 0,-3-1 15 0,0 2-7 0,-3 1-28 16,-2 1 17-16,-2 4-10 15,-2-2-4-15,2 3-11 0,-3-3 7 0,0 1-2 16,0-1-7-16,-1-2 4 0,1 1 14 0,-1-2-29 16,4 0 15-16,-3-3-12 0,2 1 25 0,0 0-12 0,3-2 4 15,-2 0 1-15,1-3 2 16,2 4-2-16,1-1-24 0,-2-2 9 0,4 2-9 16,-1-2 11-16,2 0 0 0,0-3-10 0,2 7-3 31,1-1 10-31,2-2-5 0,0 1-18 0,3-2-5 0,0 2 3 0,0-2 0 0,2 1-21 15,-3-1-2-15,3 0-26 0,1-1-31 16,4 2-23-16,-5-3-53 0,1-1-77 0,1 4-77 16,-6-4-57-16,9 2-424 0,-2-2 38 15,0 0 113-15,-1 0 89 0</inkml:trace>
  <inkml:trace contextRef="#ctx0" brushRef="#br0" timeOffset="84110.73">11800 10678 1110 0,'-7'-3'341'0,"-1"3"-93"0,2 0-15 0,-6 0-20 0,4 1-11 0,-3 3-21 15,-1 1-14-15,-1-2-11 0,0 3-13 0,0 3 1 16,1 0-14-16,1-2-27 0,-1 3-1 15,4-2-5-15,-2 1-20 0,2 0 0 16,3-1-11-16,0-1-12 0,2 1 2 0,1 1-12 16,2-3-6-16,2 0-7 0,1 1 13 0,-1-1 58 15,4-1-15-15,-2-1 0 0,4 0-28 16,0-3-18-16,0 2 8 0,-1-3-21 0,3-1 8 16,1-1 4-16,-1 1-4 0,-2-3-8 0,2 0-2 15,0-1-13-15,0-1 28 0,0-1-21 16,-2 2-15-16,0-2 39 15,-3 2-36-15,3 0 2 0,-3 0 13 0,-2-2-33 0,2 2 28 0,-2-1-6 16,-1 2 11-16,0-2-23 16,1 3 21-16,-3-1-24 0,0 4 16 0,5-6-15 15,-5 6 9-15,0 0 11 0,0 0-13 0,0 0 3 16,0 0 5-16,0 0-21 0,0 0 3 0,-10 11 5 16,8-9-5-16,-1 4 7 0,3-2-14 15,-3 1 6-15,3-1 14 0,-2 1-16 0,2 1 8 16,0-3 23-16,-2 0-10 0,2 3-20 15,0-1 4-15,2-2-2 0,-2 2 2 0,0-5-2 16,0 7-13-16,2-6 21 0,1 2-6 0,-3-3-2 16,3 2 13-16,-3-2 2 0,4 0-12 0,-4 0 27 15,8 3-27 1,-8-3-9-16,0 0 11 0,13-3 5 0,-13 3-2 0,8 0-6 0,-8 0-2 16,10 3 5-16,-5-3-2 0,-5 0 17 0,7 0-15 31,-3 2 8-31,0-1 7 0,-4-1 21 15,6 4-28-15,-2-1-11 0,-4-3 34 0,3 4-3 0,0-2 10 0,-3-2 1 0,3 4-11 16,-1-2 28-16,0 1-12 0,-2-3 22 16,3 4 6-16,-3-4-13 0,0 4 7 0,0-4 21 15,0 0 1-15,3 2-4 0,-3-2 6 0,0 0-9 16,0 0-24-16,0 0 17 16,0 0-20-16,0 0-21 0,10-5 3 0,-5 4 18 15,-5 1-29-15,7-3 3 0,-4 2 3 16,2-1-3-16,-5 2-2 0,10-2 12 0,-10 2-15 0,9 0 8 15,-9 0-5-15,10 1 2 16,-2 0 2-16,-4 1-45 0,2-1 20 0,-1 1-7 16,2 2-34-16,-2-2-20 0,1 1-24 0,1 0-7 0,-4-1 10 15,2 1-56-15,0-1-54 0,0-1-38 16,1 4-102-16,1-4-157 0,-4 2-494 0,4-1 82 16,-4 0 97-16,2-1 78 15,2 1 86-15,-1-2 59 0</inkml:trace>
  <inkml:trace contextRef="#ctx0" brushRef="#br0" timeOffset="84853.35">12164 10769 790 0,'0'0'361'0,"-10"-1"-25"0,5 0-9 16,5 1-30-16,-8-1-28 0,8 1-31 15,-8 0-13-15,8 0-48 0,-8 3 0 0,4-3-3 16,-1 4-18-16,5-4-21 0,-3 6-7 0,0 0-12 16,0-3-22-16,1 6 1 15,0-2-36-15,-1 1 23 0,3-1-85 0,-3 3-7 0,3-2 2 16,-4 2-7-16,3-2 5 0,-4 3-6 0,-3-1 14 16,3 0 12-16,-2-2-10 0,-1 3 15 15,1-3-12-15,-1 1 10 0,-2-1-8 16,2-1-10-16,0-1 0 15,-2 0 33-15,2-1-26 0,3 0 16 0,-3-2-18 0,4 2 3 16,0-3 15-16,0 0-26 0,4-2 5 0,-3 2 6 16,3-2-29-16,0 0 24 0,0 0-11 0,0 0-20 15,10-7-3-15,-2 2 10 0,2 0-12 16,-2-2 5 0,5 1-21-16,0-5 8 0,1 3 18 0,0-3-23 0,-2 2 28 0,1-1-8 0,0 1 10 15,-3 1-9-15,-2 2 42 0,2 1 9 16,-2-1-16-16,-3 1 28 0,0 2-20 0,-2 0 5 15,2 3 18-15,-5 0-21 0,0 0 16 0,0 0-8 16,0 0 8-16,0 0-8 0,0 0 36 16,-6 13-39-16,6-7-17 0,0-3 7 0,-2 2-28 15,2-2-18-15,0-3-33 0,0 8-87 0,0-8-200 16,2 4-455-16,2-1 15 0,-2 1 166 16,3-2 41-16,0-1 36 0</inkml:trace>
  <inkml:trace contextRef="#ctx0" brushRef="#br0" timeOffset="85515.26">12397 10713 829 0,'-4'-1'307'16,"4"1"0"-16,0 0-33 0,-16 4-26 0,11-1-25 15,-3 2-8-15,3 0-31 0,-5 2-12 16,2 0 2-16,3 1-26 0,-3 1-15 0,3 0-20 16,0 1 2-16,0-2-12 0,2 2-27 15,0-1-17-15,1-3-2 0,2 1 2 0,0-1 69 16,2 0-21-16,1 0 1 0,0-2-19 0,-1-1-20 16,4 0-5-16,-1-2-2 0,2-1-21 15,-7 0 0-15,13-4-3 0,-3 2 34 0,-2-2-44 16,0 1-10-16,2-3 7 0,-5 0-9 0,3-1 19 15,0-2 4-15,-3 3-21 16,2-4-26-16,-1 1 39 16,-2 2-16-16,-1 1-17 0,0 0 12 0,0-1-8 0,-1 5 1 0,0-2 10 15,-2 4 2-15,0 0-2 0,0 0-10 0,0 0-3 16,0 0 7-16,-2 19-7 0,-1-9 0 16,-2 2 0-16,0 3 10 0,-2 1-7 0,-1 5 5 15,0-2 4-15,-2 5-19 0,-1-1 30 16,-2 5-10-16,1-4-19 0,-1-4 9 0,5-1 7 15,-4 0 1-15,4-4-14 0,-2-1 31 0,4-3-18 16,1-1 24-16,-2-1 1 0,1-2 9 16,1-1 10-16,0-3-11 0,3 0 8 15,-1-1-2-15,3-2-34 0,0 0 34 0,0 0-21 16,0 0-10-16,3-12 21 0,2 7-1 0,2-4-120 0,4-2 21 16,-1 0-60-16,5 1-35 15,1-3-8-15,1-3-40 0,2 4-98 0,-3-1-90 16,6 1-504-16,7-7 90 0,-1 4 71 0,-3 2 93 15,-5 2 117-15</inkml:trace>
  <inkml:trace contextRef="#ctx0" brushRef="#br0" timeOffset="85922.05">12828 10654 1246 0,'-11'3'379'16,"1"2"-34"-16,8 4-9 0,0-4-62 16,2 1-6-16,0 3-27 0,2-1-31 15,3 0-100-15,0 3-15 0,3 0-3 0,0-3-5 0,2 5-10 16,-3-1-3-16,4 0-8 0,-1 1-14 15,-2-2-1-15,0-2 74 0,0 2-4 0,-1-3-4 16,-2 1-1-16,0-1-1 0,-2-1 15 16,-1 2-27-16,-2-2 7 0,0-1-82 0,-2 1-8 15,-4 0 1-15,2 0-8 16,-4 0 5-16,-3-1 2 0,-1 1-10 0,-4-1-5 0,1 0-5 0,-3-1 18 16,0 0-41-16,3-3-2 0,0 2-4 15,2-2-19-15,-1-1-3 16,4 1-34-16,3-1-35 0,-1 0-13 0,8-1-59 0,-10-1-67 15,10 1-35-15,-3-4-82 0,3 4-461 0,0 0 102 16,13-7 67-16,-5 3 87 16,2 0 48-16</inkml:trace>
  <inkml:trace contextRef="#ctx0" brushRef="#br0" timeOffset="86456.12">13097 10756 834 0,'-10'4'335'0,"0"-1"-35"0,-1 3-19 0,1 0-20 0,-2-1-30 16,-1 2-9-16,0 3-22 0,0-1-13 15,1 0-23-15,1-1-16 0,3 0-17 0,-2-1-6 16,2 0-10-16,4 1-17 0,-2-1 2 16,1-1-6-16,2-3-22 0,1 2 69 0,2 0-1 15,0-3-19-15,0-2-14 0,5 6-2 0,-2-2-25 16,-3-4-16-16,8 2 12 0,-4-2 17 0,-4 0-53 15,13-2 22-15,-3-2-6 0,-2 3-10 16,2-4-2-16,1 1-6 0,2 0 6 16,-1 0-3-16,-4-2-21 0,3 5 16 15,-1-4-10-15,0 3 2 0,0 0 10 16,-2-1-33-16,-1 3-7 0,3-1 2 0,-4 1 5 0,2 0 10 16,-8 0-7-16,12 0 2 0,-9 1-2 0,2 4 15 15,0-1-26-15,-3-1-4 16,2 3 17-16,-4-1 3 0,2-1 5 0,-2 1-11 0,0 0 21 15,-2 2 1-15,1-1 14 0,-2-1 21 16,1 0 20-16,0-2-101 0,-1 2 27 0,0 0 8 16,1-1 18-16,0-1 7 0,2-3 11 15,-3 6-21-15,0-5 3 0,3-1-16 0,-3 4-2 16,3-4 3-16,0 0 10 0,0 0 2 0,0 0-20 0,-2-12-3 16,5 7 23-16,-1-2-20 15,1-1 0-15,2-1-26 16,0-6 8-16,5 1-11 0,-2-2-9 0,0-1 2 0,2 4-3 0,3-6-25 15,-3 7-18-15,0-2-8 16,1 3-30-16,-4 2-14 0,3-1-17 0,-2 1-5 16,0 2-44-16,0 2-41 0,-4 0-69 0,2 0-87 15,-1 2-399-15,0-1-31 0,0 4 41 0,-5 0 105 16,8-3 89-16,-6 1 78 0</inkml:trace>
  <inkml:trace contextRef="#ctx0" brushRef="#br0" timeOffset="86902.07">13362 10495 762 0,'0'0'328'0,"0"0"-34"0,0 0-17 15,-8 11-26-15,5-5 2 0,-2 1-30 0,0 5-19 16,-2 1-1-16,-1 3-6 15,-1 3 2-15,-1 2-27 0,-2-1 2 0,-6 11-13 0,3-1-30 16,-1-2-11-16,1 0 72 0,-3 1-15 0,5-8-13 16,-5 4-44-16,0 4-66 0,8-8-19 15,-3-4 4-15,3-2 32 0,2 1-45 16,0-2-16-16,0-3-2 0,1-2-8 0,2 3-8 16,0-6-4-16,0 1-29 0,2-1-18 0,-2 0-18 15,2 0-10-15,1-2-8 0,-1-1-10 16,3 1-66-16,0-4-29 0,0 0-82 0,0 5-40 15,0-5-16-15,5 2-420 0,-5-2 21 0,5 0 79 16,-5 0 70-16</inkml:trace>
  <inkml:trace contextRef="#ctx0" brushRef="#br0" timeOffset="87447.43">13387 10812 1090 0,'-3'0'392'0,"-4"-2"-57"0,2 1-20 0,5 1 0 16,-13-2-49-16,2 4-3 0,4 1-30 0,-3 0-77 15,0 0-30-15,2 0-11 0,-2 1-13 16,2 2 29-16,-2 1-57 0,2 0 6 0,0 0-24 15,1 1 10-15,1 0-12 0,2-2-5 16,-2 1-6-16,4-1-12 0,-1 0-16 0,0-1-17 16,3-2 27-16,0 2-4 0,3-1 12 0,-3-4-2 15,7 3-26-15,-3-1-10 0,-4-2 8 16,10 1 17-16,-3-2-10 0,1-1 3 0,0 0 0 16,0 0-23-16,-1-1 17 0,1 1 19 0,1-1 7 15,-1 2-28-15,0-2 11 0,-3 2-9 16,3-1 16-16,-2 2 3 0,1 0-29 0,-2 2 11 15,0 0 0-15,0 0 5 0,0 1 20 0,0 0-33 16,-2 1 13-16,0 1 15 16,-1-1-10-1,-1 1-21-15,1 0 34 0,-2 1 35 0,-2-3 24 0,2 3 2 0,0-1 16 0,-3 0-11 0,3-2 18 16,-3 2-82-16,1-2 1 0,2 0 7 16,0-3-11-16,-3 7-2 15,0-7-2 1,3 0 12-16,0 0-9 0,-4 4 1 0,4-4-22 0,0 0-18 0,0 0-18 0,0 0 20 0,0 0-43 15,0 0-11-15,9-12-35 0,-6 7-13 16,2-1-28-16,-2 3-49 0,2-3-49 0,2 0-48 16,-1 0-56-16,2-5-3 0,-1 5-471 15,1-1 25-15,0 1 137 0,2-2 22 16,-2 4 49-16</inkml:trace>
  <inkml:trace contextRef="#ctx0" brushRef="#br0" timeOffset="87787.5">13521 10847 560 0,'0'0'323'0,"0"0"-16"0,0 0-3 0,0 0-30 0,-6 13-13 15,6-11-20-15,-2 4-44 16,-1-2-5-16,1 0-31 0,1 1-10 0,1 0-20 16,0 0-6-16,0-5-86 0,0 6-1 0,0-3 0 15,0-3-4-15,6 5 7 0,-6-5 7 0,5 1 1 16,0 2-26-16,-2-2 13 0,-3-1-11 16,8 3 9-16,-4-3 9 0,2 3 113 0,-4 0-2 15,3 2-21-15,-2 1 23 0,-1 1-25 16,1 2-75-16,-3 1 23 0,-3 1-2 15,3 1-18-15,-4 2 2 0,-2 2 3 0,-2 1-10 16,-4 1 5-16,1 3-10 0,-9 5-11 16,-1-5 18-16,-1 3-25 0,1-7 8 0,7-4 4 15,0-3-12-15,4-1 23 0,2-2-16 16,2-5-23-16,2 2 8 0,4-4-28 0,0 0-2 0,0 0-17 16,10-17-14-16,2 5 0 0,4-4-29 15,9-8-33-15,1-4-28 0,3 1-2 0,9-10-37 16,-5 0-42-16,3 2-40 0,0-3-58 0,0 4-38 15,-8 9-11-15,10-7-433 0,-9 8 50 0,1 5 142 16,-1-1 26 0</inkml:trace>
  <inkml:trace contextRef="#ctx0" brushRef="#br0" timeOffset="94384.75">16025 9169 803 0,'0'0'318'0,"0"0"-16"0,0 0-31 0,0 0-23 0,0 0-2 0,0 0-16 0,0 0-4 16,0 0-29-16,0 0-72 0,-8 15-17 15,6-11 4-15,-3 4-4 0,2 0-6 0,-2 1-7 16,-2 1 0-16,-1-1-26 0,3 2 66 0,-3-4 16 15,0 6-33-15,3-5-21 0,-2 2 11 16,1 0-24-16,2-2-2 0,3-1-23 16,-1 2-2-16,2-2 1 0,0 1-9 0,3 0-3 0,1-2-8 15,2-1-20-15,1 0-5 16,1-2 3-16,0 1-45 0,0-2-24 16,2 1-22-16,0-3-60 0,0 2-73 0,2-1-58 0,-3-2-84 15,1 2-505-15,0-2 161 0,0 1-20 0,-2-1 46 16,0 0 69-1</inkml:trace>
  <inkml:trace contextRef="#ctx0" brushRef="#br0" timeOffset="94928.47">16033 9288 857 0,'8'-2'289'0,"-5"-1"-17"0,4 2-27 0,-7 1-35 0,15-1-28 0,-5 0-90 15,1 0 8-15,2 0-46 0,-3-1-24 0,3 1-9 16,0 0-47-16,-3-2-10 0,2 1-17 0,-4 0-9 16,0-1-9-16,0 2-4 0,-3-1 50 15,0 0-44-15,-2-1 17 0,-3 3 24 0,2-6 28 16,-2 6-5-16,0 0 10 0,-5-5 13 0,-1 4 62 16,-1 0-24-16,2-2 8 0,-1 0-5 15,0 2 33-15,0-2-3 0,1 1-14 0,-2 0 1 16,7 2-29-16,-6-3-14 15,4 0 10-15,2 3 6 0,0 0-46 0,0-4-16 0,0 4-36 16,7-5-20-16,-7 5-31 0,11-1 11 0,-3 0-11 16,-1 0 2-16,1 0-9 0,1-1 23 15,-1 2 25-15,0-1-21 16,0 1 29-16,-8 0 46 0,13 0 0 0,-8 0 46 0,0 3 15 16,0-2 16-16,1 0 58 0,-2 0-9 0,-1 4-19 15,0-3 23-15,-1 3 70 0,0-1-31 16,-2-1-5-16,0 2 4 0,0 0-22 0,0 0-3 15,-2-2-28-15,4 3-2 16,-4 1-11-16,0-3 11 0,2 2-34 0,-1-4 13 0,1 3-3 16,-2-2-4-16,2-3-90 0,0 5 10 0,0-5-6 15,0 5 4-15,0-5 12 0,0 0-7 0,5 2 17 16,-5-2 6-16,8 0-29 16,-8 0 11-16,8 0 5 0,-3 2-11 0,-5-2 8 15,7 0-4-15,-7 0-1 0,8 2-8 0,-8-2 3 16,8 2-5-16,-5-2-21 0,1 3-9 0,-4-3-35 15,8 2-1-15,-3-2-3 16,-5 0-42-16,8 3-27 0,-3-2-34 0,-5-1-61 16,11 1-48-16,-11-1-116 0,10-1-279 0,-3 0 8 15,0 1 76-15,-1-2 47 0</inkml:trace>
  <inkml:trace contextRef="#ctx0" brushRef="#br0" timeOffset="95337.06">16464 9211 773 0,'0'0'337'15,"0"0"-12"-15,-8 9-115 0,5-3-5 0,1 1-31 16,-3 3-18-16,3-3 88 0,1 3-22 16,-1 3-14-16,-1-1-16 0,1 2-26 0,2-1-15 15,-3 3-5-15,3 0-31 0,-2-2 10 0,-1 2 6 16,2 0-36-16,-1-1-11 0,0-2 6 15,2-1-29-15,-3-1 21 0,3-2 18 0,0-3-3 16,0 0 29-16,0 1-11 0,-3-3-8 16,3-2-20-16,0-2 8 0,0 0 0 0,0 0-26 0,0 0 26 15,0 0-31-15,11-11 0 16,-6 4-3 0,0-1-71-16,1 0 0 0,1-2-1 0,4 1-7 0,-4 0 6 0,1-1 6 0,1 1 6 15,-3 4 26-15,1 1-23 0,-3 0 15 16,0-2-13-16,-1 3 33 0,0 0-12 15,-3 3-6-15,0 0 8 0,0 0-5 0,0 0 3 0,0 0-13 16,0 0-11-16,-21 10-45 0,16-8-21 16,0-1-39-16,0 3-12 0,2-3-54 0,3-1-36 15,-8 5-76-15,8-5-106 16,0 0-107-16,2 2-384 0,-2-2 121 0,0 0 27 0,0 0 65 0,21-5 63 16</inkml:trace>
  <inkml:trace contextRef="#ctx0" brushRef="#br0" timeOffset="95563.04">16879 9239 1146 0,'-2'5'410'15,"-1"1"-1"-15,-2 1-135 16,2 3-31-16,-1-2-25 0,0 4-16 0,2-1-28 15,-3 1-15-15,2-2-31 16,-1 2-44-16,1 0-32 0,0 1-37 0,3-3-46 0,-2-1-23 16,2 1-84-16,-1-2-141 0,1 1-220 0,1-3-271 15,-1 1 109-15,0-4 42 0</inkml:trace>
  <inkml:trace contextRef="#ctx0" brushRef="#br0" timeOffset="96810.49">17697 9201 903 0,'0'-2'315'0,"0"2"-16"0,0 0-48 0,0-5 10 15,0 5-46-15,0 0-25 0,0 0-11 16,5-1-23-16,-5 1 0 0,0 0-12 0,0 0-29 16,0 0 2-16,18 3 9 0,-13-3-8 0,0 2-24 15,1-1-9-15,1-1-3 0,-2 1-8 0,-5-1-20 16,13 0 17-16,-8 0-1 0,-5 0-32 15,8 1 18-15,-8-1-17 0,0 0 9 0,0 0-12 16,0 0 5-16,0 0-15 16,0 0 17-16,0 0 83 0,0 0-39 0,0 0 10 0,-28 2-13 15,18-1-38-15,1 1 8 0,-3-1 0 0,2-1 2 16,0 1-10-16,1 2 3 16,-1-2-26-16,3 0 3 0,2-1 12 0,-1 3-33 15,2-1 26-15,1-1-85 0,0 3 5 0,3-4 3 0,0 6 5 16,0-6 0-16,6 7 11 0,-2-1 9 15,2-3 3-15,2 4-7 0,-1-2 2 16,1 2 20-16,2 2-25 0,-2-3 13 0,0 2 7 0,-1-1 13 31,1 0-13-31,-3-2 14 0,-2 1-4 0,2 1-4 0,-3-1 22 0,-2 0 8 16,-2-2 3-16,2 2-16 0,-5 1 11 0,-1-2-11 16,-1 3 1-16,-3-2-4 0,-6 2-12 15,3-2 0-15,-2 2-5 0,-1-3-5 0,-1 1-13 16,1 1-21-16,1-1-14 15,2-1-37-15,3-4 8 0,0 4-54 0,-1-3-15 0,4 1-121 0,4-1-45 16,3-2 17-16,-6 1-127 0,6-1-218 16,0 0-95-16,0 0 115 0,11-14 31 0</inkml:trace>
  <inkml:trace contextRef="#ctx0" brushRef="#br0" timeOffset="97056.11">17910 9235 1021 0,'3'0'340'0,"-3"0"-79"15,0 0-2-15,0 0-13 0,0 0-11 0,-6 12-10 16,-2-5 47-16,1 0-1 0,-1 1-20 0,-2 2 0 16,0 2-36-16,-1-2-34 0,-1 1 19 15,4-1-57-15,3-1 8 0,0 2 16 0,-1-4-39 16,4 2-21-16,2-1 3 0,0-1 0 0,2 1-30 16,4-4-9-16,-1 0-14 0,5 1-26 15,0-5-1-15,6 3-66 0,-1-2-20 0,5 1-21 16,-2-4-7-16,3-1-62 0,2 2-64 15,-2 0-72-15,-4 0-122 0,1-1-507 0,2 1 133 16,-6-1 48-16,-4 2 59 16,-1 0 83-16</inkml:trace>
  <inkml:trace contextRef="#ctx0" brushRef="#br0" timeOffset="98131.98">16676 9932 778 0,'11'6'281'0,"-1"0"-27"0,-2-1-19 0,-3 1 3 16,2 1-28-16,-4-1-13 0,-3 2-23 0,3 0-2 16,-6 1-19-16,0 2-2 0,-1 0-10 15,-2-1 5-15,-4 3-33 0,-1 3 20 0,-1-4-21 16,0 1-17-16,-2-2 28 0,4-1-23 15,-3 1 10-15,3-3-8 0,2 0-10 0,0-3-17 16,3 0-1-16,-2 2 13 0,2-3-23 16,2 1 8-16,0-2-8 0,1 1 25 0,2-4-38 15,0 5-5-15,5-2-17 0,0-2-4 0,0 2 1 16,3-2-39-16,2 0-5 0,0 0-20 16,1 0-34-16,2-1-23 0,-3 2-20 0,1-2-54 15,1 1-77-15,0-6-130 0,-1 5-463 0,-1 0 19 16,3 0 119-16,-5 0 94 15,2-1 95-15</inkml:trace>
  <inkml:trace contextRef="#ctx0" brushRef="#br0" timeOffset="98830.96">17669 9935 947 0,'-3'6'340'0,"1"2"-12"16,-1-1-29-16,-2 3-17 0,0 0-21 0,0 3-36 0,2-2-10 15,-4 7-13-15,1-2-43 0,-1 1-5 0,1-1-3 16,1-2-29-16,-2 3-52 0,1-3-9 16,2-1-28-16,-2-2-38 0,3 0-26 15,-1-2-68-15,1-2-65 0,3 2-64 0,-3-6-38 0,3 4-541 16,0-2 127-16,0-1 24 0,0-1 70 16</inkml:trace>
  <inkml:trace contextRef="#ctx0" brushRef="#br0" timeOffset="99509.95">17782 10051 1118 0,'0'0'261'0,"-16"6"-18"0,11-1-20 0,2 4-21 16,-2 1-17-16,0-1-4 0,0 0 1 0,3-1-28 16,-1 4-3-16,3-2-34 0,0 0-19 15,0 1-9-15,5-4 1 0,-2 2 15 0,4 0-18 16,-2-2-8-16,1-2 0 0,2 2-12 16,-1-3 10-16,1-1-8 0,0 0 5 15,1-3 6-15,0 2-9 0,-2-2 9 0,0-2-9 16,-1 0 21-16,-1 0 65 0,-2-4 22 0,-1 3-33 15,1-3-8-15,-3-1-15 0,0 1 0 16,-1-3-21-16,-3 1-2 0,1-3-23 0,-2 3-11 16,-1-2-35-16,-1 0-11 0,2 1-25 0,0 1-10 15,-3-3-18-15,0 4-21 0,1 1-31 0,-1 0 6 16,3-1-31-16,-1 1-74 16,-1 2-134-16,4 2-20 0,-1-3-79 0,3 3-486 0,1 2 127 15,0-6 39-15,0 6 79 0,5-6 59 0</inkml:trace>
  <inkml:trace contextRef="#ctx0" brushRef="#br0" timeOffset="99724.15">17930 9994 1080 0,'0'6'327'0,"0"0"-17"0,-2 5-21 0,-1 0-2 16,1 2-21-1,-1-2-23-15,-2 3 1 0,0-1-24 0,0 2-31 0,3-2-12 0,-2 0-101 16,0 2-4-16,3-3 5 0,1-2 0 15,0 2 10-15,3-2-39 0,-1-1 9 0,4 2-16 16,2-4 10-16,-1-1-8 0,1 0-4 16,2-2-1-16,3-1-15 0,0-3-33 0,-1 3-11 0,4-6-35 15,-1 3-46-15,3 0-26 0,0 0-64 16,-3-3-51-16,1 2-75 0,-8-1-2 16,2 2-476-16,1 0 77 0,-4 0 46 0,-2 0 84 15</inkml:trace>
  <inkml:trace contextRef="#ctx0" brushRef="#br0" timeOffset="100434.2">16656 10744 1113 0,'0'0'356'15,"12"3"-39"-15,-6 0-15 0,2 0-30 0,-3 0-19 16,0 1-7-16,-2 1-123 15,-1 0-8-15,0 0-21 0,2 2-1 0,-2-1-12 0,0 2-6 16,1 0-14-16,-3-1 3 0,3 0-8 0,-1 0 1 16,0 2-6-16,1-2-10 15,-3 1 8-15,5-2-3 0,-3 1-8 0,-1 0-15 16,4 0-5-16,-3-2 10 0,-1 1 23 0,1 3-35 0,-2-4 9 16,0 0 29-16,-2 2-5 15,1 0-16-15,-4 0-2 0,0 0-6 0,-3 0 19 16,-4 0-3-16,-1 1-13 0,-3-2 5 0,-2 4-7 15,-2-1-19-15,2-2-14 0,0 0-39 16,0 1-11-16,0-2-55 16,0-2-149-16,6 2-113 0,-1-1-450 0,3-1 33 0,2-3 84 0,2 1 49 15,1-1 72-15</inkml:trace>
  <inkml:trace contextRef="#ctx0" brushRef="#br0" timeOffset="101186.56">17566 10700 1023 0,'6'-2'279'15,"-2"-2"-15"-15,2 4-13 0,-1-1-26 16,3 1-23-16,-8 0-5 0,15 1 11 16,-8 0-29-16,1 2-10 0,0-1 5 0,-3 2-10 0,3 1-21 15,-3-1 0-15,0 4-7 0,-3 0-3 16,4 0-36-16,-6 1 72 0,2 1-5 0,0 2-23 16,-1 0-13-16,-1 1-5 0,0 0-3 0,-3-1-30 15,3 1-1-15,-2 0-96 16,-1 0 14-16,3-1-12 0,-3 3 8 0,-1-2 4 0,1 0-60 15,-2-3-19-15,2 2-30 0,-2 0-19 0,2-2-32 16,-2-2-60-16,2 1-112 16,-1-5-64-16,1 2-422 0,0 1 33 0,-1-2 76 15,1-1 83-15,0-2 86 0</inkml:trace>
  <inkml:trace contextRef="#ctx0" brushRef="#br0" timeOffset="101364.13">17523 10920 1034 0,'0'0'281'0,"0"0"-27"0,-3-3-16 0,3 3-23 0,0 0-18 0,10-4-31 0,-2 4 72 15,0 0-48-15,2-1-37 0,6-1-45 0,-2-2-37 16,-1 4-89-16,5-3-115 0,-2 0-112 0,4-1-511 16,-4 1 65-16,4-3 57 0,1 0 129 15</inkml:trace>
  <inkml:trace contextRef="#ctx0" brushRef="#br0" timeOffset="101641.33">17989 10701 1090 0,'3'-3'427'0,"-3"3"-94"0,0 0-33 0,0 0-9 0,0 0-40 16,0 0-2-16,-10 11-22 0,4-7-12 0,1 6-15 15,-2-2 7-15,-3 4-17 0,1 0-55 0,1 0 88 16,-4-1-5-16,4 2-39 0,1-3-15 15,0 1-13-15,-1 0-8 0,2 1-2 0,3-3 0 16,-1 2-36-16,1-4-13 0,3 3 5 0,0-1 3 16,3-3-26-1,-1 3-76-15,1-2-6 0,5 0 16 0,-1-1-19 0,4 0-4 0,-1-1-26 16,4 0-13-16,-3 0-33 0,5-1-10 0,-1-2-41 16,3 1-41-1,-2-1-49-15,1-1-56 0,1-1-169 0,-2 2-466 0,-4 1 59 0,1-1 120 16,0-1 54-16,-3 2 102 0,-5-1 65 0</inkml:trace>
  <inkml:trace contextRef="#ctx0" brushRef="#br0" timeOffset="102330.88">16535 11619 1116 0,'0'0'363'15,"0"0"-35"-15,0 0-37 0,0 0-19 0,0 0-14 16,0 0-38-16,0 0 6 0,-4 12-27 15,-2-7-25-15,1 1 8 0,-5 0 2 16,3 2-45-16,-1 1-6 0,-3 1-79 0,-1 1-1 0,-2 0 9 16,2 0 4-16,1 0-25 0,-1 1 5 15,2-1-10-15,0-3 15 0,2 3 3 16,-1-3-18-16,2 2 2 0,2-4 8 0,3 1 11 16,-2-1-29-16,2 1-3 0,2-1 14 0,3-1-11 15,2-1 0-15,-2 1 16 0,6 0-11 16,2 0-18-16,2-4-33 0,2 0 0 0,3 1-30 15,1-2-21-15,3-2-6 0,1 1-22 16,-2-3-13 0,4-3-46-16,-4 2-39 0,-1-2-119 0,-1 0-29 15,-5-1-36-15,2-3-389 0,-3 3 36 16,-3-3 130-16,-2 2 37 0</inkml:trace>
  <inkml:trace contextRef="#ctx0" brushRef="#br0" timeOffset="102515.57">16644 11562 796 0,'0'0'353'0,"-13"6"0"0,7-1-23 0,1 1-25 0,0 2-1 0,-3 3-25 0,3 1-12 16,-2 4 7-16,1 1-103 0,1 6 8 15,-2 0-43-15,2 0 17 0,1 5-32 16,-2-3-6-16,2 3-13 0,0-2-7 0,1 1 2 16,0-1-15-16,-1 0 23 0,1-3-23 0,0-2-28 15,1-2-41-15,-1 0-57 0,5-2-58 0,-2-2-108 16,0-2-161-16,6-2-497 0,-1 0 31 15,5-3 125-15,0-2 70 0,3 1 68 16</inkml:trace>
  <inkml:trace contextRef="#ctx0" brushRef="#br0" timeOffset="103079.09">17741 11672 1151 0,'5'3'392'0,"0"4"-49"0,2 2 0 0,-1 1-26 16,-1 0-45-16,2 0-1 0,-1 3-33 0,-4-2-13 0,1 1-15 16,-3 0-41-16,0 0-84 0,-1 3-9 0,-3-5 9 15,-2 3-11-15,2-2-10 16,-2 2-15-16,-2-5 2 0,3 1 13 0,-2-2-8 15,4-1-12-15,-4-1-8 0,4-2-11 0,0-3-7 16,3 0-13-16,0 0 8 16,0 0-10-16,0 0-3 0,0-13 0 0,6 3-16 0,-1-1 9 15,2-4 9-15,1 0-10 0,-3 0 14 0,3-3-9 32,-3 2 8-32,0-2 31 0,2 2-28 15,-4 1-11-15,0 2 8 0,-1 0 44 16,-2 0-36-16,1 3 15 0,-2 1-13 0,-1 1-15 0,-1-1-18 0,0 2 11 0,-1 3-19 15,-2 0-15-15,2-1-23 0,0 3-10 0,-3-1-39 16,4 2-23-16,3 1-40 16,-7-4-37-16,7 4-81 0,-5-2-59 0,5 2-8 0,-1-5-381 0,1 5 15 15,8-4 169 1,-3-1-13-16</inkml:trace>
  <inkml:trace contextRef="#ctx0" brushRef="#br0" timeOffset="103264.85">17928 11554 824 0,'2'8'373'0,"-2"-1"-22"0,0 5-3 0,-2 1-12 0,-1 5-32 16,1 1-17-16,-6 5-13 0,3-2-6 0,0 0-24 16,-1 1-19-16,2-3-25 0,1 0-90 0,0-1-18 0,3-3 2 15,3-1-24-15,-1 0-1 16,1-2-10-16,5 1-26 0,-1-6 0 0,1 2-33 16,5-2-36-16,-1-2-12 0,4-2-39 0,2-2-36 15,0-2-92-15,2 0-146 0,4-2-474 0,-1 0 24 16,0 0 133-16,0-3 58 15,-5 3 70-15</inkml:trace>
  <inkml:trace contextRef="#ctx0" brushRef="#br0" timeOffset="104174.25">16487 12668 660 0,'7'-2'281'15,"-4"1"-45"-15,2 0 66 0,-5 1 13 0,0 0-41 16,5-3-13-16,-5 3-18 0,0 0-31 0,0 0-22 16,0 0-16-16,-10 12-10 0,2-7-31 15,-2 0-21-15,0 2-4 0,-1-1-8 0,-3 4-3 16,3-1-2-16,-2-1-11 0,0 1-7 16,-2-1-21-16,5 0 3 0,-3-2-5 0,6 2-23 0,-2-3 35 15,2 1-40 1,-1-1 17-16,3-2 21 0,3 2-38 0,-1 0-8 0,3 0 15 15,3-1-12-15,1 1-14 0,-1 0 4 0,3 0-4 16,1-1 6-16,0 1 18 0,1 0-21 16,-2 1 3-16,1 0 23 0,0-1-6 15,-1 0-7 1,-1 0 31-16,1 1 18 0,-4-1 5 0,-2 2 7 0,0-1-10 0,-5 0-17 0,-3 3 19 16,-5 0-37-16,-2 2-85 0,-5 0 2 0,-11 4-2 15,0-1 3-15,-5-1-39 0,0-2 5 16,0 2-15-16,6-4-36 0,1-3-13 15,3 1-10-15,3-2-108 0,3 0-20 0,1-2-117 16,2 0-398-16,4-1-10 0,3 0 131 0,0-1 18 16,2-1 87-16</inkml:trace>
  <inkml:trace contextRef="#ctx0" brushRef="#br0" timeOffset="105505.55">17666 12551 931 0,'-8'0'374'0,"8"0"-36"0,-15 4-21 0,2 1-17 15,0 1-21-15,-1 2-21 0,0 2-15 16,-6 2-15-16,4 2-43 0,-2 0 9 0,0 0-22 16,3 0-21-16,2-2-13 0,3-2-13 0,0-1-33 15,2-1 8-15,3-2 0 0,3 0-5 16,-1-3-8-16,3 0-8 0,0-3-7 16,0 0-16-16,10 0 21 0,-10 0-28 0,13-8-65 15,-8 3 11-15,5-3 10 0,3 1-10 0,-2 1 92 16,-1 0 0-16,-3 3-13 0,-1 1 3 0,3-1-5 15,-3 1 10-15,-6 2-13 0,7 3-15 16,-4 3 4-16,0 0-17 0,-1 2 13 0,-2 4 0 16,0 0-21-16,0 4 8 15,-2 1-46-15,-1 1 0 0,0 2-16 0,-1-1-35 0,-2 0-16 16,1-2-7-16,0 1-28 0,3-1-27 16,-1-4-65-16,0 0-98 0,1 0-54 0,2-4-202 0,0-1-340 15,2 0 76-15,-2-3 101 16,3-3 60-16,0 1 50 0</inkml:trace>
  <inkml:trace contextRef="#ctx0" brushRef="#br0" timeOffset="105788.3">17833 12591 854 0,'0'0'374'0,"0"0"61"0,0 0-46 0,-10 17-48 0,4-7-14 0,-4 3-22 0,2 2-90 0,-2 0 3 15,0 5-32-15,-3 0-14 0,3 0-8 0,-3 0-13 16,3 2-13-16,0-4 3 0,4 0-13 0,2-2-39 0,1-2 14 16,0-2-16-16,1-1 2 0,4-1-9 15,-2 0 9-15,3-2-25 0,2-2 5 16,3 2-12-16,2-3-3 0,0 0-24 0,3-3-32 16,0-1-11-16,4 1-43 0,-1-3-21 0,-1 0-33 15,6-1-13-15,-1-1-44 16,1-1-50-16,-3 0-118 0,0-1-93 15,4-2-406-15,-5 1 79 0,3-3 17 16,1 1 83-16,-3-1 54 0</inkml:trace>
  <inkml:trace contextRef="#ctx0" brushRef="#br0" timeOffset="106702.73">20423 9036 1351 0,'-14'12'420'0,"4"1"-26"0,-1 0-38 0,-3 3-49 15,4 0-15-15,-1 4-23 0,-2 3-37 0,0 8-98 0,3 1-29 16,5-7 2 0,0 1-25-16,3-6-16 0,4 2 1 0,3-4-13 0,0 0 23 15,3-2-21-15,2-3-18 0,2-2 3 16,2 1 5-16,-1-5 6 0,2-3 1 0,-2-2 1 0,0-2-18 16,2-1 7-16,-5-4 19 0,1 2 9 15,-1-2-14-15,-5-3-1 0,0 0-18 16,-5 1 14-16,3 0-6 0,-6-1-28 0,0 2 10 0,-1-1-15 15,-2 1-24-15,-1 2-32 16,-1 1-21-16,-2 0-26 0,-2 3-33 0,-2 0-84 16,3 3-146-16,-1 0-159 0,-1 1-346 0,3 2 85 15,-3 0 54-15,5 0 69 0,-2 1 89 16</inkml:trace>
  <inkml:trace contextRef="#ctx0" brushRef="#br0" timeOffset="108781.7">21027 9128 726 0,'6'-2'200'0,"1"1"-13"16,0 0-5-16,2 1 17 0,1-3-27 0,4 1-21 15,-2 0 23-15,1-1-31 0,2 2 85 16,-5-1-15-16,0 0-16 0,1-1 0 0,-1 3-21 16,-3-1-2-16,-1 0 11 0,2-1-14 0,-2 0-7 15,-2 2 10 1,-4 0-105-16,7 0-2 0,-7 0-19 0,8 4 9 0,-6-2 14 15,-2 3-35-15,0 1 26 0,0 0 2 0,-2 1-34 16,1 1 1-16,-1 1 18 0,-3 0 10 16,3-1-31-16,1 3-3 0,-3 2 62 0,1-1 18 15,-2 1-33-15,2-1-8 0,-2 0-3 16,1 1-27-16,-2 0-6 0,4-2-10 0,-4 0-46 16,3-2-24-16,-1 3-22 0,1-6-21 0,0 4-50 15,1-2-47-15,-1 0-70 0,3-2-93 16,-2 0-462-16,2-1 11 0,0-3 92 0,0-2 102 15,-3 5 51-15</inkml:trace>
  <inkml:trace contextRef="#ctx0" brushRef="#br0" timeOffset="108946.79">21043 9279 847 0,'-6'-4'322'0,"6"4"-27"0,0 0-9 0,0 0-32 0,-2-1-14 0,2 1-20 0,0 0-33 15,0 0 5-15,20-1 0 0,-11-1-30 16,3 2-40-16,1 0-24 0,0-2-50 0,2 2-20 16,3 0-45-16,0-2-40 0,-3 1-50 15,6-2-159-15,-4 0-72 0,2-1-379 16,1 3-10-16,-1-4 115 0,1 2 64 0</inkml:trace>
  <inkml:trace contextRef="#ctx0" brushRef="#br0" timeOffset="109253.38">21630 9085 970 0,'0'0'414'15,"0"0"-50"-15,0 0-90 0,0 0 5 0,0 0-21 16,0 9-10-16,-3-3-40 0,1 0 89 16,-2 5-34-16,-4-3-9 0,1 2-1 15,-3 2-97-15,0-2-17 0,-2 2-4 0,2 1-9 0,1-1-21 16,1 1-18-16,0-1-3 0,2 0 11 15,0-3-41-15,2-1 10 0,2 0 0 0,-2 0-6 16,4-1-4-16,0 1-8 0,3-2-10 16,0 0 15-16,1-3-12 0,2 2-9 0,1 0-14 15,4-3 2-15,-1 2-23 16,1-2-13-16,3 0-26 0,-1 1-10 0,2-1-33 0,-4-2-15 16,4 0-26-16,0 1-28 0,-2-1-39 0,0 0-56 15,-2 0-109-15,-4 2-68 16,3-2-435-16,-2 1 98 0,0 1 77 0,-3-2 19 15,2 0 73-15</inkml:trace>
  <inkml:trace contextRef="#ctx0" brushRef="#br0" timeOffset="110452.8">20243 10044 1069 0,'0'0'341'0,"15"3"-34"0,-15-3-43 16,16-2-1-16,-6 1-19 0,2 1-35 0,-1 0-17 0,2 0-15 16,-3 0-5-16,3 0 9 0,-1 3 1 0,1 0-77 15,-1 1 10-15,0 1-20 16,-2 0-6-16,-3 4 32 0,1-1-19 0,-2 5 3 0,-2 0-5 16,-4 2 0-16,3 0-8 0,-3 2-5 15,-3 1 61-15,-1 1-17 0,1 1-3 16,-2-1-5-16,-3 1 15 0,3 4-38 0,-3-4-118 15,3-2 3-15,0 0-37 0,-1-3-7 0,2 2-20 16,-2-4-41-16,2 0-39 16,1-1-10-16,0 0-71 0,1 0-111 15,-3-2-61-15,2-3-456 0,3 0 75 0,0-4 101 0,-1 2 60 0,1-5 26 16</inkml:trace>
  <inkml:trace contextRef="#ctx0" brushRef="#br0" timeOffset="110668.25">20174 10329 947 0,'0'0'458'0,"0"0"-33"0,0 0-34 16,0 0-48-16,0 0-20 0,14-4-39 16,-6 5-23-16,1 1-5 0,6-2-54 0,0 1-2 0,6 0-11 15,1 1-63-15,2 0 30 0,1-1-44 16,1 1-22-16,-3-2-34 0,5 0 3 15,-5 0-66-15,4 4-11 0,-5-4-67 0,-2 0-63 0,1 0-103 16,-3 0-136-16,2 0-501 0,-4-3 110 16,2 3 61-16,-2-1 29 0,1 1 96 0</inkml:trace>
  <inkml:trace contextRef="#ctx0" brushRef="#br0" timeOffset="111467.27">21174 10204 1149 0,'-2'-3'391'0,"2"3"-30"16,0 0-41-16,0 0-30 0,0 0-22 16,0 0-19-16,0 11-4 0,1-6-27 0,0 3-26 15,3-2 8-15,-1 1-44 0,0 4-87 0,1-1 5 16,0 0-7-16,-2 2-34 0,0 1-10 16,-1-1 26-1,1 1-21-15,-2 0 0 0,-2-1 15 0,1 0-20 0,-3-1-5 0,1-3-15 0,-4 3 28 16,-1-3-3-16,2 3-10 0,-1-4 0 15,1-1 2-15,-1-1-7 0,2-1-11 0,-1 0 1 16,-1-4 5-16,4 0 56 0,3 0 7 16,0 0 6-16,-10-2-28 0,10 2-11 0,-2-5 26 15,2 5-33-15,5-8-3 0,-2 2-2 0,-1 0-11 16,3 0-2-16,3-4 15 0,1 3-20 0,-1-3 10 16,0 0 5-16,-3 0-8 0,3-4 13 15,0 2 3-15,-3-1-6 0,0 1 19 16,-2-2-8-16,-1 0 2 0,1 3 3 0,-1-1-10 15,-2 1-11-15,-2 2-2 16,2-1-2-16,-3 2 14 0,1 1-25 0,-1 0 8 0,1 1-8 16,-2 2-15-16,0 3-33 0,0-1-9 0,-2 0-45 15,6 2-16 1,0 0-27-16,-10 2-55 0,10-2-138 0,-8 4-578 0,8 1 23 0,-1-3 125 16,1-2 75-16,1 7 119 0,1-3 24 0</inkml:trace>
  <inkml:trace contextRef="#ctx0" brushRef="#br0" timeOffset="111742.86">21548 10124 980 0,'0'3'340'0,"0"-3"-30"15,-5 10-16-15,-1 1-15 0,-1-2-10 0,0 3-8 0,-2 4 11 0,-1-2-47 16,-2 3 51-16,2-1-30 0,2 2 7 0,0 0-12 15,-2-5-54-15,5 4 25 0,1-2-38 16,0-2-102-16,1 2 15 0,3-2-8 0,3 1-4 16,1-2-27-16,0-1 4 0,3-2-29 15,6 1-21-15,-2-4-33 0,4 0-20 0,3-2-33 16,0 1-21-16,0-5-46 0,-1 0-57 16,3 1-112-16,-2-2-99 0,3 1-470 0,0 0 96 15,-3 0 76-15,0-2 93 0,-3 2 48 16</inkml:trace>
  <inkml:trace contextRef="#ctx0" brushRef="#br0" timeOffset="113161.92">20220 11228 957 0,'2'-3'297'16,"-2"3"-44"-16,0 0 1 0,0 0-27 0,0 0 6 15,0 0-36-15,1-3-12 16,-1 3-32-16,0 0-7 15,0 0-8-15,0 0-15 0,0 0 10 0,0 0 18 0,0 0-25 0,0 0-19 16,0 0-17-16,0 0-3 16,0 0 18-16,0 0-31 0,0 0-23 0,0 0-63 0,0 0 17 15,0 0-8-15,0 0-2 0,0 0 5 0,0 0 0 16,0 0-5-16,0 0 25 0,0 0-22 16,0 0 22-16,0 0-7 0,0 0 2 0,0 0-9 15,0 0-9-15,0 0 26 0,0 0-15 16,0 0 28-16,0 0-29 0,0 0 3 15,0 0 34-15,0 0-13 0,0 0-11 0,0 0-12 16,0 0 20-16,0 0-13 0,0 0 16 0,0 0-21 16,0 0 6-16,0 0 4 0,0 0-2 15,0 0-3-15,0 0-2 0,-14 6-5 0,14-6 10 16,3 9-5-16,-2-3-11 0,1 0 8 0,5 2 8 16,-2 3-10-16,1-3 12 0,1 4-7 15,1-1-13-15,0 0 5 0,0 0-7 16,-1 0 12-1,4 1-13-15,-4 0 6 0,0 0-18 0,1-3 25 0,-3 1-25 0,1-3 15 16,-1 0 0-16,-2-1-6 0,-1 2 6 16,0-4 6-16,-2 2 4 0,-2-2 3 0,0-2-3 0,1 3-8 15,-4-3 19-15,3 1-16 0,2-3 0 0,-8 4 0 16,5-1-10-16,-2-2 3 0,5-1 7 16,-7 3 5-16,4 0-10 0,3-3 10 0,-5 0-12 15,5 0 4-15,-8 2 1 0,8-2-14 16,-5 0 27-16,5 0-6 0,0 0-15 0,0 0 15 15,-10-2-7-15,10 2 10 0,-5-3-1 16,5 3 4-16,-2-3-14 0,-1-1-9 0,3 4 17 0,-3-7 5 16,1 5-25-16,1-3 15 15,1-1-5-15,-2-1 13 0,2 0-16 0,0 0 16 16,0-3-10-16,0 2 2 0,3-1 0 0,-3 1-8 16,2-2 3-16,3 1 11 0,-3-1-14 15,1-1 0-15,3 1 21 16,-4 1-20-16,3-2 17 15,0 2 3-15,-2 0-26 0,2 1 24 0,-3 0-16 0,1-1 25 0,-3 1 1 0,0-2-13 16,0 4 12-16,-1-2 9 0,-3 2-11 0,-1-2 7 16,2 2 57-16,-2 2-12 0,-2-3-14 0,-1 1 3 15,0 1 5-15,0 4-20 16,1-2 15-16,-1-1-51 16,0 3-3-16,0-1-10 0,-2 0-23 0,5 2-13 0,5 0-56 0,-12 3-23 0,6-1-36 15,1 2-82-15,2-1-141 0,1 2-571 16,2 1 98-16,-2 0 51 0,4 0 138 0,3 1 47 15,-2 1 88-15</inkml:trace>
  <inkml:trace contextRef="#ctx0" brushRef="#br0" timeOffset="115673.03">20999 11257 926 0,'0'0'307'0,"-7"-1"-87"0,7 1-15 16,0 0-18-16,0 0 10 0,0 0-13 0,0 0-4 15,0 0-32-15,0 0 6 0,0 0 63 16,0 0 1-16,0 0-52 0,0 0 1 0,0 0-16 16,0 0-18-16,0 0 13 0,0 0-34 15,0 0 3-15,0 0-15 0,0 0 18 0,0 0-39 16,0 0 3-16,10 12-10 0,-7-7 23 15,1 1-26-15,-1 0 0 0,0 1-21 0,-3 0-7 16,2 1 34-16,-2 0-45 0,0 1 16 16,0 1 16-16,-2 0-24 15,0 5-63-15,-4-5-19 0,1 1 16 0,-3 3 8 0,0-2-9 16,-2 1 19-16,0-1 66 0,0-1 1 0,1 0-6 16,0-2 13-16,1-2-18 0,0 0 8 15,1 0 0-15,-1-3-1 0,3 2 14 16,0-1 2-16,2-1-8 0,-2 0-17 0,2-1 33 15,1-1-41-15,2-2 2 0,-3 2 11 0,3-2-19 0,0 0-55 16,0 0-6-16,7 4 21 0,-3-3-18 16,-4-1 5-16,13 0-6 15,-6 0 11-15,1 0 3 0,2-2 13 16,0 2-9-16,1-3 4 0,1 2-1 16,-1 0-30-16,4 0-11 15,-2-3-23-15,-2 4-38 0,3-4 0 0,-1 2-59 0,0-4-10 0,-2 4-90 0,1-3-105 0,1-1-125 16,-3 3-361-16,5-1 80 0,-4-1 65 0,2-2 111 15,0 2 57-15</inkml:trace>
  <inkml:trace contextRef="#ctx0" brushRef="#br0" timeOffset="115978.89">21264 11300 1069 0,'-16'3'318'0,"3"-1"-21"0,3 0-31 0,0 2-33 0,2-3 8 0,0 0-49 0,3 4-26 16,3-4 8-16,-1 4-31 0,3-5-20 0,0 7 3 16,3-3-19-16,2 2-20 15,2-3 77-15,2 3-10 0,1 0-21 0,0 0 0 16,4 0 2-16,-3 0-42 0,-1 0 1 0,3-1-2 16,-5 0 21-16,2 1-90 0,0-1 18 0,-4 1-15 15,0-1 17-15,-4 2 3 0,0-1 3 16,-2 0 5-16,-2 1-26 0,-1 0 13 0,-5 3-8 15,-2-1-13-15,-4 1-7 0,-2 2 5 16,-3 0-20-16,-1-1-24 0,1-1-12 0,2-2-37 16,2-1-19-16,5-2-73 0,-1 0-114 0,5-1-75 15,2-3-23-15,4-1-384 0,0 0 21 16,0 0 61-16,13-5 49 16,-3-2 51-16</inkml:trace>
  <inkml:trace contextRef="#ctx0" brushRef="#br0" timeOffset="116163.56">21584 11281 1080 0,'0'5'407'0,"-3"2"-16"0,-2 0-89 0,1 5-18 31,-4-1-35-31,0 3 7 0,0 0-16 0,0 3 62 0,1-1-30 0,1 1-21 0,2-2-31 16,2-1 5-16,-2 0-13 0,7-1-27 0,0-1-103 15,4 2-8-15,3-4-5 0,1 0-8 0,2-2-27 16,5-1-27-16,2-1-30 0,1-2-48 15,7 2-32-15,1-3-63 0,-2 1-113 16,1-1-151-16,0 0-497 0,-5-1 141 0,0 2 36 16,-5-1 118-16,-5 3 82 0</inkml:trace>
  <inkml:trace contextRef="#ctx0" brushRef="#br0" timeOffset="116836.01">20279 12253 1308 0,'-16'3'340'16,"-1"3"-35"-16,-2-1-26 0,1 2 0 16,-2 4-16-16,-3-2-35 0,2 1-8 0,-1 2-30 15,1-1-9-15,3-1 4 0,2 0-39 0,3-2-8 16,3-1-28-16,0 0 5 0,5 1 5 15,2-2-35-15,1-1-6 0,2-1 6 0,5-2-9 16,0 0 6-16,-5-2-15 0,20-4 2 16,-7 0-13-16,5-3-15 0,3-2 0 0,2 1 18 15,-2 1-13-15,-4 0-18 16,-1 2-5-16,-1 1 11 16,-5 1 12-16,3 4-11 0,-5 0 12 0,-1 4 24 0,-1 5-27 0,-1-1 9 15,-2 4 4-15,-3 1-26 0,-3 5 7 0,1 1 11 16,-4 2 76-16,1 2-28 15,-5 10-35-15,2-6-14 0,0-4-53 0,1-1 0 0,-1-2-38 0,3 1-14 16,0-3-25-16,3-2-71 16,2-3-78-16,0-1-153 0,4-1-598 15,-1-1 73-15,7-1 110 0,0-4 31 0,6 0 77 0,5-2 90 16</inkml:trace>
  <inkml:trace contextRef="#ctx0" brushRef="#br0" timeOffset="117788.34">21156 12371 985 0,'0'0'328'0,"0"0"-14"0,5-6-19 0,-5 6-42 16,5-1-38-16,-5 1 5 15,0 0-33-15,6-3 8 0,-6 3-31 0,0 0-11 16,0 0 14-16,0 0-42 0,0 0 0 0,0 0-22 0,0 0-3 16,0 0 7-16,-16 7-30 15,8-3 7-15,0-2-17 0,-2 2 5 0,3-1 4 16,-3 0 50-16,2 1-8 0,0-1 7 0,0 0-38 15,1 0-28-15,3 1 2 0,-3 1-12 16,4-2 15-16,1 1 3 0,2 0-47 0,0 0 18 16,2 0 14-16,1 1-4 0,0 2-25 0,3 0 18 15,-2-2 5-15,4 3-5 16,-3-2-25-16,2 2 42 0,-2-2-19 0,1 1 7 16,1-1 3-16,-4 1 7 15,2-1 8-15,-2 1 28 0,-3 1 0 0,0-2-76 0,0 1-6 16,-6 0-10-16,2-1 10 0,-4 3 10 15,-2-2 4-15,1 0-4 0,-3 1 70 0,-4 3-19 0,2-3-2 16,-2 0-12-16,1-1 7 0,-1 0-23 16,1 0-26-16,3-2-15 0,-2-2 8 0,2 2-57 15,1-2-5-15,3 0-33 0,0-3-25 0,4 2-42 16,4-2 6-16,0 0-44 0,-3-6-13 16,3 6-61-16,7-9-49 0,3 1-136 15,1-2-173-15,7-3-254 0,2 0 125 0,8-6 29 0,1 3 122 16,4 0 80-16,-12 1 494 0,-1 3 38 15,-2 1 98-15,-5 2 35 0,0 0 26 16,-1 2 15-16,-3 2 47 0,-2 0 76 16,0 1-10-16,-4 1 2 0,2 2-45 15,-5 1-9-15,0 0-22 0,0 0-21 0,5 5 8 0,-5-1-92 16,0 1-23-16,0 1 22 0,0 0-25 0,0 2 6 16,0 0-34-16,4 0 2 0,-2 1 9 15,3 0-17 1,0-1 19-16,0 0-26 0,5 1-5 0,-2-3-2 0,5-2 74 15,-2 1-11-15,1-2 11 0,0-2-18 0,-1-1-11 16,3-1 16-16,-5-1 21 0,4-1-75 0,-2-2 31 16,-2-1 0-16,-4-1 12 15,1 0-14-15,-2 0 7 0,-1-1 31 0,-2 0-42 0,-1 2 17 16,-2 0-27-16,-4-1-2 0,0 1 5 0,-1 1-18 16,-3-1-7-16,-1 2-8 0,1 0-18 15,-3 0-52-15,2 3-30 0,1-1-2 0,0 1-21 16,2 1-46-16,2 0-46 0,6 0-21 0,-14 0-54 15,14 0-101-15,-3 1-121 0,3-1-446 0,0 0 126 16,0 0 74-16,26-7 11 0,-13 1 83 16</inkml:trace>
  <inkml:trace contextRef="#ctx0" brushRef="#br0" timeOffset="118024.37">21776 12304 1082 0,'-2'8'389'0,"0"1"-5"15,-4 1 44-15,-2 4-34 0,0 2-13 0,-2 2-40 0,3 1-44 16,-3 0 15 0,2 1-123-16,0-1-15 0,3-1 1 0,0-1-27 0,2-3 6 0,3 0-32 15,2 1-12-15,1-2 16 0,5-1-29 16,0 0-2-16,7-3 10 0,5 1-21 0,4-3-22 0,4-1-49 16,3-3-24-16,0-2-30 0,2-1 5 15,3-1-76-15,7-1-44 16,-4-2-41-16,-7 3-87 0,-3-1-123 0,-6-1-492 15,-5 3 77-15,-4 0 80 16,-5 0 20-16,-1 3 100 0,-3-1 51 0</inkml:trace>
  <inkml:trace contextRef="#ctx0" brushRef="#br0" timeOffset="118584.32">20122 13348 993 0,'0'0'494'0,"-1"-6"-49"0,1 6-28 16,-1-3-15-16,1 3-28 15,0 0-31-15,0 0-15 0,-5 11-16 0,3-3-18 0,2 2-53 16,-4 3 22-16,0 0-58 0,1 4-15 15,-2 1-14-15,2 1-9 0,-2 3-32 16,0-3-22-16,0 0-47 0,0-1-60 0,2 1-12 16,0-3-63-16,1 0-33 0,0-3-13 0,2-2-85 15,2-1-117-15,-2 0-126 0,5-1-550 16,-2-5 138-16,2-2 77 0,4-1 102 0,-1-2 87 16,1-3 34-16</inkml:trace>
  <inkml:trace contextRef="#ctx0" brushRef="#br0" timeOffset="118863.97">20263 13459 1090 0,'0'0'325'16,"0"0"-15"-16,-5 18-44 0,5-10-10 0,0-1-33 15,0 1 7-15,3 2-41 0,0 1-2 16,1 0-28-16,2-3-5 0,-1 0-16 0,0-3-64 16,5 2 0-16,-2-2 21 0,2-3 7 0,0 1 16 15,-2-4 5-15,2-1 2 0,1 0-2 16,-4-3 13-16,3 0 2 0,-2-2 28 0,-2 0-27 15,-2-2 78-15,-2 2-25 0,-2-1-10 0,-4-1-28 16,0 0-11-16,-5 0 13 16,2 1-31-16,-4 0-14 0,-2 1 1 0,0 2-145 0,1 0-8 15,-1 2-36-15,0-1-28 0,-2 2-30 0,4 2-19 16,-1 0-35-16,1 0-42 16,4 2-114-16,1 0-147 0,2 2-440 15,2-1 106-15,2 2 76 0,2 0 51 0,5-1 46 0,0-1 64 16</inkml:trace>
  <inkml:trace contextRef="#ctx0" brushRef="#br0" timeOffset="119749.99">21299 13332 1046 0,'0'0'420'0,"-3"13"-46"0,1-4-21 15,-3 1-15-15,4 3-33 0,-5 2-34 0,2 3-48 16,-2 3 12-16,-2 2-25 0,0-1-13 0,-1 9-48 16,-3-4-37-16,2-5-50 15,0-1-27-15,-3 8-65 0,0-5-180 0,4-4-177 16,-3-2-488-16,5-4 148 0,1 2 59 0,2-6 56 16,0-1 116-16</inkml:trace>
  <inkml:trace contextRef="#ctx0" brushRef="#br0" timeOffset="119933.66">21351 13566 1200 0,'0'0'415'16,"2"-4"-52"-16,-2 4-51 0,0-3-30 0,0 3-82 0,0 0-29 0,0 0-97 15,0-4-120-15,0 4-189 0,0 0-543 16,0 0 117-16,0 0 19 0,0 0 68 0</inkml:trace>
  <inkml:trace contextRef="#ctx0" brushRef="#br0" timeOffset="120245.34">21648 13360 857 0,'-11'4'376'0,"-1"-1"-58"0,4 1-6 0,0 0-48 16,3-1-26-16,0 1-5 0,3 0-34 0,2-1-7 16,-1 2-25-16,1-1-16 0,1 3 0 0,1-1-23 15,3-1 5-15,-2 2-26 0,3-1 21 16,-2 0-20-16,2 2 4 0,1-1 4 15,-4 0-1-15,3 0-3 0,-2 1 16 0,0 0 21 0,-3-1-67 16,-1 1-21-16,0 1 18 0,0-1-17 16,-1 1-1-16,-6 1 11 0,2 0-16 15,-5 1 67-15,-2-1 3 0,1 3-34 16,-2-3-44-16,0 1-2 0,1-1-51 0,-1 0-54 16,1-2-20-16,0 0-33 0,2-1-83 0,2-2-253 15,1 0-489-15,4-1 85 0,0-3 69 0,3-1 89 16,0 0 100-16,0 0 46 15</inkml:trace>
  <inkml:trace contextRef="#ctx0" brushRef="#br0" timeOffset="120499.89">21972 13350 1057 0,'-11'10'483'0,"5"-5"-45"0,-2 3-95 0,-4 3-28 0,0 2-8 0,-4 1-28 15,1 2-13-15,3-1-30 0,-2-1-31 0,4-3 5 16,2 4-26-16,0-3-36 0,5-1-2 0,-1 1 10 16,4-2-46-16,0-1-20 0,0 0-16 15,4-2 6-15,-1 1-39 0,5-2-49 0,0 1-36 16,0-3-27-16,2-2-29 0,0 1-23 0,-2-2-56 16,2-1-80-16,1 0-86 0,-1-1-165 15,0-2-252-15,0 1-22 0,-3-2 114 16,4-1 71-16,-1 1 12 0</inkml:trace>
  <inkml:trace contextRef="#ctx0" brushRef="#br0" timeOffset="120957.27">22096 13442 1095 0,'0'0'466'0,"0"0"-113"0,0 0-35 16,0 0-14-16,0 0-38 0,0 0-22 0,6 14-32 0,-6-9-5 15,2 3-10-15,-4-1-20 16,2 2 5-16,-3-2-54 0,3 1 30 0,0-1-47 16,-1 0 9-16,1-2-20 0,-4 0 17 0,4 0 11 15,0 0 11-15,0-2 58 0,0-3-28 16,0 0-6-16,0 0 1 0,0 0-2 0,0 0-73 15,8-12 8-15,-3 3-43 0,2-2-28 0,-2-3-47 16,3 0 3-16,4 0-28 0,-4 0-15 16,1 0-16-16,1 1-28 0,0 0-41 15,0 2-100-15,-2 1-245 0,0 1-418 16,-1 3-2-16,1-1 182 0,-2 1 9 0,3 3 68 0,-1 0 68 16</inkml:trace>
  <inkml:trace contextRef="#ctx0" brushRef="#br0" timeOffset="121090.07">22476 13384 1190 0,'0'0'443'15,"5"-2"-3"-15,-5 2-110 0,5-5-61 0,-5 5-57 0,0-4-104 0,0 4-185 0,0 0-706 16,-5-6 94-16,5 6 47 0,-5-1 50 16</inkml:trace>
  <inkml:trace contextRef="#ctx0" brushRef="#br0" timeOffset="135629.04">9549 12430 1159 0,'0'-2'443'0,"0"2"-13"16,0-6-31-16,0 6 65 0,0-5-27 0,0 5-32 0,0 0-14 16,0 0-40-16,0 0-72 0,0 0-44 0,0 0-17 15,-13 13-29-15,8-4 1 0,0 0-11 0,2 2-33 16,-4 1-13-16,2-2 0 15,-3 5-15-15,0-1-8 0,3 0-28 0,-2 0-3 0,-1 3-15 16,0-2-33-16,0-1-31 0,1 1-8 16,1-1-35-16,-1-2-34 0,2 0-36 0,-1-2-33 15,1-2-33-15,3 2-46 0,-3-3-18 32,2 0-62-32,1-2-112 0,-4-1-67 0,6 1-432 0,0-2 58 0,0-3 103 0,3 4 90 15,-3-4 61-15,7 1 61 0</inkml:trace>
  <inkml:trace contextRef="#ctx0" brushRef="#br0" timeOffset="135800.75">9546 12649 1507 0,'0'0'461'16,"0"0"-36"-16,3-3-31 0,-3 3-36 0,0 0-50 15,5-1-65-15,-5 1-28 0,0 0-64 0,0 0-41 16,0 0-74-16,3-3-54 0,-3 3-121 15,0 0-201-15,5-2-540 0,-5 2 178 0,0 0-17 16,7-3 58-16,-1 2 101 31</inkml:trace>
  <inkml:trace contextRef="#ctx0" brushRef="#br0" timeOffset="136102.29">9972 12463 1464 0,'0'0'407'0,"0"0"-26"0,-10 11-35 0,2-5-24 0,-2 1 44 0,-3 3-46 0,-3 3 5 0,-2 0-48 16,1 2-93-16,-1-1-7 0,-2 1-34 0,2 0 0 15,2 0 6-15,1-1-16 0,2-3-26 16,0 1 16-16,2-2-23 16,4-1 15-16,-3 0-20 0,5 0-8 0,-1-2-10 0,4-1 12 0,-1 1-17 15,1-2-16-15,2 0 11 0,2 0 7 0,1 0-23 16,2-1-15-16,2 0 15 0,1-1-5 15,5 0-7-15,0-1-19 0,0-1-22 0,2 1-24 16,1-2-28-16,2 0-30 16,0 0-16-16,-3 0-33 15,1 0-3-15,-4 0-30 0,1 0-34 0,0 0-15 0,-3-2-138 0,-3 1-141 16,4-2-438-16,-4 3 80 0,1-3 79 0,-3 1 100 16,-1-1 79-16,0-2 69 0</inkml:trace>
  <inkml:trace contextRef="#ctx0" brushRef="#br0" timeOffset="136375.81">9954 12518 1384 0,'0'0'428'0,"-12"4"-19"0,8-1 83 0,0 3-34 16,-2 1-64 0,1 1 5-16,-2 2-104 0,-1 4-34 0,3 1-36 0,-1 0-25 0,-1 2-11 15,2 0-7-15,0-1-8 0,-3 6-13 0,0-2-15 16,1 2-15-16,-1-1-29 0,1-3-17 15,1-2-24-15,-2 1-20 0,3-1-44 0,-2 0-25 16,4-4-51-16,-2 0-23 0,2-1-37 0,1-3-50 16,-1 0-36-16,1-1-70 0,2-3-153 0,0 0-509 15,2-2 94-15,-2-2 78 16,0 0 91-16,0 0 72 0,18-8 66 0</inkml:trace>
  <inkml:trace contextRef="#ctx0" brushRef="#br0" timeOffset="136678.84">10215 12478 1059 0,'0'0'394'15,"0"0"-40"-15,0 0-14 0,-17 8-20 0,9-2-23 0,-2 1-26 0,-1-1 6 0,-2 3-32 0,-1 1-45 0,3-1-23 0,-2 0 10 0,3-1 74 0,2 1-26 0,1-1-43 16,1 0 15-16,2 0-25 0,3-1-38 15,1-1 7-15,0 2-23 0,3-1-26 16,2-1-15-16,0 0 8 0,0 1-26 0,1-1-5 16,3 0 10-16,-1 1 0 0,0 1-2 0,-1-3 10 15,1 1-23-15,-2 0 20 0,-1 0 18 16,0 1-20-16,-2-1 10 0,1 1 0 16,-1-1-5-16,-6 2-8 0,1 1 6 0,-1-2-14 0,-5 3-15 15,-4 0-33-15,-1 2-13 0,-3-3-20 16,-2 1-49-16,1 0-2 15,1-2-37-15,-2-2-48 0,0-1-13 0,5-1-56 16,1-2-66-16,-1 0-160 0,5-2-596 0,-2-3 95 0,0 2 105 16,4-2 123-16,-1 1 38 0,2-2 100 0,3 4 25 15</inkml:trace>
  <inkml:trace contextRef="#ctx0" brushRef="#br0" timeOffset="137781.67">10562 12536 1151 0,'0'0'392'0,"0"0"-18"0,0 0-47 0,-6 19-107 0,2-9 3 0,1 2-23 15,-5 4-3-15,-2-1-31 0,2 3 3 0,-4 1 3 16,1 0-29-16,1-1-5 0,2 1 16 16,-5-1 38-16,3-3 0 0,0 0-3 0,3-2-27 15,-4 0-27-15,3-2 6 0,0-1-23 16,1-1-1-16,2-2-17 0,0-1-31 0,0 0-7 16,2-1-21-16,0 0-23 0,-1-1 7 0,3-1-53 15,-1-1-38-15,2-2 2 0,0 0-29 16,7 3-40-16,-7-3-20 0,0 0-106 15,13-4-81-15,-13 4-129 0,15-2-416 0,-4-2 71 0,4 1 118 16,-2-1 15-16,5-3 89 0</inkml:trace>
  <inkml:trace contextRef="#ctx0" brushRef="#br0" timeOffset="138120.9">10787 12650 1164 0,'0'0'315'0,"0"0"-3"0,0 0-48 15,-23 11-21 1,15-4 3-16,-2-1-26 0,-5 1-20 0,5 2-8 0,-4 1-11 0,2 1-14 0,-1-2-1 16,0 1-28-16,1-3-20 0,4 3 18 15,0-2-31-15,-2 0-13 0,5 0-15 0,0-3-19 16,0 0 22-16,2 0-21 0,1-1-6 16,4 0 9-16,-2-4-19 0,5 5-12 0,-5-5-36 15,10-2 18 1,-2 0 0-16,2-1 2 0,0 0 16 0,1-2-24 0,-1 2-4 0,0-2 2 15,-2 0-5-15,0 1 8 0,0 2-8 0,-3-1 13 32,2 0-1-32,-4 1-14 0,-3 2 20 0,0 0 10 0,12 5-13 0,-9-1-15 0,-2 1 21 15,-1-1-6-15,2 2-25 16,-2 0 2-16,-2 1-12 0,2-1-21 0,0 1-13 0,0 0-33 16,0-2-49-16,0 3-102 0,2-3-100 0,-4 1-120 15,6-2-374-15,-1-2 54 16,2 0 105-16,-5-2 71 0,10 0 14 0</inkml:trace>
  <inkml:trace contextRef="#ctx0" brushRef="#br0" timeOffset="138362.91">10952 12627 1062 0,'0'0'353'0,"0"0"62"0,0 0-13 0,-11 12-34 0,6-4-45 16,0 0-16-16,0 5-26 0,0-1-37 0,-3 4-4 15,3-1-20-15,-3-1-33 0,3 4 10 16,-3-1-43-16,3-1-49 0,-2 0-23 0,1 0-26 16,2-3-36-16,1-1-45 0,-2-2-37 0,4-1-32 15,1-2-52-15,0-2-128 0,0-2-84 16,6 0-528-16,-6-3 113 0,10-1 87 0,-10 1 51 16,18-8 41-16</inkml:trace>
  <inkml:trace contextRef="#ctx0" brushRef="#br0" timeOffset="138620.79">11152 12694 967 0,'0'0'351'0,"0"0"-21"0,-10-2-25 0,10 2-16 0,-14 5 44 0,7-1-21 16,-6 1-8-16,2 1-30 0,-3 3-2 0,-2-2-9 0,1 1-27 16,-1 3-6-16,3-2-7 0,-2 1 5 15,0-1-11-15,4 0-22 0,1-1-6 0,0 0-10 16,2 2-28-16,3-2-5 0,-2 2-23 15,1-4 0-15,4 2-5 0,-1-2-13 0,3 2-13 16,0-3 0-16,0 1-18 0,5 1-23 0,1-1-25 16,-2-2-18-16,4-2-29 0,0 2-25 15,2-3-13-15,1 1-28 0,-1-4-33 0,2 1-29 16,-1 0-4-16,1-2-49 0,2 0-52 16,-4 0-102-1,0-1-158-15,3 2-451 0,-3-3 69 0,2 0 121 0,-2 2 109 0,-2-2 26 0,1 2 67 16</inkml:trace>
  <inkml:trace contextRef="#ctx0" brushRef="#br0" timeOffset="138954.67">11290 12657 1290 0,'0'0'501'15,"-10"12"-30"-15,5-6-43 0,2 2-47 0,-2 1-7 0,0 2-57 0,-1-1-2 0,2 1-26 16,-2 1-48-16,1-2 2 0,0 1 18 16,0-1-28-16,2-2-46 0,-2-2-13 0,3 2 3 0,-1-1-24 15,0-3-12-15,1 3-41 0,0-3 15 16,2 0 8-16,0 0-5 0,2 0-24 0,0-2 6 16,-1 2-26-16,4-3 6 15,-5-1 7-15,7 5 8 0,1-2-34 0,-3-1-18 0,2 0 11 16,1 2-18-16,0-2-3 0,0 1-53 15,0 0 15-15,-3-1-64 0,3-2-29 0,-1 3-12 16,-2-1-46-16,1 0 3 0,-2-1-14 31,2 1-30-31,-6-2-26 0,5 4-20 0,-3-2-84 0,-2-2-137 0,3 4-503 0,-6 0 53 0,3-4 100 16,-7 5 54-16,1-3 69 0,-4 1 89 0</inkml:trace>
  <inkml:trace contextRef="#ctx0" brushRef="#br0" timeOffset="139246.04">10093 13001 1223 0,'-11'3'420'0,"2"-2"-13"16,5 1-31-16,4 0-30 15,0-2-98-15,8 5 10 0,2-2-50 0,1 1-11 16,6-1-5-16,6-1-10 0,8 2 25 0,18-2-10 0,2 2-15 15,6-3-11-15,14 2-15 0,-1 0-15 0,-11-2-44 16,2 1 3-16,-4 0-23 16,-1-1-33-16,0 0-52 0,-7 1-30 0,-10-1-14 0,-6 0-47 15,-7 0-22-15,-5-1-45 0,-1 1-42 16,-5 0-60-16,0 0-37 0,-4-2-58 16,-6 4-441-16,0-1 18 0,-5-2 95 0,-2 5 56 15,2-5 72-15</inkml:trace>
  <inkml:trace contextRef="#ctx0" brushRef="#br0" timeOffset="139503.04">9821 13204 831 0,'-21'0'407'0,"8"2"-2"0,6 0-29 0,2 0-20 0,3 2-21 0,2-4-12 0,9 5-29 0,4-1-17 16,7-1-27-16,7 0-14 0,6 0-8 0,15 1-39 0,4-1-5 15,7 0-10-15,2-3-38 0,13 0-21 16,1-1 13-16,4-2-15 0,-2 1-21 16,-3-2-10-1,-6-2-31-15,-15 3-35 0,-2-3-6 0,-2 3-18 0,-3-2-38 0,-15 0-28 0,-6 1 0 16,-7 1-26-16,-2-2-18 16,-3 0-54-16,-1 1-66 15,-6-2-79-15,-3-2-95 0,-1 2-443 0,-5 0 13 0,-2-2 110 0,-5-2 102 0,-8-4 75 16</inkml:trace>
  <inkml:trace contextRef="#ctx0" brushRef="#br0" timeOffset="139858.73">9649 12127 1244 0,'15'0'355'0,"8"0"6"0,13 1-33 0,18 1-39 0,18 0 18 16,0 5-25-16,5-2-39 0,8 0-8 0,1 1-40 15,4 2-21-15,0 0-2 0,-1 0-27 0,-4-1-27 16,-3 1-5-16,-2-2-52 16,-3 3-22-16,-8-4-32 0,-13 0-17 0,-5 0-28 15,-2 0-13-15,-3-2-47 0,-13 1-40 0,-6-2-5 16,-7 0 15-16,-5-1-69 0,-5 1-59 16,-2-1-11-16,-5-2-55 0,0 2-382 0,-3-1-23 0,-14 4 118 15,0-2 74-15</inkml:trace>
  <inkml:trace contextRef="#ctx0" brushRef="#br0" timeOffset="140090.04">9864 12392 1057 0,'-25'4'340'0,"9"-2"-63"0,6 2 9 0,2-2-7 0,6 0-25 16,4 3 4-16,6-3-22 15,7 1-16-15,9 0 0 0,6 0-51 0,19-1-16 0,3-1-9 16,4 1-24-16,5-2 59 0,13-2-2 15,1 4-47-15,2-2-2 0,2-2-33 16,-4 1-44-16,-13 1-40 0,1-1-37 0,-4 1-56 16,0-1-125-16,-2 0-180 0,1 1-516 15,-1-2 96-15,2 0 96 0,0 2 40 0,15-4 146 16</inkml:trace>
  <inkml:trace contextRef="#ctx0" brushRef="#br0" timeOffset="141346.28">22347 11209 1236 0,'17'-6'476'0,"0"3"-46"0,4 3-18 15,-1 0-41-15,3 4-38 0,5 3-16 16,6 6-9-16,-1 1-111 0,-1 8 0 16,-5 2 5-16,-4 4 90 0,-6 6-3 0,-6 5-94 15,-5 6-3-15,-6 6-6 0,-9 12-12 16,-8 4-30-16,-7 0 7 0,-6 0-3 0,-7 15-25 0,4-17-33 15,3-2-8-15,1-7-36 0,1-3 15 0,8-6 6 16,5-9-14 0,3-3-9-16,5-8 5 15,3-3-29-15,4-4-10 0,0-5-17 0,2 0-6 16,1-4 8-16,4-3 7 0,0-3-27 0,1-4 30 16,3-2-23-16,5-4 28 0,2-1-12 0,5-5 19 0,1 1-45 0,-2-1 16 15,1 0 1-15,-1 2 9 0,-6 3 22 16,-1 2 21-16,-4 3-2 0,2 3 14 0,-1 7-9 15,-1 8 4-15,-3 6 14 0,2 15-6 16,-6 6 11-16,-3 5-21 0,-2 19 0 0,-3 3-5 0,-4 4 2 16,0 3-12-16,0-3 33 0,-2 2-36 15,0-1 8-15,5 1-13 0,-5-3 8 0,2 2-24 16,4-3 6-16,-2-1 0 16,-2 0 13-16,3-5-11 0,2-1-20 15,-2-6 23 1,0-11-8-16,0-3-5 0,-3-1 16 0,0-5-16 0,-2-1-23 0,-3-3 20 0,-3-3-14 0,-6-2-9 0,1-2 19 15,-2-5-47-15,-5-3 3 0,5-9-10 16,0-1-49-16,6-4-52 16,-4-3-17-16,5-3-53 0,-2-2-24 0,3-5-23 0,-1-5-51 15,2-4-131 1,3-4-58-16,5-5-518 0,-6-15 159 0,7-7 52 0,4-5 114 0,1-17 106 0,4 0 14 16</inkml:trace>
  <inkml:trace contextRef="#ctx0" brushRef="#br0" timeOffset="142728.31">23096 11977 1254 0,'-5'3'373'0,"5"-3"-119"0,-5 2 2 15,5-2-26-15,0 0-28 0,0 0-17 16,0 0-1-16,12 4-28 0,-12-4-5 0,14-2-7 0,-4-2-27 16,1-2-2-16,3 1 3 15,0-3-28-15,-1-1-6 0,1-1 1 0,0-2-16 16,-1 1-15-16,-1-1 4 0,0 3-9 0,-6-1 7 15,2 1 14-15,-3-1-9 0,1 3 13 16,-5 1-23-16,0 1 31 0,-1 2-31 0,0 3 16 16,-8-4-13-16,8 4-11 0,-10 2 19 15,2 1-24-15,1 2 3 0,-2 1 21 0,0 1-32 16,-1 0 73-16,1 0 12 0,1 3-13 0,1-2-17 16,0 0-6-16,1 3-18 0,2-3-4 0,1 1-11 15,0-1 8-15,2 1-16 16,1-1 11-16,1-1-11 0,2 0-30 15,0-1-3-15,-1 1-5 0,3-1-36 0,-2-1 26 16,1 0-6-16,-1-3 19 0,0 3 17 0,1-2-22 16,-2 0-11-16,-2-3 21 0,2 3-13 0,-2 2-6 15,0-5 9-15,-6 7 10 0,1-2 17 0,-2 1-25 16,-1 1 0-16,-1-1 26 0,0 1-16 16,0 0-8-16,-3 2 19 15,4-3 7-15,1 2-15 0,-1-1-3 0,0 0-12 0,3-2 27 16,-2 1-7-16,4-1-20 0,0-2 27 0,1 4-9 15,0-3 9-15,4 0-10 0,0 0 1 0,1 1-1 16,4-1-15-16,-1-3-25 0,-1 1-9 16,5-1-4-16,-2 1-34 0,2-3-25 15,2 2-49-15,-3-3-18 0,1 0-74 16,3 1-159-16,0-1-230 0,1-2-258 0,-3 0 22 16,3-1 144-16,-2-2 64 0,0 0 143 0,-2 1-46 15</inkml:trace>
  <inkml:trace contextRef="#ctx0" brushRef="#br0" timeOffset="143260.87">22865 11504 1185 0,'7'-4'350'0,"2"2"-19"0,0-2-60 0,3 2 5 0,1-3-38 0,2 2-41 0,-2 0-23 16,5-2-10-16,2-2-49 0,-5 6-25 0,3-5-72 16,1 1-82-16,-4-2-79 0,2 2-111 15,-4 1-381-15,1 0-68 0,-4-2 73 0,0 5 62 16</inkml:trace>
  <inkml:trace contextRef="#ctx0" brushRef="#br0" timeOffset="143477.54">23157 11377 934 0,'4'-3'371'0,"1"2"-33"0,1-2-21 16,-2 2-28-16,4 1-25 0,2 0-16 15,-2 3-91-15,-1 0 11 0,3 0-37 0,-2 1 23 16,2 1-29-16,-2 2 11 0,0 0-24 15,-3-1-12-15,2 4 0 0,0-2 61 0,-5 2-23 16,0-1-10-16,-2 0 0 0,0 0-15 0,0 3-13 16,-3-1-18-16,-2 1-28 0,1 0-16 15,-2-2-33-15,1 1-38 0,-1-2-16 0,-1 1-48 16,2-1-44-16,3 0-92 0,0-3-110 16,-2 2-537-16,4-3 135 0,0-3-15 0,3 2 181 15,-3-4 1-15</inkml:trace>
  <inkml:trace contextRef="#ctx0" brushRef="#br0" timeOffset="144198.47">23572 11342 995 0,'-8'0'325'0,"8"0"-25"0,0 0-3 0,-16 6-34 0,13-1 78 0,-3 1-47 16,-2 0-33-16,1 3-28 0,0-1-20 15,2 1-1-15,-1 1-35 0,-1 1-21 0,2-1 10 16,3 2-56-16,-2-2 0 0,2-1-28 16,2 0-31-16,0 1-12 0,0-1-16 0,6-3-46 0,-2 1-39 15,4 1-35-15,0-4-72 0,3 2-92 16,1-3-67-16,0-3-45 0,5 0-272 16,0 0-67-16,1-3 26 0,2-3 149 0,1 6 17 15,0-6 517-15,-4-1 80 0,1 1 67 0,-5 3 71 16,-3 0 18-1,1 0-8-15,-4-1 3 0,-1 4-85 16,-4-1 23-16,-2 1 8 0,0 0 95 0,0 0-44 0,0 0-17 0,4 8-4 16,-4-8-42-16,-2 6 7 0,0-2-29 0,4-1-4 15,-2 3 0-15,3-2-24 0,-3-2-2 0,5 3 1 16,-2-3-6-16,5 0-21 16,0 0 0-16,1-2-7 0,0 0-54 15,3-1-12-15,0-3 12 0,2 1 0 0,-4-2 7 0,0 1 14 16,1-2 7-16,-1 2 5 0,-5-2-12 15,1 1 22-15,-2 0-20 16,-2 0 21-16,0 0-23 0,-4 1-1 0,0-1 1 0,0 2-14 0,-4 0-14 16,4-1 17-16,-2 2-25 0,-2-1 15 15,3 1-46-15,3 2-13 0,-6-2-26 0,6 2-40 16,0 0-11-16,-7-1-38 0,7 1-33 0,0 0-85 16,0 0-20-16,0 0-46 0,0 0-159 15,21 3-218-15,-21-3 366 16,13 0 188-16,-5 0 78 0,-1 0 70 0,0 0 3 0,-7 0 32 0,13 4 52 15,-5-3 41-15,0 1 25 0,-3 1 0 16,0-1 31 0,0 0 26-16,2 1-18 0,-3-1-26 0,1 2 31 0,1-3 15 0,-2-1-31 15,2 4-63-15,-2-4-16 16,-4 0 31-16,12 0 0 0,-12 0-18 0,14-4 10 0,-7 3 62 16,-1-3-1-16,2 2-4 0,-1-4-8 0,0 1-11 15,-1 1-22-15,-1-2-21 0,-2 0 23 16,1-1-41-16,-3 2-13 0,1-1 3 0,1 0-28 15,-3 1-39-15,0 0 14 0,0 5-47 16,-5-7-41-16,0 6 2 0,5 1-37 0,-11 0-37 0,11 0-35 16,-15 7-100-16,7-1-93 15,-12 5-142-15,7-2-354 0,-3 8 41 16,-7 7 166-16,-1 3 29 0,-5 2 68 0</inkml:trace>
  <inkml:trace contextRef="#ctx0" brushRef="#br0" timeOffset="144587.78">22802 12449 1128 0,'0'0'384'0,"0"0"-33"0,-3 3-16 0,3-3 44 15,0 0-15-15,0 0-39 16,20 2-8-16,-7-1-56 0,3 1-18 0,8 0 11 0,3 0-75 15,6-1 0-15,13 2-15 0,0-1-44 0,2 2-2 16,-3-2-39-16,-5 1-2 0,-9-2-69 16,0 0-41-16,-5 1-65 0,-3-1-112 0,-3-1-194 15,-2 3-538-15,-2-6 131 0,-5 6-6 0,1-6 223 16,-2 3 8-16,-4 0 46 16</inkml:trace>
  <inkml:trace contextRef="#ctx0" brushRef="#br0" timeOffset="144823.28">23399 12398 1190 0,'0'0'376'0,"0"0"-7"0,0 0-31 0,8 11 35 0,-6-6-25 0,-2 3-35 16,3 0 1-16,-1 2-60 0,-2 2-3 0,-2-1-11 15,-1 3-25 1,0 4-41-16,-4-2 0 0,-1 2-23 0,-5 2-58 0,3 1-32 0,-1-1-56 15,-3-2-38-15,3 1-85 0,1-4-179 0,2 0-670 16,3-3 122-16,0-1 34 0,0-3 158 0,4-2 36 16,1-2 64-16</inkml:trace>
  <inkml:trace contextRef="#ctx0" brushRef="#br0" timeOffset="145163">23853 12448 875 0,'-8'9'438'0,"0"1"-34"0,3-2-43 16,-2-2-15-16,4 2-19 0,-2-1-35 15,4 0-62-15,-3 0-4 0,4 1-14 0,-3-2-40 16,3 2-21-16,0-2 10 0,0 0-125 0,3 2 5 16,1-4-34-16,-3 1-20 0,5-1-25 15,1-2-46-15,0 1-29 0,-1-2-48 0,4-1-77 16,2-2-100-16,-1-2-26 0,-3 0-58 0,7-3-246 15,2-1-26-15,-1-1 126 16,2-4 13-16</inkml:trace>
  <inkml:trace contextRef="#ctx0" brushRef="#br0" timeOffset="145303.29">24091 12421 749 0,'3'-4'267'0,"1"1"-4"0,-4 2 6 16,0 1 51-16,0 0 5 0,0 0-30 0,0 0-9 16,-6 11 1-16,4-7 12 0,-4 3-102 15,3 1-15-15,-4 2-33 0,1 0-6 0,3 0-18 16,-4 2-17-16,2 0-13 0,-1 1 7 15,-1 0 3-15,2 0-31 0,2-1-46 0,-2 1-30 16,0-1-65-16,0 0 3 0,2-1-69 0,-2 0-182 16,3-1-506-16,-1-1-27 15,1-1 124-15,-1-4 64 0,2 0 50 0</inkml:trace>
  <inkml:trace contextRef="#ctx0" brushRef="#br0" timeOffset="145834.78">24057 12448 931 0,'4'-4'451'0,"1"1"-80"0,1-1-43 0,0 3 2 0,2-3-46 0,2 2-44 16,-2 0-17-16,0 1-51 0,-3 1-11 15,3-2-23-15,-2 5-28 0,-4-1-15 0,0 2-21 0,-2-4-23 16,-2 7-7-16,1-2 10 15,-4 1 2 1,2-1-23-16,-4 1 11 0,2 0 4 0,-2 2 6 0,1-4-21 0,1 4 11 0,-1-3 30 16,1 0 5-16,0-1-20 15,1 1 5-15,1-2-5 0,-2 1-10 0,4 0 7 0,-1-2-5 16,2-2-7-16,-2 3 28 0,2-3-11 0,0 0-58 16,5 4 30-16,-5-4-20 15,10-1 10-15,-10 1 7 0,15-3-12 0,-8 2-7 0,0 0-19 16,0-2 5-16,4 3 29 0,-3 0-29 15,1 0 8-15,0 2-5 0,-1-1 0 0,1 1 8 16,-1-1-16-16,1 3 26 0,-1-1-13 0,-1 2 3 31,1-1-18-31,0-1 18 0,0 2 4 0,-1-1-17 0,4-1 23 0,-2 0 10 16,0-1 21-16,-1 0-23 0,0-2 17 16,2 0 36-16,-2-1-20 0,2 0 0 0,-3-4 18 15,3 5-80-15,-2-3 9 0,-2-1 34 0,0-1-11 16,-5 1 12-16,2-1-6 0,-3 0 14 0,0 0-28 15,-4-1-14-15,-2 2-32 0,-2-1-11 0,-1 0-33 16,-3 0-16-16,-2 3-50 16,-2-1-29-1,0 0-105-15,1 3-187 0,-1 0-445 0,1 4 18 0,-5 0 138 0,2 4 75 0,-6 2 71 16,-7 4 54-16</inkml:trace>
  <inkml:trace contextRef="#ctx0" brushRef="#br0" timeOffset="146277.68">22686 13636 793 0,'0'0'330'15,"0"0"-18"-15,0 0-25 0,0 0 2 0,0 0 31 16,0 0-20-16,23-2-57 16,-13 3 16-16,4-2-37 0,1 0-32 0,3 1-24 0,2-2-7 15,3 1-16-15,1-2-53 0,4 2-42 16,-1-2-58-16,2 2-110 0,1-2-193 0,-3 0-544 15,-2 0 176-15,-5 1-23 0,1 0 95 0,-4-1 125 16</inkml:trace>
  <inkml:trace contextRef="#ctx0" brushRef="#br0" timeOffset="146518.34">23080 13531 1174 0,'0'0'315'16,"0"0"-23"-16,19 8 5 0,-11-5-23 16,0 3-26-16,2 1-12 0,0-1 84 0,-2 1-39 15,2 0-17-15,-2 2-3 0,-1-1-31 16,-1 2-33-16,-2-1-15 0,-1 0-97 0,0 1 20 16,-3-1-21-16,0-1-7 15,-3 2-26-15,0 0-61 0,-1 0-13 0,1-1-62 0,-2-3-40 16,0 4-80-16,5-3-210 0,-3-1-457 15,2-3 45-15,1 0 143 0,0-3 62 0,0 0 95 16,0 0 7-16</inkml:trace>
  <inkml:trace contextRef="#ctx0" brushRef="#br0" timeOffset="146944.9">23872 13496 1415 0,'-14'11'433'0,"6"-1"-83"16,-2-1-20-16,2 1-30 0,0-2-90 16,0 0-16-16,1 1 11 0,2 1-44 0,-1-1-33 0,0-1 0 15,5 0 16-15,-4-1-57 16,3 1 18-16,2-2-21 0,0 0-7 0,2-1-8 15,2 0-2-15,0-1-29 0,1-1-12 0,2 1-37 16,1-2-19-16,2-1-39 0,1 0-67 16,-1-1-87-16,2-1-122 0,-3-1-9 0,6 0-403 15,-2-2-1-15,-1-1 159 0,1-1-43 16,3-1 109-16</inkml:trace>
  <inkml:trace contextRef="#ctx0" brushRef="#br0" timeOffset="147161.93">24057 13508 1174 0,'1'-2'428'0,"-1"2"-65"15,3-3-32-15,-3 3-96 0,0 0-2 0,0 0-31 16,0 0-10-16,0 0 15 0,0 0-48 16,-4 14-3-16,2-8-12 0,0 2-6 0,-1 0-18 15,2 1-10-15,-3 2-12 0,4-2 14 0,-2 3-17 16,-1-1 0-16,3-2-11 16,-1 2-10-16,-1-2 54 0,0-1 0 0,4 1-46 15,-2 0-36-15,2-1-33 0,-1-2-13 0,2 1-33 0,-3-1-18 16,4-3-152-16,-1 0-114 0,-3-3-75 15,7 3-521-15,-3-3 145 0,-4 0 15 0,7 0 103 16,-7 0 94-16,6-5 57 16</inkml:trace>
  <inkml:trace contextRef="#ctx0" brushRef="#br0" timeOffset="147645.23">24017 13645 701 0,'-10'1'264'16,"10"-1"55"-16,-5 1-11 0,5-1-27 0,0 0-27 15,0 0-19-15,0 0-35 0,0 0-3 16,0 0-21-16,0 0-42 0,17-7-6 0,-11 3 2 16,2 0-30-16,2-2-23 15,0 0-16-15,1-2 16 0,-1 0-11 0,0 2 1 0,-2-2-13 16,2 0 2-16,-3 1-7 0,0 0 10 0,-1 0-16 16,-1 2 8-1,1 0-15-15,-4 2-13 0,3-3 8 0,0 4-3 0,-1-2 0 0,-3 2-41 16,2-1-45-16,1 0-22 0,-4 3-45 15,4-5-52-15,-2 3-12 0,-2 2-98 0,8-4-28 16,-5 1-66-16,-1-1 28 0,5 3 97 0,-4-2 25 16,3 1 83-16,0-2 107 0,-2 3 64 15,1-1 13-15,0 0 33 0,-1 0 51 0,-4 2 36 16,6-1-18-16,-6 1 37 0,0 0-22 16,7 5-10-16,-4-2-2 0,-2 1-18 15,1-1-23-15,-2 2-10 0,4 0 4 16,-3-1-17-16,-1 2 2 0,3 1 3 0,1-2-23 15,-1 1 8-15,4 0-11 0,-3-1 13 0,1-1 3 16,1 0-1-16,0-2 9 0,0 0 20 0,2-2-6 16,-2 0 1-16,1-3 20 0,-3 2 31 15,4-2-5 1,0 0-18-16,-1 0 10 0,-2-3-97 0,-2 1 28 0,2-1 2 0,-1 2-27 16,-3-2-11-16,-1 1-5 0,0-1-3 0,-3 1-35 15,-1-2-39-15,0 2-38 0,-3-2-33 0,-2 0-85 16,-2 1-230-16,3 0-344 15,-2-1-43 1,0 1 121-16,0-1 133 0,-3-3-3 0,5 1 54 0</inkml:trace>
  <inkml:trace contextRef="#ctx0" brushRef="#br0" timeOffset="152135.7">19989 10632 1203 0,'-5'-2'373'0,"5"2"-27"0,0 0-21 0,0 0-33 16,0 0 10-16,18-1-138 0,-3 2 20 16,5 1-20-16,9 1 7 0,2-1-20 15,18 2-5-15,2 3-20 0,3-1-11 0,2 0-5 16,11 2-16-16,-11-1 42 0,10-1-49 16,2 1-5-16,-10-1 64 0,-2-1-33 0,14 1-8 15,-1 0 15-15,2-1-43 0,-14-2 2 0,0 0 3 16,2-1-28-16,0 0 2 0,-1-2 8 15,1 0-18-15,-4 0 0 0,0 0 3 16,-3 0-16-16,0 0-10 0,-6-2-10 16,4 0 5-16,-1-1-3 0,0 0 29 0,-2-1-32 0,-6-1 14 15,-2 3-26-15,-7-3 10 0,-3 2 11 0,2-1-19 16,-1-1-37-16,-2 2 45 0,-2-1-8 16,4-2-17-16,-1 0 7 0,-1-1-10 0,11-1 18 15,-1-1 3-15,-7 1-1 16,-2 3-4-16,6-5-1 0,1-1-2 15,-3 3 21-15,3-2-11 0,-8 1-16 0,-2 1 14 0,0-2-11 0,-3 1-4 16,-1-1 24-16,2-1 1 0,-1 0-26 16,-1-2 34-16,-3 0-21 0,-1 1-8 0,2-1 29 15,-2-4-9-15,-3 3-14 0,1 0 4 16,-3-3-12-16,2-1-5 16,-5-1 17-16,1 0-4 0,0-1-8 0,-2-4-1 0,-1-1 4 0,2-7-1 15,-2-4-12-15,0 2 20 0,2-1-21 0,-4-5 16 16,-2-1-36-16,1 1 31 15,0 0-16 1,-2 0 13-16,-1 1 34 0,3-2-42 0,-2 1 16 0,0-1 5 0,-1 0-10 0,-1 0 0 16,0-2-1-16,0 3-1 0,-1-1 4 15,5 9 16 1,-4 5-11-16,1 1-12 16,-2-2 17-16,2 3 3 0,0 0-25 0,0 0 17 0,-1 3 9 0,-1 0-4 0,3 2-27 15,-3-3 17-15,2 4 13 0,-2-3-8 0,0 0-4 0,2 0 7 16,-2-1-3-16,1-3-12 0,-1 0 40 0,0-2-25 15,0 3-2-15,-1-3 10 0,1 0-8 0,-2 1 7 16,0-2 9-16,2 3-29 16,-3-1 8-16,2-2 12 0,-3 4-9 0,1-2-14 15,1 0 37-15,-1 1-36 0,0 3 20 0,-1-1-8 0,-2 1 13 16,-1-1-28-16,-1 1 41 16,1 1-10-16,-3-1-13 0,-1 3 26 0,-7-9-44 15,-2 3 13-15,-1 3 25 16,1-1-15-16,-6 3-20 0,0 1-3 0,1 1 28 0,-4 0-17 15,8 4 32-15,-1 3-25 0,1-1 3 16,-9-3-21-16,3 3 26 0,-5-1-24 0,6 3 29 0,3-1-21 16,-10-1-10-16,5 2 16 0,3 3-6 15,-2 0 8-15,-11-3-7 0,-1 1-11 0,0 0 33 16,-1 0-12-16,-2 1 4 0,0-1-4 16,-3 3 10-16,4 1-13 0,-2-2-6 0,-1 0 19 0,1 1-20 15,-1 0 17 1,0 0-26-16,3 1 24 0,-2-1 13 0,4 0-21 0,0 0 5 15,5 2 0-15,2-1-3 0,-9 0 6 16,8 1-5-16,2 2-11 0,-2-2 26 0,3 1 0 16,-2 0-18-16,-1 0 0 0,0 2 0 15,-11-2-18-15,10 1 23 0,2 1-10 0,-2 1 5 0,-2-2 0 16,3 2-5-16,-13-2 0 0,7 3 2 16,3 0 8-16,1-1-20 15,-14 0 7-15,10 1 26 0,3 0-28 0,-2 0 7 0,-11-1 13 16,11 2-7-16,4 0-18 0,-14 0 17 0,9-1-17 15,8 3 10-15,-2-1 30 0,2 0-32 0,3 2 12 16,0-2 5-16,0 2-13 0,2-2 16 16,1 4 8-16,-1-1-29 0,1 0 8 15,0 1 15-15,1 1-15 0,-2 1-20 0,3-1 7 16,0-1 5-16,2 3-7 0,-2 0 5 0,0-1 23 16,5 1-16-16,-3-1 13 0,3-1 3 0,1 2-21 15,-1-1 21-15,2 0-13 0,-2-2-7 16,3 4 4-16,-1-3 3 15,1 1-5-15,0-1 20 0,2 3-20 0,-2-2 3 0,1-2 7 16,-1 4-3-16,-2-1 3 0,1-2-7 0,-2 3-1 16,3-4 6-16,-3 2 10 0,2-2-18 0,-1 1 5 15,0 0-3-15,0 2-5 16,0-3 3-16,1 0 15 16,0-2 3-16,-1 2-3 0,4-1 1 0,-3-1 9 0,1 2-2 0,0-3-5 15,-1 3-3-15,-1-1 0 0,1-2-2 0,1 2 0 16,-1 1-6-1,1-5-2-15,-1 4 8 0,4 0 7 0,-4-3-2 16,5 2 15-16,-3-2-15 0,3 4 5 0,-4-5-21 0,4 5 6 0,1-6 20 16,-2 4-5-16,2-2-8 0,-1 2 3 15,-2-3-18-15,0 1 5 0,3 1 31 0,-2 0-16 16,-4 1-28-16,3-3 39 0,0 4-19 16,-3 1 11-16,-1-4-15 15,2 2 17-15,-3-1-17 0,-1 2 2 0,1 0-5 0,-2-2 10 16,-1 2-12-16,4-1 2 0,-4-2-13 0,1 1 13 15,-3-1 0-15,2 0 13 0,-2 1 7 0,0-1-27 16,0-1 7-16,0 2 5 0,-5-2-8 16,2 0 11-16,-5-1-21 0,0 0 13 0,2 0 20 15,-5 0-4-15,3 0-14 0,-3 0-12 0,-1-2 0 16,1 2 7-16,-12-3-15 0,7 2 31 0,6-1-13 16,-3 0 3-16,1 1 7 15,1-1-15-15,-12 1 20 0,7-2-15 0,-7 2-5 0,0-2-3 16,8 0 24-16,-6-2-6 0,8 4 0 15,3-4-10-15,-11 2 5 0,6-1-15 0,-4-2 18 16,-1 3 2-16,3-4-12 16,5 3-9-16,5 0 14 0,2 0-8 0,-6-1 10 15,4 0-13-15,-13 0 3 0,6 2 13 0,6-1-8 16,-2 2-5-16,0 0 23 0,2-1-18 0,-2 1 2 16,0-2 21-16,4 2-18 0,-2 1-12 0,-2-3 17 15,5 4-10-15,-3-2 0 0,0 1-8 0,6-1 23 16,-1 1-20-16,1 1-5 0,1 0 2 0,-1-2-4 15,-1 2 4 1,3-1 8-16,-3 1 0 0,1-2 3 0,-1 2 2 0,1 0-5 16,-1 0 12-16,1 2-17 0,-1-2-2 0,0 1 12 15,0 1-18-15,0-2 36 0,3 1-18 16,-2 2 3-16,-3-1-21 0,-1 2 8 16,1-1 5-16,0 0-8 0,7 0 13 0,-7 1-10 15,5-2-66-15,-5 3-6 0,3 1 15 0,-1-1-4 0,-3-1 27 16,4 5-20-16,-3-3 24 0,2 2 6 15,-2-1-11 1,-5 4 1-16,4 0 19 0,4-1-6 0,-11 1 6 16,3 1 12-16,-1 0-2 0,3 1-8 0,4-3 23 0,-7 4 20 15,3 0-40-15,-2 2 15 0,-3 1-18 16,3 1 13-16,0 1 3 0,-4 3-24 0,1-1 34 0,3 3-8 0,2 1-13 16,-2 1-5-16,-1-1 31 0,-4 6-16 15,2 1-2-15,3-4 8 0,2-2 4 16,-7 5-4-16,7-4-6 0,3-2 1 15,-3 3-3-15,1-3-3 0,1 1 8 0,-1-1 0 0,1 2 2 16,3-2 6-16,1 0-5 0,-1 0-3 16,1 4 10-16,4 1 3 0,-2 2 2 0,0 2-10 15,3 0 21-15,-6 8-29 16,8-5 16-16,-5 0 0 0,2 7 2 0,3-7 1 0,-3 10-11 16,6-8 7-16,-5 6 4 15,4-4-3-15,2 0 7 0,0 3-10 0,1 5-2 0,-2-7 2 16,2-2 8-16,0 3-15 0,1 1 25 0,1-1-18 15,-2 1-15-15,3 9 8 16,0-8 12-16,3 1 5 0,-1 1-27 0,2 1 7 0,2-1 10 16,3 1 0-16,-1 1-20 0,4 0 18 15,-1-2 10-15,1 0-16 0,0 1 16 0,1-3-13 16,-6 3-5-16,3-1 10 0,-4 3-7 0,-2-1 0 16,-1 12 30-1,-1-4-26-15,-5 1-19 0,3-3 27 0,-1 1-10 0,-2-2-23 0,1-1 13 16,4-5 8-16,-4 5-1 0,1 1-7 15,3-9 0-15,0-1 8 0,1-1 14 0,-1 1 7 16,1-1-12-16,-1 0-9 0,3-3 2 0,-1 0 3 16,2 0-3-16,-2 0 5 0,2-3 3 15,0 2-8-15,2-1-10 16,-3 0 2-16,5-6 1 0,-5 6 4 0,3-7 1 0,1-4-1 0,1 1 6 16,0-1-11-16,1-1 14 15,1 1-19-15,0-2 3 0,4-2-3 0,-2 2 11 0,4-2 4 16,0 1-9-16,0 0 17 15,5 6-10-15,2-2 6 0,-2 1-22 16,2-1 9-16,-2-4 30 0,5 2-20 0,-5-3-11 0,5 2-5 0,2 1 34 16,-2-2-39-16,3 0 16 0,2 0 4 0,0-1-1 15,0 0 12-15,3 0-16 0,-1-2 3 0,6 2 16 16,2-2-21-16,-2-1 20 0,5 2-7 16,-2-1 13-1,4-1-9-15,-2 0 4 0,2 0 5 0,1 1-3 0,2-3-13 0,5 6 13 16,-8-5 0-16,-2-1 2 15,0 0 11-15,0 1-10 0,0-1-6 0,-3 0 9 0,6-1-9 0,-1 1-2 16,-2-3-10-16,0 1 27 16,0-3-4-16,0-1-23 0,0 2 41 15,-1-4-29-15,3 0-12 0,-7-2 33 0,8 1-6 0,-8 0-6 16,-3-3-11-16,0-1-1 0,1 0 58 0,9 5-14 16,-5-3-30-16,-4-1 0 0,-1-1-1 15,0 0 11-15,-2 0-5 16,2-1-8-16,0 0 16 0,-3-2 7 0,-1 0-28 0,-1-2 13 15,2 0-13-15,1 0 0 0,0-1-3 0,7-1 3 0,-2 0 11 16,2-2-37-16,-2 1 8 16,3 1 3-16,-1-1 15 0,0 0 3 0,1 1-9 15,11-2-1 1,-1 2 4-16,-8-1-25 0,-3 2 5 0,3 0-2 0,-3 1-4 0,3-1 24 0,0 1 21 0,-2-2-34 16,-1 2 10-16,3-1-17 0,-1-1 15 15,1 1-8-15,11-2-10 0,-9 2 30 16,-4 1-2-16,-1-1-15 0,0 0-3 0,-2-1 10 0,0 0-25 15,-6 1 18-15,3 1-8 0,1-2-11 0,-4 1 6 16,1 0 26-16,0 0-24 16,-1 1 14-16,-2 0-9 0,1 0 16 0,-1 0-5 15,2 0-11 1,-2 0 16-16,-2-2-13 0,1 0-17 0,-1 1 17 0,0-2-18 0,2 0 10 0,-2-1 32 16,2 0-27-16,-1 1-2 15,-1-1-20-15,4-2 20 0,-4 1 7 0,0 0 1 16,5 0-29-16,-4 0 6 0,-1 1 41 0,1 0-1 0,-1 0-12 15,3-1 0-15,-2 1-18 0,-1 0-11 0,2 1 14 16,0-1 94-16,3 0-31 0,-3 0 1 16,2-1 2-16,-4 1-13 0,0 0-2 15,2 0-16-15,-3-2 21 0,1 0-31 16,0 2 2-16,-1-2-19 0,0-1-6 0,-4 1 0 0,4 0 0 16,-2-1 0-16,3-1 0 15,-1 0 0-15,-2 0 0 0,-2 0 0 0,1 1 0 0,-1-3 0 0,2 3 0 16,-3-4 0-16,3 0 0 15,-2 1 0-15,-1-2 0 0,3-2 0 0,-3 1 0 16,1-2 0-16,-1-1 0 0,-2-2 0 16,0 0 0-16,-1 0 0 0,2 0 0 0,-2 1-6 15,0 0 1-15,-3-1-8 0,1 2-10 0,-2 0 11 0,-1-1-1 16,0 1-5-16,-1-2-8 0,-1 0-10 0,0 1 31 16,-2-3-7-16,2-1-35 15,-3 0 40-15,1-5-21 0,2 2-6 0,-4-3-12 16,1-2 3-16,0-1 12 0,1-10-10 0,-3-1 3 15,5 0 7-15,-3-1 11 0,1 0-14 0,4 3-9 16,-1 2 35-16,-1 0 5 0,3 2-4 16,0 7-9-16,-1 4 9 15,-2-1-6-15,3 0-13 0,-3 2 39 0,3-2-41 0,0 2-3 16,2-1 21-16,-2-1-31 0,4-5 16 0,-1-1 12 16,-1-1-23-16,0 6 3 0,0-8-3 0,1 0 10 15,-3 6-12-15,2-6 7 0,0 2 18 0,-5 2-30 16,3-4 12-16,-1 6-5 0,-2 2 5 0,-2 1 11 15,0 1-8-15,1-2 36 16,0 4-19-16,-2 0-2 0,0 4-4 0,1-1 11 16,-3 0 9-16,0 3-11 15,3 0 13-15,-6 1 1 0,3-1-14 0,0 1-10 0,0-1 33 0,0 1-17 16,-3-3-8-16,3-1 25 0,0 2-23 16,-2-3-12-16,2 0 50 0,-2-1-42 15,2 1 1-15,0 2 1 0,0-1 2 0,2-2 1 16,-2 2-6-16,2-1 8 15,-2 1 13-15,3 1-16 0,-3 0 3 0,3 0 10 0,-1 1 8 16,3-1-11-16,-2 4 6 0,-1-4-3 0,1 2-10 16,4 0 7-16,-4-1-2 0,5 2-10 0,-1-2 18 0,-2-1 5 15,6-1-24-15,-1 0 4 0,0 1 32 32,0-1-22-32,1 2-8 0,-1-1 2 0,3 1 1 0,0-1 17 0,2 3-46 0,-2 0 39 15,2 1 0-15,-1 2-13 0,2-2 15 0,-5 3-10 16,3 2-8-16,0-1-20 0,0 1 20 15,1-1 31-15,0 3-53 0,-2 1 30 16,0 1-13-16,0-1-5 0,-1 3 8 16,-1-2 5-16,-1 0-11 0,2 5 21 0,-1-4-7 0,-1 2 7 15,3 2-8-15,-3-1 3 0,4 1 5 16,0-1 1-16,-3 0-19 0,6-1 18 0,-6 2 0 0,4-2-2 16,-2 2 4-16,3 2-30 0,-3-2 21 0,2 0-9 15,0 0 14 1,-2 2-13-16,3-2-13 0,1 1 33 0,-1-1-10 0,4 0 5 15,-2 1 5-15,1-2-2 0,-2 0 0 0,7-1-21 16,-4 0 18-16,0 2 18 0,-1 0-10 0,-2-1-21 16,1 1 18-16,0 0-12 0,-2 0-3 15,-1 0-57-15,-3 0 11 0,2 0-51 16,-4 1-13-16,0-1-34 0,0 0-30 0,-2 2-36 16,-3 1-92-16,0-2-190 0,0 0-511 0,1 3 104 0,-4-2 72 15,3 3 95 1,-2-3 92-16,1 3 66 0</inkml:trace>
  <inkml:trace contextRef="#ctx0" brushRef="#br0" timeOffset="155633.29">20682 8963 903 0,'-1'10'341'0,"-4"3"-27"0,3 5-9 16,-1 3-47-16,-2 17 9 0,-3-1-39 0,-2 4-21 15,0 0-20-15,-5 14-16 0,-3-1-33 16,2-1 13-16,-7 0-28 0,-3-2-5 16,1-5-49-16,-1 3-15 0,-5-5-34 0,3 0-55 0,-3-2-96 15,3-2-46-15,-3-2-96 0,0 0-150 0,10-8-340 16,-1-5 44-16,2 0 56 0,7-7 97 15</inkml:trace>
  <inkml:trace contextRef="#ctx0" brushRef="#br0" timeOffset="156106.72">20543 9788 985 0,'15'13'302'0,"-2"3"-15"0,0 1-29 0,0 3-7 16,5 8-8-16,2 2-28 0,-2 7-5 0,0-2-13 15,3 10-18-15,1 1-30 16,-9-9 76-16,0 4-15 0,-2 1-49 0,-6 1-20 16,-5 0-28-16,-5 1-39 0,-8-1-28 0,-8 2-26 15,-7 2-35-15,-10-1-36 0,-4-5-59 16,-6-3-110-16,1-3-46 16,-6-6-19-16,1-2-493 0,1-3 62 0,8-6 27 0,-1-5 82 0</inkml:trace>
  <inkml:trace contextRef="#ctx0" brushRef="#br0" timeOffset="156734.4">16979 9011 898 0,'0'8'399'0,"0"4"-48"0,-1 1-16 15,-1 3-48-15,0 0-21 0,0 6-23 16,-1 3-15-16,-2 0-108 0,-3 2-7 0,0 6 12 0,-2 3-27 16,0 2-9-16,-1-1-20 15,-1 0-33-15,-1 1-43 0,-2-3-32 0,0-2-32 16,-3-1-22-16,2 0-55 0,-2-2-75 0,3 1-51 16,4-8 59-16,-1-3-120 15,2-1-384-15,1-1 135 0,0-1 1 0</inkml:trace>
  <inkml:trace contextRef="#ctx0" brushRef="#br0" timeOffset="157061.26">16807 9769 898 0,'16'1'302'0,"-3"4"44"0,-3 1-1 0,0 4-10 0,0 0-125 16,0 6 5-16,-2 1-12 0,0 5-14 0,-1 2-30 16,1 8 7-16,-5 0-35 0,-3-6-6 15,-3 4-12-15,-1 7-19 0,-7-1-12 16,1 0-31-16,-4-1-35 0,-3-4-14 0,-1 0-22 15,0 1-13-15,-2-8-21 0,2 5-20 16,-3-5-52-16,1-1-61 0,4-2-33 0,3-5-23 16,0-1-136-16,1-4-376 15,2 1 77-15,0 1 46 0,1-2 117 0</inkml:trace>
  <inkml:trace contextRef="#ctx0" brushRef="#br0" timeOffset="157482.87">16751 10555 1067 0,'5'7'366'16,"0"4"-23"-16,0 2-31 0,1 5-48 0,-1 3 7 15,0 3 36-15,0 2-33 0,-3 0-31 16,1 4-10-16,-6-1-20 0,1 10-19 0,-6 0-107 16,-2-1-48-16,-3 1-9 0,-2-3-35 0,-3 0-20 15,-2-2-14 1,1-4 1-16,-1 3-34 0,0-5-38 0,-1-2-23 0,3-2-102 16,2-5-111-16,4-2-442 0,1-5 74 0,-1 1 30 15,4-4 118-15</inkml:trace>
  <inkml:trace contextRef="#ctx0" brushRef="#br0" timeOffset="157947.24">16646 11471 1075 0,'8'8'378'0,"0"3"37"0,-2 2-54 0,-2 1-18 16,0 3-26-16,-1 2-32 0,0 3-42 0,1 3-10 15,-4 1-34-15,1 3-2 0,-4 0-25 16,-4 6-34-16,2 3 0 0,-6-2-43 0,-2 1-13 15,-4-5-36-15,-1 0-10 0,0-2-18 0,-1 0-23 16,-3-4-18-16,3-2-11 0,1-5-25 16,4-4-45-16,-2 0-60 0,3-3-126 15,-5 1-81-15,8-3-473 0,0-4 63 16,2 3 69-16,-3-2 98 0,1-1 20 0</inkml:trace>
  <inkml:trace contextRef="#ctx0" brushRef="#br0" timeOffset="158433.26">16513 12593 1236 0,'14'12'384'16,"-3"0"-110"-16,-1 1-29 0,-2 1-17 0,-2 2-15 16,1 2-24-16,-4 0-20 0,-1 3-3 15,-2 2-17-15,-2 4-39 0,-2-2-3 0,-6 12-30 16,-2-4-23-16,-1 1-11 0,-3-1-25 0,-4-1-51 15,2-1-3-15,-3 3-17 0,-1-5-78 16,3 2-28 0,-1-3-48-16,0-3-54 15,1 1-484-15,5-6 28 0,3-1 121 0,-2-2 43 0</inkml:trace>
  <inkml:trace contextRef="#ctx0" brushRef="#br0" timeOffset="-202024.16">6318 9323 1031 0,'6'-3'364'16,"-2"2"-32"-16,0 0-22 0,-4 1-5 15,5-1-37-15,-5 1-71 0,0 0-25 0,5 5-3 0,-5-2-26 16,-3 3 6-16,0 5-8 0,-1 0-29 15,-4 4-9-15,-3 3-9 0,-4 2-7 0,2-1-36 16,-9 10-25 0,3-2-34-16,-1-1-25 0,-1-1-23 0,1 0-34 0,4-4-45 0,3-5-60 15,3-1-66-15,0-2-36 0,2-4-264 0,3 3-168 16,0-6 40-16,0 1 103 0</inkml:trace>
  <inkml:trace contextRef="#ctx0" brushRef="#br0" timeOffset="-201818.52">6544 9310 1149 0,'0'0'368'0,"0"0"-25"0,-5 15-28 0,-2-5-46 0,-4 3-16 0,-2 5-35 0,-8 8-21 0,-4 1-25 16,-3 3-14-16,-5 6-50 0,2-1-47 15,3-5-71-15,4 2-138 0,-1-7-129 16,4 9-527-16,1-3 95 0,0-3 87 0,4 4 13 0</inkml:trace>
  <inkml:trace contextRef="#ctx0" brushRef="#br0" timeOffset="-201217.07">6387 10718 1328 0,'0'0'374'0,"0"0"-31"15,0 0-31-15,-4 13-36 0,1-7-12 16,-4 4-28-16,1-1-39 0,-2 4-28 0,-4 2-41 16,4 0-52-16,-5 2-42 0,0 2-34 0,1-2-62 15,-2 0-58-15,2 1-108 0,-1 1-84 16,0 0-471-16,1-3 71 0,3-1 23 0,-1-2 78 15</inkml:trace>
  <inkml:trace contextRef="#ctx0" brushRef="#br0" timeOffset="-201021.08">6439 10705 1290 0,'0'0'417'0,"0"0"-38"0,0 0-34 0,-3 13-27 0,-1-7-45 0,0 6-6 0,0 0-45 16,-4 5-17-16,3 4-33 0,-5 2-32 15,0-1-45-15,-4 13-33 0,2-4-55 0,-1 2-43 16,3-1-51-16,-4 1-94 0,7-6-137 16,-3 6-483-16,2-6 23 0,0-3 102 0,4 0 13 15,-2-1 92-15</inkml:trace>
  <inkml:trace contextRef="#ctx0" brushRef="#br0" timeOffset="-200148.45">6354 13045 1366 0,'0'0'474'0,"8"9"-54"0,-7-2-100 15,3 3-41-15,-1 1-28 0,2 6-21 0,0 0 36 16,0 6-7-16,-2 1-34 0,4 3-46 0,-4-2-18 16,4 9-43-16,-4-2-18 0,2-6-26 15,-2 2-59-15,-1-3-32 0,2 1-68 0,0-1-97 16,-2-5-125-16,2 1-422 0,-2-3-113 0,1-2 104 16,-1-2 50-16,1-2 68 0,-3-1 108 15</inkml:trace>
  <inkml:trace contextRef="#ctx0" brushRef="#br0" timeOffset="-199899.02">6411 13143 1418 0,'-3'-2'409'0,"3"2"-12"0,0 0-44 15,0 0-41-15,0 0 47 0,6 16-34 0,-2-4-31 16,2 2-20-16,-2 2-23 0,4 4-28 15,0 2-19-15,-3 2-32 0,3-1-13 16,2 9-37-16,0 2-19 0,-2-9-21 0,-3 1-46 16,1-2-26-16,1-2-33 0,-2 1-18 0,1-1-39 15,-2-2-35-15,0-4-18 0,0 0-82 16,-1-3-110-16,0-6-69 16,-1 3-489-16,-2-3 30 0,2 0 129 0,-2-3 28 0,0-4 87 15</inkml:trace>
  <inkml:trace contextRef="#ctx0" brushRef="#br0" timeOffset="-199581.37">6259 13246 993 0,'-4'-17'304'0,"1"5"-32"0,3 0-29 0,0 0 2 16,0 2-29-16,0 0-4 0,2 1-18 15,-1 2-25-15,3-2 0 0,-1 1-25 0,0 1-6 16,2 2 85-16,2 0-44 0,-1 3-15 16,-1-1-13-16,5 3-26 0,0 1 0 0,0 1-22 15,6 2-101-15,-4 1 1 0,5 2-3 16,-3 2-18-16,4 2-46 0,-2-1-23 0,1 3-31 15,-1-3-35-15,2 2-121 0,0 0-26 0,-8-2-96 16,5 0-403-16,1 1 87 16,-3-1 47-16,2 0 112 0</inkml:trace>
  <inkml:trace contextRef="#ctx0" brushRef="#br0" timeOffset="-151088.54">10600 12741 1082 0,'3'3'392'16,"1"2"-49"-16,0-2-15 0,0-1-52 16,2-2-23-16,-6 0-25 0,13-2-26 0,-6-1-12 0,1-2 4 15,-3-2-35-15,5 0-26 0,-5-2-18 16,3-1-5-16,-2-2 8 0,1 0-21 0,-4 0-7 15,1 2 25-15,-1-2 23 0,0 3 6 16,-3 1-9-16,0 1 14 0,0 0-16 0,0 2 10 16,-6 4-25-16,6 1 8 0,-10-1-14 15,10 1 3-15,-15 9-2 0,7-2-11 0,-2 4-7 0,0 2-8 16,0 0-18-16,2 0 13 0,0 2-23 16,3-5-3-16,0 4-15 0,5-4-5 15,0 1-23-15,3 0 2 0,-1-1 6 16,6-1-16-16,-1-1 0 15,3-3-13-15,1-1-5 0,2-1-22 0,-1-3 27 0,1-2-2 0,3-1-16 16,-1-2 13-16,1-3 11 0,-1-2-3 0,-2 1-6 16,-3-2 6-16,0-2-2 0,-2 0 7 31,-3 2 38-31,0-1-15 0,-2 3 21 0,-3 1 7 0,0 0 15 0,-3 1 16 0,1 3-36 0,-1 1 11 0,-5 3 7 16,8 0-16-1,-20 9 34-15,9-4-38 0,-3 5 4 0,0-1-12 0,-1 3 8 0,2 0-11 16,3 0 0-16,0 0 3 15,2-2-26-15,3-1 24 0,2-1-11 0,1 0-23 0,-1 1-31 16,1-3 39 0,4-2-21-16,-2 1 0 0,3-2 3 0,-3-3 10 0,5 1-23 0,-5-1 20 0,0 0-7 15,5-8 20-15,-3 3 8 0,-2 0-18 16,-2-2 3-16,-1 0 4 0,-2 0-12 0,0 2 3 16,0-1 27-16,-5 3-15 15,2 0 29 1,-2 3-11-16,0 0-5 0,-3 1 3 0,0 4 4 0,0 1-2 0,3 2-12 0,-1 0 17 15,1 2-5-15,0-1-7 0,5 0-14 0,0 1 11 0,2-1-15 16,3-3 7-16,3 0-35 0,-1 1 14 16,4-2 1-16,2-1-13 15,-1-4 0-15,0 0-5 0,2 0 2 0,1-4 1 0,2-1 9 16,-2-2-14-16,1 0 4 0,-1-1 29 0,-2-2 14 16,-3 1-17-16,2-1 0 0,-3 2 36 0,-2 1 0 15,0 1-13-15,-2 0 13 0,0 2 2 16,0 4-15-1,0 0 26-15,0 0-18 0,0 0-29 0,-8 11 9 0,6-3-1 0,2-1 18 0,0 4-13 16,2 2-10-16,4-3-2 0,2 2 2 0,2-1-20 16,2 0-6-16,1-1 14 0,3-2-4 15,2 1-24-15,-1-5 17 0,4-1 7 0,-3-2-9 16,-2-2 7-16,4-2 5 0,-2-1 16 16,0-2-16-16,2-3 1 0,1-3 12 15,-6-1-8-15,1 0 8 0,-3-1-7 0,-1 2-1 0,-2 1 3 16,-2 1 8-16,0 1 2 0,-5 3 13 0,2 1-10 15,-3 3 2-15,-1 0 14 0,-1 2-14 0,0 0 0 16,0 0 6-16,4 8 9 16,-4-2 11-16,3 0-30 15,0 3 17-15,-1-2-10 0,3 1-21 0,0 1 6 0,3-2-21 16,0 0 23-16,-1-2-20 0,1-1 9 0,2-2 14 0,-2 0-8 16,0-2-5-16,-1 0 13 0,1-3-11 0,0-1 6 15,0 0 17-15,-1-2 3 0,-2-2-2 0,1 0 7 16,-2-1-10-16,-3 0-8 15,1 4 26-15,-2-3 30 0,-2 3-25 0,1 0 31 0,-3 2-51 16,0 1-21-16,-3 1 0 0,7 1 0 0,0 0 0 16,-15 4 0-16,10-1 0 0,0 3 0 0,2-3 0 15,0 3 0 1,3-1 0-16,0 0 0 0,3 0 0 0,-1-2 0 0,1 2 0 16,3-3 0-16,1-2 0 0,-2 1 0 15,-5-1 0-15,16-3-13 0,-9-2-3 0,3 1 4 0,0-3-1 16,0 1 10-16,-2-2-7 0,0 0 28 0,0 1-13 15,-3-1 23-15,0 0-12 0,-2 0-16 16,-1 1 0-16,-2 0 0 0,0 2 0 0,-2-1 0 16,-1 3 0-16,-2 0 0 0,5 3 0 15,-10-1 0-15,2 2 0 0,-2 2 0 0,2 2 0 0,-2-1 0 16,-3 1 0-16,3 1 0 16,2-1 0-16,-2 3 0 0,0-2 0 0,4-1-41 15,1 0-218-15,0 1-53 0,0 0-31 0,3-1-164 16,4-2-676-16,1 0 111 0,1 0 132 15,4 0 98-15,1 0 69 16,5-3 87-16,7 3 90 0,5-1 46 0</inkml:trace>
  <inkml:trace contextRef="#ctx0" brushRef="#br0" timeOffset="-149698.52">11767 12659 1064 0,'-8'0'392'0,"1"2"0"0,-1 2 50 0,-2 3-24 0,-3 2 12 15,2 4-64-15,-2 4-16 0,1 2-19 16,1 0-40-16,1 3-4 0,0 2-54 0,4-1-5 16,4-5-16-16,-2 2-27 0,3-2-11 0,1 1-21 15,1-1-4-15,1-3-11 16,3 1-13-16,2 0-12 0,1-1-31 0,0-2 7 0,-1-1-14 16,4-1-6-16,-1-3-28 0,0 1 7 0,1-2-25 15,-4-1-43-15,3-2-26 0,0-1-33 0,-2-2-24 16,2 0-15-16,-2-1 1 15,0-2-22-15,0 0-12 16,-1-1 3-16,-1-1-8 0,1 0-8 0,-2-2 0 0,1 0 8 0,1-2 2 16,-2-1 21-16,0 1 5 15,-2-3 34-15,0 3 7 0,1-4 15 0,0 2 34 16,0 2 12-16,-1-1 28 0,0 1 24 0,1 1 5 0,-1 0 20 16,0 0 23-16,0 3 18 15,1 2 8-15,2 2 3 0,-6 0 30 0,10 2-18 0,-5 3 23 16,0 2 28-16,0 2-20 0,0 2 23 15,-2 4-7-15,0-1 17 0,-1 4-13 16,-2 1 3-16,-2 2 10 0,-1 0-51 0,-2 2-23 0,0-3 5 16,0 2 13-16,2-4-31 15,-4-3 0-15,6-1 6 0,-4-4-22 0,3-1 1 0,0-3-28 16,4-3 25-16,-2-3-25 0,0 0-3 0,0 0-31 0,12-16-20 16,-4 4 8-16,5-6-39 0,5-7-15 15,2-3-13-15,1-2-16 0,2 0-22 0,-2 0-47 16,2-2-32-1,0 2-39-15,-3 2-31 0,0 2-21 0,-2 7-37 0,-5 2-68 0,5-9-119 16,-2 13-518-16,-3 4 54 16,-3 1 146-16,0 1 28 0,-2 6 85 15,0-2 79-15</inkml:trace>
  <inkml:trace contextRef="#ctx0" brushRef="#br1" timeOffset="-131193.56">17974 9001 844 0,'5'-4'389'15,"-5"0"-25"-15,3-1-26 0,-1-1-21 0,0-1-25 16,-1 3 0-16,-1-1-36 0,0-2-6 15,0 2-6-15,0-4-22 0,-3 3-66 0,-2 0-15 16,-2-1-3-16,-1 1-4 16,-5 0-14-16,-1-1 10 0,-6 3-22 0,0 0 10 0,-3-1 76 15,-5 3-4-15,-5-2-21 0,2 4-8 0,-5 0-28 16,-7 4 10-16,-2 3 19 16,2 1-19-1,2 4 5-15,2 2-7 0,1 3-26 0,2 7 16 0,0 0-19 0,0 8-4 16,8-2-13-16,5-1 10 0,2 6 2 0,1 3-17 0,5 0-77 15,1 4 10-15,4 1-16 0,6 1 9 16,4 0-1-16,7-1-18 0,1-3-15 16,9 2 11-16,0-6 12 0,13 5-28 0,-5-10 20 15,12 1-27-15,4-2 12 0,7-4-26 0,-2-4 3 0,-2-6 8 16,2-5-5-16,0 0 2 0,1-5-8 16,1-4 8-16,-10-2 11 0,-2 0 4 0,8-6 16 15,-3 0-13-15,-3-6 8 16,1 0-5-16,-6-1 17 0,5-2-15 0,-7-3 1 0,0-4 4 15,-3 0 0-15,1-4-2 0,-3-2 0 16,-4 1 15-16,-1-4-13 0,-1-1 16 0,-2-1-8 16,-2-2-15-16,-3 0-3 0,-3-1 20 0,-2-5 14 15,-3 4-19-15,-5 4 18 0,0 4-17 0,-3-9 4 16,-5 1 16-16,-4 3 8 16,-1 2-1-1,-8 4-22-15,4 1 23 0,-7 2-3 0,-1 2-16 0,-1 4-14 0,3 6 9 0,2 2-22 16,-4 2-42-16,0-1-20 0,-4 4-35 0,-2 4-57 0,3-1-39 15,-5 3-33-15,2 3-63 0,-10 3-139 16,7 1-159-16,-4 4-358 16,7-3 102-16,-2 5 65 0,2 2 89 0,5-1 69 0,-4 2 49 15</inkml:trace>
  <inkml:trace contextRef="#ctx0" brushRef="#br1" timeOffset="-129705.54">22040 13202 988 0,'-5'-5'399'0,"2"-1"-41"0,-2 0-43 0,-3-2 18 0,1 3-26 0,-6-2-28 16,-2-1-8-16,-3 4-35 0,-1-1 12 0,-6-1-25 15,-3 2-18-15,-2 0-75 0,-4 1-17 16,1 1-3-16,0 0-16 0,-14 0 91 0,1 1-21 16,5 2-6-16,-7 3-7 0,-1-1-30 0,0 3 37 47,2 2-30-47,2 3-18 15,0 1 18-15,0-1-38 0,4 3-11 0,2 1-7 0,1 1-5 0,1 1-3 0,5 1 12 0,-1 1-9 0,2 2-6 16,1 2 11-16,1 2 5 0,3 5-3 0,3 1-7 0,1 2-6 0,0 2 6 15,7 2-16-15,2 1-21 0,3 0-7 0,7-1-58 16,1-4-6-16,7 5 2 16,5 1-4-16,3-2 4 0,10 6 1 0,5-3-8 15,3-3-16-15,5 0 9 0,5-3 7 0,5-5-6 0,-2-4 4 16,4 0 7-16,1-4-3 0,-5-6 16 0,5-3-5 16,-4-1 5-1,4-4 7 1,-3 3-20-16,0-3 11 0,1-2 12 0,-1 0-8 0,-1-2 16 0,-6-2-16 0,-3-1 16 15,-2 0-5-15,7-5-3 0,-5 1 10 16,-8-2-10-16,10-4 16 0,-2-3-1 0,1-1 0 0,-2-2 3 31,-2-3-15-31,3 0 10 0,-3-1 0 0,1-1 13 0,-3 0 2 0,2-2 15 0,0-1 1 0,0-1 5 16,0 2-6-16,-2-2 29 0,0 0 5 0,-1 1-5 16,-3 0-16-16,-2 0 26 0,-1-2 3 15,-4 1-14 1,-5 2 16-16,-2 1-15 0,-3 1-3 0,-2-3 3 0,-3 1-13 0,-2-3 23 0,-3 0-28 15,-1-1-3-15,-3 0-15 0,-7-9 3 16,-2 2-6-16,0 2 8 0,-7 2 15 16,0 2-25-1,-6 2 3-15,1 0 22 0,-2 4 0 0,-3 1-20 16,-1 3-10-16,-2 1 5 16,0 1-31-16,-1 2-13 0,-4 2-17 0,-1 1 1 0,1 2-34 0,-6 2-17 0,1 1-27 0,4 0-24 15,3 2-4-15,3 1-24 0,2 0-10 0,-2 1-5 16,3 0-48-16,-1 0-19 0,2 0-94 0,1-1-121 15,2 1-460-15,5 0 74 16,-3-1 69-16,3-2 121 0,-3-1 55 16,-1-4 49-16</inkml:trace>
  <inkml:trace contextRef="#ctx0" brushRef="#br1" timeOffset="-128142.33">18410 10093 1018 0,'7'0'307'0,"1"1"-33"0,-3 3-23 15,0-1 3-15,1 5-27 0,-4 2 11 16,3 2-33-16,-2 4 3 15,-3 3-37-15,2 2-5 0,-4 4-9 0,-3 3-17 0,2 9-14 0,-5 1-19 16,-2-1-15-16,5-1 3 16,-2-5 8-16,1-6-19 0,3 0-17 0,-2 0-14 15,3-5 16-15,0 1-10 0,1-5-18 16,1 1 0-16,0-4 0 16,1 0-18-1,-1-1 23-15,2 0-2 0,-2-4-19 0,2 0 6 0,2-1-18 0,-2-4 12 0,3 2 1 16,-2-3-11-16,1 1 11 0,-1-1-11 0,4-1 3 0,-1 2 8 0,-1-1-8 15,0 0 38-15,0 2 16 16,1 3-11-16,1 0 11 0,2 8 2 16,-3 0 3-16,2 5 10 0,-3 4-15 15,5 8 22-15,-4 8 4 0,2 3-16 0,-4 4-26 0,4 10 31 16,0 4-3-16,-4 2-2 0,2 0 0 16,-1-1-3-16,3 2-30 0,2 3 15 0,0-4-18 0,1-2 8 15,4-1-11-15,-2-2-7 0,2-2-20 0,1-3 35 16,-4-10 5-1,0-1-28-15,-3-1-17 0,1 1 6 16,-2-1-4-16,-1 0 0 16,-4 0 2-16,0 0-20 0,-3 1-10 0,-5-2-3 0,-3 3-28 0,-5-1-31 0,0-1-23 15,-7 6-20-15,-1-11-23 0,1 0-36 0,-1-2-65 0,0-3-78 16,1-3-126-16,5-5-143 0,2-9-346 16,6-2 133-16,-1-4 13 0,5-4 85 15,-2-1 81-15,3-3 64 16</inkml:trace>
  <inkml:trace contextRef="#ctx0" brushRef="#br1" timeOffset="-126882.43">20020 9248 888 0,'0'0'363'0,"0"0"-38"16,-7 8-74-16,3 5-8 0,0 12-12 0,-4 12 7 15,0 19-26-15,-5 6 11 16,1 7-21-16,-4 8-5 0,-9 22 51 0,-1 7-25 16,0 0-13-16,-5 6-5 0,-4-1-36 15,-2 0-26-15,-1 3-17 0,0-7-9 0,-3-6-27 16,5-2-11-16,10-29-94 15,1-2-1-15,4-10 11 0,5-5 3 0,4-14-6 0,4-7 6 0,5-4 7 16,1-8-16-16,5-5 4 0,1-3 12 16,0-5-5-16,5-1-8 0,2-5-2 0,-1-1 5 31,5 0 5-31,3-1-3 0,3-2 19 16,-3 3-19-16,0 0 18 0,2 3 21 0,-2 3 3 0,0 10 25 0,5 8 0 15,-5 10 12-15,-2 13 1 0,-1 10-13 0,-10 8 16 0,-3 8-14 16,-6 9-25-16,-5 24 5 0,-6-3-20 0,-2 1-34 15,-2-4 0-15,-1 0-7 0,7-20-28 16,-2-2 27-16,-1-1-15 16,6-4-22-16,-3-1-24 0,3-2-25 0,2-4-1 0,-2-6 3 15,3-1-48-15,1-12-24 0,-4-3-20 0,6-2-58 16,-3-4-88-16,0-1-8 0,2-10-501 0,2-3 105 16,0-5 22-16,-1 0 73 0,4-5 122 0</inkml:trace>
  <inkml:trace contextRef="#ctx0" brushRef="#br1" timeOffset="-97179.81">20627 11276 757 0,'-12'8'287'0,"4"-4"0"0,0 3-24 0,-2 5-43 0,-3 0 0 15,3 6-94-15,-2 1-16 0,1 0 0 16,1 5-33-16,4-2 74 0,0 1-23 0,0 1 2 16,0 1-4-16,6-5-29 0,-2 1 0 0,4-1 24 15,2 1-27-15,-2-2-17 16,5 3 5-16,1-1-8 0,2 2-7 0,6 3-3 0,4 0-13 16,-2 2-5-16,2 0 0 15,-1-3-10-15,-4-3 2 0,1 4-9 0,2 1-1 0,-3 0-8 16,-3-3-12-16,0 0-6 0,-6-2 1 15,2 2 5-15,0 2-6 16,-3-1-7-16,0 3 31 0,0 6-8 0,0-4-3 16,-2-2 13-16,-1 0-7 0,1 12-11 0,-3-7-15 0,5-5-3 15,-5 0 11-15,2 0 4 0,-2 0 11 0,3 1 3 16,-2-1-11 0,-1-2 8-16,0 2-16 15,0 0-4-15,0 1-14 0,2-1 24 0,-2 1-3 0,0-1-18 0,0 1 11 0,0-1-8 16,0 2 2-16,0 0 18 0,0 0 6 0,0 0-9 15,-2 0-12-15,0 9 20 16,-2-7-15-16,2 6 3 0,-1-6 5 16,3-1-1-16,-3-2-14 0,1-1-1 0,0 0 34 0,1 0-3 15,1 0-26-15,0-2-7 0,0 0 0 0,1-1 17 16,1 1 11-16,0-5-15 0,1 3-13 16,2-1 20-16,0-3-13 0,-2 0 8 0,2 0 8 0,0-1 8 15,3 1-6 1,2-1-23-1,-2-2 6-15,-1 2 7 0,1-4-5 0,2-1-5 0,-1 1 0 0,0-2-26 0,-1-1-2 16,1 0-31-16,-1-3-23 0,-2 1 0 0,2-2-31 0,-1 0-31 16,-1-2-40-16,1 1-52 0,-2-1-58 0,1-1-282 15,-1 1-169-15,2-1 112 0,-4-1 14 0</inkml:trace>
</inkml:ink>
</file>

<file path=ppt/ink/ink8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13:45.846"/>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FF0000"/>
    </inkml:brush>
  </inkml:definitions>
  <inkml:trace contextRef="#ctx0" brushRef="#br0">5526 2991 952 0,'-15'3'384'15,"7"-4"-13"-15,0 2-26 0,4-1-48 0,4 0-112 16,-8 1-14-16,8-1 6 0,0 0-13 16,0 0-19-16,0 0-11 0,0 0-24 15,25 5 12-15,-9-5-4 0,4 2 51 0,6-2 8 16,7 1-31-16,19 2-13 0,7-5-5 0,18 4 2 15,2-2-20-15,8 0-12 0,2 1 7 16,4-1-95-16,2 0 5 0,-1 0-15 16,2-1 18-16,-2-1-8 0,1 0-7 0,5 0 7 15,-2-1 3-15,-3 1 5 0,2 0-8 16,-7-2-10-16,-6 3-10 0,-6-1 7 0,-5-1 1 16,-14 2-14-16,-4-2-17 0,-7 3-16 0,-7-1 3 15,-8 1-7-15,-7 0-22 16,-2-2-4-16,-2 1-3 0,-4 1-23 0,0 0 36 0,-5-1-10 15,-1 1-13-15,2-2-11 0,-7 1-25 0,1 0-33 16,-3 0-54-16,-2-3-46 0,-3 4-54 16,0-3-463-16,0 3 28 0,-8-5 87 15,-2 1 90-15</inkml:trace>
  <inkml:trace contextRef="#ctx0" brushRef="#br0" timeOffset="412.28">6052 3069 808 0,'0'0'284'0,"0"0"-15"0,25 3 3 15,-9-3-6-15,7 0-41 0,10 0-5 0,16-1 57 16,5-1-3-16,5 2-19 0,18-3-9 0,5 3-26 15,2-2-28-15,6 1 3 16,2 1-39-16,6-4-15 0,-4 3 2 0,2-1-10 16,-7-1 0-16,-4 3-28 15,-3-2-5-15,-8 1-3 0,-15 1-17 0,0 0-101 16,-7 0 19-16,-3-1 7 0,-8 1-5 0,-8 0 7 0,-5 0-9 16,-2 1 7-16,-3-1 0 0,-3 0-13 0,-2 0 14 15,-3 0-14-15,-2 0 16 0,0 0-21 0,-3 0 23 16,1 0-20-1,-1 0-11-15,-2 0 3 0,-3 0 24 0,2 0-32 0,1 0-2 16,-8 0-16-16,8 0-15 0,-8 0-43 0,10 1-41 0,-10-1-80 16,7 0-79-16,-7 0-90 15,8 2-478-15,-6-1 66 0,2 1 88 0,-4-2 55 0,7 3 131 16</inkml:trace>
  <inkml:trace contextRef="#ctx0" brushRef="#br0" timeOffset="2799.32">19053 2210 839 0,'0'-3'315'0,"0"3"36"0,-2-5-14 16,2 5-24-16,0 0-16 0,0 0-13 0,0 0-44 16,-5 13-4-16,4-2-1 0,-1 4-12 0,-3 4-23 15,0 8-3-15,-3 11-41 0,0 1-8 16,-2 3-20-16,2 3-10 0,1-1-100 15,-1 0 13-15,2-1-3 0,0-4 0 0,0 0-28 0,4-7-20 16,-1-5 15-16,0-2-24 16,3-5-42-16,0 1-6 0,0-3-18 0,3-2-58 15,-2-3 7-15,0-1-39 0,0-3-48 0,1 0-56 16,0-5-59-16,4-1-230 0,-2-2-103 16,-4-1 5-16,11-4 67 0</inkml:trace>
  <inkml:trace contextRef="#ctx0" brushRef="#br0" timeOffset="3819.47">18904 2100 767 0,'3'-3'290'0,"2"1"-29"16,0-1-13-16,5 0-23 0,1 0-5 0,5-1-15 15,-2 2-10-15,5-2-37 0,3 2-7 16,6-2-10-16,1-1-10 0,1 2-3 0,-1 0-10 16,2 1-16-16,12-3 11 0,-4 3-32 0,5-3-14 15,1 1-67-15,0 2-3 0,3-2-4 16,3 0 14-1,0 1-7-15,1 1 0 0,3-2 0 0,-2 2 0 16,0 0 29-16,1 0-9 0,0 0 1 0,-1 0 7 0,-1-1-18 16,-1 3 10-16,5-1-9 0,-4-1 9 0,3 0 13 15,-4 2-17-15,2 0-11 0,1 0 3 0,-6-1 25 16,-1 1-8 0,1 1-25-16,-9 0-2 0,-4-2 12 0,-1 1 5 0,0 0-2 0,1-1-8 15,1 1-15-15,0 0 20 0,-1-2-17 0,0 2 7 16,-2-2 20-16,-1 1-12 0,2 0-3 15,-1 0 15-15,0 0-30 0,-2 0 18 16,0-1 5-16,0 0-13 0,-5 2 15 16,4-3-25-16,-4 2 17 0,-3-1-14 15,0 1 7-15,-2 0-3 0,-3-1 13 0,-2 0 14 0,0 1-32 16,-4 0 23-16,-2 0-5 0,3 1-20 16,-5 0 28-16,2 0-5 0,-3-2-18 0,1 1 12 15,-1 1 9-15,-7 0 4 0,11-1-15 16,-6 0 3-1,-5 1 18-15,10 0-31 0,-10 0-1 0,11 0 14 0,-7 1 0 0,-4-1-16 0,8 4 3 16,-5-3 10-16,3 2-5 0,-4 0 3 0,2-1 15 16,-1 1-8-16,0 2 8 0,1 0 10 15,-4-1 3-15,1 2-21 0,4 1 3 16,-5 1 7-16,2 1 1 0,-1 0 12 0,-1 2-13 16,-1 2 1-16,-1 1 104 0,-3 3-12 0,4 0-11 0,-5 1-17 15,2 3-8-15,-1 0-1 16,-2 3 1-16,2 0 0 15,-2-2-16-15,1 2 32 0,-2 2-40 0,3-2 6 0,0 1-10 16,0-1 10-16,1 2 2 0,-2-1-20 0,0-1 3 16,3 2 14-16,-1-1-27 0,-2-1-3 0,2 0-2 15,1-3-13-15,0 3 2 16,1-4 8 0,0 1-5-16,1-2 3 0,0-3 4 0,-3-1 8 0,4 1-30 0,0-1 2 0,0-1 8 15,0 0 2-15,-2-3 1 0,2 0 4 0,0-1 11 16,0-1 2-16,-2 1-18 0,2-1-7 0,0-2 7 0,-1 1-9 15,1-3 32 1,-3 1-23-16,3-1-7 0,0 1 7 16,-2-3 3-16,2 2-25 0,0 0 48 0,0-5-13 0,-2 6-5 0,2-3 20 15,0-3 1-15,-1 4-29 0,1-4 31 16,-5 3-18-16,5-3-2 0,-2 3 12 0,2-3-22 16,-5 2 22-16,5-2-25 0,0 0 7 0,-8 1-7 15,8-1 15-15,0 0-20 0,-13-2 7 16,8 1 6-16,-3 0-11 0,-2-1-10 0,0 2 23 15,-5-2-33-15,-1 0 33 16,-3 2-10-16,-5-2 7 16,-7 1-81-16,-16 0 10 0,-4 1-6 0,-5 1 16 0,-4-1 0 0,-19 0 8 0,-6 1 7 15,-6 2-2-15,1-3-31 0,-5 3-38 16,-3 1-18-16,-4-2-77 0,-1 2-38 0,-2 1-116 16,-28-1-181-16,43-1-464 0,0-1 131 15,3-2 62-15,3 0 55 16,4-2 80-16,3-1 87 0</inkml:trace>
  <inkml:trace contextRef="#ctx0" brushRef="#br1" timeOffset="48688.64">1832 5576 862 0,'-18'-1'341'0,"5"1"-14"0,3-1-30 16,2 1-8-16,0-3-5 0,3 3-53 0,5 0-39 0,0 0 5 16,0 0-8-16,0 0 49 0,0 0-35 15,25-2-17-15,-1 2-17 0,9 0-23 0,19 0 5 16,7-3-10-16,17 3-5 0,4-2-26 15,7 2-85-15,8-1-14 0,2 2-1 32,3-1 3-32,3 0 10 0,0 0-31 0,4 0-30 0,-2 2-19 0,-2 1-4 15,-3-3-24-15,-3 5-27 0,-7-2-8 16,-5 3-49-16,-3-1-46 0,-11 1-54 0,-12 0-51 0,-12 0-49 16,-2 2-437-16,-11-4 102 0,-10 0 21 0,-7 0 86 15</inkml:trace>
  <inkml:trace contextRef="#ctx0" brushRef="#br1" timeOffset="48935.28">1653 6217 842 0,'7'3'312'0,"6"1"-23"15,2-4-20-15,6-4-8 0,12 4-31 0,19-7-15 0,21-1-15 0,7-2-23 16,5-3-11-16,7 0-5 16,26-7-28-16,0 2-12 0,0-1-4 0,0 3-27 0,-21 3 2 15,16 0-41-15,-18-1-15 16,-1 4 15-16,2 0-48 0,-9 1-18 0,-2 3-31 0,-6 4-65 16,-2-1-75-16,-19 6-55 0,-1-4-43 15,-4 3-443-15,-3 3 3 0,-4 0 96 0,-13-2 63 16</inkml:trace>
  <inkml:trace contextRef="#ctx0" brushRef="#br1" timeOffset="53800.53">13284 9799 1162 0,'-2'27'450'0,"2"3"-30"16,-3-4-34-16,1 17-43 0,-1 0-20 16,1 2-39-16,-4 1-25 0,2-1-42 0,-2 1-35 0,2-3-36 15,-2-1-49-15,1-3-69 16,5-7-30-16,-3-4-152 0,1-6-115 0,0-3-89 16,2 0-492-16,2-3 57 0,-2-3 102 15,2-5 71-15</inkml:trace>
  <inkml:trace contextRef="#ctx0" brushRef="#br1" timeOffset="54003.89">13452 9735 1295 0,'2'19'496'0,"-2"-4"-48"0,0 9-51 16,-2 5 2-16,-2 16-45 0,0 5-37 15,1 12-25-15,-4 2-21 0,1-2-23 0,1 0-104 16,0-4-42-16,2-7-17 0,-4-5-42 15,4 0-38-15,3-5-33 16,-2 0-8-16,2-9-74 0,0-4-36 0,0-7-66 0,0 3-165 0,2-5-506 16,-2-4 67-16,2-4 91 0,-2-4 88 15,0-1 30-15</inkml:trace>
  <inkml:trace contextRef="#ctx0" brushRef="#br1" timeOffset="54344.17">13146 9938 1103 0,'10'-34'340'0,"0"-6"-33"0,3-1-35 15,8-12-6-15,-4 2-36 0,7 5 13 0,-9 11 1 16,4 3-22-16,1 4 80 0,-7 10-10 15,4 8-10-15,-6 5 27 0,4 10-109 0,0 2 38 16,1 11-41-16,2 12-23 0,-3 4-2 16,4 14 61-16,-5 2-85 0,2 6-28 0,-3-1-15 15,0 1-7-15,-3 0-34 0,3-3-64 16,-3-10-21 0,1-5-71-16,1 2-41 0,1-5-26 0,0 0-33 0,2-3-77 0,1-2-71 0,2-4-44 15,-1-8-5-15,-1-4 5 0,7-2-476 16,3-5 36-1,4-1 140-15,3-6 27 0,16-4 68 0</inkml:trace>
  <inkml:trace contextRef="#ctx0" brushRef="#br1" timeOffset="54880.57">20715 9705 1533 0,'0'13'473'0,"-2"5"-55"0,-2 8-1 15,-3 12-38-15,1 6-34 0,-6 13-43 0,-1-1-2 16,-3 6-52-16,-1-1-33 0,1 2-49 15,-2 0-50-15,2-3-91 16,-4-3-53-16,8-5-64 0,1-9-39 0,1-5-109 0,5-7-124 16,5-6-537-16,0-6 92 0,0-6 47 15,3-2 124-15,2-4 44 0</inkml:trace>
  <inkml:trace contextRef="#ctx0" brushRef="#br1" timeOffset="55125.5">20907 9724 939 0,'2'2'504'0,"1"13"6"0,-3 0-37 0,-3 10-107 0,-1 14 54 16,-5 7-18-16,-3 13-36 0,-1 3-39 0,3 1-17 15,-3-1-36-15,2 1-49 0,-1 0-30 16,2-4-42-16,2-2-58 16,3-10-54-16,-3-2-15 0,3 0-52 0,0-5-56 0,1-3-18 15,0-7-84-15,2-5-136 0,-1-5-243 0,0-7-387 16,1 0 118-16,0-3 80 0,-1-4 81 15,0-4 36 1</inkml:trace>
  <inkml:trace contextRef="#ctx0" brushRef="#br1" timeOffset="55409.4">20689 9648 939 0,'38'-37'392'0,"-2"8"66"0,-2 8-49 0,-1 3-2 0,3 1-18 0,0 7-25 0,-5 7 12 16,-1 9-20-16,6 9-16 0,10 12-97 16,-7 6-27-16,-2 4-12 0,-5 12-7 0,-3 2-56 15,-4 4 18-15,-2 3-49 0,-5 4-41 0,-2-2-48 16,-4-1-42-16,0-3-43 15,-6-8-38-15,2-3-26 0,-4-1-31 0,-1-2-38 0,0-2-21 16,-1-10-74-16,-1-1-68 0,-1-9-53 0,0 1-467 16,2-2 79-16,-2-1 48 0,0-4 144 15,0-3 51-15</inkml:trace>
  <inkml:trace contextRef="#ctx0" brushRef="#br1" timeOffset="57331.42">9454 9315 1174 0,'0'0'382'0,"0"0"-11"16,21 3-59-16,-9-3-30 0,12-1-1 0,7-2-114 15,14 1-21-15,6-3-16 0,6 3-17 16,12-2 2-16,1-2-20 0,-11 3-13 0,0-1-24 16,-3 4-19-16,3-1-47 0,-3-1-35 15,-2 0-52-15,-3 2-89 0,-2-1-139 0,-11 4-475 16,-7 0 109-16,-8 0 8 0,-2-2 72 0</inkml:trace>
  <inkml:trace contextRef="#ctx0" brushRef="#br1" timeOffset="57538.89">9403 9574 1021 0,'2'-5'330'0,"4"-3"-33"0,1 1-10 0,6-3-44 0,2 2-15 16,8-2-16-16,13-5 41 0,3-2-32 0,7 4-50 16,0 1-20-16,15-6-54 0,1 4-15 15,-10 3-71-15,9 1-73 0,-9 3-81 0,1-2-108 16,-2 7-520 0,1-2 93-16,-1 4 2 0,0-1 95 0</inkml:trace>
  <inkml:trace contextRef="#ctx0" brushRef="#br1" timeOffset="58450.05">12597 7801 1085 0,'0'0'420'0,"0"0"-26"0,0 0-56 0,13-8-3 16,-2 6-43-16,2-1-29 0,5 1-22 15,2-2-28-15,1-1-19 0,4 2-7 0,3-2-41 16,0 1-28-16,3 2-31 0,-3-4-41 0,3 1-36 16,0 2-49-16,-1-2-73 0,-1 1-90 0,-1 0-72 15,-3-2-87-15,-4 2-451 0,-1-1 101 16,-4 4-1-16,-1-6 108 0,-2 3 67 0</inkml:trace>
  <inkml:trace contextRef="#ctx0" brushRef="#br1" timeOffset="58637.56">13105 7675 975 0,'-8'-1'402'0,"3"0"-36"0,-3-1-69 15,1 2 2-15,-3 2-25 0,2 0 69 16,1 4-21-16,-4 1-14 0,4 1-37 16,1 3-7-16,-1 2-16 0,1 4-18 0,1 1-28 0,2-1-2 15,1 4-28-15,0-1-21 0,2 3 0 16,0-2-41-16,-3 2-3 0,3-1-30 0,3 0-33 15,-3-1-42-15,2 1-7 0,-2-1-49 0,2-2-43 16,-2 0-44-16,3-1-51 16,-3 1-94-16,3-6-145 0,-1-1-508 0,-2 1 66 15,0-2 82-15,-2-3 95 0,-1 2 56 0,1-4 113 16</inkml:trace>
  <inkml:trace contextRef="#ctx0" brushRef="#br1" timeOffset="58871.16">12707 8124 1100 0,'-10'-4'356'16,"6"3"-28"-16,1 0-24 0,0-2-17 0,3 3 12 16,0 0-15-16,0 0 67 0,8-4-28 0,-8 4-6 15,13-3-25-15,-3 3-39 0,3-1-22 16,2 0-6-16,1 0-25 0,1 0-26 16,4-2-98-16,4 0-19 0,2 0-62 0,3-1-21 15,-2 1-46-15,3-3-43 0,-3 0-51 16,3 1-113-16,5-9-185 0,-6 7-467 0,-1 1 84 15,-3-2 68-15,7-4 155 16,-8 1 40-16,-1-1 134 0</inkml:trace>
  <inkml:trace contextRef="#ctx0" brushRef="#br1" timeOffset="59396.6">13456 7638 1162 0,'-8'0'509'0,"8"0"-28"0,-7 10-30 0,2-3-111 0,0 2-33 0,0 4-20 16,0 4-46-16,2 1-16 0,0 5-23 0,1 3-25 16,-1 1-1-16,3 3-32 0,3-2-29 15,1 11-18-15,0-8-23 0,0-5-7 0,2 0-34 16,-1-3 3-16,3-1-18 0,2 0-16 0,0-1 14 16,0-4-37-16,3-2 9 0,-3-2-14 15,-2-6 29-15,4 2-11 0,-3-6-8 0,1 1 6 16,0-3 20-16,-2-2-7 0,2-3-6 15,2 1 1-15,-3-6-6 0,1-1 13 16,0-6 3-16,-2 2-21 0,0-6 21 0,-3-4-6 16,2-12 14-16,-2-1-6 0,-5 2-23 0,-2-6-10 15,-3-1 33-15,-1 4-15 0,-6 0 3 16,-1 7-6-16,0-1 11 0,-8 7-21 16,-1 1 20-16,-4 3-2 0,3 4 13 0,2 4 13 0,1 4-11 15,2 1 13-15,0 1-10 0,3 7-5 16,4-2 2-16,-2 4 24 0,3 3-11 0,0 1 13 0,2 5 13 15,1 4-16-15,1 4-5 0,6 0 3 16,-2 5-8 0,7 13 18-16,0-1-18 0,5-1 29 0,1 2-16 0,1 0 20 15,4-1-2-15,-3-4 15 0,5 3 11 0,0-6-1 0,0 1 47 16,-1 1 33-16,1-4-21 0,0 1-112 16,-2-8 4-16,-1-1 6 15,-2-1-23-15,-3-3-13 0,3-1-2 0,-5-1-36 0,2-3-26 16,-3 1-28-16,1-3-16 0,-2 2-42 15,-1-4-1-15,0-1-34 0,0 1-70 0,0-4-88 0,-3-1-136 16,1-1-493-16,-3 0 71 0,0 0 92 0,8-3 110 16,-6-1 42-16,1-5 65 15</inkml:trace>
  <inkml:trace contextRef="#ctx0" brushRef="#br1" timeOffset="59636.37">13810 7774 1579 0,'0'-5'517'0,"0"5"-120"0,0 0-8 16,0 0 25-16,0 0-40 0,8 13-41 0,-3-4 51 16,0 2 2-16,0 6-63 0,3 4-3 0,-3 3-18 15,1 11-36-15,1-5-20 0,-4-3 5 0,1 11-47 16,-4 4-129-16,1-9-14 0,1-2-23 16,-2 0-53-16,0-2-57 0,3-1-43 0,-1 0-28 15,0-1-31-15,-1-1-51 0,1-7-29 0,1 0-79 16,-1-3-125-16,-2-3-146 0,1-1-340 15,1-3 73-15,1-3 111 0,-3-1 51 0,3-2 67 16</inkml:trace>
  <inkml:trace contextRef="#ctx0" brushRef="#br1" timeOffset="60022.15">14107 7688 1133 0,'19'-6'446'0,"-2"4"-72"0,-4 1-42 16,-3-1-19-16,-2 6 71 0,-3-2-29 16,1 5-32-16,-6 2-6 0,-3 3-15 0,-3 3-38 15,-6 5-13-15,-6 10-8 0,-5 0-31 0,-11 8-17 16,4-7-24-16,4-4-22 0,-2 0 2 0,5-5-31 15,5-4-12-15,8-5-24 0,2-1 16 16,3-5-21-16,5 2 1 0,0-6 4 0,3 4-7 16,4-3 2-16,0-2 6 0,4 1 17 0,4-1 1 15,1-2-21-15,2 0 7 0,5 0-17 16,0 0 7-16,2-1-15 0,7 1-74 0,-1-4-3 16,1 4 0-1,1 0-12-15,-2-1 32 16,3 1-12-16,-3-1-5 0,-3 2-3 0,-3-1-23 0,-2 1-30 0,1-1-6 0,-6 3-30 15,-3-2-6-15,1 1-15 0,-1 1-15 0,-5 0-31 16,-2 1-25-16,2-2-49 0,-5 3-47 16,0 0-147-16,-7-1-98 0,6 1-456 0,-3 1 82 15,-1-1 129-15,0 2 86 16,0 0 41-16,2 0 100 0</inkml:trace>
  <inkml:trace contextRef="#ctx0" brushRef="#br1" timeOffset="60717.28">19012 7557 1520 0,'-25'6'392'0,"6"1"-52"0,2-2-2 0,1-3-36 15,1 3-13-15,2 0-33 0,3 0-25 0,0-1-47 16,2 0 0-16,3 2-41 0,2-1 3 0,-2 2-13 16,5-1-20-16,2 0 66 0,2 2-5 15,0-1-35-15,4 3-19 0,-3-2 21 0,5 0-44 16,1 3 0-16,-1 1 29 0,3-2-11 0,-5-1 18 16,-1 1-3-16,1-2 19 15,-2 3 2-15,-2-3-23 0,1-1 51 0,-4 4-38 0,1-3 10 16,-4 2-36-16,-2-1 11 0,0 2-27 15,-2 0 6-15,-4 1-79 0,-1-2-1 0,-3 2-4 16,3 0-11-16,-5-1 11 0,2-2-21 16,-2 1-5-16,3-3-16 0,-3 0 3 0,4-1-30 15,0 0-27-15,-2-1-30 0,4-2-28 16,3 2-31-16,-3-2-51 0,2-1-30 0,0-1-14 16,3-1-56-1,5 0-97-15,-8 0-23 0,3-1-512 0,5 1 84 0,0-5 34 0,0 5 79 0,0 0 72 16,5-8 43-16</inkml:trace>
  <inkml:trace contextRef="#ctx0" brushRef="#br1" timeOffset="61156.4">19084 7668 1220 0,'0'0'415'0,"0"0"-21"0,0 0-46 0,0 0-15 0,0 0-38 0,18-1-11 0,-7-2-33 0,3 2-44 0,2-1-18 16,5-3-12-16,2 0-47 0,3 0-4 15,-2-2-19-15,2 0-27 0,-3 1 9 16,0-1-25-16,-2-1-12 0,-3-3 19 0,-2 5-4 16,-1-3-21-16,-2 0 31 0,-3 3-3 0,-3-2 13 15,1 2 5-15,-5 1 5 0,2-2-2 16,-1 5 30-16,-3-2-32 0,-1 4 19 0,0 0-22 16,0 0 2-16,0 0 41 0,-15 11 69 0,7-3-10 15,-3 5 0-15,-1 5-31 0,-1 1 16 16,-7 11-21-16,2 2-7 15,0-2-34-15,2 1-18 0,1-3-18 0,3-4-45 0,4 0-19 16,0-5-17-16,3 0-85 0,2 0-21 16,1-3-40-16,2-2-44 0,0 0-41 0,2-2-75 15,1-1-132-15,0-3-200 0,4 2-435 0,0-3 131 16,1-4 76-16,0 1 128 0,4-4 80 0,-3-1 38 16,3-4 95-16</inkml:trace>
  <inkml:trace contextRef="#ctx0" brushRef="#br1" timeOffset="61574.23">19605 7627 1448 0,'0'0'389'0,"0"0"-15"0,0 0-5 15,0 0 50-15,-6 18-19 0,4-8-14 0,1 2-50 0,-3 2-9 16,1 2-50 0,3 1-26-16,-1 4-11 0,-3 0-40 0,2-1-18 0,-2 5-67 15,0-1-51-15,1 2-64 0,0-1-44 0,1-3-25 16,0-2-59-16,2 0 10 0,-1-7 21 15,0 4-10-15,1-6 12 0,0-2 18 0,0-1 8 16,1-2 23 0,-1-1 13-16,1-5 7 0,-1 0 36 0,0 0 13 0,0 0 16 0,2-14-6 0,-2 2-2 15,2-6 15-15,4-7-13 0,-1-13-2 16,2-1 15-16,4-3-28 16,1 4 12-16,4 1 24 0,-1 6 0 0,3 0-3 0,3 7 5 0,-3 5 37 15,-3 7-19-15,-2 4 26 16,0 2 20-16,-3 6 34 0,4 0 9 0,-2 4 42 15,0 1-56-15,-1 5 40 0,1 3-15 0,-1 2-15 16,-2 4-88-16,-3-1 17 0,-3 5 6 0,-1-3-9 16,-2 4-3-16,-7 3-18 0,-4 7 0 15,-7 1-3-15,-2-2-28 16,-6 0-30-16,-7 4-44 0,-3-1-64 0,1-3-84 0,-2 1-75 0,9-9-82 16,1-2-237-16,5-5-556 0,4-6 135 0,3-5 85 15,5-3 121-15,5-4 58 0,5 0 82 16,-3-9 46-16</inkml:trace>
  <inkml:trace contextRef="#ctx0" brushRef="#br1" timeOffset="61682.77">19992 7997 1371 0,'4'4'400'0,"-4"0"-108"0,-7 3-170 0,0 1-833 16,-9 1 58-16,-17 6 67 0</inkml:trace>
</inkml:ink>
</file>

<file path=ppt/ink/ink8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15:18.817"/>
    </inkml:context>
    <inkml:brush xml:id="br0">
      <inkml:brushProperty name="width" value="0.05292" units="cm"/>
      <inkml:brushProperty name="height" value="0.05292" units="cm"/>
      <inkml:brushProperty name="color" value="#FF0000"/>
    </inkml:brush>
  </inkml:definitions>
  <inkml:trace contextRef="#ctx0" brushRef="#br0">15874 3377 1144 0,'15'-6'440'0,"1"3"-28"0,10-2-18 0,19-4-10 16,7 1-20-16,25-1-47 0,13-1-23 0,10 3-25 15,30-3-13 1,9 1-36-16,4 2-17 0,4 2-17 0,2 2-14 0,4-2-39 0,1 2-13 0,-6 3-43 16,-1 0-26-16,-7 0-61 0,-3 0-33 15,-32 3-34-15,-3 0-5 0,-5 1-82 16,-9-1-18-16,-6-1-253 15,-10 2-504-15,-18 0 86 0,-9-2 65 0,-11 1 161 16,-9-2 10-16,-8 0 67 0</inkml:trace>
  <inkml:trace contextRef="#ctx0" brushRef="#br0" timeOffset="237.55">16427 3518 1057 0,'21'-3'407'0,"10"1"-31"0,18-5-23 15,2 2-7-15,21-4-37 16,7 2-35-16,8-2-28 0,6-1-31 0,0 0-38 16,1 0-29-16,1 0-28 0,-3-1-33 0,-2 1-51 0,-3 0-23 0,-2-1 18 15,-4-2-134-15,-5-2-242 0,-10 5-500 16,-2-2 54-16,-13 1 54 0,-7-1 59 15,-6-3 86-15</inkml:trace>
  <inkml:trace contextRef="#ctx0" brushRef="#br0" timeOffset="733.51">18771 2014 998 0,'0'0'450'0,"-15"4"-61"0,5-1-7 0,-3 2-44 15,-3 1-44-15,-5 3-2 0,-3 0-52 0,0 0-7 16,1 1-20-16,-3-1-26 0,3 2-21 16,0-1 0-16,3-1-17 0,4 2-37 0,1-3 6 15,0 0-23-15,4 1 0 0,3-2-19 16,1 0-9-16,2-1-13 0,3 0 15 0,2 0-8 15,2-1 8-15,3 0-15 0,6 0 10 0,1-1-15 16,3-1 2-16,6 0-8 0,0 0 11 16,-1-2-28-16,6 1-6 0,0 0 24 0,4-2-49 15,-5 1 15-15,3 1-56 16,-4-2-8-16,2 0-15 0,0 0-36 0,-2 1-36 0,-7-1-33 16,0 0-46-16,-4 1-141 0,-2-2-317 0,-1 1-218 15,-2 0 72-15,-4-1 168 0,-4 1 4 16,6-3 86-16</inkml:trace>
  <inkml:trace contextRef="#ctx0" brushRef="#br0" timeOffset="942.01">18756 2071 1420 0,'0'0'510'15,"-8"9"-24"-15,3-2-97 0,0 3-13 0,-3 4-53 16,1 3-37-16,-3 3 4 0,-4 11-65 15,-1 2-25-15,3 0-42 0,-4 2-66 16,1 2-56-16,3 0-87 0,0 0-77 0,0 0-151 16,1-2-184-16,4 2-438 0,2-3 105 0,2-4 56 15,0-5 80-15,1 0 61 0</inkml:trace>
  <inkml:trace contextRef="#ctx0" brushRef="#br0" timeOffset="34825.06">675 4451 151 0,'0'0'51'0,"0"0"-10"0,0 0 43 16,0 0 36-16,0 0 3 0,0 0 26 16,0 0 2-16,0 0 110 0,13-7-15 15,-13 7 27-15,3-3-6 0,-3 3-86 0,5-3 9 0,-5 3 7 16,5-4-26-16,-5 4 11 15,2-3-18-15,-2 3 56 0,3-3-5 0,-3 3-18 16,0 0-7-16,6-1 30 0,-6 1-26 0,0 0 16 16,10 0-33-16,-10 0-1 0,7 4-27 15,-2 0-13-15,1 2 20 0,1-1-21 0,-1 5 16 16,1-1-38-16,0 1-11 0,1-1 3 0,-2 6-23 16,1-5 13-16,-1 0-13 0,1 3-8 15,-2-5 3-15,3 2-39 0,0-2-15 0,-1-2 21 16,6-1 2-16,-3-5 0 0,6-3-82 15,9-6 16-15,11-11-3 0,12-11 97 16,9-6-136-16,23-16 37 0,7-4-11 0,5-6-7 0,3-4-14 16,1-2-4-16,1 2-44 0,3-1-21 0,4 5-9 15,-1 2-47-15,-8 6-36 16,-5 5-73-16,-3 4-150 0,-20 8-17 0,0 7-466 16,-1-1 95-16,-7 5 94 0,-1 2 47 15,-3 3 66-15</inkml:trace>
  <inkml:trace contextRef="#ctx0" brushRef="#br0" timeOffset="38166.82">11311 4171 1197 0,'-6'-6'361'0,"1"6"-20"0,5 0-14 16,-13 4-19-16,3 2-24 0,-3 3 33 0,-3 4-7 16,1 3-26-16,-2 3-20 0,-2 8-93 15,2 2-35-15,3 2-3 0,2-1-13 0,2 2-15 16,0 0-15-16,7-5 2 0,-2-2-26 16,5-2-2-16,0-3-18 0,2-1-22 0,1 4 1 15,2-5-27-15,3 2-21 0,0-1-11 0,-1-5-12 16,3 2-31-16,1-3-20 0,-1-4-10 0,0 1-19 15,1-4-15-15,1 0-58 0,1-4-52 0,-1 1-118 16,-1-2-53-16,2-2-400 16,2-1 88-16,1 0 86 0,-1-4 49 15</inkml:trace>
  <inkml:trace contextRef="#ctx0" brushRef="#br0" timeOffset="38993.37">11628 4312 1172 0,'-7'0'425'0,"-4"1"-34"0,4 1-35 0,-1 4-54 15,-2-1-23-15,2 1-10 0,-2 1-39 0,2 3-30 16,1-1 5-16,-1 0-31 0,2 1-44 16,2 0 9-16,-2 0-27 0,4-1-17 15,-1-1-28-15,1-1 2 0,2-1-11 0,0 1-11 16,2-2-6-16,1 0-11 0,-1-3 1 0,3 1 15 15,-2-2 3-15,-3-1-19 0,10 0-4 16,-4-4 5-16,1 2 15 0,0-3-18 0,-1 0 5 16,-1-1-64-16,0 2 11 0,0-4 12 0,-2 1-2 15,2 1 23-15,0 3 10 16,-2-3 3-16,-1 0 4 0,0 2 4 0,-1 2-24 0,-1 2 23 16,0 0-2-16,5-1-6 0,-5 1 9 15,0 0-19-15,0 0 8 0,2 12-8 16,-2-9-15-16,1 2-18 0,1 1-20 0,1 1-46 15,-3-2-6-15,2 1-30 0,1 0-52 0,2 0-20 16,0-2-20-16,1-1-85 0,0 0-8 0,3 0-15 16,1-3 8-1,0 0 10-15,3-1 46 0,-3-1 46 16,3-1 51-16,-2-2 42 0,1-1 14 0,0 1 14 0,-1-1 63 0,-1-1 11 0,-2 1 68 16,0-2 40-16,-3 2 42 0,0-2 1 15,-3 2 30-15,1-1 1 16,-3 2-9-16,0-1 11 0,-3-1 5 0,1 3-5 15,-3-1-2-15,5 2-6 0,0 3 5 0,-7-4-43 16,7 4-10-16,-4-1 5 0,4 1-13 0,0 0-16 0,0 0-2 16,-5 10-5-16,6-7-23 0,1 4 28 15,3 0-8-15,-2 1-15 0,2 0 39 16,-2-2-34-16,1 2 0 0,-1 1 13 0,2-1-10 16,-3-2 2-16,1 2-18 0,0 0 3 15,-3 1-5-15,0-2-13 0,-3 1 23 0,3-2-41 16,-3 4 7-16,-1-4-7 0,1 1-15 0,0-2-23 15,-1 1-11-15,1-3-17 0,0 1-34 16,1-2-33-16,2-2-11 0,0 0-35 0,0 0-15 16,0 0-1-16,0 0-27 0,5-11-9 15,5 3-9-15,-3-1 7 0,2-3-18 0,6-5 3 16,0 1 58-16,1 1 11 0,-1-2 5 0,1 2 87 16,-2 3 36-16,-3 0 46 0,-3 4 66 15,0 2 32-15,-1-1-6 0,-4 3 20 16,-1 3 19-16,-2 1-16 0,0 0 3 0,0 0 30 0,0 0-33 15,-5 15 21-15,0-8-16 0,2 2-18 16,1-1-10-16,-3 1 16 0,5 0-19 0,-1-1-28 16,2 1 11-16,1-2-13 0,1 0-18 31,2-2-18-31,0 2-11 0,2-3-22 0,1-2-13 0,3 1-33 0,-1 0-29 16,3-3-35-16,0-1-52 0,2-2-64 0,1 1-104 0,-2-3-592 15,0 0 95-15,-2-2 77 0,1-1 12 0,0 1 106 16</inkml:trace>
  <inkml:trace contextRef="#ctx0" brushRef="#br0" timeOffset="39187.9">12087 4007 1290 0,'16'18'384'0,"-9"-5"15"15,4 5 51-15,2 3-27 0,1 11-80 0,4 5-44 0,-2 4 67 0,-1 9-84 16,-2 3-34-16,-2 3-28 0,-6 4-12 15,-5-10-32-15,-3 8-25 32,-10 2-64-32,-4 0-66 0,-4 0-67 0,-5-2-47 0,-4 2-42 0,-1-3-85 0,-5-1-151 0,-3 1-103 0,3-6-430 15,-7-3 73-15,-1 1 88 0,-5-5 96 16,-6-3 50 0</inkml:trace>
  <inkml:trace contextRef="#ctx0" brushRef="#br0" timeOffset="41948.03">629 6107 959 0,'0'0'384'0,"0"0"-7"0,0 0-37 0,0 0-10 0,0 0-28 0,3 18-20 16,-1-12-1-16,-2 2-48 0,2 2-5 15,2-1-20-15,-4 1-27 0,3 2-9 16,1-2-26-16,-1 1-18 0,2 1-3 0,0-5-15 16,2 4-7-16,1-3 7 0,1-2-13 0,1-1 8 15,2-5-8-15,8-2-12 0,4-7-4 16,17-10-4-16,8-12-3 0,6-7 80 15,23-22-123 1,4-5-11-16,10-9 8 0,5-3-15 0,9-4-10 0,-1-1-16 0,0-3-25 0,5 1-6 0,5 1-23 16,-6 3-2-16,-2 5-41 15,-7 4-30-15,-5 6-11 0,-8 9-21 0,-10 5-10 16,-18 14-74-16,-5 6-151 16,-8 4-463-16,-11 7 36 0,-3 3 96 0,-7 3 63 0,-4 4 117 15,-6 1 23-15</inkml:trace>
  <inkml:trace contextRef="#ctx0" brushRef="#br0" timeOffset="44671.09">814 7814 1174 0,'0'0'430'0,"0"0"-28"0,0 0-51 15,5 11-16-15,-2-5-22 0,-3-1-32 16,3 2 3-16,1-1-20 0,-1 0-21 16,0 0-28-16,4-3 0 0,-2 3-13 0,3-3-17 15,2-2-14-15,3-4-15 0,7-4-12 0,16-6-27 16,11-13 22-16,9-4-37 0,26-17-18 16,11-7 6-16,6-8-36 0,6-7-29 15,6-6-27-15,15-1-47 0,37-25 6 0,-34 22 30 16,40-19-33-16,-33 26-31 0,-1-1-7 0,-1 4-39 15,-6 10-26-15,-2 0-25 16,-14 9-2-16,-6 10-96 0,-12 5-166 16,-17 12-488-16,-5 5 66 0,-12 1 107 0,-12 6 85 0,-7 3 67 15,-5 3 125-15</inkml:trace>
</inkml:ink>
</file>

<file path=ppt/ink/ink8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4T16:16:22.133"/>
    </inkml:context>
    <inkml:brush xml:id="br0">
      <inkml:brushProperty name="width" value="0.05292" units="cm"/>
      <inkml:brushProperty name="height" value="0.05292" units="cm"/>
      <inkml:brushProperty name="color" value="#FF0000"/>
    </inkml:brush>
  </inkml:definitions>
  <inkml:trace contextRef="#ctx0" brushRef="#br0">1560 2477 709 0,'0'2'268'0,"0"-2"-12"0,8 7-15 0,1-4-6 16,5-1-14-16,3 1-1 15,9-3-8-15,7 0-28 0,19 0-17 0,7-3-14 16,23 0-9-16,0-3 14 0,5 2-25 0,3-2 1 16,10 3 35-16,-3-2-13 0,6 0-13 15,2 4 8-15,0-1-18 0,1 2-15 0,1 1-26 16,-2 1-10-16,2 3 5 0,-1 0-23 15,-6 1-8-15,-3 0-15 16,-2 1-5-16,-5 1-33 0,-5 1-32 0,-4-2 4 0,-6 3-16 16,-5-1-31-16,-19-1-15 0,-3-3-28 0,-6 3-31 15,-10-2-84-15,-6-1-80 0,-8-2-89 0,-2 1-405 16,-4-4 64-16,-4 0 47 0,-1 0 124 16</inkml:trace>
  <inkml:trace contextRef="#ctx0" brushRef="#br0" timeOffset="282.27">1795 2929 954 0,'47'-9'333'0,"19"-3"-28"0,7-1-24 0,6-2-20 16,5-2-2 0,29-7-57-16,3 4-13 0,-4-4 1 0,4 5-26 0,-3-1-6 0,-21 6-30 15,-2 1-15-15,0 0 0 0,1 1-26 0,-5 3-23 16,-5 2-8-16,-6 0-28 0,-19 4-23 16,-2-3-35-16,-5 5-22 15,-1-1-73-15,-12-2-90 0,-5 1-46 0,-8 1-471 0,-5 0-29 0,-2-1 91 16,-6-2 89-16</inkml:trace>
  <inkml:trace contextRef="#ctx0" brushRef="#br0" timeOffset="1365.24">2924 2175 373 0,'0'4'28'0,"0"-4"-319"16</inkml:trace>
  <inkml:trace contextRef="#ctx0" brushRef="#br0" timeOffset="1798.14">3552 2120 829 0,'0'0'240'0,"0"0"-9"16,0 0-47-16,0 0-35 0,0 0-65 0,0 0-56 15,0 0-33-15,0 0-61 0,0 0-60 0,0 0-232 16,0 0-285-16,0 0 108 15</inkml:trace>
  <inkml:trace contextRef="#ctx0" brushRef="#br0" timeOffset="2214.67">4173 2179 360 0,'0'6'21'0,"0"-6"-34"0,0 0-161 0</inkml:trace>
  <inkml:trace contextRef="#ctx0" brushRef="#br0" timeOffset="2573.81">4829 2221 578 0,'0'0'195'0,"-5"1"-1"0,5-1-17 0,0 0-44 16,-3 2-36-1,3-2-64-15,0 0-33 0,0 0-110 0,0 0-5 0,11 7-469 0,-7-7 67 16</inkml:trace>
  <inkml:trace contextRef="#ctx0" brushRef="#br0" timeOffset="2803.27">5477 2072 581 0,'0'0'20'0,"8"-1"-2"0,-5 1-525 15</inkml:trace>
  <inkml:trace contextRef="#ctx0" brushRef="#br0" timeOffset="6512.73">5687 3669 537 0,'6'-5'202'16,"-6"5"-69"-16,0 0-76 0,0 0-68 0,0 0-35 15,0 0-84-15,0 0-413 0</inkml:trace>
  <inkml:trace contextRef="#ctx0" brushRef="#br0" timeOffset="7011.64">6172 3669 780 0,'0'0'205'0,"0"0"-51"0,0 0-21 16,0 0-80-16,0 0-17 0,0 0-46 16,0 0-36-16,0 0-64 0,0 0-246 0,0 0-263 15</inkml:trace>
  <inkml:trace contextRef="#ctx0" brushRef="#br0" timeOffset="7364.95">6880 3606 148 0,'0'0'-67'0</inkml:trace>
  <inkml:trace contextRef="#ctx0" brushRef="#br0" timeOffset="7872.9">7718 3675 517 0,'0'0'125'0,"0"0"-79"0,0 0-20 0,0 0-208 16</inkml:trace>
  <inkml:trace contextRef="#ctx0" brushRef="#br0" timeOffset="8562.44">8656 3712 565 0,'0'0'231'0,"0"0"-50"16,0 0-73-16,0 0-67 0,0 0-87 0,6 3-351 15,-1-3-189-15</inkml:trace>
  <inkml:trace contextRef="#ctx0" brushRef="#br0" timeOffset="14626.99">7893 5714 1167 0,'0'-6'373'0,"2"1"75"0,-2 2-12 0,0-2-19 0,0 2-84 15,0-1-39-15,0 4-15 0,2-6-31 16,-2 6 18-16,1-6 54 0,-1 6-20 0,0 0-16 16,0 0-23-16,0 0-38 0,7 12 20 15,-6-5-49-15,1 6-7 0,1 4-2 0,-1 2-29 16,-1 1 8-16,1 5-16 0,-2 4-15 0,0-2-30 15,0 3-27-15,2-3-19 0,-4 1-91 0,2-1-30 16,2-6-48-16,-2 1-50 0,3-2-27 16,-3 0-46-16,0-1-16 0,3-3-67 15,-1-2-99 1,-2-2-113-16,0-1-460 0,0-2 112 0,0 1 25 0,0-3 119 0,0-2 81 0,0-1 67 16</inkml:trace>
  <inkml:trace contextRef="#ctx0" brushRef="#br0" timeOffset="14934.95">7777 5930 1259 0,'0'0'333'0,"0"0"-8"0,0 0-31 16,0 0 3-16,0 11-21 15,0-6-22-15,3 5-14 0,0-2-35 0,1 4 13 16,2 0-39-16,-2-1-20 0,2 1-16 0,-1 0-25 0,3-2 12 15,-3 1-14-15,2-2-32 0,1 1 8 16,2-1 8-16,-2-2-26 0,0 0-2 16,2-2-18-16,-2 0-3 0,2-1 5 0,1-3-28 15,-1-1-2-15,0-1-13 0,1 0-6 0,1-4-12 16,-1 0-13-16,1 0-35 0,1-3 1 16,0 2-17-16,-1-4-10 0,-1 2-23 0,1-1-50 15,2-1-32-15,-4 0-41 16,0 1-103-16,0 1-25 0,1 1-510 0,-4-2 98 0,4 3 15 15,-4 2 115-15,1-2 93 0</inkml:trace>
  <inkml:trace contextRef="#ctx0" brushRef="#br0" timeOffset="16122.14">10554 5545 1284 0,'0'0'420'0,"0"0"-26"0,0 0-35 16,2 16-39-16,-2-8-8 0,1 6-20 15,1-1-23-15,-2 5-31 0,0 2-11 0,0 2-17 0,0 0-38 16,0 1-19-16,0 3-25 16,-2 2-48-16,2-6-26 0,-1 3-42 0,1 3-45 0,-2-8-51 15,2 1-62-15,0 0-105 0,-5-4-154 0,2 1-501 16,3-4 105-16,-2 0 54 0,2-1 56 16,0-5 110-16</inkml:trace>
  <inkml:trace contextRef="#ctx0" brushRef="#br0" timeOffset="16463.18">10462 5849 941 0,'0'0'428'0,"0"0"2"0,0 0-49 0,0 0-30 0,0 12-8 0,2-4-38 0,-2 3-42 0,5 1 6 0,-2 2-105 0,0 5-21 15,2-1 3-15,-2 0-13 16,1-1-30-16,2 0-1 0,-2 1 8 0,4-4-38 16,-2 2 2-16,1-6-7 0,1 1-16 0,0-1-10 15,2-4-3-15,0-2-10 0,0-1-10 16,1-3-5-16,4-3-16 0,0-2-20 0,1 1-18 16,-1-7-5-16,3 2-13 0,0-3-25 0,0-1-21 15,0-3-13-15,-2 2-15 0,1-2-46 16,-2 1-57-16,-2-2-48 0,1 1-41 15,-7 0-151-15,8 2-320 16,-5 2 97-16,1-1 36 0,-1 3 110 16</inkml:trace>
  <inkml:trace contextRef="#ctx0" brushRef="#br0" timeOffset="17613.59">13023 5543 1256 0,'0'0'325'0,"-2"-4"-15"0,2 4-3 15,0 0-33-15,0 0-18 0,4 11-28 0,-3-3-34 16,1 3-9-16,3 2-19 15,-2 4-7-15,-1-1-11 0,1 5-25 0,2 1-8 0,1 1-20 16,-4-2-31-16,0 4-23 0,1-1-3 16,-3 0-61-16,0-3-18 0,0 1-40 0,0-1-42 15,0 1-51-15,0-3-87 0,0-5-90 0,0 2-404 16,0 0-8-16,3-3 97 0,-6 0 57 0</inkml:trace>
  <inkml:trace contextRef="#ctx0" brushRef="#br0" timeOffset="17957.25">12954 5845 742 0,'0'13'333'0,"0"-8"38"0,2 3-39 0,1 1-35 15,-3 1-5-15,3 1-43 0,2-2-106 0,0 3-7 16,0-3-16-16,2 1-13 0,-1 0 3 0,1-2-12 16,1 0-22-16,4-1-14 0,-3-1 4 15,3-4-12-15,1 3-5 0,-2-4-29 0,1-1-9 16,1 0-11-16,0 0-31 0,0-1 33 0,0-5-60 15,2 2-9-15,-4 1-20 0,1-2-67 16,-1-1-33-16,1 1-20 0,-2-1-62 0,0 0-2 16,1 3-428-16,2-3 52 0,-6-1 32 0</inkml:trace>
  <inkml:trace contextRef="#ctx0" brushRef="#br0" timeOffset="22380.82">14587 865 985 0,'0'-6'433'15,"0"6"-24"-15,-2-5 49 0,2 5-58 0,-8-2-24 16,8 2-48-16,-8 1-29 0,8-1-7 0,-13 6-41 16,8-2-13-16,-5 4-100 0,2 1-10 15,-2 2 2-15,0 2-12 0,2 2-5 0,0 0 53 16,-2 4-25-16,5-2 5 0,-3 4-16 0,0 1-22 16,4 1-16-16,-2-4 5 0,1 4-33 15,5-5 8-15,-3 2-3 0,6-5-5 16,-3 2-41-16,3-2 8 0,1 1-11 0,2-2-22 15,2-3-8-15,2 1 2 0,0-5-18 0,0-1 1 16,1-1-16-16,1-2-8 16,1-2 21-1,3-2-13-15,-1-2 28 0,3-3-10 0,0-2 3 0,0-2-8 0,3-3 15 0,-3 0-3 16,-1-2 16-16,-1-3 13 0,-1 0-46 16,-2 0 20-16,-3-4 16 0,0 0 2 0,-5-2-10 15,-2 4 33-15,-3-2-21 0,-3 0-22 0,1-1 18 16,-3 0-11-16,-3 0 5 0,-2 2 29 15,0 2-18-15,0 0-3 0,0 5 13 0,1 2 23 16,-1 1-28-16,-2 1 45 0,4 3-40 0,-2 0-23 16,2 3 33-16,-2 2-7 0,2 1-24 0,3 2 16 15,-3 2 2-15,3 2-12 16,-2 1 17-16,3 3-17 0,0 1 10 0,1 1 10 0,0 3-5 16,3 1-21-16,3 0 16 0,0 4-21 0,1 1 16 15,2 2 12-15,-1 0 1 0,2 0-6 0,1 1 8 16,2-1 0-16,-2-1-12 15,2-1 14 1,-2 1-22-16,0-1 7 0,2-2 5 0,-5-3-4 0,3 2-19 0,-1-3-2 0,-1-3-18 16,1 0-26-16,-4-1-13 0,2 0-58 15,0-1-26-15,0-3-36 0,0 0-82 16,-2 0-130-16,2-2-597 0,-2-2 70 16,2 2 96-16,-2-3 98 0,-3-1 64 0,7 2 38 0</inkml:trace>
  <inkml:trace contextRef="#ctx0" brushRef="#br0" timeOffset="22715.81">14977 1101 1402 0,'0'4'423'0,"2"2"-27"0,-2 0-40 0,0 3 5 0,3 0-61 16,-1 2-24-16,-2 1-35 0,1 0-19 0,-1 2-25 16,0-1-23-1,-1 2-33-15,1 0-36 0,-2-2-8 0,2 0-43 0,-3 0-59 0,3-1-46 16,0 0-44-16,-2-1-43 0,2-2-121 15,-3 1-107-15,1-2-455 0,2 0 14 16,-3 0 106-16,0-1 38 0,1-1 82 0</inkml:trace>
  <inkml:trace contextRef="#ctx0" brushRef="#br0" timeOffset="23722.5">14418 2120 1180 0,'-8'-4'427'0,"8"4"-61"0,-5-1-13 0,5 1-12 16,0 0-57-16,-12 6-10 0,8-2-87 16,0 3-16-16,1 0-17 0,0 3-14 0,0 2-14 15,-1-1 17-15,1 4-28 0,0 2-15 0,1 0-10 16,0 1 5-16,2 1-14 0,-3 0-6 15,3 1-1-15,0-1-15 0,3 1 5 0,-1-2-16 16,-2 0 4-16,2-1-19 0,1 0-2 16,2-3-8-16,0-1-16 0,0-1 1 15,0-3-18-15,1 1 2 0,1-2 5 16,1-2-7-16,-1-1 13 0,1 0 7 0,2-5-15 0,-1 0-13 16,3-3 3-16,1-1 22 0,-3-1-9 15,6-2-1-15,-4-3-7 16,1 2 5-16,0-6 0 0,0 2-21 0,-3-2 13 0,0-2 8 0,-4-1-13 15,-1 1 8-15,0-2-3 16,-2-5 26-16,-4 3-16 0,-4-5 9 0,2 0-24 0,-7-11 18 16,2 9-8-16,-4-4 8 0,2 7 5 15,-1 3-5-15,1 2 10 0,0 2-2 0,0 3-18 16,2 2 30-16,-2 1-2 16,-1 3-5-16,3 1 13 0,-2 2-19 0,3 2 14 0,-1 3-11 15,0 1 0-15,0 1-5 0,1 3 11 0,0-1-11 16,1 3 3-16,-2 2-3 0,4-2 5 15,1 3 0-15,-2 3 18 0,5 0-15 0,-1 1 0 16,-1 1 12-16,4 2-4 0,-1 1 15 0,4 0 0 16,-2 1 2-16,4 3-30 15,1 0 17-15,-1 2-17 0,1-4 0 0,2 1 20 16,1 0-13-16,1 0-7 0,-2-1 23 0,1-1-21 0,-1-1-8 16,3 0 14-16,-5-4-1 0,2 0-15 15,-3 0 15-15,1-1-22 16,2-1 32-16,-2-2-30 0,-3 0 0 0,1-1-26 0,2 0-20 15,-1-2-36-15,-4 1-8 0,2-3-33 16,2 1-66-16,-4 0-116 0,2-3-122 0,0 3-490 16,0-3 129-16,-2 0 35 0,2 0 80 0,-2-1 53 15</inkml:trace>
  <inkml:trace contextRef="#ctx0" brushRef="#br0" timeOffset="24117.6">14777 2369 1395 0,'7'-2'483'0,"-2"0"-37"0,1 2-32 0,-6 0-40 16,15 2-90-16,-10 0 5 0,3 1-40 15,-3-1-19-15,3 3-12 0,-3 0-14 0,-2 3-9 16,-3 2-16-16,0 1-10 0,-1 1-18 0,-1 1 56 15,-3 3-20-15,0 0-23 0,-3-1-3 16,3-3-27-16,2 0-7 0,-2 0-14 16,2-1 10-16,-1-2-33 0,3-3-16 0,-1 3 8 0,-1-2-11 15,3 0-25-15,0-2 6 0,0-1-4 0,3 1-9 16,-3-2 9-16,3 0-14 16,1 1 1-16,2-1-9 15,-1-2-8-15,0 2 5 0,3-3-8 0,-1 0-2 0,3 0 8 0,-2-3 12 16,5 3-97-16,-5-1-3 0,2 1-7 0,0-2-8 15,0 1-36-15,-2 1 1 0,0 0-22 16,0-2-19-16,-3 0-32 0,3 2-17 16,-1 0-23-16,-7 0-47 0,7-1-107 0,-7 1-123 15,8-1-478-15,-8 1 99 0,0 0 93 16,0 0 127-16,6 2 19 0,-6-2 101 0</inkml:trace>
  <inkml:trace contextRef="#ctx0" brushRef="#br0" timeOffset="25074.27">14377 3398 1295 0,'0'0'389'0,"-11"4"-39"0,7 1-4 0,0 1-39 0,0 3-30 16,-2 3-11-16,2 4-31 15,1 0-30-15,0 3-3 0,-1 2-25 0,3 0-34 16,-1 3 3-16,2 0-23 0,0-2-36 0,2 3 3 15,-1 2-24-15,3-3-15 0,2-1-25 16,1-1-31-16,-2-3 20 0,3-5-43 0,-3 0-3 16,5-2-15-16,-2-2 10 0,2-1-20 0,0-2 0 15,1-2 23-15,-1-1-14 0,0-4 22 0,3 0-6 16,-5-3 0-16,7-2 14 16,-4 1 4-16,1-6 5 15,1 0 23-15,-5-1-7 0,0-2-5 0,1-4 27 0,-6-1 1 0,2-1 0 16,-4-6-3-16,-2-3 39 0,-4-13-42 15,0 3 6-15,-5-1 15 0,0 3-13 0,-3 3 18 0,0-1-25 16,2 11 5-16,1 2 15 0,-2 2 25 0,2 3-30 16,-1 1 5-16,1 3 18 15,0 3-30-15,2 2 7 0,-2-2 10 0,2 6-2 16,3 2-29-16,-3-1 13 16,1 4-2-16,7-2-21 0,-9 8 16 0,7-2-8 0,-2 3 5 0,4 4 13 15,0 3-34-15,2 3 11 0,0 1 25 16,0 6-27-16,6 9 22 15,0 2 8-15,2-1 5 0,-1-2-10 0,3 2 25 0,-2 1-28 16,0 0 14-16,1-3 4 0,1 1-41 16,-2-2 21-16,1-2 17 0,-3-3-22 0,0-5-3 0,-1 0 31 15,-2-1-57-15,3 0-2 16,-3-6-10-16,0 1-24 0,0 0-17 0,0-3-11 16,1-1-45-16,-4-3-32 0,1-1-4 0,-1 0-41 15,1-2-78-15,0 0-142 0,-9-1-39 0,9-4-476 16,0 2 110-16,-3-4 43 0,4 3 106 15,-4-3 68-15</inkml:trace>
  <inkml:trace contextRef="#ctx0" brushRef="#br0" timeOffset="25654.89">14754 3888 1466 0,'4'1'466'0,"2"3"-49"0,-1-3-35 0,3 3-50 16,-3 0-17-16,2 1-33 0,-1 1-8 0,-1 0-57 15,0-3-22-15,0 2-24 16,0 1-89-16,0-1 21 0,0 1-21 0,1 0-8 16,-2-3-15-16,-1 2 0 0,2-1-16 0,-2-1-2 15,2 1 10-15,0 0-15 0,-2 0 31 0,2 0 9 16,0 0 14-16,0 0 2 15,-2 1 18-15,2-3 77 0,-2 3-3 0,-1 1-10 0,0-1-74 16,1 2 0-16,-6-1 5 0,3 2 10 0,-4 0-15 16,-2 2-13-16,1-1-5 0,-5 0-36 0,2 1-15 15,-4 1-13-15,1-1-31 16,-2-1-64-16,0 0-38 16,3-2-46-16,0-1-60 0,-1 1-78 0,-1-4-169 0,4 0-556 0,0-1 64 15,-2-1 77-15,5-1 110 0,5 0 76 0,-10-3 78 16,7-2 76-16</inkml:trace>
  <inkml:trace contextRef="#ctx0" brushRef="#br0" timeOffset="26562.46">14789 3757 1384 0,'3'-4'371'0,"-3"4"1"0,0 0-22 0,8 0-35 15,-8 0-5-15,0 0-8 0,13 4-38 0,-8-2 66 16,2 1-33-16,-1 1 2 0,-1 0-53 16,-3 1 7-16,4 0-22 0,-4-1-114 0,3 2 9 15,-5 1-16-15,0 2-13 0,3-2 0 16,-6 1-20-16,3-1 10 0,-3 3-33 0,-1-3-8 16,3 0-31-16,-4 0-17 0,2-1-39 15,-1 1-36-15,-2 0-38 0,1-2 2 0,0 1-51 16,0 0-22-16,0-1-60 0,3-3-115 0,-6 2-82 15,2-1-466-15,4 0 67 16,2-3 72-16,-5 0 61 0,5 0 102 0</inkml:trace>
  <inkml:trace contextRef="#ctx0" brushRef="#br0" timeOffset="27255.62">15377 2483 1016 0,'0'0'414'0,"-5"-2"47"0,2 0-54 0,3 2-26 16,0 0-40-16,0 0-11 0,0 0-30 0,0 0-19 16,0 0-27-16,23 0-29 31,-12 0-36-31,1 0-7 0,4 0-23 0,-1 0-95 0,5-1-8 0,1 2 5 0,2-1-17 0,3-1-8 15,-1 1-3-15,-2 0-28 0,0 0-23 16,-2 0-23-16,-3 0-25 0,0 0-29 0,0 0-30 16,-6 0-8-16,-1 0-88 0,1 0-83 0,-4-1-106 15,-2 2-452-15,-2 2 91 0,-3 1 75 16,-1-4 100-16,-1 5 20 0</inkml:trace>
  <inkml:trace contextRef="#ctx0" brushRef="#br0" timeOffset="27503.5">15344 2604 742 0,'-8'3'333'0,"5"-2"-21"16,1 0-5-16,2-1-20 0,0 0-21 0,0 0 59 15,10 7-8-15,-5-6-43 0,3 1-23 0,4-1-13 16,-2-1-7-16,3 2-119 0,3-3 3 16,2 1-2-16,0-1-6 0,2 1-22 0,1-1-11 15,2-2-10-15,-1 3 3 0,-1-2-1 0,0 1-17 16,-1-3-31-16,-2 3 2 0,-2-1-2 15,-3-1 3-15,-3 3-49 0,0-2-26 16,0-1-33-16,-2 2-39 0,-3-1-76 0,-2 1-128 16,-3 1-46-16,0 0-474 0,0 0 84 0,0 0 24 0,-10-5 105 15,10 5 76-15</inkml:trace>
  <inkml:trace contextRef="#ctx0" brushRef="#br0" timeOffset="28018.53">15464 2333 970 0,'2'-2'384'0,"-2"2"-21"0,-2-6 21 0,2 6-5 16,0 0-44-16,-8 0-43 0,8 0-13 15,-13 3-36-15,3 0-7 0,0 3-47 16,-3 1-10-16,3-3-2 0,-5 5-24 0,2-2-19 0,-1 2 14 16,0 0-35-16,-2 1-11 0,3 0-10 15,-2 1-2-15,2-1-1 0,0 1-30 0,0-1 10 16,0-1 8-16,3 2-31 0,0-3 18 15,5 1-8-15,-1-1-12 0,2-2 2 16,1 2-10-16,-2-1 15 0,5 2-5 0,-2-2-5 16,4 0 5-16,-2 1-15 15,2 1 12-15,4 1-4 0,-1-1-6 0,2 2-15 0,-1-2-3 16,4 3 16-16,-3 1-95 0,3 0 15 16,1 0 9-16,-3-1 29 15,4 1-14-15,-1 0 7 0,-1 0 15 0,3 0-4 16,-3 2 12-16,1-4-5 0,-1-1 12 0,2 1-12 15,-4-1 13-15,2-1-28 0,-2-1 28 0,0 2-13 0,-3-4 23 0,0 0-13 16,2-1-7-16,-1 0-9 16,-2-1 27-16,0 2-34 0,0-3-18 0,-1 2 3 15,0-2-41-15,-3 0-49 0,0 2-58 0,0 0-80 16,0 1-172-16,0-2-547 0,-3 4 61 0,1-4 174 16,-1 1-15-16,-2 1 80 0,4-1 91 15</inkml:trace>
  <inkml:trace contextRef="#ctx0" brushRef="#br0" timeOffset="28990.31">16495 2242 1187 0,'0'0'456'0,"-3"-1"-34"16,3 1-25-16,0 0-54 0,-10 6-18 0,7-1-15 16,1 3-36-16,-1 1-16 0,1 2-43 15,-4 1-33-15,4 3-8 0,-1 0-20 16,-2 4-37-16,5 0-22 0,-2-1-18 0,-1 1 0 16,3-1-42-16,-3 0-1 0,3-4-47 15,0 2-2-15,0-3-1 0,0-1 21 0,3-2-30 16,-3 0 7-16,2-3 5 0,-1 0 8 0,1-1 0 15,-2-3 7-15,2 0 1 0,-2-3 7 0,0 0 31 16,0 0 8-16,0 0-1 0,6-11 11 16,-6 3 3-16,0 0 17 0,0-8-20 0,2 2 13 15,-2-4 2-15,2-3-33 0,-2 2 20 0,1-4 6 16,2 3-3-16,-1-1-16 0,1 2 39 16,-1-1-74-16,1 3-10 15,-1 3-6-15,1 0 52 0,-1 3-19 0,1 1 6 0,-3 1-18 0,0 2-10 16,3 1 18-16,-3 2-6 15,2 2 16-15,-2 2-11 0,0 0-2 0,0 0 16 16,13 6-24-16,-10 0-2 16,1 2-16-16,-1 3-17 0,2-1-39 0,-2 3 18 0,5 1-25 15,-1-1-9-15,-2 1-4 16,3 0 18-16,0-4-3 0,0 3 7 0,-1-4 11 0,1 0-8 0,-1-2 24 16,1-2-16-16,-3 0 10 0,3 0 0 15,-3-3 8-15,3-1 20 0,0-1 8 0,-1-3 26 16,1 0-3-16,-1-4 28 0,1 1-33 15,2-2 18-15,-2-3 15 0,0 2 18 0,-1-3-33 0,4-1 13 16,-6 2-3-16,3 0-3 16,-1 2 1-16,-1-1 17 15,2 1-20-15,-4 3 20 0,2-1-12 0,-2 2-16 0,0 2-7 16,-2 1 25-16,-2 2-12 0,8 0 4 0,-8 0-5 16,5 5 6-16,0 1-11 0,-3 1-2 0,1 3 7 15,-1 0-2-15,1 4-8 0,-3 1 0 0,3 1 1 16,-3-1 4-16,0 0-36 15,0 6-38-15,0-4-20 0,0-1-23 0,0-1-11 0,2-2-46 16,-4 1-23-16,4 0-48 0,-4-4-44 16,4 0-44-16,-2-1-109 0,-2-1-75 0,4-1-473 15,0-4 104-15,2 1 85 0,0-1 59 16,-1 1 82 0</inkml:trace>
  <inkml:trace contextRef="#ctx0" brushRef="#br0" timeOffset="29315.34">17036 2423 1274 0,'2'-7'492'0,"1"1"-42"0,-1-1-7 31,-2 0-49-31,0 0-41 0,0 2-58 0,-2 0-57 0,2-1 10 0,0 2-30 0,-5 0-11 0,4 1-30 16,-4 0-3-16,5 3-28 15,-10 0 2-15,10 0-7 0,-10 4-13 0,3 2-10 16,-1-1-6 0,0 4-27-16,3 0-24 0,-1 2 11 0,-1-1-13 0,4 2 0 0,-1 0 7 15,0-1-33-15,4 2 16 0,0-3-18 16,4 0-1-16,-2 0 6 0,2 0-2 0,2 1-22 0,-1-1-24 16,3-3-14-16,0 0-43 0,0-1 7 15,2-1-35-15,0-1-28 16,-3-2-29-16,4-1-33 0,-1 1-33 0,-3-2-82 0,4 0-164 0,-1-3-478 15,0 2 94-15,0-1 33 0,-2-1 113 16,2 1 118-16,-2-1 33 0</inkml:trace>
  <inkml:trace contextRef="#ctx0" brushRef="#br0" timeOffset="29935.37">17489 2205 1412 0,'0'0'446'0,"0"0"-34"0,0 0-28 15,0 0-33-15,-3 14-24 0,1-9-30 16,2 5-20-16,0 2-37 0,-2 3-27 0,2 1-11 16,-3 3-20-16,3 1-19 0,0 0-12 15,-3 1-10-15,3 0-51 0,0-3 5 0,0-1-8 16,3-1-59-16,-3-1 2 0,0-3 4 0,3 1-19 15,-1-4-10-15,0 1-5 0,-1-3-8 0,1 1 26 16,1-2-10 0,-3-2 2-16,3 0 6 0,-3-2 2 0,0-2 2 0,0 0 1 0,0 0 4 15,0 0 1-15,0 0 20 0,0 0-36 0,-8-11-15 16,5 5 15-16,-2 0 13 16,0 1 0-16,-3 0 0 0,3 0 8 0,-2 0-8 15,-1 1-8-15,0-1 1 0,-2 4-16 0,2-1-5 16,-2 1 15-16,-1 1-10 0,1 0 5 15,0 1 3-15,3 2 4 0,-4 1 4 16,4 1-6-16,-4 0-10 0,4 2 0 0,1-1 13 0,-1 0-13 16,1 1-5-16,4-1-21 0,0 2-7 15,1-3 7-15,2 1-2 0,1 0 0 0,3-2 0 16,0-1-18-16,3-1-16 0,2 1 6 16,1-3-21-16,1-3 18 0,1 2 11 0,2-3-14 15,-2 1 14-15,3-4 27 0,-1 1-12 16,1-5 15-16,-1 3 28 15,3-4 18-15,-3 3-17 0,-2 1 22 0,0-1 3 0,-3 4 23 0,-2-2 10 0,0 3-3 16,-1-1-12-16,-4 2 2 0,2 2-7 16,2-1 7-16,-7 2 13 15,0 0-10-15,11 5-33 0,-9-1 12 0,1 1 19 0,0 2-34 16,-3 0-11-16,0 2-19 16,2 0-32-16,-2 0-37 0,0 2-47 0,0 0-44 0,0-1-50 15,0 0-124-15,0-2-171 0,2 1-432 0,-2-1 102 16,3-2 74-16,-2 1 82 15,1-2 61-15,0-3 47 0</inkml:trace>
  <inkml:trace contextRef="#ctx0" brushRef="#br0" timeOffset="30463.91">17897 2362 970 0,'0'0'453'0,"-18"1"20"16,11 1-27-16,-4 2-52 0,1 1-20 0,-3 2-24 0,0 1-35 15,1 0-41-15,1 1-16 0,1 1-30 0,0 2-26 16,0-1-17-16,2 1-24 0,0-4-18 16,3 2-38-16,2-1-15 0,1-1-29 0,1 0 1 15,1-2 15-15,1-1-36 0,4-1-6 0,0-1 24 16,0-3-15-16,2 1-14 15,-7-1 6-15,19-4 8 0,-7 2 2 0,-1-3 18 16,-1 0-8-16,0-1 16 0,1 1 0 0,1 0-3 16,-4-1-3-16,2 2-15 0,-2 0 6 15,-1 1 22-15,-1 2-5 0,-1-3-7 0,2 3-3 16,-4-1-3-16,-3 2-2 0,10 1-3 0,-10-1 11 16,8 4-26-16,-3-1-31 15,0 2-28-15,-2 1 11 0,0-2-19 0,1 2-64 0,-1 0-35 16,0 1-54-16,0 2-72 0,1-4-148 0,-1 2-241 15,2 0-440-15,0 0 194 0,-2-2 28 0,2 1 88 16,0-3 86-16,-2 2 73 16</inkml:trace>
  <inkml:trace contextRef="#ctx0" brushRef="#br0" timeOffset="30909.95">18099 2365 1717 0,'0'0'522'0,"0"0"-48"16,-10 13-62-16,7-7 0 0,1 1-46 15,0 2-28-15,-1-1-3 0,3 3-133 0,0-2-22 16,-3 1-11-16,1-1-21 0,2 2-33 0,-2-2 11 16,2 1-14-16,-1-2-7 15,1-2-5-15,0 0-16 0,0 0-9 0,1 0 12 0,-1-2-13 16,0-2 13-16,2 2 5 0,3-2 46 0,-5-2 26 16,7 1-5-16,-7-1 18 0,11 0-29 15,-4-1-7-15,-7 1 10 0,11-1-105 16,-6 1 20-16,3-1-35 0,1 2 5 0,0 1-13 0,-1-1 26 15,-1 2 2-15,2 2-31 16,-3-2-9-16,2 4 30 0,0-2-34 0,-1 1-17 16,-1-1-8-16,1 1-33 0,-2 0-16 15,-2 0-40-15,2-1-39 0,0-1-54 0,0 2-28 0,-2-1-45 16,2-2-50-16,-2 2-148 0,-1-2-402 16,3 0-143-16,-2-1 102 0,2 0 72 0,-5-2 136 15,10 0 68-15,-10 0 39 0</inkml:trace>
  <inkml:trace contextRef="#ctx0" brushRef="#br0" timeOffset="31913.1">16464 838 1254 0,'10'-1'499'0,"0"1"-20"0,0 0-39 0,1 1-46 0,4 1-28 16,3 0-36-16,0 2 8 15,0 2-54-15,0 1-35 0,-3 0-73 0,1 0-25 16,-4 4-15-16,-1 0 15 0,-3 2-28 0,-4-1-3 16,-1 2 69-16,-6 1-25 0,-2 4-13 0,-4 1-7 15,-2 1-19-15,1-2-17 0,-3-1-9 16,0-1 19-16,0-2-26 0,1-3-20 0,2-1-3 16,4-2-15-16,-2-2 23 0,1 1-31 15,2-2 5-15,0-2-20 0,1 2 22 16,0-2-14-16,1-1-3 0,3 0-3 0,-3 0-18 15,3-3 8-15,3 5-10 0,-3-5 10 0,8 2 10 16,-1 0 1-16,1-2-34 0,0 0 33 16,3 0-5-16,-1 0 8 0,4-1-21 0,-1-2 13 15,1 3-20-15,0-4-13 0,0 3-15 16,-1-1-44-16,1 0-49 0,0 0-2 0,-4 0-39 0,1 1-51 16,-1-3-33-16,0 3-84 15,0-4-167-15,-2 5-584 0,2-3 73 0,-5 2 124 0,3-1 85 16,-3 0 44-16,2 0 94 0,-4-1 75 15</inkml:trace>
  <inkml:trace contextRef="#ctx0" brushRef="#br0" timeOffset="32380.09">17097 879 1441 0,'0'0'445'0,"-10"-1"-28"0,10 1-28 0,-13 3-43 0,3 0-111 15,0-1-15-15,0 3-20 0,-4-1-26 0,4 1-18 16,1-1 3-16,-3 2-18 0,2-2-23 0,3-1-1 16,-1 3-17-16,3-1-26 15,0 0 21-15,2 0-31 0,0 1-3 0,3-2-17 16,3 1 10-16,0 0 5 0,2 1-16 0,0-2 3 15,3 0 11-15,2 3 4 0,1-1-18 16,1 0-4-16,0-2 15 0,-1 1-13 0,2-1 12 16,-3 1 24-16,1-1-38 0,-1 1 14 15,-3-2 16-15,-1 0 18 0,2 2-2 0,-4 0 107 16,0 0-41-16,-2-1 38 16,-3 3-25-16,-1 0 5 0,-3 2-8 0,-1-1-17 0,-4 3-4 15,0 1-14-15,-3 0-37 0,0-1-9 0,-7 2-1 0,2 0-5 16,0 0-38-16,0-3 5 15,-3 1-41-15,1 0-46 0,5-5-67 0,-3 2-48 16,5-3-38-16,-2 0-65 0,2-1-56 0,3-7-225 0,0 6-564 16,2-3 86-16,2-2 137 0,6 2 82 15,-7-4 62-15,4-1 58 0,3-2 83 16</inkml:trace>
  <inkml:trace contextRef="#ctx0" brushRef="#br0" timeOffset="32580.99">17466 817 1197 0,'0'0'556'0,"0"0"-54"15,8 7-6-15,-8-3-114 0,0 1-19 0,0 3-17 16,0 0-47-16,-2 2-20 16,2 3 10-16,-3 1-46 0,2-1-20 0,-3 4-18 15,1 1-31-15,-2 0-56 0,0 4-47 0,0-4-32 16,0 3-85-16,-3 0-49 0,3-2-74 15,0-2-74-15,-3-2-205 0,3 1-545 0,-2-1 125 16,1-2 67-16,1-2 110 0,0-3 97 16,-3 1 15-16</inkml:trace>
  <inkml:trace contextRef="#ctx0" brushRef="#br0" timeOffset="32732.32">17245 966 844 0,'0'0'312'0,"-4"-2"-63"0,4 2-65 15,0 0-140-15,0 0-206 16,0 0-432-16,0 0-12 0</inkml:trace>
  <inkml:trace contextRef="#ctx0" brushRef="#br0" timeOffset="32898.24">17486 1053 1167 0,'3'1'432'0,"-3"-1"-38"0,0 0-51 15,0 0-30-15,8 1-62 0,-8-1-57 0,0 0-74 16,0 0-79-16,6 2-166 0,-6-2-236 16,0 0-379-16,2 3 19 0,-2-3 109 0,2 3 84 15</inkml:trace>
  <inkml:trace contextRef="#ctx0" brushRef="#br0" timeOffset="33828.54">19479 2335 877 0,'10'-6'436'0,"-5"2"-45"16,0 1-35-16,-2 1-10 0,0-1-29 0,-3 3-33 0,4-3-15 16,-4 3-34-1,0 0-22-15,0 0-11 0,0 0-30 0,0 0-32 0,-17 8 9 16,9-2-31-16,-2-1 10 0,-1 1-16 0,-1 1-17 15,-1 0 7-15,0 2-28 0,1-1 6 0,1 0-29 16,-2-2 10-16,3 2-7 0,3-3 5 16,-2 4-23-16,2-2-10 0,2-4 14 15,0 4-24-15,2-1-3 0,3-1 33 0,0 1-28 0,0-1 15 16,3 1-25-16,2 0-1 0,0 0 14 0,2-2 7 16,-2 1-15-16,5 2-13 15,-4-1 20-15,4 0-10 0,-2-2 8 0,-1 1 5 0,1-1-18 16,0 1 36-1,-3-2-7-15,0 0 14 0,-2 1-40 0,2-1 30 0,-2 1-9 16,-1-1 27-16,-2 1-20 0,0 1-6 0,0-5 9 16,-2 6 4-16,-4 0-14 0,3-3 29 31,-4 2-17-31,0 1-2 0,-3 0 2 0,-1-1-26 0,1-1 0 0,-3 1 3 0,0-1-15 16,1 0-31-16,1 1-31 0,-2-1-23 15,0 1-28-15,1-2 0 0,4 1-31 0,-2-1-38 0,2 0-46 16,3-2-54-16,-1 0-41 0,6-1-105 0,0 0-8 15,-7-2-463-15,7 2 87 0,0 0 75 16,7-8 99-16,1 3 56 0</inkml:trace>
  <inkml:trace contextRef="#ctx0" brushRef="#br0" timeOffset="34196.74">19538 2402 939 0,'0'0'348'0,"0"0"28"16,0 0-20-16,0 0-41 0,0 8-13 0,0-8-41 15,-1 10-8-15,-1-4-22 0,2 2-21 0,0 0-39 16,0 1-7-16,3 1-3 0,-1-1-22 0,1 2-24 16,0-1-8-16,4 0-22 15,-2-2-6-15,3 2 16 0,0-3-29 0,2-2-7 0,2 2 5 16,-1-4-25-16,2 1 4 0,-3-2-2 16,3-2-15-16,0 0 15 0,-1 0 12 0,-1-1-9 0,4-1 45 15,-2-3-14-15,-3 0 9 16,2 2 13-16,-4-5 24 0,-2 4-37 15,-1-5 54-15,0 3-35 0,-2-1-16 0,-1-1 8 0,-4 0-19 16,2-1 1-16,-2 1 2 0,-4 1-20 16,1 1 5-16,0-1-7 0,-3 0-1 15,-1 2-13-15,-3-1 6 0,2 3-3 0,0 0-84 16,0 2 12-16,-1 1 1 0,-1 1-4 16,-4-1-4-16,5 3-23 0,-3 2-31 0,1 0-28 0,0 0-16 15,0 2-17-15,3 1-39 0,0-2-23 16,2 1-72-1,0 2-171-15,3-3-161 0,0 1-297 0,5-1 104 0,-1-2 34 0,2 0 59 16,-1 1 92-16</inkml:trace>
  <inkml:trace contextRef="#ctx0" brushRef="#br0" timeOffset="34441.15">20068 2384 1105 0,'0'0'456'0,"0"0"46"0,0 0-19 0,3 7-55 0,-3-2-37 16,-3 0-30-16,1 2-25 0,-1 1-62 15,-2 2-1-15,2 1-32 0,-1 3-28 0,-1-2-21 16,-1 3-41-16,1 2-31 0,0-2-31 16,-2 3-42-16,1-2-53 0,1 0-22 15,-2 0-36-15,1-2-53 0,3 0-78 0,-1-2-128 0,-4-1-186 16,6 0-448-16,-2-4 148 0,2 1 67 15,0-2 74-15,-1-1 17 0,3 0 96 0</inkml:trace>
  <inkml:trace contextRef="#ctx0" brushRef="#br0" timeOffset="34605.61">19913 2531 1328 0,'-4'-3'320'0,"4"3"-46"0,0 0-64 16,-4-2-34-16,4 2-66 0,0 0-94 0,0 0-208 16,0 0-507-16,0 0 62 0,0 0 109 15</inkml:trace>
  <inkml:trace contextRef="#ctx0" brushRef="#br0" timeOffset="34742.15">20168 2606 1190 0,'0'0'404'0,"3"0"-12"0,-3 0-47 0,0 0-45 0,0 0-21 16,8 1-64-16,-8-1-74 0,0 0-39 0,0 0-64 15,10-3-86-15,-10 3-162 0,0 0-200 16,3-1-375-16,-3 1 63 0,0 0 164 0,0 0 28 16</inkml:trace>
  <inkml:trace contextRef="#ctx0" brushRef="#br0" timeOffset="35977.4">16784 3705 1180 0,'0'0'330'15,"0"0"-28"-15,15-5 38 0,-4 4-33 0,4-1-33 16,-2 1-87-16,5-1-33 0,0 2-8 0,0 0-3 15,0-3-13-15,-3 3-30 0,1 3 13 0,-1-3-11 16,-3 2-7-16,-1 2 23 0,2-2 7 16,-6 5-5-16,1-1 6 0,-2 0-11 0,1 4-5 15,-4-1 28-15,-1 3-17 0,0 0 2 16,-4 1 5-16,2 0-39 0,0 3 3 0,-2 0 8 16,2 0-8-16,-3 3-38 0,0-1 10 0,-1 0 10 15,2-1-33-15,-2-2-15 0,2 0-6 16,0-2-27-16,2-1-19 0,-4 0-20 15,4-1-23-15,-2-3-31 0,0 2-15 0,2-1-57 16,-1-3-40-16,1-1-95 0,-2 1-82 0,-1-1-75 16,3-3-437-16,0-2 110 0,0 5 90 0,0-5 30 15,0 0 60-15</inkml:trace>
  <inkml:trace contextRef="#ctx0" brushRef="#br0" timeOffset="36180.03">16799 3975 1118 0,'-5'-4'358'0,"5"4"-27"16,-5-3-6-16,5 3-23 0,3-5 89 0,-3 5-53 0,5-4 10 15,1 2-43-15,1 1-34 0,3-2-20 0,0 1-107 16,4 1-4-16,-2-3 1 0,4 3-36 16,-1 0-15-16,3-3 2 0,-3 1-23 0,3 0-44 15,2 2-25-15,-4-1-48 0,-1-2-55 0,3 2-63 16,-2-2-95-16,2-3-197 0,-1 5-405 15,-1-1 29-15,-3 1 56 0,3 1 92 0,-2-3 76 16</inkml:trace>
  <inkml:trace contextRef="#ctx0" brushRef="#br0" timeOffset="36582.15">17507 3731 1236 0,'-12'0'496'0,"12"0"-43"0,-16 3-33 16,9 1-23-16,-4-3-39 0,-2 4-27 15,1-1-24-15,-1 0-67 0,2 0-68 0,-2 3-8 16,3-4-18-16,0 3-8 0,3-1-8 0,-1 0-17 16,2 0-8-16,4 2-18 0,0-1-23 15,2-2 20-15,0 1-32 0,4 1-4 0,2 0 9 16,2 0-22-16,-1 0 11 0,3 1-7 0,4-1-19 15,-2 0 16-15,0 1-8 16,-1-1-12-16,2-2 25 0,-3 2-18 0,1 0 15 0,-4-3 16 16,1 2 30-16,-1-1 93 0,-4 1 7 15,-1-1-63-15,1 2 32 0,-6 0-27 0,3 1 12 16,-2-1-49-16,-3 1 27 0,-3 2-40 0,0-2 11 16,-2-1-46-16,0 2 0 15,-3-2 3-15,0 0-49 0,-2 0-26 16,-1 1-41-16,1-2-22 0,0 1-27 0,2-2-55 0,0 0-42 15,0-3-66-15,3 2-161 0,2-3-633 0,-1 1 64 16,3-2 139-16,6 1 79 0,-8-3 82 0,6 1 58 16,2-3 39-16</inkml:trace>
  <inkml:trace contextRef="#ctx0" brushRef="#br0" timeOffset="36816.48">17797 3670 1461 0,'0'0'484'0,"7"6"-3"0,-6-1-74 16,1-1-10-16,-2 2-118 0,3 3-8 0,-1 0 49 15,-2 4-31-15,0 3-28 0,-2-2-35 0,-1 4-24 16,0 2-13-16,-4 3-27 16,5 1-22-16,-6-2-47 0,3 3-47 0,-3-2-39 0,0-1-43 15,3-1-74-15,-5-1-71 0,4-2-173 0,-1-4-618 16,2 3 60-16,-3-5 101 0,3-2 105 15,0 0 40-15,0-3 80 0</inkml:trace>
  <inkml:trace contextRef="#ctx0" brushRef="#br0" timeOffset="36964.86">17594 3823 1320 0,'-2'-4'494'0,"2"4"-76"0,0-6-11 0,0 6-72 16,2-6-92-16,-2 6-69 0,5-3-120 16,-1 2-195-16,3 1-701 0,-7 0 97 0,13 4 62 15,-6 2 89-15</inkml:trace>
  <inkml:trace contextRef="#ctx0" brushRef="#br0" timeOffset="37100.86">17970 3934 1123 0,'6'1'423'0,"0"1"53"0,-4 1-46 15,1-3-28-15,-3 0-49 0,7 3-41 16,-7-3-61-16,3 1-64 0,-3-1-87 16,2 6-131-16,-2-3-458 0,3 2-376 0,-2 0 94 15,-2 0 62-15,1 0 64 0,-3-1 110 0</inkml:trace>
  <inkml:trace contextRef="#ctx0" brushRef="#br0" timeOffset="41797.58">14633 173 1144 0,'0'-7'379'0,"0"4"51"0,0 3-34 0,-2-6-27 16,2 6-21-16,0 0-36 0,-3-3-43 16,3 3-3-16,0 0-12 0,0 0-34 0,0 0-10 15,-3 13-6-15,1-6-9 0,-1 3-44 0,1 2-8 16,2 1-20-16,-1 1 5 0,1 2-31 15,0-1 19-15,0 3-37 0,1-1-2 16,-1 0-31-16,2 2-18 0,3-2-10 0,-2 1-15 0,2-3 12 16,0-1-18-16,0 1-2 0,0-4-28 15,1-2 25-15,-2 1 1 0,4-2-19 0,-2-1 31 16,1-2-15 0,1-3-8-16,0 0-18 0,-1 0 16 0,-2-2 12 0,3-3 11 0,-3 1-6 15,3 0-18-15,0-2 11 16,-1 0 0-16,-4-1 15 0,2-2-13 0,-2 0-2 0,-1-2 28 15,-2 0-15-15,0-3 7 0,-2-1 10 0,-1 0-12 16,0-3-13-16,-2 0 15 16,-2-2-5-16,2 2 3 0,-6-4 7 0,4 3-10 0,1 2-2 15,-1 0 38-15,-1 0-18 0,1 2 8 0,1 2-8 16,1 1 20-16,0 3-35 0,2 0 20 16,-1 2-10-1,0 1 0-15,2 1 5 16,2 3 13-16,-5-2-11 0,5 2-9 0,0 0-3 0,0 13 35 0,3-7-30 0,-1 1-10 0,1 1 33 15,2 2 5 1,0 2-26-16,2 0 24 0,-1 1 4 0,-1 3-24 0,1 0-1 0,1-3-3 16,-2 0 3-16,0 2-77 0,0-3-2 0,0 0 41 15,1 1-21-15,-1-2-15 16,0-1 12-16,0 3-35 0,-2-4-8 0,1 1-41 0,-1-1-5 16,2 0-30-16,-3-1-40 0,2-1-35 0,0 1-97 15,-1-1-115-15,0-3-464 0,-1 2 34 16,1-2 173-16,-1-1-22 15,4-2 64-15,-2 2 68 0</inkml:trace>
  <inkml:trace contextRef="#ctx0" brushRef="#br0" timeOffset="42128.83">14913 375 1267 0,'0'0'409'0,"0"0"-40"0,0 0-19 16,0 0-9-16,-6 15-34 0,6-11-64 15,-2 0 3-15,4 1-46 0,-2 1-24 0,3 1-4 16,2 0-108-16,-2-1-3 0,2 1-10 16,0-1 11-16,2-1-34 0,1 1 13 0,0-3-8 15,-1 1 8-15,1-4 13 0,0 3-16 16,0-2 13-16,2 0-2 0,-2-3 10 0,-1-1 13 0,1 1 20 16,-3-1-3-16,0-2 50 15,1 2-37-15,-1-2-7 0,0-1 84 0,-3 2-10 16,-2-2-8-16,-2 0-20 0,-1 0 17 0,1 0-45 15,-1 0 7-15,-2-1-17 0,0 3-6 0,-3-2-41 16,0 2-2-16,1 1-31 16,-1 0-23-16,-2 0-20 0,0 2-37 0,0 0-42 15,-1 0-14-15,4 1-61 0,-1 0-69 0,0 2-128 16,0-1-223-16,3 2-412 0,0-3 143 16,5 0 62-16,-5 4 59 0,5-4 148 0,0 0 10 15</inkml:trace>
  <inkml:trace contextRef="#ctx0" brushRef="#br0" timeOffset="43230.74">16369 143 1323 0,'0'0'420'0,"0"0"-29"0,0 0-58 0,-1 17-16 16,-3-11-17-16,2 3-39 0,-4 0-31 15,4 2-15-15,-4 0-30 0,2 0-1 0,-2 1-69 16,4 0-46-16,-3-2 6 0,1 1-6 0,-3 0-10 16,4 0 22-16,-1-2-24 0,1 1-19 15,3-3 13-15,-3 2-23 0,1-2 16 0,2-1 2 16,0 0-2-16,0-2-14 0,0 2 29 0,0-2-3 16,2 1-12-16,1-1 0 0,0 1-1 15,1-3-7-15,2 2-11 0,-1-2 4 16,0 1 6-16,3-1-9 15,-1-1-5-15,3 0-19 0,-2-1-10 0,2 1-10 0,-2-1-43 0,3-1-18 16,-1 1-16-16,0 0-46 16,-2-1-28-16,2 0-84 0,-2 1-82 0,-1-1-78 0,3 1-495 15,-2-1 171-15,0-1 17 0,0 1 111 0,-1-1 56 16</inkml:trace>
  <inkml:trace contextRef="#ctx0" brushRef="#br0" timeOffset="43990.94">16641 154 1075 0,'0'-4'468'0,"0"4"-35"0,0 0-39 15,0 0-26-15,0 0-40 16,0 0-44-16,-3 14-25 0,3-8-1 0,0 3-27 0,0 0-14 16,0 1-43-16,3 2 16 0,0-1-37 15,-1 1-15-15,0 0 8 0,3 1-48 0,-2-1-6 16,3-2-21-16,1 1 14 0,0-2-24 16,-1 1 8-16,1-3-28 15,1 0 8-15,0 0-5 0,0-3 2 0,-1 1 5 0,3-3-13 16,-2 0 11-16,2-1-3 0,-2-1 13 0,2-3-31 15,-2 1-49-15,4-2 11 0,-3 0 8 0,3-2 20 16,-2 0-8-16,1-1 77 0,2-3 28 16,-3 0-13-16,1 0-27 15,-1-2 22-15,0 0-13 0,-3-1 1 0,1 4-3 16,2-3-18-16,-2 3 0 0,-3-1 15 0,0 2-105 0,0 1 24 16,1 0-29-16,-1 1 39 0,-2 1-16 0,-1 1 18 15,0 0-12-15,1-1 25 0,-1 3-10 0,-1-2-18 16,-1 4 28-16,4-4-34 15,-4 1 34-15,0 3-7 0,4-4 9 0,-4 4-12 0,2-3 10 16,-2 3-5-16,0 0-10 0,2-4 5 16,-2 4 10-16,0 0 13 0,3-3-31 0,-3 3 2 15,0 0 11-15,0-3 0 0,0 3-13 0,0 0 8 16,0 0-8-16,0 0 18 16,3-4 10-16,-3 4-25 0,0 0 23 0,0 0 0 0,0 0-21 15,0 0 0-15,2-3-2 0,-2 3-1 0,0 0 14 16,0 0 5-16,0 0-16 0,0 0 3 15,0 0 7-15,0 0 8 0,0 0-18 16,0 0 3-16,0 0-3 0,0 0-15 0,0 0 31 16,0 0-18-16,0 0-6 0,0 0 14 0,0 0-6 15,0 0-13-15,0 0 24 0,0 0-16 0,0 0 0 16,0 0 18-16,0 0-23 0,0 0 0 16,0 0 3-16,0 0-21 0,0 0 15 0,0 0 11 15,0 0-42-15,0 0-24 0,0 0-24 0,0 0-34 16,0 0-45-16,0 0-38 15,0 0-27-15,0 0-60 0,0 0-78 0,0 0-181 0,0 0-535 16,0 0 117-16,0 0 134 0,0 0 69 16,0 12 58-16,0-12 93 15,-2 6 64-15</inkml:trace>
  <inkml:trace contextRef="#ctx0" brushRef="#br0" timeOffset="45193.25">14379 4795 1305 0,'0'-6'412'0,"-2"5"-23"0,2 1-33 15,-1-4-31-15,1 4 0 0,0 0-48 16,0 0-29-16,0 0-77 0,-10 11-20 0,6-4-12 16,0 0 6-16,0 5-19 0,1-1 35 0,-2 1 16 15,3 2-26-15,2 3-21 0,0-3 6 0,-1 4-46 16,1 0-29-16,1 1 0 15,1 0-12-15,3 0-21 0,0-1-15 0,1 0-8 16,-1-3-25-16,2-2 30 0,3 0-20 0,-5-2-11 16,6-3 6-16,-1 1-6 0,-2-3-7 0,2-4 33 15,0-2-25-15,3 0-1 0,-2 0 24 16,1-3-11-16,-1-1 1 0,-1-4 22 16,2-1-13-16,-1-3 6 15,-1 2 15-15,-3-5-7 0,-1 0 1 0,-3-3 1 0,-1-1 8 0,-2 0-13 16,-2-4 10-16,-4-2-5 0,1-1-13 15,-8-6 28-15,3 7-7 0,2 2 4 0,-2 3-17 16,0 0 18-16,0 3 0 0,0 4-11 0,2 0 21 16,0 2-8-1,0 3 6-15,1 1-24 0,1 2 6 0,-1 3-11 0,4-1 23 0,3 3-12 16,-10 4 7-16,7-1-5 0,-2 3-5 0,1 3-5 16,3-2 20-16,-2 5-18 0,3-2 1 0,3 5 7 15,-2 0-3-15,1 3-5 16,3 1-2-16,0 5-8 0,0-1 29 15,3 0-34-15,-1 1 30 0,1 11-12 0,3-3 10 0,-4-6-10 16,1-2-2-16,2 1 27 0,-2-4-22 0,0 2 9 16,-1-3-1-16,1 2-19 0,-3-6 8 15,0 1 10-15,2-3-5 0,-4 0-5 16,2-3-36-16,-2 0 0 0,2 1-15 0,-3-5-3 0,-1 0-31 16,4-1-22-16,-3 1-21 0,-1-1-49 15,1-1-66-15,0-2-121 0,-2-3-150 0,3 3-505 16,-3-1 118-16,5 1 112 0,-3-1 65 0,-2-2 53 15,0 0 115-15</inkml:trace>
  <inkml:trace contextRef="#ctx0" brushRef="#br0" timeOffset="45648.04">14795 5090 1190 0,'0'0'514'15,"0"10"-56"-15,-2-4-22 0,-2-1-22 16,0 3-37-16,-2 0-37 0,-1 2-105 0,-1 3-7 0,-2-3-20 16,0 2-1-16,1-1-23 15,0 0-20-15,1-3 5 0,0 2-31 0,1-1-17 0,4-2-14 16,-4 2-2-16,3-3-15 0,2 0-6 16,-1-2-2-16,1 2-21 0,2-1-7 15,0 0 8-15,0-3-19 0,3 2 11 0,1-2-6 16,2 3-27-16,1-4 2 0,1-1 49 0,2 0-42 15,3 0 1-15,0 0-10 0,3-1 4 0,-1-1 1 16,3-1-29-16,0 1 47 0,0-4-24 16,-1 1-27-16,1 3-47 15,-2-4-3-15,-1 2-40 0,-2 1-36 0,-3-2-5 0,3 0-49 0,-2-1-20 16,-4 1-85-16,0 2-120 0,-3-3-121 16,3 2-334-16,-4-3-4 15,1 1 114-15,-3-2 86 0,1 2 46 0</inkml:trace>
  <inkml:trace contextRef="#ctx0" brushRef="#br0" timeOffset="45919.43">14926 5050 1052 0,'-3'-3'432'16,"3"3"-35"-16,-8-1 25 0,8 1-53 15,-8 4-34-15,4-2 8 0,1 4-2 0,-2 2-39 16,-1 1-5-16,2 4-105 0,1-1 17 0,0 2 4 16,-2 4-42-16,3 0 78 0,-1 2-32 15,0 1 14-15,3 0-19 0,-2 0-20 0,2-1-31 16,0 2 8-16,0-3-107 0,0 1 12 15,5-1-31-15,-5-1-12 0,3 0 20 0,-3-3-23 16,2-2 1-16,0 1-17 0,-1-1-27 16,1-3-13-16,1 0 2 0,-3-3-15 0,2 2-18 15,-1-1-15-15,-1-2-5 0,0-2-21 0,0 1-15 0,0 0-21 16,0-2-40 0,0-3-6-1,0 5-33-15,0-5-28 0,-1 6-85 0,1-6-112 0,-2 3-528 0,2-3 111 0,0 0 76 16,0 0 126-16,0 0 48 0,0 0 47 0</inkml:trace>
  <inkml:trace contextRef="#ctx0" brushRef="#br0" timeOffset="46605.55">16892 4725 1395 0,'0'0'491'0,"0"0"-92"0,0 0-20 0,-6 12-26 15,4-5 77-15,2 1-23 0,-2 5-20 0,-1 2-118 16,3 2-26-16,-2 3 8 0,2 0-18 0,-3 6-59 16,1-2 0-16,-1 1-10 0,3 2-31 15,-3-2-3-15,3 2-20 0,-2 1-33 16,-4-3-16-16,4-4-48 0,0 1-36 0,-1-3-18 0,0-1-48 15,3-5-29-15,-2 1-38 0,0-1-31 16,2-3-51-16,0-3-85 0,0 0-127 0,2-4-88 16,-2-2-352-16,2 1 50 0,-2-2 110 0,8-8 45 15,-2-1 98-15</inkml:trace>
  <inkml:trace contextRef="#ctx0" brushRef="#br0" timeOffset="46852.78">17058 4735 1126 0,'-2'-4'489'0,"0"1"-52"16,2 3-30-16,0 0-28 0,0 0 3 16,0 0-24-16,0 0-115 0,-3 11-15 0,0-1-11 15,1-1-1-15,1 4 70 0,-1 3-25 0,-3-1-38 16,3 4-18-16,-1 3-6 0,3-2-22 16,-5 5-26-16,2-1 5 0,1-4-28 0,2 4-36 15,-3-3-20-15,0 2-26 0,1-3-38 0,0-1-18 16,1 0-47-16,0-2-12 0,-3-3-44 15,4-1-32-15,0-2-68 0,-2-2-45 16,4 1-152-16,-4-4-176 0,4 0-359 0,-2-4 39 16,0 2 138-1,0-4 62-15,0 0 79 0,0 0 53 0</inkml:trace>
  <inkml:trace contextRef="#ctx0" brushRef="#br0" timeOffset="47091.25">16776 4969 1277 0,'0'0'484'0,"-7"0"-85"0,7 0-64 0,0 0-20 0,0 0-46 0,0 0 20 16,0 0-5-16,0 0-28 0,0 0-8 15,0 0-22-15,0 0-16 0,23 2 56 16,-13-1-5-16,1 1-61 0,3-1 12 0,3-1-35 16,1 0 4-16,4 1-27 0,-1-1-34 15,2-1-12-15,0 1-52 0,2-1-38 0,-4-2-49 16,2 3-25-16,0-2-46 0,-5 0-55 15,-3-1-35-15,4 1-104 16,-3-4-158-16,-2 1-490 0,-3 4 33 0,1-4 102 0,-2 1 87 16,1 1 72-1,-1-1 41-15</inkml:trace>
  <inkml:trace contextRef="#ctx0" brushRef="#br0" timeOffset="47434.16">17336 4780 1469 0,'0'0'545'16,"0"0"-110"-16,0 0-43 0,0 0-19 0,-3 11-6 16,3-5-27-16,0 0-41 0,0 4 65 15,0-2-34-15,0 3-46 0,2 0-23 16,-1 1-33-16,1-1-10 0,1 0-14 0,1 1-27 0,-1-1-21 16,3 0-25-16,-2-2 20 0,2 1-26 15,-2-3-10-15,2-3-2 0,-1 0-26 16,3 0-8-16,2-3-9 0,-2-1 9 0,4-3-13 0,-1-1-96 15,-1-1 27-15,6-2 8 0,-1-4-30 0,3-1 4 16,-2-2 11-16,-2 1-3 0,4-4 11 16,-5 0 25-16,0 2-41 15,0-4 10-15,0 3-28 0,-3-1-28 0,0 2-28 0,-2 2-23 16,0 2-13-16,-3 1-18 0,0-1-31 0,0 4-4 16,-2-1-19-16,-1 0-33 0,1 4-43 15,-1-2-32-15,-2 3-140 0,0 0-15 0,-2-1-445 16,2 4 32-16,0 0 111 0,0 0 112 0,0 0 59 15,-13 6 21-15</inkml:trace>
</inkml:ink>
</file>

<file path=ppt/ink/ink8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0:50.029"/>
    </inkml:context>
    <inkml:brush xml:id="br0">
      <inkml:brushProperty name="width" value="0.05292" units="cm"/>
      <inkml:brushProperty name="height" value="0.05292" units="cm"/>
      <inkml:brushProperty name="color" value="#FF0000"/>
    </inkml:brush>
  </inkml:definitions>
  <inkml:trace contextRef="#ctx0" brushRef="#br0">16072 2853 1034 0,'-18'0'547'16,"5"0"-42"-16,0 0-47 0,8 0-41 0,-1 0-46 15,6 0-10-15,0 0-15 0,14-6-78 0,-1 1 6 16,12-1 18-16,16-2-85 0,10-1 47 15,16-1-14-15,8-3 32 0,1 2-70 0,7 1-20 0,-4-2 94 16,5 2-109-16,4 1-39 16,-2 2-13-16,2-2 3 0,-3 2-6 0,-3-1 19 15,-3 2-31-15,-2-1-29 0,-3 1-71 0,-4-4 5 16,-12 7-33 0,-4-3-59-16,-3 2-20 0,-7 0-9 0,-8 0-19 0,-6 0-67 0,-9 3 4 0,-3 1-4 15,-5-1-18-15,-3-1-82 0,-4 2-20 16,-6 0 22-16,0 0-48 0,0 0-103 0,-23 7-35 15,4 0-366-15,-9-1 61 0,-13 3 72 0,-10 1 66 16,-18 3 87-16</inkml:trace>
  <inkml:trace contextRef="#ctx0" brushRef="#br0" timeOffset="308.3">16158 2978 929 0,'-51'13'361'0,"10"-1"-82"0,0-1 41 0,11-3-11 15,7-3-35-15,5 0-26 0,5-2 6 0,3 2-39 16,6-1-13-16,4-4-43 0,0 0-3 0,27-2 18 15,1-5 51-15,23 0 11 0,19-5-113 16,13-1-1-16,5 1-6 0,4-4 9 0,0 1-17 16,24-1 12-16,-24 1 21 0,0 2 40 0,1 0-45 15,-6 0 5-15,-5 0-16 0,-5 2-15 0,-10 1-10 16,-1 1 3-16,-17 3-37 16,-3-1 24-16,-10 2-54 0,-10 2 4 0,-1 2-16 15,-7-3 1-15,-2 2-7 0,-1-2-33 0,-2 2 4 0,-1 1-37 16,-4-1-6-16,1 1-18 0,-2-1-25 15,-2 2-36-15,0-3-26 0,-5 3-25 16,5-2-11-16,-5 0-84 0,0 2-156 16,0 0-507-16,2-2 98 0,-2 2 53 0,0 0 123 0,0 0 38 15,-10-3 67-15</inkml:trace>
  <inkml:trace contextRef="#ctx0" brushRef="#br0" timeOffset="8329.07">11031 13226 903 0,'-8'-1'277'0,"1"1"-52"0,7 0 5 0,-11 0-17 0,3 0 2 0,8 0 2 15,-10 1 67-15,10-1-33 0,-10 0-3 16,10 0-22-1,-8 0-24-15,8 0-20 0,0 0-21 0,-7-1-20 0,7 1 7 0,0 0-84 16,0 0 0-16,0 0 18 0,0 0-15 16,31-4 2-16,-13 0-3 0,2 0-17 0,8-3 15 15,16-1-8-15,5-1 18 0,12-4-10 0,1 3-23 16,4 1 13-16,4-2 95 0,6 1-24 0,-1-1-20 16,1 2-5-16,1-2 18 0,1 3-47 15,-2-2-4-15,-1 1 38 0,-4 0-46 0,4 1 15 16,-6 0-26-16,0-1-4 0,-2 1 2 0,-13 2-18 15,0 0-7-15,-3 1-26 0,-2-1 2 16,-3 0-7-16,0 1-36 0,-13 1-18 0,-2-1-18 16,-5 2-18-16,-4-1-36 0,-3 1-12 0,-1 1 20 15,-3 0 0-15,-2 0-33 0,-1-1-3 16,-4 2-54-16,-3 0-115 0,-2 0 13 16,-3 1-79-16,0 0-438 0,0 0 97 0,0 0 31 0,-26 1 113 15,11 1 71-15</inkml:trace>
  <inkml:trace contextRef="#ctx0" brushRef="#br0" timeOffset="8754.65">10782 13508 903 0,'3'1'356'0,"-3"-1"-13"0,18 0-108 0,-5-1-12 0,9-2-21 0,7-2 85 16,22-4-59-16,13-2 20 0,10-2-28 0,3 3-5 0,8-4 5 15,2 2-23-15,5 0-94 16,24-5 22-16,-24 4-17 16,0 1-19-16,1 1-27 0,-4-2 17 0,1 2 70 0,-3-1-24 0,-2 1 13 15,-3 3-2-15,-2-3-36 0,-4 0-3 0,1 2-15 16,-7 0 10-16,-3 3-23 0,-16-2-2 15,2 2 2-15,-4 0-13 0,-2 0-12 0,-9 3 7 16,-7-1-8-16,-6 0-7 0,-2 1-10 16,-2 1-16-16,-4 0 8 0,-3 2-31 0,-2 0-2 0,-1-2 12 15,-1 0-27-15,-2 2-22 0,-3 0-1 16,-5 0 4-16,10-1-33 0,-10 1-2 0,0 0-27 16,0 0-11-16,0 0-11 0,3-2-19 15,-3 2-27-15,0 0-89 0,0 0-40 0,0 0-88 0,0 0-426 16,-11 5 46-16,11-5 72 0,-2 4 85 15,2-4 84-15</inkml:trace>
  <inkml:trace contextRef="#ctx0" brushRef="#br0" timeOffset="43260.9">9121 8136 1274 0,'-3'-4'338'0,"3"4"-41"0,-4-1 8 15,4 1-19-15,0 0-25 0,-6-6-35 0,6 6-34 16,0 0 10-16,0 0-8 0,0 0-12 0,0 0 0 16,0 0-67-16,5 13 18 0,0-8 0 15,1-2-28-15,2 2 5 0,4 1-7 0,3 0-32 16,3 1 6-16,5 3-8 0,0-1 23 0,0 0-20 16,0 0-26-16,3 0 23 15,0-1-20-15,2-1-3 0,-2 0-10 0,-1 0-3 0,3-4 0 16,-4 0 75-16,-1 0-16 0,-1-3-28 0,4 1-51 15,0-1 5-15,-3-4-21 16,5 2 11-16,-4-2-11 0,4-2 6 0,0 3 2 16,-3-7-3-16,1 3 6 0,-1-1-3 0,9-6-18 15,-9 3 26-15,-2 0-8 0,6-7 13 0,-6 4-15 16,-2 0-13-16,-4-2 5 0,1 1 12 0,-2-3 14 0,4-6-16 16,-5 3 15-16,-4 2-4 0,2-3-4 15,-3 2-6-15,1 0 24 0,-4-2-32 16,0-2 9-16,-1 3-12 0,-1-3 21 0,0 5-21 15,-2-2 22-15,-1 0-14 16,1 1 5-16,-3 1 7 0,0 0-20 0,-3 1 20 0,1-1-10 16,-1 1-17-16,0 0 24 0,-2 2-12 15,0-1 0-15,0 0-5 0,-3 2 8 0,0-2 2 0,1 1 10 16,-1 0-12-16,-2 1 17 0,0-2-20 0,-3 4-5 16,0-4 8-16,0 3-1 15,-5 0 19-15,3 1-37 0,-3-2 42 0,5 6-44 16,-2-1 33-16,2-3 1 0,-3 5-11 0,2-2 13 0,0 2-10 15,-1-3 4-15,2 4 4 0,-2-1-14 16,-1-2 3-16,3 4-7 0,-1-1 15 16,-2 2-11-16,3 2 8 0,0-2-12 0,-2-1 45 15,2 1-43-15,-3 4 16 0,2-2-1 16,0-1-12-16,-1 3 12 0,-1 0-10 0,2-1 3 0,-2 2-11 16,1-1 26-16,-1 1-25 0,1 1 15 15,0 1-8-15,2-1 20 0,0 0-25 16,-3 3 46-16,1-1-41 0,2 1-2 0,0 0 7 15,-4 3-7-15,4 1 7 0,-3 0-5 0,1-1 18 16,2 3-18-16,-2-3 11 0,-1 1-27 16,3 4 9-16,1-2 15 0,-1-1 15 0,0 3-31 15,2-2 11-15,-1 0-13 0,-1 1 18 16,3 1-3-16,0-1-8 0,-1-1 24 0,1 1-5 0,0 0-16 16,2-4 15-16,0 5-2 0,0-5 0 15,-2 4-10-15,3-3-1 0,2 2 1 0,-1-1 5 16,-1-2 5-16,2 3-26 0,0-2 31 0,-1-1-8 15,1 2 1-15,0-2-11 0,0 1 3 0,2 0 12 16,-1 2 1 0,-2-2-42-16,4 2 44 0,-1-3 8 0,0 0-13 0,1 3-21 15,0-1 16-15,1-3-3 0,-1 2-7 0,2 2 7 0,-3-2-2 16,3 2 22-16,0-2-24 0,0 3-9 16,3-3 23-16,-1 4 6 0,-2-1-16 0,3 1 6 15,2-2 25-15,-2 5-36 0,-1-3 5 16,4-2 8-16,-2 2-18 0,2 0 13 0,-2 0 10 15,2-1-16-15,-1-2-2 0,1 3 8 0,1-1-15 16,-2-3 25-16,0 2-18 0,0-1 20 0,1-3-17 16,-2 3 10-16,-1-2 5 0,2-2-10 15,-2 2-23-15,-1-4 20 0,3 3 5 0,-2-2-4 16,-1-2-19-16,1 3 18 0,-2-2 16 0,1 1 4 16,-2-4-32-16,2 5-26 0,1-3-8 15,-3-2-51-15,3 4-51 0,-1-1-16 0,0-3-53 16,-2 0-54-16,3 4-103 0,0-3-138 15,-3-1-514-15,4 1 72 0,-4-1 109 0,0 0 113 16,0 0 47-16,11-6 76 0,-6 3 36 0</inkml:trace>
  <inkml:trace contextRef="#ctx0" brushRef="#br0" timeOffset="43800.85">9505 6839 1474 0,'1'-3'473'16,"-1"3"-60"-16,0 0 6 0,0 0-48 16,0 0-38-16,0 0-15 0,5 14-32 0,-3-7-114 15,-2 3 2-15,3-1-36 0,-3 3-12 16,2 1-27-16,-2 3-22 0,3-2-28 0,-3 1-39 15,2 3-15-15,1-1-28 16,-3 2-62-16,2-5-13 0,-2 2-66 0,3-1-33 0,-3-2-128 16,0 3-54-16,0-4-436 0,3 1 93 0,-1-5 44 15,0-1 63-15,-2-1 70 0</inkml:trace>
  <inkml:trace contextRef="#ctx0" brushRef="#br0" timeOffset="44104.89">9595 6799 1182 0,'0'-13'463'0,"0"2"-2"0,-2 3-54 0,2 0-8 15,0 4-107-15,0-1-23 0,-3 0-16 0,3 5-32 16,0 0 4-16,0 0-23 0,0 0-18 0,0 0-17 16,0 0 4-16,-3 17-17 0,1-10-34 15,2 5-10-15,0-4 10 0,-2 4-30 0,2-1-6 16,0 1 1-16,0 0 5 0,-1 1-14 0,1-1-12 15,-2 1-28-15,2-3 10 0,0 1-36 0,0 0-17 16,0 0-29-16,0-2-33 16,0 1 0-16,0-2-34 0,0-1-22 0,0-1 20 15,0 1-26-15,0-1 1 0,0-1 2 0,0-3-36 16,0-2-48-16,0 7-62 0,0-7-21 16,0 4-60-16,-3-3-24 0,3-1-412 0,3 5 20 15,-3-5 98-15,0 0 59 0</inkml:trace>
  <inkml:trace contextRef="#ctx0" brushRef="#br0" timeOffset="44767.37">9490 7020 998 0,'-3'-2'391'0,"3"2"-9"15,-2-6-34-15,2 6-41 0,0 0-20 0,0 0-29 16,0 0-17-16,0 0 43 0,0 14-13 0,0-8-25 16,2 5-23-16,1-3-108 0,-3 5 16 15,3-1-34-15,-1 1 5 0,1-1 16 16,2 0-31-16,-3 1-28 0,4-1 23 0,-4-1-34 16,1-2 11-16,2 2 3 0,0-4-32 0,-3 1 14 15,1-1 5-15,2-3-14 16,-3 2 22-16,2-1-27 0,0-3 37 0,-1-2-29 0,-3 0 16 15,10 0 13-15,-10 0 53 0,10-6-7 16,-2 3-8-16,-2-4-6 0,1-1 1 0,0-2-5 0,-1-1-23 16,4-1-19-16,-2 0-4 0,-1-1-6 0,1 1 1 15,2-1-3-15,-4 2-33 0,1 2-8 16,-1-2-8-16,1 3 3 0,-2-2-44 0,0 3 1 16,-2 1-32-16,2 3 6 0,-2-3-23 0,-1 2-18 15,0-1-3-15,1 3-15 0,0-2-34 16,-3 4-35-16,3-3-46 0,-3 3-57 15,0 0-158-15,5-1-407 0,-5 1 30 0,0 0 52 16,0 0 104-16,0 0 75 0,0 0 79 0</inkml:trace>
  <inkml:trace contextRef="#ctx0" brushRef="#br0" timeOffset="45514.68">14631 6881 1305 0,'0'-7'392'0,"0"2"-37"0,0 3-37 0,0 2-26 0,0 0-6 0,0 0-14 16,0 0 27-16,2 12-12 16,0-2-29-16,-1 2-25 0,1 6-18 0,1 0-15 15,0 7-108-15,-1 1-2 0,0 0-16 0,-2 5-10 16,0-3-13-16,0 0-10 0,3 1-38 0,-3-1-34 16,-3 0-18-16,6-6-38 0,-3 0-36 15,0-3-7-15,0 0-62 0,3-6-21 16,-1 0-76-16,0-5-31 0,-2-2-115 0,4-1-351 0,0-3 103 15,-4-2 2-15,8-2 97 0,-3-4 85 16</inkml:trace>
  <inkml:trace contextRef="#ctx0" brushRef="#br0" timeOffset="45729.97">14754 6917 670 0,'0'-28'420'0,"0"6"-18"16,0 3-90-16,-3 4-7 0,3 2-1 0,0 0 60 0,-3 5-24 15,3-2-30-15,-2 4-11 0,2 5-27 16,0 1-47-1,0 0 8-15,0 0 2 0,-8 17-37 0,8-5-42 0,-2 2 25 0,2 3-32 16,0 3-13-16,-3 6-73 0,3 0-24 0,0 4-1 16,0 1-10-16,-2 8 31 15,2-5-43-15,0-6 7 0,0 2-23 16,0-3-39-16,0 1-14 0,0-1-50 0,0-5-25 0,0 0-25 0,2-3-39 16,-2 0-57-16,2-3-60 0,-1-3-134 15,-1 1-461-15,0-3 134 16,2-3 25-16,-2 2 92 0,0-4 64 0</inkml:trace>
  <inkml:trace contextRef="#ctx0" brushRef="#br0" timeOffset="46060.04">14605 7090 1164 0,'-8'3'433'0,"8"-3"-31"16,-5 8-21-16,0-2-25 0,3 1-21 15,2 4-25-15,0 0-44 0,0 1 3 16,2 3-41-16,0-2-8 0,2 3-26 0,3 0-35 16,-2-1 25-16,3 0-43 0,-1-2-8 0,6-1 11 15,-2-2-19-15,3-3 18 0,2-2-109 16,-1-2 19-16,3-3 22 0,3-1-6 0,-1-5 82 16,1 1-26-16,2-3-7 0,2-3-95 15,-1-1 18-15,4-6-13 0,-8 3 3 0,-2-2-8 0,0 1 2 16,-2 0-2-16,-1-1-5 0,-2 2-5 15,-3 1-23-15,0 2-31 0,-2-1-5 0,0 3-44 16,-3-2-30-16,0 4-8 0,0 1-44 0,-2 1-32 16,-1-1-50-1,1 3-99-15,0 0-23 0,-1 1-341 0,-2 2-187 0,0 1 147 16,0 0 30-16,0 0 59 0,0 0 112 16</inkml:trace>
  <inkml:trace contextRef="#ctx0" brushRef="#br0" timeOffset="48217.33">9890 7155 941 0,'-3'-5'290'0,"3"-1"-24"16,-2 1-23-16,2-1 26 0,0-2-49 0,2 0-10 15,-2-2-28-15,0-1-8 0,3 1-3 0,0-3-27 0,-3-1-4 16,2 0-1-16,3 0-14 16,0-3-23-16,1 3-4 0,1-3-4 0,3 2-9 15,0-1-19-15,4 0 11 0,-2-1-21 0,4 3 1 16,-3-1-1-16,2 2-2 0,0 4-6 0,0-2-12 16,1 3-10-1,-3 1 10-15,3-1 12 0,-2 4 4 0,0 0-22 0,1 3-22 0,1 0 33 16,-2 1 66-16,2 1-14 0,-1-1 1 0,3 1-12 15,0 3-41-15,1-1 18 16,1 2-5-16,-2 1-11 16,-1 0 16-16,4 0-38 0,-3 0 27 0,0 0-14 0,0 0-4 0,0 1-2 15,-3 0 3-15,3 0 5 0,0-2-8 0,-2 3-18 16,2-2 8-16,-3-1 10 0,3 2-15 16,-2-1 8-16,2-1-3 0,-1 1-3 0,4 0 23 15,-6-3-27-15,1 1 9 0,1-1 6 16,-1 1-29-16,-1-3 34 0,1 2 0 0,2 0-21 15,-3-3-10-15,0 3-5 0,4-1 20 0,-2-1 0 16,-1 0-22-16,-1-1 22 0,3 3-17 0,-3-3 14 16,0 1-12-16,-1-1 8 0,-2 0-11 15,1 0-50-15,-3 0-11 0,1-1 2 0,4-2 8 16,-2 1 11 0,-1 0 5-16,2-1-1 0,-2 0 11 0,-1-1-3 0,1-2 1 0,-2 3 17 15,1-2-10-15,-1-1 13 0,0 0-11 16,-2 0 6-16,2-1 2 0,-2 0 10 0,0-2-4 15,-3 1 14-15,2 3-22 0,-1-2 15 0,-3 0 10 16,4 2-20-16,-4-2 10 0,1 0 15 0,-1 2-15 16,0 1 21-16,-1 1 7 15,1-2-5-15,-3 2 21 0,3-1-24 0,-1 2 8 0,-2 2-15 16,3-6 7-16,-1 3-9 0,-2 3 4 16,0 0 11-16,0 0-16 0,0 0 10 0,0 0-2 15,10 6 8-15,-10-6 2 16,6 5-20-16,-4 0 28 0,3-2-16 0,0 2-25 0,-2 1 18 0,4-1-3 15,-1 0 10-15,-1-1-7 0,2 2-5 16,1 3-8-16,0-3 8 0,2 2 17 16,1-2-20-16,1 1 16 0,-1-1-8 0,1 0-13 15,1 1 7-15,2-1 11 0,1 0-15 0,-1 1-6 16,3-3 29-16,0 0-19 0,0 1-12 0,2-1 18 16,1-2-28-16,0 3 25 0,2-3 5 15,5 2-12-15,-5-2 12 0,5 2-20 16,-3-3 8-16,1 0 15 0,3 2-8 0,-4-2-10 0,3-1 18 15,3 1-21-15,0-1 8 0,-1-1-12 16,4 1 9-16,-1-1 14 0,0-2-16 0,1 2 10 16,-1 0-18-16,11-5 16 0,-6 5-29 15,-7-4 39-15,13 0-8 0,-11 0-12 0,-2 3 2 16,0-5 0-16,9 0-8 0,1 0 34 16,-7 1-29-16,7-3 21 15,0 1-20-15,-2 1-3 0,2-4 10 0,0 5 13 0,0-5 7 0,2 3-17 16,1-3 5-16,-1 3-1 0,1-3-1 0,0 3-22 15,2-4 17-15,-2 4 4 0,1-3 21 16,2 3-14-16,1-3 14 0,1 4-31 0,0 0 31 16,0 1-21-16,-1-1 18 0,-2 2-7 0,1 0 9 15,-2 3-1-15,-6 1 81 0,-8-2-18 0,2 3 0 16,1 0-13 0,-1 3-22-16,-3-1 2 0,1 3-6 0,-2-2 21 0,-1 2-38 0,0 1 13 15,0 0-18-15,-5 1-3 16,3 1-15-16,-3 1 35 0,-5-2-35 0,0 0 23 0,-1 0-13 15,0-2-10-15,-5 1 0 0,-2 1-8 16,1-2-28-16,-1-3-3 0,-2 3-23 16,0-2-33-16,-2 1-15 0,0-3-38 0,-1 3-32 15,-2-3-27-15,-3-1-47 0,2 4-87 0,-2-4-250 16,0 0-420-16,-15-5 132 0,7 5 55 16,-5-1 76-16,0-3 95 0,-7-2 36 0,-6-1 103 15</inkml:trace>
  <inkml:trace contextRef="#ctx0" brushRef="#br0" timeOffset="48885.09">12210 6556 947 0,'6'-6'299'0,"-1"1"-10"0,0 4-30 16,-3-4-16-16,1 4-15 15,0-3 74-15,-3 4-10 0,2-3-41 0,-2 3-11 16,0 0-43-16,0 0-12 0,-10 8-14 0,2-2-20 15,0 2-10-15,-5 1-36 0,1 0 7 16,-1 2-9-16,0 0-21 0,-2-3-8 0,4 3-8 16,-1-3-2-16,1 0 0 0,4 1-5 15,-1-2-2-15,0 0-19 0,4-2 8 0,0 1-10 0,2-3-10 16,0 2 4-16,2-1-2 0,2-2-12 16,3 2 2-16,0-3 12 0,3 2 4 15,0 0 9-15,2-2-17 0,0 0-3 0,1-1-3 16,1 3-2-16,1-1-2 0,-3-2-1 15,3 0 23-15,-2 1-63 0,1 0 9 0,-1 1 4 16,1-1-9-16,-2-1 11 0,0 1 15 0,-2 0 26 16,-2 0-3-16,-1 2 13 0,0-1 10 15,-3-1 8-15,-2 3-18 0,0-4 20 0,-2 8-27 16,-1-2 9-16,-2-1 1 0,0 1-19 16,-5 0 8-16,2 1 6 0,1-1-14 0,-4-1-45 0,1 2-1 15,0-4-7-15,-1 2-38 0,1 1-6 16,-3-2-28-16,6-1-5 0,-3 1-56 0,2-1-21 15,0 0-63-15,3-2-80 0,5-1-95 0,-8-5-451 16,8 5 45-16,-5-2 124 0,5-3-2 16,0 5 103-16</inkml:trace>
  <inkml:trace contextRef="#ctx0" brushRef="#br0" timeOffset="49296.82">12346 6480 1095 0,'0'0'407'0,"0"0"-49"0,0 0-17 16,0 0-29-16,0 0-79 0,-12 14-41 0,11-7-5 16,-1 1-5-16,-1 3-29 0,1-1-17 15,1-1-16-15,-1 2-23 0,4 0-12 0,-1-1 2 0,1 1-5 16,1 2-16-16,2-6-17 16,0 4-16-16,3-5 1 0,2 1-6 0,-2-1 15 15,2-2-15-15,-2-2-2 0,4-1 5 0,-1-1-21 16,2-1 18-16,0-1-5 0,1-2-10 0,0-1 20 15,-2-1 11-15,-1 2-19 0,-1-4 19 16,-2 0 10 0,-1 0 25-16,-2 2 21 0,1-4-8 0,-4 2-15 0,-2 1-13 0,0 1 18 0,0-4-6 15,-5 3-14-15,0-2 12 0,0 3-18 16,0-3 1-16,-5 4 4 0,2 1 13 16,-3 0-38-16,1 3-5 0,-2 1 2 0,1 0 77 15,-4 1-33-15,2 3-16 0,0-1-22 0,-4 2-34 16,3 5-51-16,-1-3-8 0,2 4-46 0,0-3-12 15,0 0-11-15,5 2-64 0,1-3-51 16,2-1-56-16,2-5-170 0,1 6-457 0,2-4 97 16,2 0 53-16,-2-3 131 0,5 3 34 0,-5-3 35 15</inkml:trace>
  <inkml:trace contextRef="#ctx0" brushRef="#br0" timeOffset="49556.25">12787 6285 1172 0,'3'-3'371'0,"-3"3"5"0,0 0-48 0,0 0-16 0,0 0-10 0,3 10-38 15,-3-7-18-15,-1 4-3 0,-1 0 41 0,2 3-28 16,-3-1-26-16,3 2-10 0,-2 1-23 16,1 1-17-16,-1 2-19 0,2 0-31 0,-3-1-2 15,1 2-12-15,2-2-109 0,-3 0-4 0,1 2-26 16,-1-2-13-16,1-1-48 0,1-1-6 0,-1 1-41 15,0 0-12 1,2-3-34-16,-3-3-48 0,3 1-72 0,-3 1-84 0,3-2-413 0,-2-2 11 16,0-2 61-16,-2 3 110 0,2-4 70 15</inkml:trace>
  <inkml:trace contextRef="#ctx0" brushRef="#br0" timeOffset="49718.21">12515 6431 952 0,'-5'-4'422'0,"2"1"-15"0,1-1-49 0,2 4-30 15,-2-6-31-15,2 6-49 0,2-6-51 0,-2 6-35 16,8-2-70-16,-5 1-62 16,4-1-58-16,3 0-156 0,-2 2-213 0,0 1-378 0,5 0 104 15,-3 2 36-15,3-2 62 0</inkml:trace>
  <inkml:trace contextRef="#ctx0" brushRef="#br0" timeOffset="49880.7">12859 6458 1197 0,'0'0'533'0,"7"0"-103"0,-7 0-46 0,0 0-23 0,0 0-46 0,0 0-13 16,0 0-39-16,6-2-43 0,-6 2-51 15,0 0-66-15,0 0-39 0,5-2-28 0,-5 2-88 16,0 0-60-16,0 0-134 0,8 2-153 0,-3 0-402 15,-2 1 58-15,1-1 52 0,-1-1 77 0,0 4 69 16</inkml:trace>
</inkml:ink>
</file>

<file path=ppt/ink/ink8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2:33.311"/>
    </inkml:context>
    <inkml:brush xml:id="br0">
      <inkml:brushProperty name="width" value="0.05292" units="cm"/>
      <inkml:brushProperty name="height" value="0.05292" units="cm"/>
      <inkml:brushProperty name="color" value="#FF0000"/>
    </inkml:brush>
  </inkml:definitions>
  <inkml:trace contextRef="#ctx0" brushRef="#br0">8411 5682 885 0,'-3'-4'356'16,"3"1"71"-16,-2-2-40 0,1 0-8 0,-1-1-67 15,0 3 11-15,-2-3-9 0,4 0-17 0,-2 1 92 16,-3 0-17-16,2 1-35 16,1 0-81-16,-3-2 16 0,2 4-34 0,1-2-39 0,-3 3 11 15,-1-2-23-15,1 2-33 0,5 1-21 0,-10 3-13 16,5 0 29-16,0 2-6 0,-3 3-46 15,1 3 6-15,1 0-24 0,1 4 5 0,-2 1-2 16,4 3-18-16,-3-1-2 0,4 0-8 16,0 2-11-16,-3-1-28 0,4 0-25 0,1-1 3 15,1-3 7 1,1 3-18-16,1 0-18 0,-1-4 5 0,0 1-28 0,2-2-7 0,1-1-1 0,2-2-15 16,-2 0 5-16,3-3 6 0,0 0-29 15,0-1 23-15,-1-4-7 16,1 1 7-16,0-3 18 0,2 0-13 0,2-3-5 0,-1 0 13 0,2-3 24 15,-1-3-12-15,1 1 1 0,0 0 8 0,-3-3 4 16,3-1 6-16,-5 0-8 0,2-1 5 16,-5 0 3-16,1 1 10 0,-2-1 2 0,-1 0 6 15,-3-4-8-15,0 4 0 0,-3-4 20 16,1 2 8-16,-6 1-10 0,3-3 3 0,-5 3 4 0,2 1 9 16,-2 1-29-16,-3-1 30 0,3 3-1 15,-3 1-11-15,3 3 18 16,-1-3-23-16,1 5 12 0,0-1 11 0,0 0 5 0,0 3-10 15,1-1 5-15,2 2 7 0,0 2 1 0,-1 2-3 16,2 2-15-16,-1-2-11 0,4 5 11 16,1 2 2-16,0-2 6 0,2 2-9 0,2 3 3 15,-2 0-15-15,5 5 8 0,0-1-1 0,1-1 14 16,1 2-1-16,0 1-15 16,2 1-18-16,1 1 0 0,0-2-10 0,0-2-13 0,0 0-7 15,0 0-22-15,-1-4-9 0,1 1-46 16,0-2-34-1,-2 0-7-15,2 0-42 0,-3-1-68 0,1-3-70 0,0-1-48 0,0 1-522 0,-1 0 81 16,-2-1 98-16,1-1 87 0,-2-3 59 16</inkml:trace>
  <inkml:trace contextRef="#ctx0" brushRef="#br0" timeOffset="262.45">8714 5826 1338 0,'0'0'540'0,"0"0"-140"0,0 0-4 0,0 9-55 0,2-2-26 0,0 0-24 0,1 0-19 15,-1 5-60-15,1-3-17 0,2 4 22 16,-2-1 37-16,-1 6-39 0,4-4-10 15,-4 0-47-15,1-1-45 0,2 0-36 0,-3-2-36 0,0-1-54 16,1 3-33-16,0-5-41 0,-1 1-34 16,-1-2-27-16,4-2-62 0,-3 1-166 0,1-4-525 15,-1-1 33-15,1 2 115 0,-3-3 39 16,0 0 90-16,13-5 94 0</inkml:trace>
  <inkml:trace contextRef="#ctx0" brushRef="#br0" timeOffset="520.08">8857 5759 1136 0,'0'0'494'0,"5"-8"-56"0,-3 6-26 0,1-3-59 15,3-2-5-15,1 2-53 0,3 0-39 16,-2-1-18-16,2 1-75 0,0 2-40 0,0-2-31 16,4 2-22-16,-4 0-88 0,0 1-72 0,0 2-135 15,-2 0-77-15,-3 0-156 0,0 1-349 16,0 1 52-16,-2 3 115 0,-3-1 46 0</inkml:trace>
  <inkml:trace contextRef="#ctx0" brushRef="#br0" timeOffset="711.33">8903 5845 1072 0,'-6'5'443'0,"4"-4"-108"0,2-1-38 16,-5 3-26-16,5-3-2 16,-3 2-21-16,3-2-20 0,0 0-26 0,0 0 26 15,0 0 10-15,0 0-23 0,0 0-43 0,18-2-8 16,-12 0-36-16,1 0-16 0,1-3-40 16,2 3-31-16,0-3-36 0,0 1-31 0,1-2-35 15,2 3-64-15,0-3-103 0,2 0-90 0,-2 1-160 16,4-3-367-16,1 2 54 0,-2 0 126 0,2-1 14 15,0 1 119-15</inkml:trace>
  <inkml:trace contextRef="#ctx0" brushRef="#br0" timeOffset="1166.77">9398 5577 1203 0,'0'0'486'0,"0"0"-36"0,0 0-12 0,-5 7-64 0,5-1-36 16,0-1 0-16,2 0-47 0,-2 4-37 16,2 0-8-16,-2-1-37 0,3 2-6 0,0 0-34 15,-1 1 0-15,-1-3-21 0,4 2-51 0,-3-3 3 16,0 1-21-16,-1 1-22 16,1-3-16-16,3 1 5 0,-5-1 5 0,3-3 5 0,-1 1-17 15,1 1 37-15,-3-5-19 0,3 3-9 31,-3-3-17-31,0 0 15 0,0 0-10 0,0 0 8 0,5-10 7 0,-2 3-28 0,-1-1 28 16,0 0-18-16,1-2-20 0,2 1 20 0,0-2-28 16,0 0-7-16,0 2 25 0,1 0-77 0,1 1-2 15,-2 0 7-15,3 1 24 0,0 2 4 16,-3 0-17-16,3 3 12 0,-1-1 36 0,-2 5-17 16,-5-2 20-16,14 2-11 0,-7 3 16 15,0-2-8-15,-1 2 26 0,-1 2-31 0,0 3 23 0,0-1-17 16,-2 3 4-16,0-1-10 0,-1 1-18 15,0-1-2 1,-2-1-39-16,3 1-30 0,-3-1-24 0,0-1-33 0,0-1-58 0,0 2-16 16,0-4-103-16,3 2-112 0,-1-4-494 0,0 0 54 0,-1-1 97 15,-1-3 54-15,7 0 94 0,-7 0 100 16</inkml:trace>
  <inkml:trace contextRef="#ctx0" brushRef="#br0" timeOffset="1366.2">9742 5544 1269 0,'0'0'471'0,"0"0"-105"0,0 0-10 0,-4-2-46 0,4 2-13 0,0 0-21 15,0 0-23-15,0 0-27 0,1 13-29 16,-1-7 0-16,3 1-28 0,-3 0-23 0,2 1-52 16,0 0 16-16,1 2-38 0,-3 2-62 15,5-3-43-15,-2 2-39 0,2 0-61 0,-3 1-141 16,1-2-145-16,-1-1-472 0,4 3 92 0,-4-5 126 15,3 0 38-15,-2 0 62 0</inkml:trace>
  <inkml:trace contextRef="#ctx0" brushRef="#br0" timeOffset="1548.91">9728 5652 1382 0,'-2'-3'437'0,"2"3"-45"0,-3-3-5 0,3 3-137 16,0 0-14-16,0 0-24 0,0 0-4 0,0 0-44 16,0 0-24-16,15-2-60 0,-15 2-42 15,11 0-43-15,-6-3-41 0,3 1-95 16,-1 0-117-16,4-4-14 0,-1 3-534 0,0-1 84 0,3-2 74 16,0-2 39-1</inkml:trace>
  <inkml:trace contextRef="#ctx0" brushRef="#br0" timeOffset="1753.01">9990 5456 1077 0,'0'-4'402'0,"3"2"-26"0,-3 2 75 0,0-6-60 0,0 6 27 0,0 0-132 0,0 0-25 15,0 0-20-15,0 0-5 0,-3 13-16 0,3-6-31 16,0 1-17-16,0 1 9 16,0 3-40-16,0 0-10 0,3 1-29 0,-1 0-10 0,1 0-5 15,2 2-46-15,-3-2-41 0,1 2-18 0,2-2-48 16,0 0-52-16,0 0-18 0,0-1-56 15,1-3-169-15,-4 2-53 0,4-1-490 0,-2-3 49 16,2 1 123-16,-4-2 67 0,1 0 55 0</inkml:trace>
  <inkml:trace contextRef="#ctx0" brushRef="#br0" timeOffset="2048.46">9293 5982 1448 0,'0'0'471'0,"0"0"-7"0,0 0-52 0,0 0-69 0,13-7-36 15,-1 2-13-15,6-2-10 0,0 2-28 0,5-3 11 16,3 1 24-16,2-2-9 0,10 0-13 15,1-1-118-15,5 1 0 0,-1-1-26 16,4 1-7-16,1-1-11 0,-2 2-22 0,0 2-13 16,-2-1-16-16,-3 1-33 15,-8 1-54-15,-5 0-48 0,-4 3-26 0,-1-1-64 0,-5 1-67 0,-3 1-86 16,0 0-113-16,-2 1-505 0,-3 0 21 16,-2 0 154-16,0 2 25 0,-3 2 113 0,0-3 77 15</inkml:trace>
  <inkml:trace contextRef="#ctx0" brushRef="#br0" timeOffset="2450.23">9815 6001 1515 0,'8'0'427'0,"0"-1"-22"0,-1 1-24 0,4 0-10 15,-3 1-46-15,2 0-5 0,0 3 69 0,-2-2-30 16,-3 3-108-16,0 1-6 0,-2 0-22 0,-1 2-31 16,-2 3-23-16,-3 2-8 15,-4 4-7-15,0-2-19 0,-4 4-12 0,1-1-18 16,-3 1-5-16,2-2-26 0,1-3 1 0,0 0-17 16,3-2 24-16,-1-2-20 0,2-2-16 0,-1-2 2 15,4 1-9-15,1-1 7 0,-1 0-13 16,3-1 0-16,0 0 6 0,0-5 4 0,3 6 9 15,-1-4-11-15,6 0-26 0,0 0 13 0,0-1-10 16,4 0 0-16,-1-1 23 0,4-1-10 0,3-3-14 16,-2 2 9-16,4-2-36 15,0 2 18-15,-1-4-3 0,1 2-51 0,-2 1-21 0,-3-2-23 16,-2 0-25-16,2 2-31 0,-2-1-20 16,-3 2-52-16,1-2-20 0,-1 2-53 0,-2-2-163 0,-1 3-598 15,-2-2 116-15,1 0 70 0,-2 2 134 16,-1-3 46-16,0 3 23 0</inkml:trace>
  <inkml:trace contextRef="#ctx0" brushRef="#br0" timeOffset="4138.26">12610 5564 1174 0,'0'0'512'0,"-5"-1"-51"0,5 1-49 16,0 0-41-16,-10 6-25 0,7 0-31 16,-2 1-52-16,0 1 1 0,2 2-52 0,-1 4-2 0,1 3-20 15,-2-1 2-15,2 3-62 16,1 0 3-16,2 1-2 0,-3 0-34 0,3-1-7 16,0 1 5-16,3-3-39 0,-1 2-2 0,0-2-24 15,1-3-7-15,2 0-12 0,0-3 17 16,3 1-33-16,0-5 15 15,0 1-28-15,2-3 21 0,0 1-11 0,1-6 10 0,-1 1-27 0,2-2 32 16,-1-5-7-16,1 1 6 0,2-3-4 0,-2-3 8 16,0-1 16-16,-3-1-23 0,-1 0 4 15,-1-5 9-15,-7-1-22 0,0 0 6 0,0 0 11 16,-7-7 7-16,-1 3-23 0,0 1-3 16,-2 0 16-16,2 2-8 0,-5 1 20 0,1 0 3 15,-1 2-15-15,0 5 28 16,2 0-13-16,-1 3-11 0,2 2 19 0,1-1-67 0,-1 5 3 15,3 1-11-15,-4 0 14 0,4 4 25 0,-1 0-31 0,0 4 28 16,4-1-7-16,0 2 12 16,2 1-15-16,0 3 26 0,4 1 12 0,0 1-27 15,2 5 30-15,3 1-21 0,3 1 6 0,3 0-13 16,5 9 20-16,-2-3-7 0,4-1-11 0,-2 3 16 16,2-5 5-16,-4-1-8 0,-3-7-10 15,2 4-10-15,-2-3 10 0,-3-3-36 16,1 1-7-16,1-2-19 0,-2-1-17 0,-2-2-41 15,-3 2-36-15,3-4-26 0,0 0-77 16,-4 0-168-16,2-1-70 0,-1-1-409 0,0 0 97 16,-2-2 69-16,2 1 72 15,-3-2 75-15</inkml:trace>
  <inkml:trace contextRef="#ctx0" brushRef="#br0" timeOffset="4443.28">12944 5839 1333 0,'4'0'433'0,"2"-1"-16"0,-6 1-20 0,10 0-118 0,-5 1-8 0,-5-1 16 16,8 6-26-16,-6-4-21 0,-2 3-25 16,0 1 29-16,0 0 6 0,-2 1-45 0,0 2 3 15,-1-2-40-15,0 2-9 0,-2 1-10 16,0-2-29-16,2 2-10 0,1-3-5 0,-1 1-8 15,-2-1-15-15,3-2 3 0,-1 2-37 0,0-3 24 16,3 2-36-16,-2-3 17 0,2 2-17 16,0-1 18-16,0-4-5 0,2 5-24 0,1-2 9 15,2-2-14-15,-5-1-2 0,13 0-15 16,-6 0-16-16,1-1-18 0,3 0-23 0,-1-4-35 0,0 4-34 16,2-4-33-16,-1 0-64 15,2 2-154-15,0-3-366 0,-3 1-248 0,3 0 115 0,-3-1 82 16,3-1 95-16,-3 1 151 0,1 0-36 0</inkml:trace>
  <inkml:trace contextRef="#ctx0" brushRef="#br0" timeOffset="4674.63">13251 5677 1300 0,'5'-3'394'0,"-2"0"-59"0,-3 3-20 0,13-2-13 15,-6 1-43-15,4-1-57 0,-1 1-54 0,0 1-61 16,1 0-38-16,-1 0-90 0,0 0-164 16,-5 1-140-16,3 2-415 0,0-1 81 0,-3 2 47 15,-3 1 30-15</inkml:trace>
  <inkml:trace contextRef="#ctx0" brushRef="#br0" timeOffset="4855.14">13231 5802 1336 0,'-5'0'363'0,"5"0"-33"0,-5 5 3 0,5-5-62 0,-4 1-2 16,4-1-23-16,0 0-39 0,0 0 8 0,0 0-10 16,0 0-51-1,0 0-16-15,0 0-13 0,0 0-7 0,24-1-10 0,-17-4-32 16,4 4-30-16,-3 0-28 0,2 0-56 0,3-2-36 15,-3 1-72-15,0 1-126 16,-2-3-155-16,5 3-448 0,-3-1 104 0,-3-1 44 0,4 1 92 16,-4 0 80-16</inkml:trace>
  <inkml:trace contextRef="#ctx0" brushRef="#br0" timeOffset="5393.02">13874 5506 1121 0,'5'-9'355'0,"0"6"-29"0,1 3-32 0,1-3-23 16,3 1-12-16,1 2-47 0,-1 0 8 0,3 4-10 16,-3-3-23-16,-2 1-3 0,2 2 65 0,-3 2-14 15,-1-3-35-15,-1 4-11 0,-3 2-20 16,2-3-10-16,-4 1-23 0,-1 2 2 0,-4 2-10 15,2 0-11-15,-4 2-17 0,-1-4 0 0,3 1-21 16,-3 2-15-16,0-3-15 0,4 0 13 16,-4-1 9-16,3-1-12 0,0-2 0 0,0 1-16 15,1-1 4-15,0-2-1 0,1 2 0 16,3 0 5-16,-3-3-18 0,3-2 26 0,6 6-49 16,-2-4 26-16,2 1 10 0,2-3-25 15,-1 1 12-15,6-1-7 0,-2 0-3 0,1 1-11 0,1-2-1 16,3 1-32-16,-1-1-10 0,0 0-30 15,-2-3 0-15,3 3-50 0,-6 0-22 16,3-2-7-16,-1 2-57 0,-2-1-93 0,-2 2-168 16,3 0-504-16,-4-1 86 0,3-2 49 0,-5 3 95 15,1-1 95-15,-1 0 61 0</inkml:trace>
  <inkml:trace contextRef="#ctx0" brushRef="#br0" timeOffset="6414.95">14328 5440 1320 0,'0'0'423'0,"-5"0"-37"0,5 0-30 16,0 0-85-16,-10 5-51 0,7 0-5 0,-2-2-35 16,3 4 4-16,-1 1-20 0,-2-1-21 0,2 4-7 0,0 0-3 15,1 1-5-15,0 4-23 0,1 1-21 16,-1-1 11-16,-1 2-16 0,3-3-2 15,0 0-21-15,0-1-22 0,3 2-4 0,0-5 9 16,-1 1-11-16,3-1-2 0,0-1-16 0,1-3 8 16,1-1-16-1,1-4 1-15,0 3 4 0,2-5-7 0,0 0-7 0,0-1 27 0,1-4-22 16,1 0 9-16,1-3-19 0,0-2 22 16,0 1-18-16,0-2 16 0,-1-1 2 0,-4 1-7 15,0-2 2-15,-1 0-18 0,-4 1 21 16,0-1-11-16,-1 0-2 0,-2-1-5 0,-5 1 10 0,5 1-13 15,-7-5 23-15,3 8-12 0,-3-2-1 16,2 0 16-16,0 3-23 0,-3 1 12 0,3 1-7 16,0 0-8-16,-3 2 31 0,3 2-15 0,-2-1-16 15,1 3 8-15,6 0 10 0,-10 3 18 16,5-1-28-16,0 2 10 0,2 1 3 16,-2-1 12-16,2 2 1 0,1 3 12 0,0-2-13 15,2 1 14-15,0 3-9 16,0-2 16-16,2 3-13 0,0 1 1 0,4 0 14 0,-4 1 6 0,3 1-11 15,3 0 23-15,0 0-37 0,0-1 4 16,-1 3-3-16,3-3-4 0,-2 0-8 0,0-1-24 16,0 2-4-16,-1-3-16 0,1 2-43 0,2-3-21 15,-5-1-28-15,0 0-22 16,1-2-55-16,-2 1-74 0,2-2-61 0,-8-2-139 0,6 0-360 16,2 0 35-16,-4 0 110 0,3-1 32 15,-2-2 70-15</inkml:trace>
  <inkml:trace contextRef="#ctx0" brushRef="#br0" timeOffset="6658.73">14723 5625 1441 0,'0'0'494'0,"0"0"-21"0,5 8-63 0,-2-2-11 0,-1 1-59 0,0 3-27 16,1 0-85-16,0 2-26 0,0 2-28 15,1-1-21 1,-1 3-9-16,2 0 14 0,1 0-53 0,-2 1 3 0,2 1-54 0,-1-1-44 16,3-2-13-16,-4-2-22 0,0-1-39 0,3-1-21 15,-4 1-45-15,-1-4-26 0,3-1-29 0,-5 2-147 16,0-2-137-16,3-4-409 16,-1 1 82-16,-2 0 100 0,0-4 41 0,5 3 97 0</inkml:trace>
  <inkml:trace contextRef="#ctx0" brushRef="#br0" timeOffset="7742.15">16733 5319 1315 0,'0'0'382'0,"0"0"-39"0,0 0 2 0,-5 12 1 16,5-5-8-16,0 1-29 0,0 2-35 0,0 2-18 15,0 1-95-15,0 0-22 0,2 5-9 0,-2 1-25 16,0 0 26-16,3 0-57 0,-3 0-8 0,2 0 14 16,-1-1-19-16,1 0-30 15,4-3-5-15,-2-1-26 0,2 1-11 0,2-3 1 0,-4-4-5 16,4 0-3-16,0-1 0 0,-1-2-23 0,1-1 26 16,2-4 7-16,-2 0-10 15,2 0 3-15,-2-4 2 0,2 1 8 0,0-2 0 0,1-2-6 16,-3-3 14-16,2-1-8 0,-3 1 0 15,1-3 0-15,-2-2 5 0,-2 0 10 0,-4-2 0 16,0-2-5-16,-2 0-5 0,-1 0-8 16,-4-4 11-16,-1 1 2 0,-2 0 5 0,2 1 6 15,-3 3 2-15,4 4-18 0,-3-2 30 0,2 3-25 16,0 4 31-16,-2-1-36 0,2 2 0 0,3 3 11 16,-2-1 17-16,-1 4-21 15,0 1-1-15,3 2 9 0,5-1 8 0,-12 5-10 0,6-1 25 16,3 5-15-16,-2 0 16 0,3 3-4 0,0 1 4 15,-1 4-19-15,5 4 31 0,-1 1-28 16,1 0 16 0,3 5-11-16,0-1 28 0,1 0-22 0,4 6 7 0,-3-2-6 0,3 1-9 15,0-6 0-15,-2-4-1 0,2-2 14 0,-2-2-27 16,0 0 24-16,0-2-18 0,-1-1 3 16,3 0 7-16,-2-4-23 0,-2 0-13 15,-1-3-30-15,0-1-11 0,0-2-10 0,0-1-35 0,0-2-29 16,1-1-31-16,1 0-69 0,-2-2-84 15,3-2-151-15,-1 1-430 0,1-1 74 0,0-1 66 16,2 2 96-16,-2-3 99 0</inkml:trace>
  <inkml:trace contextRef="#ctx0" brushRef="#br0" timeOffset="8179.3">17123 5607 1254 0,'0'0'404'0,"0"0"-45"0,13 5-86 15,-8-4-24-15,0 4-4 0,0-3-37 16,-2 4-14-16,-1 1 1 0,0-1-13 0,-2 2-8 16,0 1-18-16,0-3-36 0,-2 1 6 15,2 0-6-15,-2 0-31 0,2-1 11 16,-1 0-31-16,1-1 11 0,-2 1-9 0,4-3 1 0,-2 1-21 16,1 1-17-16,1-4 9 0,0 4-2 0,1-2 18 15,2 1-11-15,-2-2 6 0,2 2-15 16,-1 1 127-16,-3-1-23 0,4 1-2 0,-5-1-74 15,2 1 25-15,-2 2-15 0,-2 0-8 0,-3 0 8 16,-2 0-29-16,1 1 16 0,-4 1 64 16,0-2-20-16,0 0-6 0,1 0-56 15,-1-2-25-15,0 2-42 0,2-5-92 16,1 3-63-16,-1-5-118 0,2 0-208 0,-3 0-537 0,6-2 155 16,-2-2 35-16,2 0 58 0,-1-1 151 15,3-1-21-15</inkml:trace>
  <inkml:trace contextRef="#ctx0" brushRef="#br0" timeOffset="9112.26">17395 5489 1062 0,'-1'-1'309'0,"1"1"-14"15,0 0-26-15,3-7-31 0,-3 7-23 0,10-3 5 16,-4 2-44-16,1 0-9 0,0-1-29 15,1-2-46-15,0 4-64 0,0-2 1 0,-1 1-122 16,3-1-68-16,1 1-120 0,-4 1-185 0,-7 0-238 16,11 0 82-16,-6 1 33 0</inkml:trace>
  <inkml:trace contextRef="#ctx0" brushRef="#br0" timeOffset="9305.48">17379 5584 1197 0,'0'0'369'0,"0"0"-34"0,0 0-43 0,0 0-21 0,10 3-25 0,-10-3-28 0,10-1-8 0,-2-2-13 15,-2 3-113-15,4-1 3 0,-3-4-41 16,4 3-33-16,-1 1 10 0,0-2-71 0,3 0-60 0,0-2-51 16,-1 0-107-16,4 2-471 15,2-2 18-15,0-1 69 0,-1 0 61 0</inkml:trace>
  <inkml:trace contextRef="#ctx0" brushRef="#br0" timeOffset="9756.04">17943 5325 1461 0,'8'0'320'0,"-3"0"-3"16,-5 0-17-16,14 2-26 0,-8-2-39 0,2 4-32 15,-3 1 1-15,1-2-4 0,-4 2 41 16,0 1-32-16,-2 1-11 0,0-2-12 0,-2 3-24 16,0 0-4-16,-1 1-19 0,0-2-19 15,1-1 5-15,1 0-27 0,-1-1-6 0,0-2-23 16,-1 2 13-16,3 0-23 0,0-5-3 0,3 6-2 15,-3-3-24-15,4-2 9 0,-1 2 12 0,2 0-18 16,-2 1 8-16,4-2-2 0,-1 3-6 16,-3 0 10-16,4-2 19 0,-2 2-21 15,0 0 28-15,0 0-59 0,-3-2 29 0,-1 3-24 16,-1-1 34-16,0 1-8 0,0-1 10 0,-3 2-31 16,-4-2 29-16,2 2-8 0,-3 0-21 0,0-2 21 15,-2 2-23-15,0-4 3 0,-1 2-24 16,-1 1-10-16,2-2-5 0,-1-1-46 0,1 2-23 15,2-4-28-15,0 1-46 0,1 1-41 0,1-3-42 16,-1 0-109-16,7 0-156 0,-5 0-451 0,5 0 126 16,0 0 27-16,0 0 93 15,7-11 95-15,-1 6 66 0</inkml:trace>
  <inkml:trace contextRef="#ctx0" brushRef="#br0" timeOffset="10265.18">18199 5344 1569 0,'0'0'384'0,"0"0"-21"0,0 0-17 15,0 0-19-15,0 0-53 0,-7 13-10 0,2-8-34 0,5 4-5 16,-1 0-25 0,-1 0 36-16,0 2-6 0,2 0-15 0,-3 2-31 0,3-3-48 0,0 2 15 15,3 2-33-15,-3-4-31 0,2 1-21 16,1 2-17-16,2-5-1 0,-2 2-17 0,4-3-13 15,-2 0-3-15,1-1-15 0,1 0-2 0,1-4-6 16,1 0 13-16,-1-1-12 0,1-2-6 16,3-2 15-16,-2 2-22 0,1-4 35 0,-1 0-15 15,3-2-28-15,-3-1 18 16,-2 2 5-16,1-5-3 0,-1 1-15 0,-5-1 13 0,3-1 2 16,-2-1-5-16,-1-3 1 0,-3 3 1 0,0-2 42 15,0 1-21-15,-3 0 8 16,1 1-10-1,0 0 17-15,-4 2-9 0,1 1 7 0,-1-1 5 0,-1 4-18 0,2 1 8 0,0-1 0 16,-2 3 0-16,1 2 23 0,-2-1-26 0,3 2 8 0,5 1-5 16,-12 1 5-16,9 2-12 0,-4-1 30 15,3 3-18-15,0 1-6 0,1 2 9 16,0 2 12-16,1-2-2 0,2 3-5 0,2 2 13 16,1-1 4-16,0 1-4 0,3 4 2 0,-2-3 15 15,1 4-22-15,3-3-16 0,0 1 12 0,0-1 4 16,1-1-11-16,-4 1-13 0,5-2 26 15,-4-1-33-15,2 0 18 0,-3-2-42 0,2 0-22 16,-2-1-49-16,1 0-13 0,-2-3-36 16,0 1-45-16,0-1-101 0,2-4-104 0,-9 2-170 15,8-3-435-15,0 1 83 0,1-2 122 0,-6 0 67 16,12-1 115-16,-6-2 28 0</inkml:trace>
  <inkml:trace contextRef="#ctx0" brushRef="#br0" timeOffset="10462.4">18648 5463 1707 0,'0'4'576'0,"0"-4"-18"0,0 9-18 0,-2-4-77 0,2 3-12 16,0 2-39-16,-1-1-31 0,-1 2-61 0,0 1-26 16,2 0-40-16,-3 0-42 0,2 2-56 15,-3-1-45-15,1 0-96 0,3 1-112 16,-3 1-67-16,1-3-110 0,0 2-358 0,-1-2-397 15,3 1 89-15,-3-3 108 0,1 0 52 0,2-2 83 16,0 2 86-16</inkml:trace>
  <inkml:trace contextRef="#ctx0" brushRef="#br0" timeOffset="13383.34">13405 6551 1180 0,'0'0'335'0,"0"0"-46"0,0 0-15 15,0 0-33-15,0 0-47 0,23-1-40 0,-15 1-44 16,0 0-64-16,2-1-105 0,0 1-184 16,0 1-500-16,-2-1 63 0,0 3 47 15</inkml:trace>
  <inkml:trace contextRef="#ctx0" brushRef="#br0" timeOffset="13577.11">13387 6719 1034 0,'0'0'391'0,"0"0"-25"0,0 0-18 15,0 0-40-15,0 0-17 0,0 0-47 0,16 1-29 16,-16-1-41-16,14-3-57 0,-5-1-60 0,1 2-70 16,0-2-128-16,0 4-253 0,0-4-400 0,3 1 83 15,0-1 96-15,-5 2 42 0</inkml:trace>
  <inkml:trace contextRef="#ctx0" brushRef="#br0" timeOffset="14059.78">13897 6490 1052 0,'6'-4'366'15,"-2"-2"0"-15,4 1-62 0,0 0 6 0,0 4-31 16,-1-4-13-16,3 4 0 0,-2 1 26 0,2 0-26 15,-2 1 13-15,0 3-38 0,-3-2 2 16,1 3-33-16,-2 2-8 0,-1-1-87 0,0 2-15 16,-3 2-20-16,-3 1 4 0,-2 1-10 0,2-2-15 15,-5 4 5-15,-2 0-8 0,2-1-7 16,-2 0 20-16,0-1-18 0,0 0 1 16,0-4 1-16,2 0-17 0,3 2 15 0,-1-2-17 15,2-4 17-15,-2 0-15 0,2 1 20 0,1 1 5 16,0-3-12-16,3-1-8 0,0-2 0 15,3 6-10-15,0-4 10 0,-3-2-13 0,10 1-3 16,-3 2-14-16,4-3 4 0,-1 0-23 0,2-1-30 16,-1-1-13-16,2 1-29 0,2-1-37 0,-4 1-19 15,3-3-25-15,2 3-52 16,-3-4-15-16,-1 5-117 0,-4-3-149 0,5 0-474 0,0 2 103 16,0-1 90-16,-5-2 96 0,2 3 57 15,-2-3 87-15</inkml:trace>
  <inkml:trace contextRef="#ctx0" brushRef="#br0" timeOffset="15140.93">14277 6389 924 0,'0'0'371'15,"0"0"-13"-15,0 0-30 0,-5 14-39 0,5-8 64 16,0 4-35-16,2-1-14 0,-2 5-117 16,2 0-15-16,1 5-14 0,2 0-22 15,-2 2 10-15,3 3-23 0,-2 0-21 0,-1 1-17 0,4-4-14 16,-1-2 24-16,-1-1-52 15,2-1-9-15,-1-3-29 0,-1 2-28 0,2-6-39 16,-2-1 19-16,1 0-88 0,-2-1-40 0,2-5-80 16,-1 3-95-16,2-5-498 0,-1 0 106 0,-1-1 35 15,-5 0 91-15,13-2 67 0</inkml:trace>
  <inkml:trace contextRef="#ctx0" brushRef="#br0" timeOffset="15551.14">14458 6507 977 0,'0'0'392'0,"0"-6"-49"0,0 6-5 16,0 0-31-16,0 0 49 0,0 0-16 0,0 0-43 16,0 0-10-16,0 0-47 0,8 13-9 15,-5-7-39-15,0 1-23 0,-1 2-16 0,0-1 9 16,-1-1-45-16,1 0 32 0,3 2-37 0,-4-1-14 15,1-2-14-15,0 1-35 0,1-2 12 16,0 2 1-16,-3-5-16 0,2 4 2 0,1-3-14 16,-1 0 7-16,-1 1-8 0,-1-4 5 15,0 0 13-15,0 0-15 0,0 0-13 0,0 0 34 16,0 0-9-16,7-10-14 0,-4 7-58 0,-1-3-1 16,1 0-29-16,-1 0 26 0,3 0 15 15,1-1-12-15,-2 1-6 0,2 0 41 0,-3 1-33 16,1 0 28-16,2 3-10 0,-2-2 0 15,0 2 8-15,-4 2 9 0,10 0 14 0,-10 0-21 16,5 6-2-16,0-3 7 0,-2 1 8 0,-1 1-18 16,3 1 7-16,-4 0-12 0,1 0 3 0,0 1-11 15,-2-1-38-15,3 1-64 16,-1-1-21-16,-1 1-23 0,1-1-46 0,0 0-112 0,1 0-164 16,0-4-443-16,1 2 92 0,-1-1 59 0,2 0 92 15,1-2 90-15,-6-1 66 0</inkml:trace>
  <inkml:trace contextRef="#ctx0" brushRef="#br0" timeOffset="15754.13">14803 6475 1136 0,'0'-6'407'0,"0"6"-41"0,0 0-5 16,0 0 18-16,0 0-31 0,0 0-23 0,0 0-38 15,2 14-1-15,-2-8-32 0,2 1-19 0,-2 1-125 16,3 0-20-16,0 0-13 0,-1-1-31 0,0 3-51 15,-1-3-64-15,1 2-29 0,1-1-183 16,-1 0-116-16,1-1-66 0,0-1-392 16,-1 0 100-16,1-1 104 0,-1-3 63 0,-2 4 48 15</inkml:trace>
  <inkml:trace contextRef="#ctx0" brushRef="#br0" timeOffset="15928.81">14795 6584 885 0,'0'0'343'0,"-6"-3"-13"0,6 3-28 15,-5-4-15-15,5 4-57 0,-5-1 1 0,5 1-37 16,0 0-2-16,0 0-28 0,0 0 10 0,0 0-30 16,0 0-27-16,10-6-14 0,-6 5-55 15,-4 1-12-15,12-2-64 0,-7-1-100 16,3 1-100-16,-1 1-138 0,3-4-420 0,-1 0 49 0,1 0 77 16,2 1 125-16</inkml:trace>
  <inkml:trace contextRef="#ctx0" brushRef="#br0" timeOffset="16105.34">15010 6431 1162 0,'0'0'373'0,"0"0"1"0,0 0 28 15,0 0-44-15,0 0-33 0,0 0-20 16,0 14-36-16,0-8-24 0,0 1-9 0,0-1-106 16,0 4-25-16,3-2-5 0,-3 2-66 0,2-1-40 15,-2-3-42-15,3 4-37 0,-1-2-166 16,-4 0-163-16,7 1-439 0,-3-3 57 15,1 1 92-15,2-1 103 0,-3-2 45 0</inkml:trace>
  <inkml:trace contextRef="#ctx0" brushRef="#br0" timeOffset="16355.92">15089 6330 1302 0,'0'0'423'0,"13"2"55"0,-8 0-27 16,3 3-44-16,0 2-41 0,2 0-21 0,1 4-45 0,-1 1-1 15,0 1-40-15,-2 4-116 0,-1-2-15 0,1 2 18 16,-3 0-43-16,-2 1-19 16,-1-1-23-16,1 0-43 0,-3 1-51 0,0 0-26 15,-3 0-56-15,1-3-49 0,0 1-94 0,1-2-154 16,-4-1-505-16,2 1 75 0,-4 2 102 0,2-6 93 15,-3 4 53-15</inkml:trace>
  <inkml:trace contextRef="#ctx0" brushRef="#br0" timeOffset="16610.86">14462 6944 1220 0,'0'0'410'16,"20"-7"-16"-16,-7 3-23 0,5 1-30 0,2-3-37 15,3 0 62-15,6-3-35 0,9 0-19 0,-2-2-48 16,5 3-95-16,-3 1-11 0,1-4-22 16,-6 5-13-16,-5 0 0 0,11-1 5 15,-6 1-23-15,-5 1-29 0,0 2-24 0,-5-1-45 0,-2 2-38 31,-3-2-61-31,-2 4-36 0,-2 0-74 0,-3 0-146 0,-6 0-161 0,5 3-397 0,-5-1 109 16,3 0 42-16,-5 2 128 0,0 1 49 0</inkml:trace>
  <inkml:trace contextRef="#ctx0" brushRef="#br0" timeOffset="16932.41">15085 6919 1072 0,'0'0'420'0,"-3"7"43"0,0-3-2 16,1-2-34-16,-3 3-135 0,-1 2-18 15,2 0-31-15,-4 1-2 0,0 3 43 0,-2-1 0 16,-1-1-36-16,1 3-22 0,-2 1-17 0,1-1-6 16,-2 0-24-16,3-1-3 0,-1-1-40 15,4 0 0-15,0-3-26 0,1 0 5 0,3 0 3 16,-1-1-6-16,1-1-27 0,1 1 17 0,1 0-17 15,1-4-111-15,3 3 34 0,2-2-11 0,-2-1-12 16,5-1 17-16,-1-1-17 0,4 0-3 16,-1-1-25-16,3 1-3 0,2-2-41 0,2-3-49 15,1 0-18 1,1-2-56-16,-1 0-10 0,-1 1-105 0,4-5-72 0,-5 4-509 0,4-5-20 0,-7 4 96 16,2-2 75-16,-4 2 154 15,-1-3 9-15</inkml:trace>
  <inkml:trace contextRef="#ctx0" brushRef="#br0" timeOffset="17110.29">15151 6957 1052 0,'-7'13'419'0,"-1"-3"65"0,3-1-64 0,0 2-77 0,2 2-15 0,0 0-11 16,1 0 34-16,-1 0-24 0,3 3-32 15,0-2-19-15,0 0-33 0,0 1-28 0,2-1-46 0,-1 0-54 16,1 1-48-16,3 0-52 15,-2-2-56-15,2 0-56 0,-2-3-92 0,2-1-275 16,2 1-501-16,-1-2 149 0,-1-2 40 0,2-1 83 16,1-3 32-16,-3 0 65 0</inkml:trace>
  <inkml:trace contextRef="#ctx0" brushRef="#br0" timeOffset="17843.03">17587 6408 1182 0,'0'0'474'0,"0"0"-32"0,0 0-52 16,8-5-40-16,-4 3-20 0,2 1-35 16,1 0-60-16,1-2-2 0,0 1-92 0,2 2-62 0,0-1-48 15,0-3-46-15,1 4-103 0,-1-1-156 16,-2 1-335-16,0 1-203 0,-4-1 50 15,2 2 183-15,-1 1 13 0</inkml:trace>
  <inkml:trace contextRef="#ctx0" brushRef="#br0" timeOffset="18016.22">17620 6482 885 0,'-7'4'420'0,"4"-2"5"0,-4 3-44 0,6-4 3 0,1-1-59 16,-5 5-89-16,5-5-6 15,-2 2-28-15,2-2 1 0,-1 4-45 0,1-4 4 16,0 0-1-16,0 0 3 0,9 1-49 0,-9-1-3 15,12-1-30-15,-12 1-10 0,13-4-57 0,-5 4-38 16,2-1-51-16,-2-3-23 0,2 3-59 16,-2 0-128-16,2-1-187 0,-3-1-397 0,1 1 85 15,2-2 81-15,-2 3 101 0,-3-3 43 16</inkml:trace>
  <inkml:trace contextRef="#ctx0" brushRef="#br0" timeOffset="18526.84">18137 6249 1177 0,'9'-1'389'16,"1"1"-46"-16,0 1 64 0,0 0-31 15,-2 1-22-15,-3 1-22 0,3-1-45 0,0 2-13 16,-3-2-95-16,-2 3 10 0,-1-2-38 0,0 2-25 15,-2 0 17-15,-2 1-38 0,2-3-2 0,-2 2 2 16,2-5-3-16,0 6-25 0,-1-1-26 16,1-5 21-16,-2 7-31 0,2-7 25 0,0 6-38 15,2-5 26-15,-2-1-8 0,3 5-23 0,-3-2 0 16,5 0 18-16,-5-1-8 0,5 2 21 16,-2-2 8-16,-1 3-19 0,1-3 16 0,-3 3 18 15,4-1 71-15,-4-2-33 0,0 3 6 0,0-5-14 16,-4 8-27-16,-1-3-9 0,0 0-4 15,-3-1 30-15,3 1-23 0,-3 0-7 0,-2-1-16 16,0 0-69-16,2 1 8 31,-2-4-49-31,2 3-31 0,0-1-43 0,1 1-51 0,-1-3-57 0,3 3-166 0,0-3-417 0,-1 0-200 0,4-1 141 16,2 0 77-16,0 0 89 0,0 0 118 16,0 0 10-16</inkml:trace>
  <inkml:trace contextRef="#ctx0" brushRef="#br0" timeOffset="19194.88">18456 6214 1295 0,'0'0'409'0,"0"0"-30"0,0 0-44 15,0 0-20-15,0 0-31 0,0 0-30 0,-5 13-8 16,5-9-31-16,-3 3-18 0,3-2-36 0,-2 1-2 15,-1 2-31-15,3-3 17 0,-2 3-37 16,2-2-1-16,-3 0-30 0,3 0-2 0,0-1-1 16,-1-1-26-16,1 0-2 15,0 1-7-15,0-5 4 0,0 7 3 0,0-7-15 0,1 3 8 16,-1-3 7-16,0 0-21 0,0 0 29 0,10-8 25 16,-7 5-35-16,0-2 91 0,1-2 19 15,2-1-57-15,-2 0 21 0,2 1 5 16,2-1-13-16,-1-1-13 0,-1 2 6 0,2 2-21 0,-1 0-16 15,-2 0 31-15,3 1-30 0,-1 3-67 0,0 0 15 16,-1 1-12-16,-6 0 5 16,11 1 9-16,-4 4-4 0,-2-2-20 0,1 2 27 15,1 0-12-15,-4 1 7 0,1 1-20 0,-3-1-31 16,4 1-12-16,-3 0-32 0,-1 1-61 0,1 0-7 16,-2-1-54-16,2-2-52 15,1-1-99 1,-2 1-195-16,1 0-455 0,0-1 158 0,3-2 13 0,-2-1 103 0,-3-1 68 0,14 0 114 0</inkml:trace>
  <inkml:trace contextRef="#ctx0" brushRef="#br0" timeOffset="19366.37">18763 6195 1046 0,'3'-3'389'0,"-3"3"-46"0,0 0-20 0,0 0-16 15,0 0-28-15,0 0-23 0,0 13-20 16,2-9-42-16,-4 1-20 0,4 1 11 0,-2 0-37 15,0 1-48-15,4-1-31 0,-4 3-8 0,2-1-68 16,-2-2-124-16,0 1-143 0,0 0-92 0,0-1-425 16,0 1 39-16,0-1 81 0,0 0 62 15</inkml:trace>
  <inkml:trace contextRef="#ctx0" brushRef="#br0" timeOffset="19703.2">18705 6305 1103 0,'-6'-4'458'0,"6"4"-56"0,-2-2-16 0,2 2-119 0,-3-4-27 16,3 4-15-16,0 0-38 0,0 0 3 0,0 0-62 15,5-7-18-15,1 4-59 0,-1 0-26 16,2-1-63-16,1 2-31 0,2-5-82 0,0 1-69 16,1 0 0-16,1-1 51 0,-2 1-44 0,4-2 39 15,-2-1 64-15,1 2 62 0,-1 0 37 16,-3-1 70-16,1 3 46 0,0-3 36 15,-2 0 23-15,0 5 25 0,-4-3 3 0,2 1 62 16,-3 4 12-16,2-4-8 0,-1 4-35 0,-4 1 0 16,6-2-72-16,-6 2-23 0,0 0 0 15,0 0-21-15,5 8-15 0,-2-3-7 0,-1 3 7 16,-1-2-3-16,-1 5-25 0,4-1 0 0,-1 1 0 16,-3 0-43-16,5 2-36 0,-3-1-31 15,1 0-31-15,0 0-74 0,1 1-123 16,-3-2-105-16,4-1-558 0,-2 3 57 0,-1-2 119 0,4 0 55 15,-4-4 81-15,-2 2 62 0</inkml:trace>
  <inkml:trace contextRef="#ctx0" brushRef="#br0" timeOffset="19971.59">18523 6524 1123 0,'0'0'438'0,"10"-9"33"0,-5 7-39 0,3-2-42 15,2 1-14-15,4-2-33 0,0 3-26 16,6-4-45-16,-1 0-22 0,1 1-47 0,3-1-6 16,3-1-108-16,2 2-7 0,-2-1-2 0,-4 3-19 15,-1-2-38-15,0 3-54 0,-6-1-15 16,1 0-33-16,-3 0-70 0,-1 2-76 15,-2 1-133-15,-4 1-98 0,1-1-383 0,-2 1 94 16,-2 4 74-16,-1-5-15 0,-2 5 82 0</inkml:trace>
  <inkml:trace contextRef="#ctx0" brushRef="#br0" timeOffset="20312.89">18854 6606 1382 0,'0'0'437'0,"-13"12"-24"0,9-9-45 15,-3 3-33-15,4 0 14 0,-4 3-65 16,2 0-5-16,-3-3-28 0,3 2-21 16,-1 2-15-16,-1-1-18 0,2 1-18 15,0-4-10-15,0 1-18 0,3 1-20 0,-2 2-31 0,2-4 4 16,0 1 9-16,2 0-21 0,2-2-7 0,-2 1-21 15,5 1 23-15,-2-2-13 0,2-2-18 16,2 1-17-16,-1-2 20 0,1 1-77 16,1-1 20-16,2-2-17 0,2-1-29 0,-3 0-71 15,4-3-8-15,0 1 11 0,-1-1-88 0,-1-2-41 16,1 1-89-16,2-3-151 0,-2 3-453 16,-2-2 74-16,1-1 97 0,-3-1 87 0,1 2 44 15,-1 0 87-15</inkml:trace>
  <inkml:trace contextRef="#ctx0" brushRef="#br0" timeOffset="20510.62">18887 6620 1279 0,'-5'11'499'0,"-1"-3"-94"0,2 4-34 0,0-1-41 0,0 1 18 16,3 2-38-16,-1 0-21 0,-1 4-33 0,3 1-28 15,0 0-13-15,0 1-23 16,3 2-8-16,-2-2 42 0,1-2-27 0,0 1-48 15,0-2-53-15,2-1-63 0,0-1-27 0,-1 0-77 16,0-3-21-16,2 1-71 0,-3-4-120 0,3-7-152 16,-2 5-509-16,2-3 87 0,-2-1 77 15,2-3 72-15,-5 0 71 0,0 0 61 0</inkml:trace>
  <inkml:trace contextRef="#ctx0" brushRef="#br0" timeOffset="21186.23">18341 6070 1095 0,'0'0'333'16,"0"0"-23"-16,0 0-16 0,-3 17-7 0,2-9-8 15,1 5-11-15,0 3 55 0,0 5-26 0,0 3 18 16,-2 8-34-16,2 11-71 15,0 2-5-15,0 3-41 0,2 2 58 0,-2 1-7 0,4 7-15 16,1 2-39 0,3-15-28-16,-1 0-15 0,4-2-36 0,3-2-26 0,-1-3-56 0,3-5-15 15,-1-3-13-15,3-3-41 0,-2-5-5 16,-1-7-21-16,-2-5-64 0,0-2-38 0,2-2-123 16,-2-4-120-16,0-2-505 0,2-1 116 0,6-1 48 15,-4-4 77-15,4-4 123 0,2-2 31 16</inkml:trace>
  <inkml:trace contextRef="#ctx0" brushRef="#br0" timeOffset="21577.44">18879 5875 880 0,'7'5'346'0,"3"2"-14"0,1 6-7 0,7 1-20 0,5 10 43 16,3 0 5-16,2 7-15 0,5 9 3 16,0 2-29-16,1 0-56 0,-3 4 0 0,0-2 10 15,-1 4-38-15,-7-2-26 0,0 4-84 16,-2-2-21-16,-4-2-2 0,-8-3-26 0,0-1-13 16,-6-1-51-16,-3 1-46 0,-2 0-43 0,-3-3-41 15,-8 1-65-15,0 0-76 0,-2-3-146 16,-3-4-520-16,0 2 105 0,-3-6 29 0,1 0 125 15,-1-3 48-15</inkml:trace>
</inkml:ink>
</file>

<file path=ppt/ink/ink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4-24T15:57:09.179"/>
    </inkml:context>
    <inkml:brush xml:id="br0">
      <inkml:brushProperty name="width" value="0.05292" units="cm"/>
      <inkml:brushProperty name="height" value="0.05292" units="cm"/>
      <inkml:brushProperty name="color" value="#0070C0"/>
    </inkml:brush>
  </inkml:definitions>
  <inkml:trace contextRef="#ctx0" brushRef="#br0">7770 2445 1261 0,'0'0'351'16,"0"0"-21"-16,0 0-43 0,0 0-18 0,-11-1-11 16,11 1-58-16,0 0-3 0,0 0-31 15,0 0-17-15,0 0-1 0,0 0-25 0,0 0 23 16,0 0-23-16,0 0-36 0,0 0 10 15,24 1-23 1,-17-1 21-16,6 0-10 0,-2 0-11 0,6 0-20 0,1-1-1 0,0 1-4 0,5-2 33 16,3 0-8-16,0 1-35 15,-1 0 12-15,5 0-10 0,-1-1 7 0,2 1-7 16,2 0-13-16,-2 0-2 0,0-1 15 0,-3 1-20 16,5-1-9-16,-2 1 6 0,-2 0 13 15,3-1-18-15,-1 0-21 0,0 1 21 0,-1 1-8 16,1-1 33-16,0-2-27 0,0 3-9 0,0-1 1 15,-6 0 7-15,1 0 23 16,-1 1-20-16,-1 0-16 0,-1-2 3 0,0 2 18 0,0-1-18 16,-2 1-2-16,-4 0 7 0,2 0 15 15,1-2-12-15,-2 2-13 0,0-1 2 0,-3 1 1 16,3 0 17-16,0 0-5 0,0-1-12 0,-3 1 7 16,3-2 10-16,-2 2-25 0,-1-1-5 0,1 1 22 15,-1 0 22-15,-2 0-37 0,0-1-2 16,-1 1 17-16,1 0-4 0,0-1 20 15,-2 1 0-15,1 0-26 0,-2 0 24 0,1-1-13 16,-1 1 2-16,0 0-28 0,0 0 10 16,-2 0 13-16,0 0-17 0,-1-3 24 15,-7 3-27-15,10 0 28 0,-4 0-13 0,-6 0 5 0,10 0 13 16,-10 0-13 0,8 0 0-16,-8 0 18 0,7 0-15 0,-7 0-6 0,0 0-20 0,8 0-35 15,-8 0-22-15,0 0-60 0,0 0-75 16,0 0-174-1,0 0-596-15,0 0 145 0,0 0 31 0,0 0 60 0,0 0 106 0,0 0 44 0</inkml:trace>
  <inkml:trace contextRef="#ctx0" brushRef="#br0" timeOffset="1758.16">11567 2509 806 0,'-5'0'230'0,"5"0"-20"16,0 0-26-16,0 0-17 15,0 0-14-15,0 0-17 0,0 0-16 16,0 0-5-16,0 0-12 0,0 0-6 0,0 0-2 0,15 3-6 15,-9-2-32-15,1 0 9 0,0 0 85 16,1-1-25-16,0 0-9 0,2 0 1 0,1 2-5 16,1 0-47-16,-1-2 9 0,4 0-9 0,-2 2 6 15,2-1 2 1,0-1-20-16,1 1-3 0,1 2-2 0,-1-3-1 0,-1 0-2 0,3 2-2 16,0-2-3-16,0 1-18 0,-2 1 8 15,4-2 12-15,-2 0-30 0,2 0-5 0,1 1 15 16,-1-1-11-16,-1 0 4 0,1 0-9 15,0 0-1-15,4 0 9 0,-6 0 0 0,2 0 16 16,-2 0-31-16,2 1 8 0,-1-1-1 16,-1 0 9-16,0 0-14 0,-1 0 9 0,4 1-24 15,-5-1 15-15,4 0 1 0,-2 0 25 16,0 2-20-16,0-2-11 0,-1 2 8 0,2-2 13 16,-4 1-20-16,3-1-4 15,0 0-1-15,0 0-3 0,0 0 7 0,0 0 11 0,-1 2-8 16,1-2 7-16,-1 0 9 0,3 0-19 15,-2 1-7-15,2-1 5 0,-2 0 18 16,0 2-6-16,0-2 9 0,2 0-19 16,-1 0 6-16,-1 0 15 0,2 0-1 15,1 0-29-15,-1 1 27 0,0-1-7 0,-2 2-16 0,0-2 11 0,0 0-3 16,0 0 0-16,2 0 0 0,-1 0-11 16,-1 0 57-16,2 0-40 0,-2 0-12 15,0 0 1-15,0 0-18 0,2 0 36 0,-2 0-18 0,1 0 10 16,-2 0 10-16,1 0-4 0,0 0-9 15,0-1 1-15,2 2-11 16,-1-2 21-16,-1 1-16 0,2 0-4 0,-2-1 4 0,0 1-5 0,0-1-2 16,2 1 15-16,-2 0 13 15,1 0-8-15,-2 0-12 0,1 0-1 0,0 0 3 0,0 0 8 16,0-2 5-16,0 2 2 0,-2-1-10 0,2 1 3 16,-1 0-5-16,1 0-1 0,-2 0 8 15,2-2-12-15,-3 2 4 0,1-1-12 16,-1 1-5-16,2-2 17 0,-1 0-9 0,-1 2 32 15,1-2-22-15,-3 2-8 16,2-1 7-16,0 1 8 0,1-2 6 0,-1 1-3 0,1 1 7 16,-2-2-5-16,2 2-7 0,-1 0 23 15,-1 0 7-15,1-3-30 0,1 3 10 0,-1-1-21 16,2 1 16-16,-1-1-8 0,-1 0 0 16,1 0 0-16,-1-1 21 15,1 0-16-15,-1 2 3 0,0-1-3 0,-2-1 24 0,3 2-27 16,-1-2 4-16,0 1 17 0,-2 0-13 0,0 1 0 0,-1-1-4 15,2 1 1-15,-2-2 1 16,1 1-23-16,0 1 30 0,-2-1 1 0,1 1-3 16,1-1-10-16,-1 1 4 0,-1-1-1 0,2 1 4 15,-1 0 0-15,-1 1 8 0,1-1-2 16,-2 0-1-16,4 1 11 0,-4-1-92 16,1 0 12-16,-1 1 0 0,0 0 1 15,0-1 9-15,0 0 14 0,0 2 12 0,-1-2 0 0,1 1 5 16,-3-1-2-1,3 1 8-15,0-1 12 0,-2 0 15 0,0 1-37 0,2 1 32 0,0-2-2 0,-1 1 18 16,1 0-21-16,-2 0 11 16,2-1 12-16,0 2-12 0,0-2 12 0,-3 2-25 15,4-2 10-15,-1 0 0 0,-2 1 5 0,2-1 8 16,0 1-10-16,0-2 17 16,0 2-25-16,1-1 28 0,-3 1-18 0,2-1 0 0,0 0 13 15,0 0-15-15,-2 0-5 0,0 1-4 16,2-1 22-16,-2 0-3 0,-1 0-6 0,1 0 11 15,-2 3-18-15,1-3-12 0,1 0 12 0,-8 0 5 16,12 0-3 0,-8 0-12-16,-4 0 18 0,12 0-16 0,-12 0-17 0,8 0 22 0,-8 0-17 15,7 0 20-15,-7 0-26 16,6 0 31-16,-6 0-25 0,0 0 2 0,9 0-5 0,-9 0-2 0,0 0-22 16,0 0-50-16,8-3-20 0,-8 3-37 15,0 0-61-15,0 0-79 16,0 0-177-16,-12-4-440 0,1 0 7 0,1 1 103 15,-5-2 89-15,-6-2 88 0,-5-2 97 0</inkml:trace>
  <inkml:trace contextRef="#ctx0" brushRef="#br0" timeOffset="2838.47">7983 1962 765 0,'7'0'333'0,"6"1"-49"15,2-1 5-15,3 0-41 0,5-1 8 0,8 0-97 16,3 0-23-16,14 1 56 0,1-3 10 0,7 2-15 16,3-2-13-16,16 0-34 0,1 0-1 15,-1 0-11 1,-1 1-3-16,-2-1-7 0,5 0-34 0,0 1-4 0,-1-2-4 0,4 2-9 16,-5 0 10-16,1-2-16 0,-6 1-4 15,-12 1-6-15,-3 0 0 0,-2 1-23 0,-2-2-2 0,-1 3-1 16,0-2 37-16,-11 1-34 0,-6 0 5 15,1-1-17-15,-3 1-1 16,-6 0 8-16,-1 0-8 0,-2 0 6 0,-4 1-8 0,-3-1-3 16,1 1 15-16,-5 0-7 0,-1-2 3 0,0 2-34 15,-2 0 3-15,-3-1-39 0,-5 1-28 0,7-1-51 16,-7 1-64-16,0 0-74 16,0 0-113-16,0 0-511 0,0 0 140 0,0 0-11 0,0 0 106 15,0 0 79-15</inkml:trace>
  <inkml:trace contextRef="#ctx0" brushRef="#br0" timeOffset="3903.26">11508 1966 803 0,'-3'-1'282'0,"3"1"-24"0,0 0-12 0,0 0-16 0,0 0 6 16,23-4-26-16,-13 4-85 0,8-1 13 15,3 1 37-15,9-2-4 0,5 0-5 0,16 0-2 16,4 1-13-16,4-1-18 0,16 1-20 0,2 0-6 16,2-1-7-16,4 2-18 15,3-1-8-15,7 2-10 0,0-1-5 0,1 0-2 0,1 4-9 16,-2-4 6 0,1 2 7-16,1-2-17 0,0 3 12 0,0-1-17 0,-8 2-11 0,0 0 15 15,-5-3 6-15,-5 2-13 0,-2-1-8 16,-3 1 10-16,-13-2 21 15,-1 0-31-15,-2 2 6 0,-4-1-9 0,-1 0 24 0,-10-2-13 16,-7 1-8-16,-1-1-5 0,-3 1 10 0,-4-1 0 16,0 0 1-16,-3 1-16 0,-5-2 15 15,-1 2-13-15,-1 0 39 0,-3-1-33 16,0 0-3-16,0 0 0 0,-3 0-5 0,0 0 20 0,-2 1-27 16,-3-1 4-16,3-1 18 0,-8 1-69 0,12 0-35 15,-12 0 9-15,8 0 6 0,-8 0-13 16,8 0-41-16,-8 0-8 0,0 0-33 15,5 1-36-15,-5-1-74 0,0 0-110 0,0 0-34 16,0 0-429-16,0 0 56 0,0 0 100 16,0 0 140-16,0 0-23 0</inkml:trace>
  <inkml:trace contextRef="#ctx0" brushRef="#br0" timeOffset="13678.58">5513 3233 895 0,'0'0'285'0,"-10"-1"45"15,10 1-28-15,-7-1-16 0,7 1-42 16,-5-3-11-16,5 3-36 0,0 0-3 15,0 0-15-15,0 0-33 0,20-6 5 0,-7 5 16 16,5-2-50-16,5-1-4 0,8 3-87 16,17-6 4-16,4 1-12 15,17 1 5-15,5 0 5 0,-2-1-15 0,5-1 8 0,5 2-1 16,-5 2-22-16,2-3 12 0,-2 2 8 0,0-1-16 16,-3 3 6-16,0-3 13 0,-14 4 4 15,-1-1-2-15,0-1-23 0,-2 1 3 0,1 1 12 16,-4-3 0-16,-3 3 1 0,-2-1-19 0,-11 0 3 15,-5 1 8-15,-2-1-18 0,-5 1 15 0,-3 1-8 16,0-1-12-16,-5 1 2 0,-2-2 13 16,-3 2-15-16,2 0 10 0,-5 0-1 15,0-1 14-15,1 1 10 16,-6 0-26-16,3 1 3 0,-1-1-5 0,-7 0 15 0,11 0 3 16,-4 0-31-16,-7 0-5 0,7-1 12 0,-7 1 11 15,8 0 3-15,-8 0-24 0,0 0 11 0,6 0 10 16,-6 0-19-16,0 0-9 0,0 0 5 15,0 0 2-15,0 0-9 16,7 0 9-16,-7 0-30 0,0 0-19 0,0 0-40 0,0 0-13 0,0 0-46 16,0 0-31-16,0 0-22 0,0 0 9 15,0 0-81-15,0 0-377 0,0 0-5 0,0 0 123 16</inkml:trace>
  <inkml:trace contextRef="#ctx0" brushRef="#br0" timeOffset="21463.29">7614 4728 1215 0,'0'0'374'0,"-6"0"-41"16,6 0-26-16,0 0-46 0,0 0-36 0,0 0-5 15,23 0-38-15,-12 0-10 0,1 0-14 0,4 3-22 16,4-3 0-16,4 0-1 0,6 2-19 15,3-2-22-15,1 2-9 0,1 0-6 16,14-1 26-16,-2-1-36 0,-9 1-15 0,-2 1-5 16,0-1-16-16,-1-1-28 0,-1-1-2 15,2 2-50-15,-3-1-40 0,3 0-35 16,-6 0-160-16,1-1 18 0,-4 1-61 0,-2 0-292 0,-5 0-117 16,1 0 37-16,-6 0 37 0,-2-2 59 15</inkml:trace>
  <inkml:trace contextRef="#ctx0" brushRef="#br0" timeOffset="21772.31">7855 4803 924 0,'0'0'355'0,"0"0"-50"0,0 0-21 0,30-1-18 16,-12 1-25-16,0-1-21 0,7 0-36 16,1 1-12-16,5-3 10 0,2 1-37 0,1 2-14 0,12-2-11 15,0-1-17-15,-5 2-16 16,5 0-18-16,-7 0 8 0,-3-1-11 16,-1 1 3-16,-1-1 11 0,-3 1-39 0,-3 1-6 0,-3 0-17 0,-1 1-28 15,-4-1-28-15,-3 1-101 0,-3 0-93 16,-2 2-99-16,-1-2-531 0,-1 0 153 15,-2 3 38-15,0-2 54 0,-3 0 57 0</inkml:trace>
  <inkml:trace contextRef="#ctx0" brushRef="#br0" timeOffset="22751">11148 4725 755 0,'0'0'258'16,"0"0"-25"-16,0 0-15 0,0 0-19 16,0 0-12-16,0 0-44 0,0 0 9 0,24 0-19 15,-13 0-5-15,6 0-18 0,1 0-13 0,5 0 18 16,0 0-38-16,3 0 0 0,2 0 12 15,6 0-22-15,-1 0-1 0,3 1 70 16,0-1-16-16,14 0-12 0,-9 1-3 0,-6-1-23 16,0 0-3-16,-1 0-10 0,-1 1 0 15,0-1-7-15,-3 3-6 0,1-3-2 0,-5 0-8 0,-3 2-23 16,-2-2-5-16,-1 0-16 16,-4 1-30-16,-1-1-13 0,-5 1-33 0,3-1-56 0,-5 0-83 15,-1 0-38-15,-7 0-25 16,8 2-356-16,-8-2-93 0,0 0 54 0,0 0 67 15</inkml:trace>
  <inkml:trace contextRef="#ctx0" brushRef="#br0" timeOffset="23190.26">11072 4806 616 0,'0'0'267'0,"0"0"-17"0,23 0-4 0,-10-3-33 0,3 2-47 15,4 1 0-15,5-1 16 0,1 1-28 0,5-1-3 16,2 1-8-16,1 0-35 0,1 0-9 16,-1-1 83-16,1 2-5 0,2-1-52 0,-2 0 8 15,1-1-15-15,-3-1-5 0,1 2-11 0,-6 0-12 16,-4 0-14-16,0-2 6 0,0 2 3 0,-6 0-29 15,0 0 3-15,0 0-8 0,-3 0 8 16,-2 0-18-16,-1 2 8 0,-1-4-8 16,-1 2 0-16,0 2 20 0,0-2-38 0,-2 0-5 0,-2 2 15 15,1-2-15-15,1 0 10 0,-3 1-2 16,-5-1-16-16,11-1 18 0,-11 1-15 16,7 1-8-16,-7-1 11 0,8 0-19 0,-8 0 26 15,7 0-26-15,-7 0-7 16,5 1 20-16,-5-1-27 0,0 0-9 0,8 0 13 15,-8 0-35-15,0 0 9 0,0 0-22 0,0 0-3 16,6 1-41-16,-6-1-23 0,0 0-13 16,0 0-43-16,0 0-24 0,0 0 19 0,0 0-77 15,0 0-18-15,0 0-67 0,0 0-381 0,0 0 84 16,0 0 34-16,0 0 58 0</inkml:trace>
  <inkml:trace contextRef="#ctx0" brushRef="#br0" timeOffset="29908.53">16386 4237 1005 0,'0'0'333'16,"0"0"-23"-16,0 0-49 0,0 0-20 0,-10 6-14 15,6-3-24-15,0 1 1 0,-2 4-40 0,2 2-15 16,0 0-11-16,1 4-8 0,-4 0-22 16,1 1 0-16,1 3-21 0,0 1 15 0,-3 0-28 15,5 1-12-15,-4 3 7 0,4-1-10 0,-1-2 15 16,1-1-20-16,-2 0-37 15,5 0 35-15,-3-1-22 0,3-3-12 0,0 2 3 16,-3-2 2-16,3 1 5 0,-2-3-5 0,1 0 3 16,-1 0 22-16,2-1-30 0,-2-3-10 15,-1 0-3-15,3-1 8 0,-2 2-6 0,2-3 4 16,-1-1-9-16,1 0 6 0,1-3 5 0,-1 2-13 16,-1 0-3-1,1 0 3-15,0-5 31 0,1 7-29 0,-1-5 4 0,0-2 4 0,2 4-5 16,-2-4 28-16,3 2-41 0,-3-2 11 0,5 2 18 15,-5-2-24-15,7 1 8 16,-7-1-13 0,6 2 26-16,-1-2 8 0,-5 0-29 0,10 0 21 0,-10 0-2 0,10 0 2 0,-2 0-11 15,-3-2-7-15,3 1 18 0,2 1 0 0,0-2-13 16,3 2 0-16,0 0 3 16,2-1-13-16,1 0 33 0,2 1-33 15,-1 0 15-15,2-2-2 0,1 2 5 0,0-2 12 0,1 2-22 0,-1 0 2 16,4-2 15-16,-3 2-30 15,-4 0 20-15,4-3-20 0,-1 2 33 0,-2 1 5 16,2-1-15-16,4 0-21 0,-4 1 16 0,1-1-10 16,1-1 32-16,-1 0-43 0,2 1 21 15,0 1 2-15,-2-1-7 0,2-1-8 16,0 1 28-16,0 0-21 0,0 1 9 0,0-1-11 0,3 1-5 16,-3-1 17-16,3-2-19 0,-1 3 14 0,1 0-14 15,0 0 12-15,-1 0 10 16,1 3-12-16,-1-2-8 0,-1-1 7 0,1 1-4 15,-2 0-4-15,1 2 9 0,-2-2 5 0,1 0-3 0,3-1 0 16,-5 5-23-16,4-5 23 16,-1 2-15-16,-2-1 15 0,1 2-10 0,1-3 2 15,-1 2 44-15,0-1-46 0,2 2-10 16,-4-2 20-16,0-1-15 0,1 1 23 0,2 1-16 16,-3 1 3-16,-1-3-3 0,2 2 1 15,-1-1 10-15,-3 1-14 0,0-1 6 0,0 0-2 0,-1 0 4 16,0 3 1-16,1-3 23 0,-3 0-32 15,3 0 4-15,-3 2-3 0,2-3-5 16,0 3 12-16,-1-2-25 0,0 2 38 16,-3-3-4-16,3 1-14 0,-1 0-10 0,1 0 26 15,-1 2-3-15,0-3-2 0,-2 2-5 0,2-1-11 16,-2 2 10-16,0-3-68 0,0 2-21 0,-2-1 36 16,1 2-18-16,-2-3 35 0,1 1-2 15,1 0 3-15,1-1-15 0,-2 0 14 16,-1 1 19-16,2-1-13 0,-3 1-6 0,3 1 27 0,1-1-11 15,-3-1 0-15,0 0 23 0,3 0-13 16,-2 0-4-16,1 0 19 0,-1 0-7 0,1 0-18 16,0-1 11-16,-3 2-9 0,4-1 29 15,-2 0-38-15,-1 0 22 0,2 0 8 16,0-1-13-16,-3 2 8 0,3-2-15 0,0-1 10 16,-3 4-16-16,1-2 11 0,3-2 15 0,-2 2 16 15,-1 0-26-15,0 0 12 0,0 2-4 0,1-2-6 16,-1-2 3-16,0 2-23 0,0 0 31 0,-2 2-11 15,4-4-7-15,-3 2 3 0,1 2 14 16,0-2-7-16,0 0-7 0,1 0 4 16,-2 0 3-16,0-2 0 0,1 4-3 15,0-2 32-15,0 0-24 0,0 0-23 0,-2 1 25 0,2-1-7 16,1 0 13-16,-1 0-13 0,1 1-10 16,-2-1 18-16,2 0-19 0,-1 2 14 0,0-2 7 15,1 0-10-15,-1 0-7 0,2 2-9 16,-1-2 21-16,1 0 6 0,2 0-14 0,-4 0 16 15,4 0-21-15,-3 0 13 0,2 1 16 16,0-1-21-16,-1-1 13 0,-1 1-24 0,1 1 16 0,2-2-5 16,0 1 6-16,-3-2-4 15,2 2 3-15,0 0 0 0,-1 0 16 0,-1 0-24 16,1 0-10-16,2-2 26 0,-2 4-5 0,-1-4-11 16,4 4-9-16,-5-2 4 0,3-2 8 15,-2 2 18-15,1 0-18 0,0 0 18 16,-1 0-18-16,2-1 2 0,-2 1 6 0,-1 0-13 0,0-1 18 15,2 1 10-15,-1 0-13 16,-1 0-36-16,2-3 39 0,-1 3-3 0,-1 0 3 0,4-1-13 16,-2 0-8-16,-2 1 8 0,1 0-2 15,1-1-3-15,1-2 0 0,-2 3 0 0,1-1 10 16,-1 0-10-16,1 1-3 0,0-1 10 16,-1 1 1-16,0-1-21 15,2-1 16-15,-3 1 17 0,0 1-2 0,2-1-11 0,-3 1-9 0,3 0 32 16,0-1-35-16,-3 1 0 0,4 0 5 15,-3 0-1-15,0 0 14 0,1 0-21 16,1 0 21 0,-2 0-13-16,1 0 0 0,-1 0 10 0,0 0-8 0,1 0 3 0,-1 0-2 15,0 0 15-15,-2 0 7 0,4 1-28 0,-2-1 11 0,-1 1 23 16,3-2-26-16,0 2 17 0,-3-1-11 0,4 0 1 16,-2 0-9-1,-2 0-9-15,4 0 40 0,-1-1-24 0,-1 1 7 0,3 0-12 0,-5 0 3 16,4 0-16-16,-2-1 8 0,-1 1 18 15,2 0-18-15,0 0-3 0,-3 0 18 16,1-3-2-16,0 2-13 0,2 1-5 0,-3 0 5 16,-1-1-1-16,2 0-6 0,0 1 7 0,-2-1 15 15,2-2 5-15,0 3-23 0,-2-2 11 16,3 1 12-16,-1 0-7 0,0-1-8 0,0 1 8 16,0 0-11-16,0-2 3 0,-2 1 0 15,3 1-2-15,-4 0 17 0,3 0-15 0,-2-1-3 16,0 1 6-16,0-1-16 0,2 2 8 0,-3 0 2 15,-1-2 3-15,2 2 3 0,-1-1-11 0,0-1 11 16,1 2 12-16,0 0-4 16,-3-1 1-16,3 1-22 0,0 0 15 0,0 0 3 15,2 0 2-15,-3 0-12 0,3 0 2 0,-2 0-6 16,0 0 19-16,2-1 3 0,0 2-22 16,0-1 4-16,-2 0-6 0,0 0 3 0,-1 0 5 15,4 0-2-15,-4 0 7 0,1 0-8 16,-8 0 1-16,13 0-6 0,-5 0 13 15,-8 0 5-15,10 0 16 0,-5 0-21 0,-5 0 0 16,11 0-5-16,-11 0-15 0,7 0 15 0,-7 0 15 0,10 0-30 16,-10 0 15-16,8-1 23 15,-8 1-41-15,8 1 10 0,-8-1 13 0,8-1-2 16,-8 1 10-16,7 0-13 0,-7 0-3 16,8-2 6-16,-8 2 2 0,7 2-13 0,-7-2 16 15,6-2-1-15,-6 2-7 0,5-2 8 16,-5 2-8-16,0 0 23 0,8-2-13 0,-8 2-10 0,0 0 21 15,4 0-11-15,-4 0-12 0,0 0 17 16,0 0-10 0,6-3-5-16,-6 3 0 0,0 0 3 0,0 0 22 0,6-1-17 0,-6 1 0 0,0 0-6 15,4-2-2-15,-4 2-5 16,0 0 20-16,5-1-10 0,-5 1 16 0,0 0-24 0,5-5 14 16,-3 4 4-16,-2 1 11 0,3-4 9 0,0 2 6 15,-1-2-10-15,-1 1 25 16,3-2-20-16,-1 1-10 0,0-2 17 0,-1-1-9 15,3-1 4-15,-2-3 13 0,2 0 8 0,-2-1-28 16,2-3-8-16,2-2-5 0,1-3 10 16,0 0 5-16,-1-3-28 0,7-9 11 0,-4 6-21 15,3-3 7-15,-1-3-2 0,1 8 0 0,-5 3 18 16,2-1-10-16,-2 1 10 0,2 2-3 16,-5 1-18-16,2 4 6 0,-1-3 17 0,-1 2-14 15,0 4 17-15,-2-1-11 0,2 0 22 0,-2 4-24 16,-1-3 31-16,0 3-31 0,-2 2-18 15,4-1 26-15,-3 1 0 0,-1 0-2 16,1-1-1-16,-1 3-20 0,0-2 18 0,0 3-29 16,0-2 24-16,0 5-18 0,-1-6 15 15,0 1-8-15,0 3-7 0,-2-3 5 0,1 2 8 16,2 3 2-16,-5-5-21 0,0 1 24 0,2 2-8 16,-3-2 0-16,-1 2 0 0,-3-1-5 0,3 0 5 15,-2 0-8-15,-3 1 8 16,-1-3-25-16,0 5 35 0,0-3-18 0,-2-1-5 0,0 3 24 15,-3-4-22-15,2 3-7 0,-3 1 0 0,-3-4 11 16,4 2-11-16,0 3 3 0,-5-3 9 16,5 0-14-16,-5 0 15 0,5 2 0 15,-5-3-18-15,2 2 12 0,-1-1-14 32,-1 0-1-32,2-1 21 0,-2 2-18 0,0-2 13 0,0 2-3 0,0-1-2 0,0 0 15 0,-4-1 0 15,3 2-13-15,-5 0 3 0,1-3-1 0,5 2 4 16,0 1-1-16,-1 0-12 0,1-2 17 15,-2 2 23-15,4-1-35 0,1 2 13 16,2-1-1-16,-2-1 0 0,2 2-12 0,-3 0 18 0,3 0-6 16,0 0-5-16,0-1-12 0,0 1 33 15,1-1-41-15,-1 1 10 0,-1 1 20 0,-3-3-12 16,-2 2-5-16,4-1 4 0,-4 0-14 0,-1 0 25 16,-3 0 10-16,0-3-23 15,-3 4 6-15,1-3 12 0,1 1-10 0,-4 0 10 16,4 0-16-16,-4 0 19 0,2 1-10 0,0 0-4 15,0-1-9-15,1 0 33 0,-1 1-13 16,0 0-5-16,-1 1 5 0,1-2-28 0,2-1 41 16,-4 3-31-16,5-2 26 0,-3 2-8 15,0 0-35-15,-2-2 30 0,2 0-6 0,-2 2 6 16,-11-4 0-16,9 4-10 0,1-2 43 0,0 2-22 16,-11-1-4-16,-1-1-12 0,7 0 0 0,-7 2 13 15,8-2-24-15,-6 1 6 16,5-2 5-16,6 2 0 0,0 1 20 0,2-1-15 0,-3 1 0 15,1-1 16-15,0 1-14 0,2 1 3 16,-3-3 0-16,2 2 8 0,1 1-26 16,-3 0 1-16,3 0 24 0,-2 0-1 0,4 0-11 15,-3 1-11-15,1 2 17 0,0-3-9 0,1 0-15 16,1 3 5-16,-2-2 16 0,1 1-11 16,1 0 1-16,3-1 19 0,-4 2-17 0,5-2 5 15,-6 0 0-15,3 0-18 0,-3 2 13 0,3-2-20 16,-3 2 27-16,0 0-4 0,0-2-11 15,-2 1 3-15,2 1 2 0,0-1 5 0,0 2-12 16,1-1-3-16,-1 1 23 16,0-2-15-16,1 1 7 0,-1-1-20 0,3 3 36 15,2-4-26-15,3 1 18 0,0 1-5 16,2 0-10-16,-2 1-10 0,2-2 17 0,1 2-5 0,-1-1 11 16,7 0-18-16,-5 0 25 0,3 1 8 15,1-3-21 1,-2 3-10-16,1-2 24 0,3 3-14 0,-2-3 13 0,0 2-12 0,2-2-8 0,0 2 17 15,-2-1-20-15,2 1 13 0,0-2-7 16,0 2 4-16,0-2 3 0,1 3-15 0,2-2 23 16,-4 0 2-16,4 3-20 0,-3-4 17 15,3 2-14-15,-2 0 12 0,1 1-8 0,3-1 3 16,-2-1-13-16,0 1 24 0,2-1-24 0,-4 1 20 16,4 0-7-16,0 2-25 0,0-2 22 15,1 1 3-15,-3 1-13 0,1 1 21 16,1-1-5-16,-1 1-1 15,1 0-9-15,3 2 9 0,-3-3-12 0,3 2 18 0,-2-1 12 0,4 0-30 16,-3 1-3-16,2-1 13 0,-2-1 15 16,4 1-10-16,-4 0 8 0,4-1-20 0,0 1-1 15,-1-2 10-15,0 1-4 0,-1 0-8 16,1-2 7-16,0 1 16 0,1-1-8 0,1 1-10 16,-4-2-3-16,3 2 13 0,-1-2-5 0,1 2 3 15,-1-5-31-15,1 5-57 0,-1-3-2 0,3-2-43 16,-5 6-32-16,2-3-76 0,3 0-148 15,0-3 58-15,-5 5-499 0,2-1 34 16,3-1 104-16,0-3 129 0,0 6 15 0</inkml:trace>
  <inkml:trace contextRef="#ctx0" brushRef="#br0" timeOffset="52592.98">14682 12165 1049 0,'0'0'363'0,"0"0"-32"0,0 0-27 0,3-4-38 15,-3 4 29-15,0 0-47 0,8-2-92 0,-8 2-15 16,10-1-8-16,-3 0 8 16,1 2-28-16,2-2-11 0,3 2 3 0,2-1-10 0,3 0 84 15,0 0-26-15,5 1-7 0,3 0-31 16,7 0 11-16,0 0-6 0,4-1-10 15,14 1-20-15,-2 1-6 0,4-4-2 0,-2 1 0 16,1 1-26-16,-1-1 8 0,-2-2-5 0,-3 2-10 16,5-2 12-16,-2 2-22 0,-3-3 4 15,0 2-15-15,1-1-7 0,1 2 28 16,-9-2-21-16,4 0 20 0,-7 2-27 0,-2 0 35 0,1-2-12 16,-4 3-34-16,2 0 23 15,-2 0-7-15,-3 0 15 0,1 2 0 0,-4-1-44 16,3 0 31-16,-5-1 0 0,3 1 16 0,-3 1-98 15,3-2 11-15,-3 4-3 0,0-4 12 16,0 1 27-16,0 1-19 16,0 0 18-16,1-1-17 0,-2 1-3 0,1-1 33 0,1 1-26 0,-1-1 26 15,2 0-2-15,-1 0 20 0,-2 0-8 16,-1 0-33-16,2 1 11 0,-5-2 22 0,0 0 6 16,0 0 4-16,-3 0-12 0,0 0-5 0,-2 0 7 15,-2 0-10-15,1 0 8 0,-2 0-8 31,-2-1-2-31,0 1 14 0,0 0-9 0,0 0 10 0,-8 0-5 0,10-1-8 0,-5 1-10 16,-5 0 10-16,8-2-23 16,-8 2-13-16,7-1-27 0,-7 1-45 0,5-2-22 0,-5 2-14 15,3-2-24-15,-3 2-52 0,0 0-46 0,5-3-131 16,-5 3-41-16,3-3-465 16,-3 3 150-16,5-2 9 0,-1-1 58 0,-4 3 64 0</inkml:trace>
  <inkml:trace contextRef="#ctx0" brushRef="#br0" timeOffset="53272.47">17187 12174 965 0,'12'0'363'0,"6"-1"-23"0,3 0-12 15,5 0-31-15,5 1-54 0,4 0-74 0,1 0-18 16,15-2 0-16,0 1-8 0,1 1-30 16,2 0 5-16,-3 0-16 0,0 0 24 15,-2-1-34-15,-2-1-13 0,-9 0 3 0,-5 1-3 16,-2 0 26-16,-3 1-20 0,-5-1 12 0,3 1-2 16,-3-2 0-16,-5 1 66 0,2-2-8 15,-4 2 27-15,-1 0-45 0,0-2-4 0,-2 3-16 16,-2-1 3-16,-1 0-21 0,0 0 8 15,-2-1 0-15,-1 2-23 0,-1 0-3 0,1 0-2 16,-7 0-103-16,11-1 39 0,-7 1-39 0,-4 0 34 16,6-2-16-16,-6 2 19 0,7-1-6 15,-7 1-31-15,0 0 13 0,6-1 13 0,-6 1-46 16,0 0 18-16,0 0-31 0,0 0-23 0,0 0-28 16,7 2-18-16,-7-2-56 15,0 0-10-15,0 0-55 0,0 0-66 0,0 0-63 16,-1 6-17-16,1-6-503 0,2 2 174 0,-2-2 4 15,7 2 65-15,0-1 69 0</inkml:trace>
  <inkml:trace contextRef="#ctx0" brushRef="#br0" timeOffset="56111.52">3695 12678 939 0,'-12'3'394'0,"2"-1"-46"0,2 1-33 0,3-1-33 0,0 1-21 0,4-2-13 15,1-1-15-15,6 6-39 0,1-3 4 16,4 0-40-16,9-1-2 0,3 1-15 16,10-3-13-16,14 0-15 0,5 0 22 0,3-3-40 0,0 3-26 15,1-1-46-15,2-1-15 16,-1 1-39-16,2-1-33 0,0 0-41 0,-3 1-41 16,3-2 29-16,-4 1-150 0,0-5-19 0,-3 7-526 15,-1 2 55-15,-9-2 89 0,6 0 112 0,-2-2 16 16</inkml:trace>
  <inkml:trace contextRef="#ctx0" brushRef="#br0" timeOffset="56472.48">6160 13037 957 0,'0'0'325'0,"10"3"-28"0,0 0-26 16,5-1 6-16,4-1-47 0,9 0-20 0,5-2-23 16,14 0-29-16,3-1 9 0,2 0-37 15,-1 0-20-15,0-2-35 0,0-1-27 0,0 2-32 16,1 0-11-16,0 0-56 16,1-1-36-16,-2 2-62 0,3-2-97 0,0 2-20 0,3-1-238 15,-3 2-162-15,4-1 24 0,-1 1 86 16</inkml:trace>
  <inkml:trace contextRef="#ctx0" brushRef="#br0" timeOffset="57023.92">8272 13043 1133 0,'0'0'430'0,"0"0"-23"0,0 0-30 0,0 0-6 16,0 0-56-16,0 0-23 0,33 2-39 0,-10-2-23 0,3-1-27 15,8 1-6-15,14-1-5 16,3-1-29-16,-2 1-37 0,2-2 20 0,4 2-36 16,-4-1-36-16,2-2-10 0,4 2-31 0,-1 0 8 15,3-1-36-15,0 0-7 0,11-1-37 0,1 1-42 16,-12 2 4-16,0 0-13 16,-2-1-43-16,-1 2-15 0,3 0-75 0,0 2-74 0,-2-1-13 15,14 2-135-15,-12 1-303 0,2-2-40 0,-1 1 153 16,9 3 39-16,-10-3 63 31</inkml:trace>
  <inkml:trace contextRef="#ctx0" brushRef="#br0" timeOffset="57533.91">10928 12923 778 0,'16'0'399'0,"7"-2"-25"0,10-1-34 0,16 1-25 0,5-1-10 0,5 0-19 16,13 0-27-16,1 0-11 16,7 1-115-16,2-1-28 0,-2 1 26 0,7 0-21 15,0-2 2-15,3 3-22 0,-3-3 15 0,0 2-13 16,-2-2-28-16,-1 2 3 0,-2 0 4 16,3 0-4-16,-5-1-1 0,-1-1-27 0,-7 1 17 15,-13 1-30-15,-5-1 4 0,-3 0-9 16,-7 1-16-16,-9-1-28 0,-7 0-21 0,-7 3-20 15,-3-2-25-15,-3 0-24 0,-2 0-86 16,-5 2-96-16,-3-1-30 0,-2-2-514 0,-3 3 55 0,0 0 73 16,-15-3 117-1,-3 2 31-15</inkml:trace>
  <inkml:trace contextRef="#ctx0" brushRef="#br0" timeOffset="57854.17">10297 13080 1205 0,'-12'2'369'0,"4"0"-60"0,11 2-1 15,-3-4-14-15,20 4-18 0,4-2-25 16,29-1-36-16,22 1-28 0,11-1 28 0,12-2-41 16,8 0-36-16,34-3-2 31,-1 2-16-31,4 0-2 0,1-2-36 0,-3-3 3 0,0-1-6 0,-5 1-5 0,-8-1-10 0,-26 0-8 15,-6-1-7-15,0 2 7 0,-6-4-10 0,0 3 21 16,-8-2-31-16,-5 1 30 0,-5 0-53 16,-6 0 5-16,-17 3-28 0,-5-1 2 0,0 1-35 15,-13 0-1-15,-6 3-17 0,-7-1-16 16,0 2-61 0,-6-1-57-16,-1 2-138 0,-4-3-74 0,-4 2-453 0,-3 0 57 0,0 2 135 0,-10-5 58 15,-3 1 86 1</inkml:trace>
  <inkml:trace contextRef="#ctx0" brushRef="#br0" timeOffset="63469.89">2254 8734 770 0,'0'0'284'0,"11"0"-25"0,-11 0 12 15,10 0-18-15,-2 0 62 0,2 0-18 16,3 0-10-16,5-2-39 0,5 2-97 0,3 0 5 0,2 0-5 15,5 0-18-15,14 0-15 0,1 3 2 16,1-2-27-16,5-1 1 0,-3 2 9 16,5-2-3-16,-2 1-21 0,5 2-2 0,-3-2-16 15,-1-1 26-15,1 0-28 0,-2-1-23 0,2 0 10 16,-4-2-3-16,-1 1-22 0,-2 0 25 16,-11 0-5-16,-5 0 15 0,-2-3-22 0,-3 5 6 15,-3-3-4-15,-4 1-2 0,-1 1 1 16,-2 1 6-16,-2-1-7 0,-3-2 1 0,-3 3-24 15,1-2 14-15,-1 2 9 0,0 0-16 0,-2-1 5 16,-3 0 20-16,2 0-40 0,-7 1 15 16,10 0-29-16,-4-2-25 0,-6 2-25 15,7-1-31-15,-7 1-21 0,6-1-51 0,-6 1-53 16,5 0-80-16,-5 0-82 0,0 0-43 0,8 1-433 16,-8-1 64-16,9 0 159 0,-9 0 20 15,8 4 51-15</inkml:trace>
  <inkml:trace contextRef="#ctx0" brushRef="#br0" timeOffset="64207.54">5780 8781 798 0,'15'-5'310'0,"-7"4"7"0,7-1-22 16,1-1-37-16,7 2-2 0,7-1-15 0,5 2 4 15,13-3 6-15,3 3-31 16,8-1-10-16,0 1-18 0,3 0 62 0,12 0 2 0,0-1-46 15,3 1-13-15,0-2-13 0,0 3-41 16,-2-1-12-16,4 0 12 0,-2 0-20 0,-1-4-36 16,1 4 3-16,-2 0 12 0,-11 0-38 15,-3 0 31-15,-1 0-24 0,-1-1 4 0,-3 1-24 16,-2-1 18-16,-3 2-20 0,-2-2-14 0,-8 1 4 0,-8 1-6 16,1-2-10-16,-3 0 5 0,-4 1 39 15,-1 1-57-15,-3-1 21 0,1 0-6 16,-7 1-14-1,1-1-14-15,-2 0 6 0,-2 1 22 0,-3-1 1 0,-1 0-31 0,0 0 15 0,1 0 62 16,-4 0-101-16,-1 0 14 0,-6 0-10 16,10 0-47-1,-10 0-25-15,8 3-6 0,-8-3-30 0,0 0-49 0,5 1-51 0,-5-1-92 16,0 0-100-16,0 0-529 16,0 0 65-16,0 2 75 0,0-2 75 0,0 0 66 0,0 0 89 15</inkml:trace>
  <inkml:trace contextRef="#ctx0" brushRef="#br0" timeOffset="65003.27">9416 8731 1067 0,'-11'-1'450'0,"3"0"-12"0,4 1-72 0,4 0 0 16,-6-2-71-16,6 2-24 0,0 0 13 0,0 0-33 15,0 0-16-15,24 0-4 0,-9 2-19 0,8-4-89 16,5 2-5-16,8 2 40 0,13-4 14 16,5 0-18-16,2 4-16 0,3-4 10 0,5 4-33 15,8 0 3-15,-11 0 2 0,1-1-20 16,0-2 13-16,-1 1-26 0,-2-1 8 0,0 2-16 16,-3-2-5-16,-2 1 31 0,-2 1-2 15,-4-1-39-15,-9 1-3 0,-8-2 31 0,-4 2-41 0,-1-1 3 16,-3-1-5-16,-2 1-34 0,-3 0 11 15,-2-1 7-15,-1 1 5 0,0 0-71 16,-4 0 2-16,1 1 8 0,-4-1 5 0,0 0 3 16,-1 1-13-16,1-1 10 0,-8 0 5 0,10 0-2 15,-4 0-16-15,-6 0-5 0,7 0 21 32,-7 0-39-32,5 2-12 0,-5-2-16 0,0 0-39 0,2 4-30 0,-2-4-2 0,0 0-62 0,0 0-16 15,0 0-48-15,0 5-84 0,0-5-116 16,0 1-470-16,0-1 83 0,0 0 63 0,0 0 101 15,6 4 114-15,1-4 37 0</inkml:trace>
  <inkml:trace contextRef="#ctx0" brushRef="#br0" timeOffset="65712.22">12746 8769 944 0,'-5'-2'381'0,"5"2"-50"0,0 0 4 15,0 0-30-15,23 1-11 0,-8 0-102 16,6 0-3-16,7-2 72 0,8 2-28 0,17-2-15 15,4 0-26-15,7 2 18 0,13-1-49 0,1 3 5 16,-2-2 19-16,-1 0-68 0,-2 1-17 0,-11-2 15 16,13 4-30-16,-1-3-11 15,-12-1 11-15,-1 1-21 0,-5-1 5 0,1 1-16 16,-3-1-6-16,-3-1-4 0,-2 1 8 0,-11 1-38 16,-5 1 51-16,-7-4-31 0,0 2 3 15,-1-1-18-15,-6 1 13 16,3-1-18-16,-4 1 20 0,-5 1-10 15,1-2-8-15,-4 1 24 0,0 1-27 0,0-1 9 0,-3 0 12 16,-1 1-17-16,-6-1 22 0,12 0-35 0,-12 0 12 0,6 2-36 16,-6-2-9-16,5 0-27 0,-5 0 9 0,0 0-29 15,0 0-20-15,0 0-29 16,5 3-45-16,-5-3-49 16,0 0-88-16,0 0-101 0,0 0-502 0,0 0 56 0,0 0 69 0,0 0 62 15,0 0 81-15</inkml:trace>
  <inkml:trace contextRef="#ctx0" brushRef="#br0" timeOffset="68571.69">15535 8722 949 0,'-2'-3'307'0,"2"3"-5"0,0 0-25 0,11-2-21 0,-1-1-3 15,2 2-25-15,6 1-18 0,3-3-8 0,5 0-15 16,7 2 13-16,3 1-44 0,15-1 0 16,3 0 8-16,2 1-31 0,0-3-5 15,4 3-5-15,1 0-98 0,1 0-7 16,14 0-5-16,2 3 23 0,-1-3-8 0,-1 0-5 0,-1 0 3 15,-3 1 12-15,-9 0-25 0,14-1 18 16,-3 0 4-16,2 0-14 0,0 1-1 0,-2-1 1 16,-12 0 4-16,-1 0-2 0,1 1 3 0,0-2 2 15,-1 1-12-15,-2 0 4 0,0 0 6 16,0-1-24-16,0 2 6 0,-2-2 17 16,-4 1-14-16,1 0 19 0,-3-1-14 0,-5 0-14 0,1-2 6 15,-6 3 15-15,-8 0-23 0,1-1 3 16,-1 0 12-16,0-1-12 0,-2 2-6 15,-6-2 13-15,3 2-7 0,-4 0 7 0,1-2 8 16,-4 2-8-16,0-1 13 0,-1 0-20 16,-2-1 2-16,2 1 31 0,-2 1-13 0,-2 0-13 15,2 0-10-15,-3-1 13 0,2 0 15 0,-1 1-13 16,-1-1-12-16,1-2 43 0,-1 3-33 16,1 0-18-16,-1 0 23 0,1 0 2 15,-1 0 3-15,3 0-15 0,-5 0 5 16,2 0 4-16,1 0-9 0,-1 0 25 0,1 0-12 15,0 3-19-15,-2-2 14 0,1-1 9 0,1 2-20 0,-1-2 3 16,1 0 13-16,-1 1-6 0,0 2-2 0,3 0-13 16,-2-3 25-16,1 2-4 15,2-1 38-15,-2 1 7 0,4-1-2 0,-3 2 0 0,3-1-7 16,-3-2 9-16,4 0-25 0,-3 1-20 16,3 0 27-16,-1 1-22 0,-3-1-8 15,5 0 12-15,-2 0-24 0,-3-1 17 0,2 1 15 16,-2 0-28-16,2 1-7 0,-1-2 17 0,-2 0-2 15,1 1 10-15,0-1-10 0,1 1-5 0,-1-1 13 16,-1 0-16-16,-1 0-18 0,2 0 29 16,-3 0-16-16,1 0-15 0,-2 0 17 15,2 0 6-15,-3 0-41 0,-1 0 33 0,4-1 21 0,-3 1-32 16,0 0 1 0,0 0 10-16,-1 0 1 0,1-1-1 0,0-1-10 0,0 2 12 0,2 0-17 15,3 0 2-15,-2-1 29 0,2 2-31 0,-3-2 7 16,3 1 18-16,0-1-22 15,0 1-4-15,-3 0 37 0,1 0-16 0,1 0 3 16,-1-1-3-16,-1 1-22 0,1 0 32 0,1-1-33 16,-2 1 26-16,-1-3-8 15,-1 5-5-15,2-4 0 0,-5 2 5 0,3 0-10 0,0 0 0 16,-1-1 13-16,2 1-1 0,-2 0 4 0,-1 0 9 16,1 0-22-16,1 0 19 0,-3-1-9 15,3 1 2-15,-2 0 16 0,1 0-41 0,0 0-1 16,-1 0 21-16,-1 0-17 0,3 0 9 15,-2 0 13-15,-1 0-5 0,2 0 18 0,-3 0-20 16,-2 0-6-16,4 0 29 0,-1 0-34 16,-5 0-12-16,3 0 28 0,0 0 4 0,-1 0-1 15,-7 0-9-15,10 0-7 0,-3 0 20 16,-7 0-2-16,9 0 3 0,-9 0-22 0,10 0 9 16,-10 0 20-1,8 0 0-15,-4-2 0 0,-1-1-25 0,2 1 9 0,-5 2 1 0,6-4-13 0,-4-2 43 16,2 3-25-16,-3-2-18 0,2-2 7 15,-1 0 16-15,1-3-20 0,-3 3-3 0,2-4 28 16,-2-2-26-16,3 0 18 0,-3 1-15 16,2-4 26-16,-1-2-18 0,1-1-11 0,0-2-7 15,2 1 18-15,-2-1-24 0,0-3 11 0,2 3 8 16,-2-3-1-16,0 2 3 0,3 3-15 0,-5 0 0 16,3 0 33-16,-1 1-49 15,0-1 47-15,-2 6-29 0,1-3 11 0,1 2 10 16,1 1-21-1,-1-1 18-15,-1 0-12 0,-1 1 7 0,2 1 7 0,-2 0-14 0,0 2 10 16,0 1-11-16,0-1 3 0,0 1-13 0,0-1-5 16,-2 3 46-16,2 0-35 0,-1-3-19 0,-1 3 6 15,-1 1 4-15,0-1-4 0,-1 1 28 16,1 0-19-16,-4-1 1 0,1 1-10 16,-2 1 2-16,-2 1 2 0,0-1-17 0,-3 0 2 15,0 0 1-15,-5 1-19 0,-2-1 16 0,0 1 15 16,-1 1-23-16,-2 0-5 0,-5-1 20 15,0 1-20-15,-3 0 13 0,2 0 2 0,-3 2 8 16,-2-3-10-16,1 3 7 0,-14-3-20 0,3 1-8 16,-2 1 31-16,8-1-25 0,-8 2 9 15,0-1 29-15,-3-2-28 0,3 4-8 0,0-2-8 16,0 1 5-16,5-1 3 0,-6 0 0 0,6 2 13 16,5 0-6-16,-12 0-20 15,7 0 16-15,8 0 2 0,-1 0 5 0,-4 0 18 0,2 0-12 16,1 0-22-16,-14 2 19 0,8-2 15 15,4 0-18-15,-12 2 8 0,0-4 13 0,1 4-11 16,0-2 11-16,2 0 17 0,5-2-14 0,-6 0-11 16,8 2 2-1,4 0 6-15,1 0 7 0,-1-2-7 0,1 1-1 0,1-2 6 16,0 3 10-16,2-1 5 0,-3-2 0 0,1 1-2 16,0 0 12-16,3-1-5 0,-2 1-7 0,-2 1-6 15,-8-3 39-15,-2-2-41 0,8 4 8 16,5-3 12-16,-2 4-15 0,2-4 8 15,-13 2-13-15,9 0-3 0,1-1 5 0,3 1-2 0,-2 1 8 16,0-2 12-16,-1 4 1 0,3-5-11 0,-1 4-3 16,1-2-12-16,2-1 13 15,-1 2 15-15,2-1-21 0,-1 2 18 0,4-1 3 16,-1-1-10-16,-2 1-8 0,2-2 13 16,-2 2 0-16,-2 1-26 0,1 0 28 0,3-2-25 15,-2 3-3-15,-3-3 21 0,4 1-8 0,-2 1 10 16,-1 1-2-16,-1-3-19 0,-3 0 42 0,1 2-31 15,-3 1-5-15,3-1 33 16,0 0-33 0,-1 0 31-16,1-2-21 0,2 3-3 0,-5-1-14 0,5-1 6 0,-4-1 4 0,1 3-11 0,3-2 31 15,-4 0-36-15,4-1 28 0,-5 3-5 16,3-1-12-16,-1-2 20 0,0 2-19 0,-1 0 1 16,-1 1 10-16,0-2 11 0,0 2-16 0,0-3 0 15,0 2 0-15,3 1 5 16,-3 0 28-16,2-1-28 0,-1 0 3 0,-1-2 15 15,3 1-38-15,-1 2 20 0,1 0 2 0,0-2 1 16,-1 0 15-16,3 1-20 0,0 0 2 0,-1 1-21 16,1 0 42-16,-3-1-11 0,3 0-25 15,0-2 13 1,0 3 7-16,1-1 0 0,-1-1-7 0,6 2-11 0,-1-3 34 0,0 2-24 0,1 0-4 16,-1 1 38-16,3-1-39 15,0 1 39-15,0 0-26 0,-2 0-25 0,6 0 12 0,-3-3 11 16,1 3-6-16,1-1 9 0,1 1-4 0,1 0-4 15,-2 0-19-15,4 0 11 16,-1 0-10-16,1 0 28 0,1 0-11 0,2 0 11 16,2 0 0-16,-1 0-23 0,2 0 35 0,2 0-35 15,-2 0 15-15,5 0-7 0,5 0-3 16,-14 0-3-16,10 0-2 0,4 0 4 0,-10 0 12 16,10 0-14-1,-8 0-5-15,8 0 11 0,-8-1 14 0,8 1-30 0,0 0 24 0,-8 1-4 16,8-1-2-16,0 0-13 0,0 0 18 15,-5 0-15-15,5 0-8 0,0 0 31 0,0 0-28 16,-2 4 15-16,2-4 2 0,0 0 9 0,0 0-14 16,0 5 0-16,0-5 6 0,0 0 5 0,0 0-11 15,0 4-7-15,0-4 35 0,0 0-9 16,0 5-21-16,0-5 35 0,0 0-35 0,4 6-8 16,-3-6 47-16,-1 0-29 0,0 7-5 15,2-3 5-15,-2-4-2 0,3 6 12 16,-3-4 8-16,2 3-8 0,-2-2-2 15,0 2 5-15,1 1 0 0,1 1 38 0,-2 2-28 0,0-2-2 16,-2 1-8-16,2 4-16 0,-1-1 14 0,1 1 25 16,-2 1-31-16,-1 1 8 0,1-1 13 15,-1 6-19-15,1-2 24 0,-4-1 0 16,4 3-21-16,-6 4-2 16,4-6 28-16,-2 4-36 0,1 2-2 0,0-3 17 0,-3 4-22 0,1-4 38 15,1 3-21-15,-2-2-18 0,3 2 32 16,-2-3-27-16,2 1 3 0,-1-4 11 0,1 1 7 15,0 1-28-15,0-3 20 16,2 0-7-16,-1 1-13 0,3-3 7 0,-4 0-12 0,3 0 35 16,0-1-22-16,1-1 0 0,-2 1-14 0,1-4 9 15,2 3 2-15,-2-2 10 0,1-1-15 0,-1 1 7 32,-1-2 1-32,3 0-6 0,-2-2 14 0,1 3-14 0,1-4 1 0,-2 2 7 0,2-4 20 15,-2 4-32-15,2-4 12 16,0 1 0-16,0 1 0 0,0-5-2 0,-3 5-9 0,3-1 17 0,0-4 12 15,3 4-16-15,-3 1-9 0,0-5 4 16,4 4 21-16,-1-2-33 0,0 0 2 0,2 1 1 16,3 0-6-16,0-3 21 0,2 4-11 15,2-3 1-15,1 1 14 0,0 1-4 16,5-1 5-16,-2 0-3 0,2 1-10 16,2-2 36-16,1 0-62 0,1 1 16 0,-1-1 18 0,2 1-49 15,-5-2 15-15,0 0 6 0,2 0-52 16,-1 0 11-16,-1 0-11 0,-1 0-7 15,1 0 4-15,-2 0-27 0,-1-2-3 0,-2 1-23 0,0 1-26 16,-3-2-14-16,0 2-48 16,0-1-60-16,-4 1-57 0,-6 0-84 0,7 0-466 0,-1-2 118 15,-6 2 99-15,0 0 31 0,4-2 39 0</inkml:trace>
  <inkml:trace contextRef="#ctx0" brushRef="#br0" timeOffset="70017.03">2645 8063 765 0,'25'-2'269'0,"1"-1"-31"0,4 2-28 0,14-1 2 0,8-1-7 0,7 1-13 16,17 2 36-16,9-2-13 0,7 1-3 16,0 1-20-1,8-2 0-15,3 1-36 0,7 1-15 0,26 0-8 0,0 0 0 0,-29-1-15 0,29 1-13 16,-3-1-8-16,-25-1-12 0,-2 1-21 0,-1 0 25 16,-3 0-30-16,1 0 10 0,-3-3-15 15,0 3 5-15,-7-1-11 0,-2-1-25 0,-9 2 8 16,-5-1-18-16,-15 0 30 0,-5 1-9 0,-1 1-27 15,-5-2-7-15,-2 1 6 16,-8 1 1-16,-8 1-9 0,-4 1-1 0,-4-2-10 16,1 0-7-16,-6 0 4 0,-2 1 4 0,-3 1-14 15,1-1-25-15,-6 0 43 0,0-1-7 16,-2 1-21-16,0-1-5 0,-1 0 8 0,-1 0-11 16,-6 0-40-16,10 0 10 0,-10 0-21 0,7 0-33 15,-7 0 5-15,0 0-25 0,6-1-60 16,-6 1-15-16,0 0-17 0,0 0 12 15,0 0-181-15,0 0-334 0,0 0 90 0,0 0 106 0</inkml:trace>
  <inkml:trace contextRef="#ctx0" brushRef="#br0" timeOffset="70913.48">7593 7949 865 0,'28'-1'284'0,"-5"1"-41"0,10-2 0 15,24 1-10-15,17 1-5 0,8-2-41 0,5 0 23 16,13-1 40-16,31 1-1 16,3-2-34-16,-1 4 0 15,3 0-10-15,7 0-113 0,4 4 13 16,-2-2-8-16,-6 5-7 0,-3-4-11 16,2 0 3-16,-4 2-26 0,-4 2 13 0,-27-1-10 15,-1 0 10-15,1-2-12 0,-3-1-11 0,0 1-16 0,-5-2 21 0,-5 4 24 0,-6-6-16 16,-2 3-21-16,-8-1-5 0,-14 0-38 15,-2-2 36-15,-6 1 7 16,-3 2-2-16,-11-3-18 0,-7 1-3 0,-3 0-20 0,-5-1 23 0,-2 0-10 16,-3 0 7-16,0 0 29 0,-6 3-19 15,-1-3-22-15,1 0 28 0,-4 0-24 0,2 0-14 16,-2 1 17-16,0 0 18 0,-3-1-33 0,-5 0 18 16,10 0-26-16,-4 0-15 0,-6 0-8 15,7 1 5-15,-7-1-20 0,7 0-36 16,-7 0-3-16,0 0-17 0,0 0-34 0,6 0-7 15,-6 0-62-15,0 0-33 0,0 0-80 16,0 0-12-16,0 0-423 0,0 0 16 0,0 0 69 16,10-1 74-16</inkml:trace>
</inkml:ink>
</file>

<file path=ppt/ink/ink9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3:09.983"/>
    </inkml:context>
    <inkml:brush xml:id="br0">
      <inkml:brushProperty name="width" value="0.05292" units="cm"/>
      <inkml:brushProperty name="height" value="0.05292" units="cm"/>
      <inkml:brushProperty name="color" value="#FF0000"/>
    </inkml:brush>
  </inkml:definitions>
  <inkml:trace contextRef="#ctx0" brushRef="#br0">6936 6351 1118 0,'0'-5'525'0,"0"5"-39"0,0 0-48 0,0 0-13 0,-2-3-57 16,2 3-27-16,0 0-42 0,0 0-38 0,0 0 8 16,-8 9-33-16,6-4-21 0,-1 2-26 15,0 1-25-15,1 3-67 0,-1 0-30 16,1 2-24-16,-1-1 31 0,1 1-20 0,1 4-8 16,1-2-7-16,0 2 9 0,0-2-20 0,0 2-2 15,0-1 2-15,0-1-18 0,1 2-2 16,1-3-23-16,1-1 2 0,0-1-18 0,1 0 8 15,-1-1-13-15,2-2 11 0,-2-2-32 16,2-1-4-16,0 0 15 0,0-5-3 0,0 3 1 0,0-4 30 16,-5 0-5-16,16-5-13 0,-11 0-5 15,3-1 31-15,2-1-13 0,-2 0-3 0,-1-1-2 16,1-4 2-16,-3 1 8 0,0 1 6 0,-2-1 12 16,2-1 0-16,-3 0-8 0,1-1 8 15,-6 0-13-15,1-2 18 0,0 1-5 16,-2 1-10-16,2 0 0 0,-6-4 20 0,3 3-13 15,0 1 19-15,-2-3-21 0,1 6 2 0,-2-1 24 16,1 0-26-16,2 4 38 0,2-1 3 16,-2 1 2-16,0 3-20 0,0-3 20 0,2 5-2 15,-2 0-26-15,5 2 24 0,0 0-9 0,0 0 6 16,-10 10-18-16,10-4-11 0,0 1 11 0,0 0 2 16,3 4 9-16,-1 2-7 0,1-1-9 15,2 2 7-15,2 1 3 0,1 0 3 0,0 2-26 16,2-1 23-16,0 2-3 0,3 1-15 15,0-2 21-15,0-2-1 0,-3 2-10 0,3-1-17 0,2-1 22 16,-7-2-18-16,5 0-15 16,-5-1 24-16,2 0-45 0,-3-3-15 0,1 0-35 15,0-1-11-15,-3-1-5 0,0-1-59 0,0-1-7 16,0 1-83-16,0 1-71 0,-2-3-74 16,0-2-497-16,2 3 79 0,-3-4 106 0,1 1 58 15,2 1 77-15</inkml:trace>
  <inkml:trace contextRef="#ctx0" brushRef="#br0" timeOffset="573.97">7273 6613 1067 0,'-1'5'456'16,"-1"-2"-16"-16,-1 4-59 0,3 1-51 0,3 0-17 16,-3 0-29-16,3 2-36 0,1-2-25 15,-1 3-18-15,2 0-34 0,0-3-23 0,1 0-14 16,1 1-9-16,1-2-5 0,-1-2-12 0,1-2-21 15,2-1 0-15,-2 1-18 0,0-3 3 16,2-3-1-16,0 0-27 0,-2-1 2 16,-1 1 18-16,2-4 5 0,0 1-28 0,-1-3 54 15,-3 1-26-15,1 1 20 0,-2-4-17 0,-4 3 41 16,0-3-100-16,-2 4 35 0,0-5-50 16,-4 2 35-16,1 1 5 0,-3-1 11 0,-2 2-13 15,2 2-26-15,-2-1 5 0,0 1 6 0,0 4-3 16,0-2-44-16,-1 4-15 0,1-1-28 0,0 2-5 15,-1-1-57-15,1 5-56 16,2-2-56-16,-2 3-148 0,3 2-341 0,-1-1-195 16,3 0 131-16,2 0 41 0,1 0 76 0,-1 3 78 15</inkml:trace>
  <inkml:trace contextRef="#ctx0" brushRef="#br0" timeOffset="1797">14195 6328 1310 0,'-2'3'364'0,"-2"-2"-37"0,2 3 3 16,-1-1-7-16,1 2 12 0,-1 2-28 16,1-2-25-16,2 3-39 0,-1 0-13 0,-1 1 3 15,2-1-61-15,0 4-8 0,0-1 12 0,0-2-48 16,2 4 8-16,-1 2-59 15,1-3 0-15,1-2-44 0,0 2 3 0,1 0-29 0,0-1 16 16,3-3-38-16,-4 1 0 0,4-2 4 16,-4-3-9-16,2 1-6 0,2 0 3 0,1-1 23 15,0-2-10-15,-1-2-21 0,1-1 24 16,0-3-24-16,0 2 23 0,-1-4-7 0,3-1 5 16,1 0-11-16,-6-2 6 0,3 1 23 0,-3-3-19 15,2 2 24-15,-4-3 13 16,0 0-37-16,-1 0 4 0,-1-3 12 0,-1 1-8 0,-1 0-2 15,-1 1 21-15,-1-2-1 16,-2-1-5-16,0-1-5 0,2 3 0 0,-2 1 6 0,0 2 4 0,0 0 29 16,0 2-11-16,-1 2-10 0,2 1 28 15,1 0-33-15,-3 0 15 32,2 2 29-32,-2 3-34 0,6 1 10 0,-8 0-10 0,8 0 16 0,-6 4-1 0,2 2-17 0,2 1 15 15,0-1-23-15,-1 2 25 0,3 3 1 0,-3-2-26 16,3 3-3-16,3 0 34 0,-3 1-16 0,3 3-7 15,-1-3 7-15,3 3-71 0,-2 0 2 0,1-2 10 16,2 3 13-16,2-1 57 0,-1-1 7 16,1 2-2-16,-2-2-6 0,1-2 16 0,3-1-33 15,-5 0 4-15,0-1-17 0,3-2 15 16,-2 1-23 0,1-2 3-16,-4-2-23 0,1 1-42 0,2-1-4 0,-2-1-29 0,0 1-30 0,1-1-36 15,0-3-49-15,-1 2-87 0,-1-2-140 16,2-2-531-16,-2 0 75 0,2 1 128 0,-5-1 28 15,0 0 95-15,11-1 61 0</inkml:trace>
  <inkml:trace contextRef="#ctx0" brushRef="#br0" timeOffset="2508.6">14541 6450 1028 0,'0'0'436'0,"3"-2"-37"16,-3 2 41-16,0 0-30 0,0 0-19 16,0 0-37-16,7 6-40 0,-4-4-4 0,1 3-102 15,-3-2 4-15,4 3-23 0,-3 0 6 16,4 0-24-16,-2 0 62 0,-1 1 0 0,2-1-36 16,-2 0-5-16,2 0-59 0,-2 1 16 15,-1-2 2-15,3-3-23 0,-4 4 0 0,1-2-33 16,0-2 20-16,1 2-23 0,-3-4-10 0,3 5-26 15,-3-3 26-15,0-2-28 0,4 3 30 0,-4-3-40 16,1 4-1-16,-1-4 14 0,0 0-9 16,2 4-2-16,-2-4 6 0,3 2-32 15,-3-2 6-15,0 0-16 0,0 0 10 0,2 4 3 0,-2-4 16 16,0 0-21-16,0 0-3 16,3 3-7-16,-3-3 10 0,0 0-21 0,0 0 18 0,0 0-7 15,0 0 20-15,0 5-28 0,0-5 13 16,0 0 0-16,0 0-16 0,0 0 14 0,0 0-24 15,5 1 20-15,-5-1 1 0,0 0-21 0,0 0 18 16,2 3-7-16,-2-3-3 0,0 0 5 0,0 0 2 16,0 0 9-16,0 0 1 15,3 2-17-15,-3-2-2 0,0 0 14 0,0 0-17 0,0 0-3 16,0 0 13-16,0 0 5 0,3 3-7 0,-3-3 2 16,0 0 5-16,0 0-28 0,0 0 23 0,0 0-10 15,0 0 5-15,0 0-3 16,0 0-10-16,0 0 8 0,0 0-11 0,0 0 24 0,2 4-1 15,-2-4-4-15,0 0 7 0,0 0-23 16,0 0 13-16,0 0 7 0,0 0-30 0,0 0 13 16,0 0 2-16,0 0-2 0,1 2 7 15,-1-2 0-15,0 0 8 0,0 0 5 0,0 0 3 16,0 0-18-16,2 5 2 0,-2-5 13 0,0 0 8 16,0 0-8-16,0 0-5 0,0 0-10 0,0 0 15 15,0 0-7-15,0 0-1 0,0 0 8 16,0 0 18-16,0 0-36 0,0 0-10 0,0 0 0 15,0 0 3-15,0 0-8 0,0 0-23 16,0 0-8-16,0 0-13 0,0 0-23 0,0 0-5 16,0 0-33-16,0 0-10 0,0 0-26 0,0 0-25 15,0 0-32-15,0 0-45 0,0 0-98 16,0 0-132-16,0 0-482 0,0 0 56 0,0 0 111 16,0 0 45-16,0 0 116 0,0 0 48 15</inkml:trace>
  <inkml:trace contextRef="#ctx0" brushRef="#br0" timeOffset="3192.84">14605 6412 1003 0,'0'0'320'0,"0"0"-10"16,2-4-42-16,-2 4-17 0,0 0-28 15,0 0 2-15,0 0-33 0,0 0-10 0,0 0-34 16,0 0 3-16,-12 9-18 0,9-6-7 0,0 1 15 16,-1-1-39-16,-2 2-7 0,1 1 33 15,0-2-118-15,0 2-2 0,-1-2 22 0,-1 3-19 16,2 1 7-16,0-4 5 0,0 3-3 0,-3-2-2 16,3 2 2-16,0-1-4 15,0 2 4-15,-1-2-4 0,4-1-6 0,-3 4 10 0,0-6 11 16,3 3-31-16,-2-2 10 0,0 2 13 0,3-4-30 15,-1 2 32-15,-1 0-9 0,3 0 7 16,0-4 0-16,0 4-3 0,0-4-7 16,3 4 0-16,0-1 23 15,4-2-31-15,-2 0 15 0,1 0 8 0,4-1-15 0,0 0-3 0,2 0 34 16,-1 0-44-16,5 0-3 0,-1-2 93 16,3 1-39-16,2-4 5 0,-2 4-17 0,0-3-14 15,5 2-32-15,-5-3-39 0,0 2-3 0,0-1-25 16,2-2-49-16,-2 4-105 0,0-1-94 15,-7 0-137-15,4-1-406 0,0 3 87 0,-4 0 36 16,1-3 194-16,-2 4 3 0</inkml:trace>
  <inkml:trace contextRef="#ctx0" brushRef="#br0" timeOffset="4029.75">14641 6563 990 0,'10'5'305'0,"-10"-5"-13"15,5 3-42-15,-2 3-27 0,2-1-26 0,0 2-2 16,0-1-26-16,0 5-8 0,1-3-33 16,1 3-41-16,-2 0-38 0,1-2-62 15,-2 2-108-15,2 3-135 0,-2-4-501 0,-1-1 55 0,3 3 96 16,1-1 58-16</inkml:trace>
  <inkml:trace contextRef="#ctx0" brushRef="#br0" timeOffset="17457.9">9290 8268 1159 0,'5'7'392'0,"-2"7"-49"0,4 4-21 16,-1 5-33-16,-1 2-15 0,3 8-48 16,-1 4-14-16,-2 0-17 0,1 1-16 0,-2 0-15 15,-1-1-39-15,0 1-25 0,-1-7-26 16,0-1-28-16,-2-3-43 0,1-1-16 15,-1-2-72-15,0-2-35 0,0-2-100 0,2 0-31 16,-4-4-189-16,4-2-364 0,-2-1 82 0,0-2 62 0,0-3 107 16</inkml:trace>
  <inkml:trace contextRef="#ctx0" brushRef="#br0" timeOffset="17682">9326 8245 1000 0,'0'0'397'0,"-13"6"-39"16,6 3-35-16,-4 4-34 0,-1 5-33 0,-2 1-18 15,-6 10-20-15,5 1-29 0,-5 2-25 0,3-1-64 16,0 0-39-16,-1 0-35 0,2-2-21 0,1-3-77 15,5-5-91-15,0-3-145 0,-3-5-58 16,10-1-407-16,-2-1 49 0,0-3 112 0,0-2 57 16</inkml:trace>
  <inkml:trace contextRef="#ctx0" brushRef="#br0" timeOffset="17922.96">9105 8302 834 0,'11'11'369'0,"-3"-4"-1"0,2 5-61 0,3 4-33 16,2 0-23-16,0 2 0 0,5 6-26 16,4 1-30-16,-1-4-31 0,2 3-21 0,1-5-7 15,-3 3-11-15,1-7-18 0,-4-2-20 0,3-2-5 16,0 1-43-16,0-3-21 0,2 0-8 16,-1-1-25-16,1-1-44 0,-6-1-54 0,3-2-43 15,-1-2-85-15,-1 5-184 0,1-7-371 0,-3 3 67 16,5-2 84-16,-5-1 107 0</inkml:trace>
  <inkml:trace contextRef="#ctx0" brushRef="#br0" timeOffset="18544.68">10585 8174 1315 0,'2'14'307'0,"-2"9"-17"0,6 11-1 16,1 7-38-16,0-1-8 0,1 3-38 16,0-1-19-16,0 3-42 0,-1-2-21 0,-1-1-52 15,2-1-45-15,-4 1-34 0,2-2-33 0,-1-3-61 16,-3-4-93-16,1-6-99 0,0-1-456 15,-1-6 44-15,-2-1 86 0,3-1 21 0</inkml:trace>
  <inkml:trace contextRef="#ctx0" brushRef="#br0" timeOffset="18837.37">10500 8113 936 0,'-13'23'372'0,"0"7"37"0,-5 4-30 15,-2 16-75-15,-1-1 1 0,1 1-49 0,0 2-43 16,4-2-14-16,3-7-40 0,1-1-67 0,-1-3-51 16,5-1-44-16,0-3-73 0,3-7-101 0,0-5-148 15,5-4-463-15,0-5 45 0,0 0 114 16,2-3 45-16</inkml:trace>
  <inkml:trace contextRef="#ctx0" brushRef="#br0" timeOffset="19115.96">10503 8277 1013 0,'33'21'312'0,"5"-1"-20"0,-1 1-23 0,8 7-36 15,-1-2-13-15,-6-4-23 0,6 4-13 0,-8-4-25 16,2-4-31-16,-1 1-25 0,-2 0-27 16,4 0-27-16,-3-1-18 0,-1-1-65 15,1-2-32-15,-2-2-85 0,2-1-77 0,-6-2 8 16,-4-2-494-16,0-1 28 0,0-1 102 16,-3 0 13-16</inkml:trace>
  <inkml:trace contextRef="#ctx0" brushRef="#br0" timeOffset="19786.16">12785 8223 1259 0,'5'33'391'0,"-2"5"-32"0,1 5-34 15,2 2 0-15,-1 3-89 0,0-2 2 0,0 4-93 16,3 6-27-16,-6-7-44 0,3 0-22 16,-2-4-45-16,-3 5-68 0,2-6-57 0,-2 1-82 15,3-4-45-15,-8-9-73 0,10-6-427 0,-5-1 47 16,3-5 86-16</inkml:trace>
  <inkml:trace contextRef="#ctx0" brushRef="#br0" timeOffset="20042.5">12713 8282 1005 0,'-16'23'384'0,"-6"5"-41"0,-1 7-12 0,-6 9-58 16,-2 1-27-16,1 4-26 0,-4 1-12 0,-1 1 32 16,1-1-35-16,0 0-51 0,4-1-57 15,1-3-36-15,-1-3-43 0,12-9-36 0,0-2-74 16,5-8-43-16,5-5-98 0,1-5-100 15,2-2-392-15,2-4-19 0,1-2 114 0,-1-2 39 16</inkml:trace>
  <inkml:trace contextRef="#ctx0" brushRef="#br0" timeOffset="20261.25">12513 8175 980 0,'28'23'363'0,"10"10"-20"0,6 5-7 0,0 6-47 16,4 3 13-16,-1 1-36 0,1 1 29 0,1 1-47 16,0-1 13-16,2-1-69 15,0-2-33-15,1 1-34 0,-4-6-76 0,4 1-49 0,-4-4-80 16,1 0-153-16,-3-6-578 0,0 0-11 0,-2-2 100 16,-8-7 88-16,-3-3 55 0</inkml:trace>
</inkml:ink>
</file>

<file path=ppt/ink/ink9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3:54.561"/>
    </inkml:context>
    <inkml:brush xml:id="br0">
      <inkml:brushProperty name="width" value="0.05292" units="cm"/>
      <inkml:brushProperty name="height" value="0.05292" units="cm"/>
      <inkml:brushProperty name="color" value="#FF0000"/>
    </inkml:brush>
  </inkml:definitions>
  <inkml:trace contextRef="#ctx0" brushRef="#br0">5332 1452 1241 0,'0'0'543'16,"0"0"-14"-16,17-4-47 0,-1 1-19 16,10-2-36-16,17-2-25 0,6-1-18 0,20-3-54 15,8 0 11-15,5 0-21 0,5-2-28 0,3 1-16 16,2-1-51-16,3 2-7 0,-5 1-34 0,2-1-10 16,-3 0-43-16,-3 4 5 15,-5-2-6-15,-4-1-38 0,-4 5-20 0,-2-3-31 16,-12 5-51-16,-8-2-29 0,0-1-32 0,-4 2-80 0,-12 1-24 15,-7-1-57-15,-5 3-86 16,-7-2-25-16,-1 1-2 0,-1 0-201 0,-4 0-457 0,-3 1 79 16,-4 0 87-16,-1 0 125 0,-2 1 47 0,0 0 58 15</inkml:trace>
  <inkml:trace contextRef="#ctx0" brushRef="#br0" timeOffset="680.43">5454 1853 1167 0,'11'3'437'0,"1"-1"-19"0,7-3-32 0,6 0 60 0,21-7-11 0,23-2-120 0,13-3-16 16,8-2-25-16,28-8 15 0,0-1-28 15,-5-4 82-15,0 2-43 0,-6 0-26 0,-22 3-44 16,-1 2 3-16,-2 1-18 15,-2-1-31-15,-5 2-84 0,-4 1-21 0,-7 1 19 0,-2 2-39 16,-18 3 10-16,-3 2-13 0,-9 4-7 0,-5 0 4 16,-7 2-1-16,1 0-22 0,-1 0-7 15,-7 0 18 1,2 1-5-16,-4 0-10 0,-1 2-26 0,0-1 10 0,-2 1 3 0,-1 1-3 0,-1-2-15 16,1 1-8-16,-7 1-30 15,8-1 12-15,-8 1 0 0,0 0-20 0,0 0-13 0,5 4-3 16,-5-4-25-16,2 2-2 0,-2-2-6 15,1 3 8-15,-1-3-24 0,0 0 9 0,2 5-3 0,-2-5 30 16,0 0-12-16,0 4 13 16,0-4 0-16,0 0 43 0,0 0-26 0,0 4 3 0,0-4 8 15,0 0 15-15,0 0 6 0,0 0 12 16,0 4-5-16,0-4 15 16,0 0-10-16,0 0-10 0,0 0 18 0,0 0 5 0,0 0-11 0,0 0 3 15,0 0 13-15,0 0-2 0,0 0-1 16,0 0 11-16,-7 1-16 0,7-1 39 0,0 0-23 15,0 0 17-15,0 0-9 0,0 0-11 0,0 0-3 16,0 0-4-16,0 0 7 0,0 0 23 16,0 0-18-16,0 0 3 0,0 0-33 0,0 0 22 0,0 0 29 15,0 0-11-15,0 0 1 0,0 0 12 16,0 0-23-16,0 0 13 0,0 0 3 16,0 0-11-16,0 0 19 0,0 0-11 0,0 0-16 15,0 0 16-15,0 0-17 0,-6 1 17 0,6-1-6 16,0 0-9-16,0 0 8 15,0 0-4-15,0 0 1 0,0 0 13 0,0 0-1 16,0 0-30-16,0 4-2 0,0-4 12 0,0 0-16 0,0 0-19 16,-2 4-24-16,2-4-20 0,0 0-13 0,0 0-39 15,-2 3-27-15,2-3-16 0,0 0-18 0,-1 2-10 16,1-2-28-16,0 0-3 0,-8 0-243 16,6 2-451-16,2-2 106 0,-5 2 68 15,2 2 111-15,-2-2 79 0</inkml:trace>
  <inkml:trace contextRef="#ctx0" brushRef="#br0" timeOffset="2530.37">4483 4176 1182 0,'0'0'466'16,"-3"-5"-28"-16,3 5-44 0,-2-2 5 0,2 2-112 16,0 0-29-16,0 0-9 0,0 0-39 0,0 0 7 15,-8 6-43-15,3 0-15 0,3 1-8 16,1 0-15-16,-1 4-16 0,-3-1-8 15,5 5 65-15,-1-2-21 0,1 2-18 0,1 2-15 0,1 1-5 16,1 0-10-16,0 1-11 0,1 0-18 0,-1 0-2 16,4-4-21-16,-4 4-17 0,3-3 9 15,1-1-43-15,1 0 1 0,-3-2-17 16,3 0-7-16,-3-4-20 0,5 0 18 0,-3-1 4 16,1-3-38-16,1 2 8 0,0-4 11 0,-1 0 27 15,0-3-28-15,2-2-2 0,0-1 35 0,0-2-33 16,0 2 39-16,1-6 4 0,-1 1-24 15,-2 0 4-15,2-3 5 0,-2-2 3 0,0 0-21 16,-1-4 26-16,-2 3 18 0,-2-5-13 16,0 0-10-16,-3 0-23 0,0-3 28 0,-3 1-10 15,0-2 10-15,-5-3 8 0,-2-7-16 16,-2 0-2-16,3 7 17 0,0 5 19 0,1 1-16 0,-2 2-7 16,2 1 48-16,0 3-33 15,0 1 5-15,-2 2 8 0,2 3 17 0,1-3-17 0,-1 4 5 16,1 1 12-16,1 1 4 0,-1 3-6 0,1 1 0 15,6 1 5-15,-10 2-15 0,6 3 18 16,0-1-6-16,2 5-22 0,-1-2 7 16,3 4 13-16,0 2-7 0,3 0-19 15,0 2 0-15,2 2 24 0,0 0-6 0,2 4-9 0,1-1 9 16,0 2-20-16,0 0 10 0,-1-1 16 16,3 0-21-16,0-1-6 15,-1 2 6-15,1-3-5 0,0-1 0 0,0-3-13 0,-2 0-5 0,0-1 6 16,-3-1-24-16,2-2-18 0,-1-1-10 0,-1 1-31 15,0-3-33-15,0 2-33 0,0-4-34 16,0 2-43-16,-2-1 15 0,4-3-23 0,-1 2-87 16,-3-3-186-16,4 0-482 0,-2-2 92 0,-2 0 80 15,4 0 112-15,-7-1 61 0,11-2 29 16</inkml:trace>
  <inkml:trace contextRef="#ctx0" brushRef="#br0" timeOffset="2893.03">4875 4307 1087 0,'0'0'430'0,"0"0"-15"16,0 0-126-16,0 0-5 0,0 0-30 15,-2 12 45-15,2-6-22 0,2 2-21 0,-2 2-23 16,2-3-31-16,-1 2-51 0,4 1 2 16,-3-3-9-16,1 3-6 0,4-1-7 0,-1-3-34 15,-1 0-5-15,0 0 0 0,2-4-23 16,1 2 13-16,0-2-2 0,0-2 1 0,-1-2 24 15,1 1-76-15,0-3 45 0,-3 3-20 16,2-6 127-16,1 2-12 0,-5-1 16 0,2-1-37 16,-5 1 21-16,2-2-16 0,-2-1-14 0,-2 0 17 15,-3 2-46-15,2-3-5 0,-5-1-13 0,4 2-5 16,-4 1-41-16,0-2 5 0,0 3-30 16,1-3-21-16,-1 3-44 0,0 2-22 0,1 1-49 15,2 0-24-15,-1 3-40 0,1 1-26 0,-2 0-35 16,2 3-44-1,-1 1-123-15,-2 3-133 0,4-1-497 0,-2 3 108 0,4 1 79 16,-3 1 149-16,2 1 43 0,0 0 61 0</inkml:trace>
  <inkml:trace contextRef="#ctx0" brushRef="#br0" timeOffset="6697.46">5970 4189 1182 0,'7'-7'366'0,"3"0"-31"0,4-3-27 15,3 4-37-15,1 1-2 0,8 0-3 0,-1 2-23 16,4 4-15-16,15 3-23 0,-3 7-95 0,0 3-3 15,-3 6-2-15,3 8 0 0,-3 7 64 16,-4 7-10-16,-5 7-24 0,-4 7 11 16,-5 8-25-16,-2 6-24 0,-2 3 0 0,-4 7-33 15,-3 3-2-15,-2 5 4 0,0-2-12 0,-4-3-29 16,2 0-1-16,-5-8 16 0,2-4-6 0,-1-8-1 16,1-13 3-16,1-4-8 15,0-3-5-15,1-5 8 0,0-9-6 0,3-5-17 16,-2-4 23-16,0-4 2 0,2-5-30 0,1-3 35 15,0-4-30-15,0-4-3 0,2-1 13 0,3-6 2 16,-1-4-12-16,4-3-13 0,5-12-18 16,-1-3-3-16,-5-1 11 0,3-4 5 0,-5-3-11 15,0 0 1-15,-5-2 14 0,2 2-11 0,-5 6-1 16,-3 2 18-16,-2 7-11 0,0 0 24 16,-2 3-3-16,0 5 3 0,-1 2-15 0,0 0 43 15,-2 5-26-15,0 4 21 0,0 3 20 0,5 0-33 16,-15 12 5-16,7 2 8 0,0 6-5 15,1 4 12-15,-1 12 16 0,3 4-10 0,5 1-24 16,2 5 29-16,3 1-20 0,5 10 12 0,6 4-13 16,-1 0 36-16,3 2-26 0,6 1-9 15,1 3-55-15,3-2 1 0,3 2-16 16,5 18 26-16,8-5-26 0,-1 0 36 16,-2-1-10-16,3-1-8 0,-9-12 89 0,4 13-9 0,-3-14 10 15,-3-2-21-15,4 19-21 0,-7-20 29 0,-4 0-2 16,-1 0-22-16,1-1-14 0,-8-3 10 15,0-4-8-15,-5 0 23 0,0-7-10 0,-8-2 10 16,2-2 10-16,-6 0-33 0,1-3 3 16,-4-5-24-16,1-7 14 0,-4 0-4 15,-2-3-4-15,-3-3-16 0,-1 0-45 0,-2-1-1 16,-10-2-31-16,2-1 1 0,1-6-26 0,-3-2-44 0,5-3-51 16,-8-2 6-16,1-1-42 0,1-4-76 0,1 3-90 15,-2-6-159-15,7 3-412 16,0-2 131-16,-2-2 54 0,7 3 101 0,-3-3 93 15,1 1 77-15</inkml:trace>
</inkml:ink>
</file>

<file path=ppt/ink/ink9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4:39.476"/>
    </inkml:context>
    <inkml:brush xml:id="br0">
      <inkml:brushProperty name="width" value="0.05292" units="cm"/>
      <inkml:brushProperty name="height" value="0.05292" units="cm"/>
      <inkml:brushProperty name="color" value="#FF0000"/>
    </inkml:brush>
  </inkml:definitions>
  <inkml:trace contextRef="#ctx0" brushRef="#br0">609 1189 1379 0,'8'-3'423'0,"4"2"-42"16,3-2-15-16,6 0-23 0,5 0-18 16,17-4-36-16,-1 2-17 0,6 0-4 0,1-3-40 15,4 2-33-15,2 2-29 0,0-2 0 0,3 1-12 16,1 4-34-16,2-2 1 0,0-1 19 16,-4 4-24-16,-1-1-24 0,-2 0 28 0,-3 1-41 15,-1 1-4-15,-10-2-16 0,-4 1-13 16,-5 0-13-16,2 0-10 0,-7 0-8 0,1 0-25 15,-3 0-21-15,-1-1 19 0,-5 0-42 0,0 2-10 16,-5-2 10-16,-1 2-7 0,1-2-21 16,-3 1-16-16,-2-1-32 0,-2 0-13 0,-6 1-21 15,7 0-41-15,-7 0-123 16,0 0-15-16,0 0-64 0,0 0-435 0,0 0 56 0,-13 6 85 16,5-6 38-16,-4 4 41 0</inkml:trace>
  <inkml:trace contextRef="#ctx0" brushRef="#br0" timeOffset="376.82">752 1379 752 0,'0'0'346'0,"0"0"-21"0,0 0 5 0,0 0-26 0,18 0 45 16,-3-3 1-16,6 0-35 0,7-3-36 0,9-1-10 16,6-1-87-16,0-2-29 0,6 2 103 15,2-3-43-15,14 1-11 0,-3 0-5 0,-9 2-23 16,1 1-15-16,0-1-31 0,-1 2 7 0,-4-2-12 16,0 1-31-16,-2 1 1 0,-2 0-17 0,-9 3-7 15,-7-1-2 1,-5 2 2-16,0 0-5 0,-1 0-10 0,-4 1-11 0,-2-2 6 15,-1 2-21-15,-4 1 0 0,1-1 0 0,-3 1 6 16,1-1-6-16,-4 0 8 0,1 1-21 16,-2-1 6-16,1 0-37 0,-2 0-40 0,-5 1-57 15,0 0 11-15,0 0-108 0,10 3-138 0,-10-1-645 16,0-2 30-16,0 0 80 0,-10 6 108 16,2-3 94-16,-3 0 51 0,-1 0 64 15</inkml:trace>
  <inkml:trace contextRef="#ctx0" brushRef="#br0" timeOffset="8442.01">4706 1159 1241 0,'0'0'399'0,"0"0"-20"0,7 6-15 15,1-4-32-15,3 0-37 0,2 1-37 0,7 1-25 16,2-1-8-16,5 1-22 0,3-2-22 0,3 0-27 16,3 0-6-16,14-2-38 0,-2 2-38 0,1-1-21 15,-1 0-61-15,-9-2-28 16,-3 1-57-1,-3 0 54-15,-3 0-59 0,-4 1-230 0,-3 1-67 0,-7-1-450 0,2 2 48 0,-8 0 108 16,-3-1 44-16,-1 2 76 0</inkml:trace>
  <inkml:trace contextRef="#ctx0" brushRef="#br0" timeOffset="8643.1">4811 1414 831 0,'0'0'325'0,"18"0"-30"0,-10 0-8 0,7-3-55 0,0 0-17 16,6-2 75-16,5 0-50 0,2 0-12 16,13-4-21-16,0 1-15 15,0-1-23-15,0 0-23 0,0 1-36 0,-8 1-35 0,-5 3-19 0,-7 0-59 16,-3 3-12-16,-3 0-16 0,-4 2-20 16,-4 1-95-16,0 3-94 0,-11 0-116 15,1 2-471-15,-4 2 123 0,-6 2 49 0,-15 7 64 16</inkml:trace>
  <inkml:trace contextRef="#ctx0" brushRef="#br0" timeOffset="9390.14">1722 2775 995 0,'5'2'356'0,"3"0"-31"0,1 1-20 0,2 0-34 15,1 0-41-15,2-1 6 0,1 2-44 0,1-3-33 16,1-1-21-16,-1 2-51 0,4-1-21 0,0 1-53 16,-2-1-69-16,1-1-75 0,1 0-112 15,-5 0-269-15,3 0-240 0,-2 0 73 0,-4 0 45 16</inkml:trace>
  <inkml:trace contextRef="#ctx0" brushRef="#br0" timeOffset="9628.4">1777 2852 1164 0,'0'0'364'0,"0"0"-19"15,-2 2-43-15,2-2-5 0,0 0-51 0,0 0-82 16,18 2-8-16,-8-1-31 0,1-2-4 0,4 1-9 15,3-3-17-15,2 1-11 0,6-2 14 16,0 1-16-16,5-2 5 0,-3 2-49 0,2-1 6 16,-3 0-6-16,-5 1-48 0,-1 0 7 0,-3 3-58 15,-2-1-37-15,-2 0-4 16,-1 1-123-16,0 1-54 0,-8 0-85 0,5 2-460 0,-2-2 128 16,0 4 48-16,-3-2 67 0</inkml:trace>
  <inkml:trace contextRef="#ctx0" brushRef="#br0" timeOffset="10544.92">3286 2822 831 0,'0'0'359'0,"0"0"-29"0,12-3-41 0,2-1-2 0,3 2-36 16,11-2-16-16,6 3-15 0,12-2-30 16,5 0-32-16,5 1-65 0,16-3-11 15,-2 1-8-15,4 1-23 0,0 0 5 16,-2 1-20-16,-8 1 5 0,-5 0-18 0,3 1 3 0,-4-2-29 16,4 4 3-16,-3-2-31 0,-5 0 11 0,-1 1 2 15,-12-1-64 1,-7 3-66-16,-3-3-62 0,-8 1-97 0,0 1-433 0,-8-1 5 15,-2 1 118-15,-3-2 13 0</inkml:trace>
  <inkml:trace contextRef="#ctx0" brushRef="#br0" timeOffset="11458.14">3270 2953 959 0,'-5'1'272'0,"5"-1"-21"15,0 0-21-15,0 0 0 0,0 0-15 0,28 3-15 16,-10-2-31-16,5-1 5 0,8-1-18 16,2-1-33-16,16-1 25 0,2 1 42 15,3-2-16-15,2 2-23 0,1-2-8 0,0 1 6 16,-1-1-19-16,0 2 1 15,1-1-6-15,-6 1-22 0,0 1-6 0,-2-2 5 0,-11 2-20 0,-4 0-8 16,-2 0-17-16,-1 0-21 16,-7 1 25-16,-1-2-12 0,-5 2-19 0,-3 0 14 0,3-2-16 15,-6 2-79-15,2 0 38 0,-4 0 10 16,0 0 19-16,1 0 7 0,-6 0 87 16,3 0-23-16,-1-1 28 15,-7 1-35-15,11 0 17 0,-11 0 10 0,10 0-27 0,-10 0-14 0,5 0 19 16,-5 0 9-16,0 0-9 0,0 0-1 0,8 0-25 15,-8 0-5-15,0 0 10 0,0 0-3 0,0 0-91 16,0 0 40-16,7-2-33 0,-7 2-3 16,0 0 26-16,0 0-7 0,0 0 17 15,0 0-10-15,0 0 2 0,0 0 3 0,0 0 6 16,0 0-11-16,0 0 18 0,0 0-3 0,0 0 3 16,0 0 8-16,0 0-24 0,0 0 1 15,0 0 12-15,0 0-7 0,0 0-3 0,0 0-8 16,0 0 11-16,0 0-6 0,0 0 34 0,0 0-36 15,0 0 16-15,0 0-9 0,0 0 4 0,0 0 12 16,0 0-13-16,0 0-13 16,0 0 8-16,0 0-20 0,0 0 18 0,0 0-21 0,0 0 15 15,0 0 11-15,0 0-6 16,0 0-4-16,0 0 15 0,0 0-21 0,0 0-20 16,0 0 43-16,0 0-12 0,0 0-8 0,0 0-3 15,0 0 23-15,0 0-20 0,0 0 8 0,0 0-16 16,0 0 33-16,0 0-32 0,0 0 12 0,0 0-3 15,0 0 13-15,0 0-7 16,0 0 7-16,0 0-25 0,0 0 38 0,0 0-16 0,0 0-22 16,0 0 36-16,0 0-6 0,0 0-2 0,0 0-8 15,0 0-15-15,0 0-1 0,0 0 39 16,0 0-30-16,0 0 15 0,0 0-18 16,0 0-34-16,0 0 29 0,0 0 23 0,0 0-13 15,0 0-5-15,0 0 30 0,0 0-20 0,0 0 3 0,0 0-21 16,0 0 21-16,0 0-16 15,0 0 16-15,0 0-13 0,0 0 12 0,0 0 4 16,0 0 4-16,0 0-25 0,0 0-3 0,0 0 10 16,0 0-2-16,0 0-2 0,0 0 7 15,0 0-5-15,0 0 10 0,0 0 2 0,0 0-19 16,0 0 1-16,0 0-4 0,0 0-11 0,0 0-25 16,0 0-13-16,0 0-13 0,0 0-22 0,0 0 14 15,0 0-28-15,0 0-27 0,0 0-4 16,0 0-37-16,0 0-6 0,0 0 15 15,0 0-33-15,0 0-20 0,0 0-46 0,0 0-21 16,3 5-89-16,-3-5 10 0,0 2-428 0,2 0 31 16,1 0 95-16,-3-2 23 0,2 6 92 0</inkml:trace>
  <inkml:trace contextRef="#ctx0" brushRef="#br0" timeOffset="12457.97">1735 1479 1308 0,'1'-5'373'0,"-1"5"-22"15,0-2-36-15,0 2-34 0,0 0-25 16,0 0-7-16,0 0-40 0,0 0-1 0,3 17-37 16,0-9 67-16,-1 1-28 0,1 2-13 0,0 1-23 15,-3 3-61-15,2-2-16 0,-1 0-33 16,1 0-36-16,-2 2-12 0,2-3-67 15,-4 1-31-15,2 1-64 0,0-2-62 0,0-4-142 0,0 2-541 16,-2-1 36-16,2-1 120 0,-1-1 57 16,-1-2 66-16</inkml:trace>
  <inkml:trace contextRef="#ctx0" brushRef="#br0" timeOffset="12676.88">1693 1416 1149 0,'0'0'340'15,"0"0"-27"-15,0 0-45 0,-5 12-9 16,2-7-24-16,2 1-43 0,0 1-28 0,-1 2-26 16,-2 3-56-16,2-1-41 0,0 0-69 15,-1 2-87-15,0 0-131 0,-4 1-105 0,7-1-386 16,-3-4 59-16,1 1 102 0</inkml:trace>
  <inkml:trace contextRef="#ctx0" brushRef="#br0" timeOffset="12903.51">1667 1403 857 0,'3'-2'340'0,"-3"2"-30"15,5-3-10-15,1 2-24 16,-6 1-28-16,12 0-25 0,-7 2-8 0,3 0 28 16,2 0-12-16,-2 0-39 0,0 2-21 0,2-1-40 15,1 1-47-15,1-1-17 0,-4 0-55 16,2 2-9-16,0-1-70 0,-2 0-66 0,2-1-84 16,-2-1-55-16,2 2-559 0,-2-2 106 0,2 2 21 15,-2-1 121-15</inkml:trace>
  <inkml:trace contextRef="#ctx0" brushRef="#br0" timeOffset="33332.43">8998 5535 1446 0,'0'0'471'0,"0"0"-115"16,0 0-16-16,0 0-38 0,-1-4-26 16,1 4-12-16,0 0-44 0,0 0-30 0,0 0-1 15,-12 9-2-15,10-5-31 0,-1 2-20 16,-2-1-21-16,-1 1 8 0,1 2-59 0,-3 0 30 16,-2 2-17-16,0 3-38 0,0 0 4 15,-3-1-4-15,1 2-45 0,-4 3-29 0,4-5 19 16,1 1-35-16,-2 0-5 0,2-1-11 0,-1 0-22 15,4-4-39-15,1 0-8 0,-1 1-36 16,2-2-17-16,2-2-80 0,1-1 54 16,3 1-135-16,-3-2-57 0,3 0-372 0,0-3 32 0,0 0 102 15,0 0 59-15</inkml:trace>
  <inkml:trace contextRef="#ctx0" brushRef="#br0" timeOffset="33586.99">9195 5513 952 0,'0'0'409'0,"0"0"62"16,-5 13-54-16,0-6-43 0,-5 0-33 15,2 3-44-15,-3 3-34 0,-6 1-15 0,-4 10-33 0,0 1-10 16,-3-1-77-16,0 3-48 0,1 2-16 0,-5-1-49 15,2 2-46-15,0 0-58 0,-9 7-103 16,4 1-139-16,-2-1-475 0,7-6-21 0,-5 3 123 31,0-5 72-31,4-2 59 0</inkml:trace>
  <inkml:trace contextRef="#ctx0" brushRef="#br0" timeOffset="37872.24">8095 7838 872 0,'0'0'420'0,"0"0"-49"0,0 0-23 16,0 0-46-16,0 0-40 0,0 0-17 0,0 0-7 16,-12 9-38-16,6-5-21 15,1 2-10-15,-2 1-15 0,1 2-14 0,-4-1-4 16,3 3-16-16,-3-3-17 0,-1 5-8 0,1 0-31 15,-3-1 20 1,3 1-43-16,-1 0-5 0,-1 0-3 0,1-1-2 0,1 0-18 0,0 0-19 16,0 1-60-16,2-4-1 0,-2 0-35 0,5-1-52 15,-1 1-40-15,1-2-75 0,0 1-41 16,3-3 1-16,-1 0-516 0,3-3 101 16,0 3 76-16,0-5 65 0</inkml:trace>
  <inkml:trace contextRef="#ctx0" brushRef="#br0" timeOffset="38139.25">8324 7873 1192 0,'0'0'341'0,"0"0"-14"0,0 0-40 0,-13 10-44 0,7-4-23 0,-4 3-2 16,0 0-16-16,0 0-25 0,-3 1-13 0,0 2-24 16,-4 4-37-16,1-1-34 0,-3-2-15 15,-6 10-42-15,-1-2-86 0,-2 3-64 0,3 0-115 16,-3 1-579-16,2-1 120 0,0-1 41 0,-2 1 93 16</inkml:trace>
  <inkml:trace contextRef="#ctx0" brushRef="#br0" timeOffset="41226.54">12033 9320 1087 0,'0'0'382'0,"0"0"-34"16,0 0-108-16,0 0-14 0,0 0-16 0,0 0-36 0,0 0 5 15,-12 11-20-15,6-6-24 16,-2 1-9-16,1 0 2 0,0 2-36 0,-4-1 10 16,-2 4-28-16,0 0 13 0,-2-1-25 0,-3 2 4 15,0 5-25-15,3-3-2 0,-3-1-6 16,0 0-15-16,0 1-31 0,0-3 0 15,3 0-12-15,2-1-16 0,0-1-28 0,3-2-26 0,2 3-64 16,1-4-53-16,1 0-88 0,1-1 1 16,2-2-57-16,1 1-309 0,2-4-4 15,0 0 94-15</inkml:trace>
  <inkml:trace contextRef="#ctx0" brushRef="#br0" timeOffset="41438.41">12121 9413 803 0,'-11'12'238'0,"-2"1"-33"0,1-1-54 16,-1 0-33-16,-3 1-46 0,-6 11-60 0,-2-1-40 15,1-1-72-15,-2 1-104 0,4-2-411 16,-4 3 50-16</inkml:trace>
  <inkml:trace contextRef="#ctx0" brushRef="#br0" timeOffset="154572.79">2268 8151 1008 0,'0'0'343'0,"0"0"-3"0,0 0-40 15,9 1-24-15,-9-1-4 0,9 3-29 0,-9-3-95 16,12 1 3-16,-6 0-30 0,2-1 17 16,2-1-41-16,0 2 0 0,2-1-12 15,1 0 61-15,5 0-21 0,0 0 21 0,0 0-38 0,3 0-9 16,2 0-4-16,0-1-5 0,3 0-16 16,-1 0 18-16,1 1-41 0,4-2 21 15,1 1-16-15,-5 1-30 0,5-2 10 0,-1 1-6 16,1 1 14-16,0-2 7 0,2 0-10 0,-7 2-26 15,4 0 32-15,1-1-24 0,-4 1-16 16,-2 1 34-16,3-2-5 0,-2 1-49 0,-1 0 47 16,1 0-34-16,-1 0 15 0,-1 1-2 0,-1-1-21 15,0 0 21 1,0 0 12-16,0 0-12 0,-5 2-23 0,5 0 23 0,-3-2-16 16,-2 0-4-16,1 1 19 0,-2-1 11 0,4 0-38 0,-5 0 2 15,2 2 21-15,-1-2 2 0,0 0-10 16,0 0 13-16,0 1-11 0,-1 1 4 15,0-2 4-15,1 1-8 0,-4 0-2 0,-1-2-2 16,1 1-8-16,0 1 4 0,0-1-1 0,0 0 4 16,0 0-12-16,-3 0 25 0,5 0-5 15,-4 1-20-15,1-1 17 0,2 0-2 0,-2 0-7 16,1 0 20-16,0 0-11 0,-3 0 19 0,5 0-11 16,-4 0-18-16,1 0 26 0,1 3-8 15,0-2-10-15,-2-2-15 0,4 2 20 0,-2-1 0 16,5 2 8-16,-3-2-18 0,3 0 13 15,0 0-8-15,3 0 5 0,-1 0 10 0,3 0-28 16,0 0 26-16,2 0-5 0,1-1 5 16,0 1-16-16,0 0 8 0,4-1 8 0,-4 1-21 15,4 0 11-15,-3-1 15 0,1 1-21 0,5-3 18 0,-2 3-20 16,2 0-2-16,0 0 17 16,0 0-8-16,1 0 6 0,-1 0 20 15,0 0-20-15,1 0-16 0,-1 0 6 16,-2 0-8-16,2 0 27 0,-2 0-4 0,3 0 0 0,-4 0 2 0,1 0 11 15,-3 0-41-15,3 0 15 0,0 0 15 16,0 0-10-16,-3 0-10 0,3 0 33 0,0 0-25 16,-6 0 17-16,3 0-15 0,0-1 11 0,3 2-21 15,-5-1-11-15,2 0 26 0,-2 0-20 16,2 0 41-16,2-1-23 16,-4 1 4-16,0 0 1 0,2 0-10 0,0 0-11 0,-3 0 34 15,2 0-24-15,1 0 21 0,-3-1-18 0,1 0 3 16,-1 1-13-16,1 0 7 15,-3 0-9-15,1 0 20 0,-1 0-11 0,-1 0 3 0,2-2-12 16,-1 2 17-16,-3-1 13 0,3 1-33 0,0 0 17 16,3 0 19-16,-3 0-13 15,1 0 25-15,0 0-15 0,2 0 3 16,-2 0-1-16,1 0-12 0,-1-2 10 0,1 2 5 0,-2 0-25 16,0-1 10-16,0-3 7 0,0 4 1 0,0-2 7 15,-2 1-23-15,1-2 10 0,-1 3 8 0,-3-2-25 16,2-1 22-16,1 2 19 0,-1-1-1 15,1-1-2-15,-3 1-11 0,0 2-9 0,1-2-55 16,3-1-4-16,-6 2-19 0,1 0 29 16,4-3 23-16,2 2 5 0,-2 0 5 0,-1-2-10 15,3 3 20-15,-3-3-10 0,1 3 18 0,3-1-11 16,-4-1 14-16,3 3 2 0,-3-4 5 0,1 1-18 16,0 3 6-16,-3-2-6 0,2-2-5 15,-2 4 0-15,0-1 3 0,-3-1 25 16,3 2-30-16,-3-3 17 15,1 3-12-15,-4 0 12 0,2-2 8 0,-2 2 1 0,-3-1-11 0,0-1 12 16,-1 2 11-16,0-2-7 0,-1 2-4 16,1 0 6-16,-8 0 10 0,11 0 18 0,-4 0-2 0,-2-1-11 15,-5 1-5-15,8-1 82 0,-8 1-10 16,10-1 20-16,-10 1-44 0,8 0 19 16,-8 0-21-16,0 0-7 0,10-2-3 0,-10 2-6 15,0 0-6-15,5 2-27 0,-5-2-5 0,0 0-40 16,0 0-42-16,0 0-66 0,0 0-61 0,0 0-88 15,-15-3-79-15,-1 3-340 0,6-5-458 16,0 2 109-16,-6-7 167 0,1-3 49 0,-8-9 73 16,3-7 83-16,-1-7 61 0</inkml:trace>
</inkml:ink>
</file>

<file path=ppt/ink/ink9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06:49.647"/>
    </inkml:context>
    <inkml:brush xml:id="br0">
      <inkml:brushProperty name="width" value="0.05292" units="cm"/>
      <inkml:brushProperty name="height" value="0.05292" units="cm"/>
      <inkml:brushProperty name="color" value="#FF0000"/>
    </inkml:brush>
  </inkml:definitions>
  <inkml:trace contextRef="#ctx0" brushRef="#br0">7931 3607 1141 0,'-5'-4'438'0,"0"-2"-36"0,0 0-16 0,0 2-130 0,-3-2-8 15,-2 0-20-15,0 2-2 0,-1 0 60 16,1 2-20-16,0-1-15 0,-3 3-31 0,2 1 1 16,-3 3-47-16,3 0 2 0,-5 3-12 15,1 3 0-15,0-1-23 0,2 1-36 0,-3 5 15 16,2 0-2-16,1 1-13 0,2-3-93 0,1 5-12 16,2-3 8-16,0-2 25 15,1 3-38-15,4-3 5 0,-2-1 18 0,3 1 0 0,2-3-8 16,2 1-12-16,1-3 7 0,2 0 23 15,2-2-28-15,1-1-5 0,0-3 23 0,7 1-44 16,-2-3 24-16,3-3 2 0,-1 0-23 0,5-2 20 16,-2-3-28-16,2-2 19 0,1 2 17 15,-3-4-10-15,0-2-8 0,0-1 8 0,-3 2 10 16,-1-3-18-16,-4 3 5 0,0 1 19 16,1 0-17-16,-4 1 14 0,0 3 7 15,-1-2-7-15,-1 4-5 0,2 0 22 0,-4 4-15 0,-3 2 19 16,0 0-4-16,0 0 19 0,3 13-14 0,-3-5 4 15,-5 7 14-15,4 2-12 0,-4 6 5 16,0 3-13-16,-3 11 0 0,1 1-4 16,-1 4 4-16,-2 0 0 0,2-1-13 0,0 0-10 0,0-3-10 15,-1-1-8-15,4-3-48 0,-1-4-18 16,1-9-34-16,3 1-51 0,-1-4-15 16,0-2-36-16,1-1-54 0,-1-2-97 0,3-6-102 15,3 2-472-15,-3-1 88 0,2-5 102 0,-2 1 74 16,0-4 72-16,8 0 82 0</inkml:trace>
  <inkml:trace contextRef="#ctx0" brushRef="#br0" timeOffset="31045.31">20899 3463 993 0,'0'0'402'16,"0"0"-3"-16,0 0-43 0,0 0-18 0,0 0-95 0,10-3-51 16,-10 3-3-16,11 0-5 15,-11 0-17-15,10 0-29 0,-5 0 0 0,-5 0 8 16,13-2-38-16,-6 2 2 0,-1-1-8 0,4 0-23 15,-5 1-15-15,3-2-5 0,-3 1-43 0,3 0-21 16,0 0-47-16,-4 0-30 0,2 1-40 16,2-3-93-16,-1 2-113 0,-7 1-66 15,10-1-428-15,-2 0 108 0,0 0 66 0,-1-1 37 16</inkml:trace>
  <inkml:trace contextRef="#ctx0" brushRef="#br0" timeOffset="31565.65">21325 3337 1302 0,'-8'-2'369'0,"8"2"-13"0,-8-1-49 0,8 1-25 16,-7 3-16-16,1 0-44 0,-1-3-14 0,2 5-27 15,1-1 1-15,-2 0-44 0,-2 2-4 16,3-1 11-16,0 2-42 0,0 0-3 0,-1-1-21 16,1 1-30-16,2 0 4 0,-1 0 1 0,1 0-49 15,3 0 31-15,0-2-28 0,0-1 17 16,0 1-27-16,3 0 15 0,-1-4-8 15,3 1 2-15,-2 1-7 0,-3-3 23 0,12-1-7 0,-12 1-19 16,11-4 34-16,-3-1 10 16,0 2 8-16,-2-3-21 0,0 1 5 0,-1 0 11 0,2-1 30 15,-1 1 0-15,-3 1-10 0,3-1 31 16,-4 1-93-16,2 1 8 0,-1-1 26 16,0 2-46-16,-3 2 33 0,0 0-8 0,0 0 3 0,0 0-13 15,6 9 21-15,-8-4-16 0,0 1 11 16,0 2-11-16,-1 2-2 0,3-2-6 15,-5 4-9-15,1 1-47 0,0-1 10 0,0 0-40 16,0 1-34-16,1 1-7 0,1 0-52 31,-3-3-128-31,3-2-119 0,2 4-480 0,-1-1 144 0,-1-1 43 0,0-2 39 0,2 1 56 0</inkml:trace>
  <inkml:trace contextRef="#ctx0" brushRef="#br0" timeOffset="32189.93">20874 4120 1052 0,'0'0'386'15,"0"0"-40"-15,20 1-37 0,-20-1-12 0,10 1-15 0,-5-1-59 16,-5 0-39-16,14 0-13 16,-7 0-38-16,-2-1-63 0,-5 1-22 0,12 0-96 15,-4 0-96-15,-2-3-99 0,1 3-563 0,-1 0 127 16,2 0 1-16,-1-3 128 0</inkml:trace>
  <inkml:trace contextRef="#ctx0" brushRef="#br0" timeOffset="32620.9">21206 4021 1095 0,'0'0'312'0,"0"0"-28"0,0 0-12 15,-14 5-37-15,11 0-20 0,-2-2 0 0,2 2-46 16,-2 1-18-16,1 1-2 0,-2-1-32 16,3 2 1-16,-2-2-31 0,3 3-15 15,0-3-23-15,-1 1-6 0,3-1 8 0,0 0-7 16,0 0-37-16,0-3 9 0,4 1 12 16,-1-1-28-16,2 0 10 0,0-3 21 0,1 1-5 15,2-1 9-15,-8 0 22 0,12-1-6 0,-2-3 3 16,-2-1-1-16,0 2 98 0,-1-3 16 15,-1 2-1-15,1-2 3 0,0 3-67 16,-3-1-25-16,0 1 3 0,-1 1-9 0,2 0-2 0,-5 2-10 16,5-1 0-16,-5 1-5 0,0 0 12 0,0 8-35 15,0-3-8-15,-2 1-2 0,0 2 17 16,1 1-15-16,-4 0-31 0,3 2-30 0,-3 1-31 16,2 0-44-16,0 1-30 0,-2-1-49 0,5-2-177 15,-3 2-544-15,1 0 32 16,2-1 111-16,-2 0 84 0,2-1 97 0,0 1 15 15</inkml:trace>
  <inkml:trace contextRef="#ctx0" brushRef="#br0" timeOffset="33202.3">20905 4789 1136 0,'0'0'366'0,"0"0"-18"0,0 0-53 15,0 0-22-15,0 0-12 0,15-2-48 0,-15 2-8 16,10 1-24-16,-10-1-17 16,15 1-18-16,-7-2-28 0,0 2-54 0,2-1-23 0,1-1-64 15,-1 1-80-15,2-1-119 0,-1-1-221 16,-1 0-386-16,3 1 150 0,3-1 9 0,-4 0 58 16</inkml:trace>
  <inkml:trace contextRef="#ctx0" brushRef="#br0" timeOffset="33569.51">21268 4683 1146 0,'0'0'351'0,"-10"3"-49"0,6-1-44 0,-3 3 60 0,0-2-37 16,2 1-19-16,-3 2-22 0,3-3-30 0,-2 4-21 15,1-1-9-15,1-1-9 16,0 1-28-16,0-1-25 0,3 1-10 0,-1-1-11 0,3 0-10 16,-1-1-13-16,1-4 0 15,1 5-2-15,4-3-31 0,-5-2 8 0,5 4-13 0,2-4 12 16,-7 0 1-16,11-1-24 0,-5-2 16 0,1 1 26 16,-2 0-8-16,0-1-8 0,2 2 18 15,-3-2 23-15,1 1-2 0,0 0-70 16,-5 2-20-16,5-1 0 0,-5 1 23 0,0 0-20 15,8 3 2-15,-8 2 5 0,2-1 13 0,-4 0-33 16,2 2 8-16,0 3 12 0,-1 0-10 16,-1-1-28-16,-1 3-26 0,1 0-18 0,0 1-2 15,2-2-51-15,-1 1-37 0,-1 1-94 16,2-1-192-16,0 1-455 0,0-3 68 0,2 3 83 0,-1-1 89 16,-1-2 72-16</inkml:trace>
  <inkml:trace contextRef="#ctx0" brushRef="#br0" timeOffset="34196.1">20884 5403 1100 0,'0'0'302'0,"0"0"-25"0,0 0-32 0,0 0-9 15,0 0-26-15,0 0-16 0,0 0 3 0,0 0-30 16,18 8-11-16,-11-8-18 0,-1 1-2 16,4-1-41-16,0 1-1 0,0-2-53 0,0 0-25 15,1 1-42-15,-1 0-71 0,2-2-100 0,-1-1-157 16,2 3-388-16,-2-3 13 0,-1 2 89 0,2 0 48 16</inkml:trace>
  <inkml:trace contextRef="#ctx0" brushRef="#br0" timeOffset="34569.3">21225 5317 1008 0,'-10'2'351'0,"4"1"-31"0,-1 0 23 0,-1 0-23 16,3 3-39-16,-2-1-4 0,-1 0-39 0,2 2-46 15,1 0-11 1,0 0-22-16,1-1-5 0,1 1-24 0,0 0-27 0,2 1 2 0,-1-4-13 16,4 1-28-16,-1-1 2 0,2 1-4 0,1-3-16 15,2-1 23-15,-1-1-15 0,2 0-11 16,1-1 42-16,0 0-37 0,-3-3 9 16,3 2 9-16,-3-1 31 0,3 2-4 0,-2-1-70 0,-2 1 2 15,1-1 3-15,-5 2 16 0,0 0-8 16,10 3-21-16,-10 3 36 0,0-1 31 15,0 3 8-15,0 0-26 0,-3 5-13 0,1-2-46 16,-3 5-10-16,-2 0-74 16,1 1-49-16,-2 3-208 0,3-2-670 0,-2 0 108 0,2 1 61 0,2-3 153 15,-2 1 37-15,3 1 53 16</inkml:trace>
  <inkml:trace contextRef="#ctx0" brushRef="#br0" timeOffset="34994.33">20884 6094 872 0,'0'0'346'16,"0"0"-36"-16,-2-3-21 0,2 3-38 16,0 0-23-16,0 0-6 0,0 0-32 0,0 0-27 0,23-2-24 15,-15 4-37-15,1-4-17 16,-1 2-73-16,5 0-68 0,0 0-49 0,-1-1-159 0,2 1-483 15,1 0 18-15,0-1 104 0,-2-2 62 0</inkml:trace>
  <inkml:trace contextRef="#ctx0" brushRef="#br0" timeOffset="35289.28">21192 6002 1254 0,'-11'4'325'16,"1"1"-23"-16,3-2-46 0,-1 2-21 0,3-4-22 0,1 4-3 16,0-3-26-16,1 3-18 15,1-3-2-15,2 2-46 0,0 1-31 0,0-5 3 0,5 7-16 16,0-6-10-16,1 0 15 0,-2 2-25 0,4-2-26 16,0 0 18-16,-1 1 10 0,1 2-17 15,-3-2-8-15,3 3-1 0,-3 1-7 0,1 1 11 16,-4 4-4-16,4 0-4 0,-4 1-3 0,-2 1-18 15,2 0-10-15,-2 0-82 0,-2 0-67 16,2 0-176-16,0-1-469 16,0 0 3-16,0 0 128 0,0 1 5 0,0-1 77 0</inkml:trace>
  <inkml:trace contextRef="#ctx0" brushRef="#br0" timeOffset="36376.35">20907 6693 1195 0,'0'0'376'16,"0"0"-112"-16,0 0-29 0,0 0-9 0,0 0-19 16,0 0-2-16,0 0-3 0,0 0-31 0,23 0-17 15,-16 0-8-15,-7 0-21 0,14 0-45 16,-4-1-27-16,-3 1-35 0,5-3-54 0,-3 3-28 16,1 0-94-16,4-1-67 0,-7 1-90 15,6-1-484-15,1-2 146 0,-3 2 11 0,5-1 33 16</inkml:trace>
  <inkml:trace contextRef="#ctx0" brushRef="#br0" timeOffset="36788.53">21297 6581 1236 0,'-8'1'381'16,"3"5"-51"-16,-3-5-7 0,0 5-21 0,3-2-41 15,-3-1-25-15,1 3-29 0,-1 0-18 16,3 1-30-16,-3-1-3 0,4 0-18 16,1 0-12-16,-2 0-14 0,4 0-14 0,0-1-22 0,0 0 1 15,2-2 5-15,1 1-23 0,0-2 0 16,2 1-3-16,-4-3 21 0,9 1-31 15,-9-1-10-15,10-4 25 0,-3 2-27 0,-1-2 14 16,2 2 21-16,-3-3-89 0,3 2 30 0,-1 0 36 16,-4-3-7-16,2 1 91 0,0 2 11 15,-2 2-13-15,-1-2-36 0,3 2-7 0,-5 1 4 16,0 0-12-16,0 0-28 0,2 10 4 0,-2-6 1 16,-4 5-5-16,1-1 10 0,0-1-8 15,-1 6-8-15,0-2-20 0,0 2-61 16,0-1-39-16,-2 0-25 0,4 2-57 15,-4-3-92-15,4-4-240 0,-1 5-518 0,3 0 80 0,0-3 100 0,0 2 115 16,0-3 22-16,0 2 73 31</inkml:trace>
  <inkml:trace contextRef="#ctx0" brushRef="#br0" timeOffset="37413.58">20940 7336 903 0,'0'0'384'0,"0"0"-41"0,0 0-28 15,0 0-31-15,0 0-25 0,0 0-21 16,0 0-46-16,16 5-54 0,-9-3-26 0,-2 0-78 15,3-2-78-15,-2 0-112 0,1 4-146 0,1-4-451 16,2 0 60-16,0-1 61 16,0-2 91-16</inkml:trace>
  <inkml:trace contextRef="#ctx0" brushRef="#br0" timeOffset="37819.92">21276 7214 1343 0,'-10'5'356'0,"5"-4"-18"0,-2 3-31 16,0-1-28-16,0 2-20 0,0-1-26 0,-1 3 5 15,0-1-59-15,0 0-5 0,1 2 3 16,1-1-49-16,-1-1 2 0,2 3-25 0,1-1-10 16,0-2-16-16,2 0-7 0,1-3-3 15,1 2-13-15,0-5 6 0,3 6-32 0,3-5 22 16,0 0-1-16,-6-1-10 0,11-2 10 0,-3 1-20 16,0-3 27-16,0 1-19 0,-1-1 27 0,3 1 32 15,-3-1-11-15,-1 0-92 0,-1 2 38 16,1 0-15-16,-2-2 15 0,1 3 8 0,-5 1-13 15,0 0-10-15,0 0-15 0,8 7 27 0,-7-3-1 16,-2 5-17-16,1-1 9 0,-3 4-14 16,1 0-17-16,-1 4-51 0,-2-2-26 0,1 5-41 15,1-3-51-15,0 0-154 16,1 2-192-16,0 0-409 16,-1-5 143-16,3 2 56 0,0 0 49 0,0-1 74 0</inkml:trace>
  <inkml:trace contextRef="#ctx0" brushRef="#br0" timeOffset="38741.33">20996 7941 1272 0,'0'0'366'16,"0"0"-8"-16,0 0-66 0,0 0-8 0,0 0-36 16,0 0-15-16,0 0-31 0,11-3 3 15,-11 3-33-15,10 1-26 0,-10-1 15 16,13 2-51-16,-5-2-36 0,1 1-46 0,0-1-17 0,1-1-98 16,0 1-90-16,2-3-202 0,-3 3-478 15,1 0 107-15,0-1 64 0,3-1 112 16,-5-1 21-16</inkml:trace>
  <inkml:trace contextRef="#ctx0" brushRef="#br0" timeOffset="39161.91">21358 7838 742 0,'0'0'310'0,"-7"6"-16"0,3-6-30 16,-3 5-14-16,0-3-37 0,1 4 7 15,1-1-43-15,-2 0 12 0,-1 2-35 0,3-1 2 16,-1 1-41-1,2-1 13-15,-2 0-33 0,2 1-8 0,0 0-3 0,2-4-10 16,0 0-15-16,2 2 21 0,0-5-9 0,6 3-9 0,-6-3-9 16,8 2 60-16,-8-2-8 15,11-5 13-15,-3 0 2 0,0 2 5 0,2-2 1 16,-5 1 25-16,5 1-77 0,-3-1-15 0,-1 1-8 16,-1 1 6-16,1 2-6 0,-6 0 8 0,9 5-26 0,-8 1 8 15,1 1-26-15,0 4-35 0,-4 1-21 16,2 1-39-16,-3 3-81 15,-2 2-166-15,0 5-180 0,0-3-389 0,2-1 77 0,-1 5 84 0,0-1 77 16,4-4 95-16</inkml:trace>
  <inkml:trace contextRef="#ctx0" brushRef="#br0" timeOffset="46246.57">20458 3297 1446 0,'0'0'404'0,"0"0"-30"0,0 0-31 0,0 0-31 16,0 0-15-16,0 0-87 0,-4 12-41 15,3-5 10-15,-1 2-46 0,-1 3 8 16,2 2-23-16,-3 0 7 0,1 4-22 0,0 1-24 16,-1 0-5-16,1 1-5 0,0 1-18 0,1-1 21 15,-1-2-23-15,-2 1-19 0,3 0 6 16,-1 1-20-16,-2-3-14 0,3 2 8 0,1-6-22 16,-1 1-22-1,-1 0 1-15,1 0-10 0,-1-4-37 0,1 0-27 0,-1-2-47 0,3-1-79 16,0 0-79-16,-5 2-75 15,5-5-429-15,2-1 66 0,1-1 56 0,-3-2 34 0</inkml:trace>
  <inkml:trace contextRef="#ctx0" brushRef="#br0" timeOffset="46915.65">21537 3288 1259 0,'0'0'481'0,"0"0"-66"0,0 0-39 15,0 0-36-15,-7 13 6 0,4-6-54 0,1 5-11 0,0 1-43 16,-4 4-28-16,4 2-18 0,0 2-15 0,-2 4-26 15,1-1-46-15,-1 1-23 16,4-1-54-16,-3-3-51 0,3 1-110 0,-2-1-172 0,4 2-619 16,-2-4 74-16,3 1 72 0,-1-2 102 0,0 0 52 15,-1-4 127-15</inkml:trace>
  <inkml:trace contextRef="#ctx0" brushRef="#br0" timeOffset="47811.61">20507 3950 952 0,'0'0'348'16,"0"0"-46"-16,0 0 5 0,0 0 62 0,0 0-31 16,0 0-16-16,-8 14-56 0,8-6-17 15,-2 1-22-15,2 4-37 0,-3 1-3 0,3-1-16 16,-2 5-22-16,-1 0-14 0,2 2-45 15,-3-1 12-15,1 3-35 0,0-2-62 0,-1 5-44 0,-2-1-27 16,4-5-77-16,0 2-83 0,-1-1-81 16,0-3-56-16,3 0-462 15,0-4 70-15,0 0 34 0,3-5 106 0,-3 2 124 0</inkml:trace>
  <inkml:trace contextRef="#ctx0" brushRef="#br0" timeOffset="48382.07">21427 3934 1023 0,'0'0'389'0,"0"0"29"15,0 0-78-15,0 0-25 0,-4 16-21 0,4-8-10 16,-1 4-56-16,0 1 18 0,0 4-46 0,-2 2-13 16,3 0-13-16,-2-1-34 0,0 3-17 0,2 2-2 15,-1 0-32-15,-2 4-53 16,1-6-18-16,2 2-59 0,-1-3-95 0,1 1-163 0,0 0-456 15,1-1-85-15,1-2 72 0,-2-3 85 16,0 1 45-16</inkml:trace>
  <inkml:trace contextRef="#ctx0" brushRef="#br0" timeOffset="49078.41">20471 4602 1090 0,'0'-5'322'0,"0"5"-20"0,0 0-20 0,0 0 71 15,0 0-17-15,0 0-65 0,0 18-18 16,3-8-2-16,-1-1 0 0,0 6-59 16,1-1-26-16,-2 5 3 0,-1-1-48 0,2 1-19 0,-2 0-33 15,0 1-38-15,4-1-54 16,-4 1-18-16,1-3-31 0,-1 1-87 0,3-3-137 0,-6 1-234 16,6-4-315-16,1 1 77 0,-3-2 87 15,4-2 34-15</inkml:trace>
  <inkml:trace contextRef="#ctx0" brushRef="#br0" timeOffset="49655.74">21482 4608 1133 0,'0'0'454'16,"0"0"-35"-16,0 0-58 0,2 14-28 15,0-4-113-15,-2 1-23 0,0 2-2 0,2 0-6 0,-2 2-28 16,-2 1-25-16,0 0-41 0,2 2-31 15,0 0-26-15,-2 1-46 0,1-1-22 16,-2-1-88-16,1-1-107 16,0-1-113-16,1 0-489 0,-1-1 46 0,2 1 95 0,-3-5 64 15</inkml:trace>
  <inkml:trace contextRef="#ctx0" brushRef="#br0" timeOffset="50764.18">20440 5227 880 0,'0'-2'353'0,"0"2"-63"0,3-6 1 0,-1 3-22 16,-2 3-26-16,2-4-5 0,-2 4-33 15,0 0-8 1,0 0 18-16,0 0 39 0,0 0-11 0,0 12-18 0,0-5-18 0,0 4-15 0,-2 3-20 16,0-1-19-16,-1 5-96 0,1 1-19 15,-1 2-58-15,1-1-19 0,-1 4-20 0,0 0-38 16,1-1-56-16,-2-4-73 0,0 0-78 15,1-6-96-15,2 6-447 0,1-5 123 0,0 0 15 16,2 0 153-16,-2-4 37 0</inkml:trace>
  <inkml:trace contextRef="#ctx0" brushRef="#br0" timeOffset="51515.45">21392 5219 1172 0,'0'0'412'0,"0"0"-5"0,0 0-46 0,4 12-36 15,-4-4-31-15,0 3-2 16,-2-2 33-16,2 4-41 0,0 2-30 0,0 1-24 16,0 3-20-16,0 0-46 0,0 1-36 0,0-1-54 15,0 1-54-15,0 1-71 0,0-2-77 0,3 3-163 16,-3-3-306-16,2 1-306 0,1 0 89 15,1-1 97-15,-1 0 67 0,0-1 79 0</inkml:trace>
  <inkml:trace contextRef="#ctx0" brushRef="#br0" timeOffset="52331.32">20454 5875 798 0,'0'0'315'0,"0"0"-5"0,0 0-13 16,0 0 69-16,0 0-46 0,1 13-11 15,0-5-22-15,1 3-44 0,1 2-23 16,-1 5-81-16,-1 1-4 0,1 0-25 0,0 0-15 0,-2 5-26 16,0-1-43-16,0 2-47 15,0-3-33-15,0 0-94 0,3-2-93 0,-3-1-53 16,3 0-533-16,1-1 116 0,0-3 25 0,2 1 135 16</inkml:trace>
  <inkml:trace contextRef="#ctx0" brushRef="#br0" timeOffset="52812.13">21433 5876 1359 0,'0'0'386'0,"0"0"-20"16,7 6-13-16,-7-1 26 0,3 4-28 0,-3 1-26 15,0 2-56-15,0 1 0 0,2 6-24 16,-2 2-50-16,-2 0-24 0,2 0-20 0,0 3-56 16,0 2-46-16,0-1-54 0,0-2-75 0,-3 3-186 15,6-5-353-15,-1-1-277 0,0 1 74 16,-1-5 90-16,4 2 84 0,-2-1 80 0</inkml:trace>
  <inkml:trace contextRef="#ctx0" brushRef="#br0" timeOffset="53866.78">20433 6525 913 0,'2'-5'379'0,"-2"5"-18"16,0 0-3-16,0 0-25 0,0 0-18 15,0 0-33-15,-2 17-96 0,4-10-9 0,-2 6-11 16,0 0-20-16,0 4-20 0,0 2-8 0,-2 1-19 16,-1 5-9-16,0-1-29 0,1 2-48 0,0 0-61 31,0-2-65-31,-2 2-153 0,4-7-95 0,0 3-466 0,0-2 92 0,4-1 29 0,-2-5 125 15</inkml:trace>
  <inkml:trace contextRef="#ctx0" brushRef="#br0" timeOffset="54514.57">21507 6552 944 0,'0'0'420'0,"0"0"7"0,0 0 14 15,0 0-63-15,-3 12-32 0,1-1-31 0,-1-4-49 0,3 9-18 16,-3-2-35 0,-1 4-1-16,1 2-22 0,2 0-44 0,-5 4-26 0,4 2-66 15,-2-1-54-15,0 1-100 0,0-1-241 0,2 3-570 16,0-3 66-16,-1 0 124 0,0-4 63 0,1 1 66 15,1-2 60-15</inkml:trace>
  <inkml:trace contextRef="#ctx0" brushRef="#br0" timeOffset="55333.78">20438 7170 1192 0,'0'0'389'0,"0"0"-35"16,0 0-9-16,0 0-17 0,0 0-34 0,0 0-12 0,-3 19-42 15,3-8 6-15,-2 1-41 16,2 2-23-16,0 2-19 0,-3 3-4 0,0 0-46 16,3 1-26-16,-2 0-31 0,0 1-28 0,2 0-56 15,-1-1-54-15,1-1-87 0,0 0-140 16,-5-7-104-16,9 2-454 0,-2-2 101 0,0 1 57 16,3-3 100-1,2-3 28-15</inkml:trace>
  <inkml:trace contextRef="#ctx0" brushRef="#br0" timeOffset="55838.6">21512 7156 993 0,'0'0'389'0,"0"0"-28"16,0 0 35-16,0 0-30 0,3 11-40 16,-1-4-14-16,-2 1-26 0,0 3-22 0,0 2-41 15,3 2-21-15,-3 6-28 0,1 0-36 16,0-1-12-16,-2 8-85 0,0-7-59 0,-2 3-108 16,1-5-265-16,0 7-485 0,-2-1 50 0,4-1 106 15,-2 0 93-15,2-3 79 0</inkml:trace>
  <inkml:trace contextRef="#ctx0" brushRef="#br0" timeOffset="56612.1">20466 7795 1272 0,'0'0'394'0,"0"0"-36"0,0 0-25 0,0 0-8 0,0 0-33 0,-5 12-23 0,5-2-29 16,0-2-20-16,0 7-23 0,0 0-5 0,0 0-12 15,-3 5-40-15,3 1 17 0,0-2-55 16,0 2-46-16,0 1-38 0,0-1-36 0,0-1-71 0,0 3-83 16,0-3-76-16,3-1-116 0,0 0-526 15,-1-7 96-15,3 1 85 0,0-1 54 16,0-1 56-16</inkml:trace>
  <inkml:trace contextRef="#ctx0" brushRef="#br0" timeOffset="57249.28">21551 7786 1256 0,'0'0'382'0,"5"9"-34"0,-5-3-46 16,2 1-23-16,-2 4-21 16,3 2-4-16,-3 2-34 0,2 5-33 0,-1 1-34 0,-2 2-14 15,-1 4-55-15,-1 0-53 0,0 9-80 0,1-2-74 16,-3-8-212-16,4 1-515 0,-1 2 98 15,0-2 66-15,-2 0 94 0,0 0 96 0</inkml:trace>
  <inkml:trace contextRef="#ctx0" brushRef="#br0" timeOffset="82186.16">23109 4219 714 0,'0'0'146'0,"0"0"-95"0,0 0-69 0,0 0-79 15,0 0-400-15</inkml:trace>
  <inkml:trace contextRef="#ctx0" brushRef="#br0" timeOffset="82886.67">23057 5414 696 0,'0'-3'2'0,"0"3"-498"0</inkml:trace>
  <inkml:trace contextRef="#ctx0" brushRef="#br0" timeOffset="83992.15">23053 7212 755 0,'-3'-6'279'0,"3"6"-54"15,0 0-56-15,0 0-146 0,0 0-103 0,0 0-516 16,0 0 5-16</inkml:trace>
  <inkml:trace contextRef="#ctx0" brushRef="#br0" timeOffset="85493.34">22830 8681 1113 0,'0'0'420'0,"5"-7"-23"0,0 7-39 0,-5 0-28 0,7-3-36 16,-7 3-7-16,14 2-28 0,-9 1-26 15,3-1-3-15,-1 2-33 0,3 2-2 0,-3-1 32 16,-3 3-6-16,1-1-27 0,0 4-12 0,-4-3-26 16,-1 3-18-16,0-3-2 15,-4 3-31 1,1 0 2-16,-4 0-17 0,2-1-21 0,-1 1 10 0,-1-1-20 0,0-1-5 0,1 1-3 15,1-2-10-15,0-2-20 0,0 0 22 0,2 0-7 0,0-3-13 16,1 1-13-16,0-1 6 0,2-3-4 16,4 4 4-16,-4 0-29 0,0-4 39 0,8 2-24 15,-5 3 1-15,3-4 15 0,-2 3-16 16,4 0 6-16,0 1-1 0,0 0 9 0,-1 1-21 16,1 1 18-16,0 0 7 0,-1 0 3 15,-2-2 3-15,-1 1-11 0,-2 1 13 0,0 1 26 16,-2-1 5-16,0 0-13 0,-2 1 18 0,-1-2 13 15,-3 1-85-15,-1-2 44 0,-1 3-16 0,1-2-15 16,-3 0 8-16,-1-3 3 0,2 2 7 16,-5 0-26-16,4-1 11 0,-1-2 12 15,1-1 6-15,-2 2-29 0,3-2-12 0,-3 1-16 16,2-2 6-16,0 0-39 0,2 0-13 16,0-2-26-16,0 2-55 0,3-2-42 0,0 0-38 0,0 1-31 15,5 1-38-15,-5-4-120 0,2-4-50 0,3 7-470 16,3-3 59-16,-3 4 128 0,5-6 33 15,0 4 92-15,2-3 93 0</inkml:trace>
  <inkml:trace contextRef="#ctx0" brushRef="#br0" timeOffset="85722.32">23074 8888 1622 0,'-2'-6'469'0,"2"6"35"0,-1-2-23 0,1 2-71 15,0 0-52-15,0-5-51 0,0 5-51 0,0 0-59 16,0 0-69-16,0-6-43 0,0 6-65 0,0 0-56 16,0 0-33-16,0 0-130 0,3-7-149 0,-1 7-538 15,-2 0 59-15,0 0 90 0,10 0 54 16,-10 0 63-16</inkml:trace>
  <inkml:trace contextRef="#ctx0" brushRef="#br0" timeOffset="86085.23">23284 8768 1558 0,'0'-5'418'0,"0"5"-37"0,0 0-28 0,2-6-43 16,-2 6-26-16,8-1-33 0,-8 1-10 15,8 0-19-15,-8 0 62 0,13 4-15 0,-9-2-33 16,4-1 2-16,-2 3-59 0,1 1 18 0,0-1-26 16,-1 1 14-16,-1 2-4 0,0-1-114 15,-2 2 23-15,2 1-14 0,-3-1 9 16,-1 5-6-16,-1-2-28 0,0 1 34 0,0 1-31 15,-1 0-19-15,0 0-6 16,-3 0 12-16,4-1-16 0,-4 0-2 0,1 1-41 0,0-1-12 0,0-2-34 16,1-1-49-16,-1 2-23 0,1-3-35 15,1-1-21 1,-1 0-72-16,2 0-99 0,0-2-44 0,0 0-563 0,2 1 110 0,-1-1 51 0,-1-2 54 16,2 1 140-16,-2-4 26 0</inkml:trace>
  <inkml:trace contextRef="#ctx0" brushRef="#br0" timeOffset="86326.24">23299 8967 1343 0,'0'0'523'0,"-1"-4"-32"16,1 4 31-16,-2-4-53 0,2 4-19 0,0 0-33 15,0-4-61-15,0 4-36 0,0 0-36 0,6-5-18 16,-1 5-30-16,-5 0-19 15,10 0-37-15,-5-2-24 0,0 1-51 0,3-1-26 0,0 2-74 16,-1-1-25-16,4 1-88 0,-4 0-61 0,1-1-46 16,4 1-97-16,-2-1-203 0,-1-1-488 15,3-1 51-15,2 3 135 0,0-2 83 16,2-2 48-16,-1 4 87 0</inkml:trace>
  <inkml:trace contextRef="#ctx0" brushRef="#br0" timeOffset="86637.43">23740 8844 1576 0,'-9'0'448'0,"0"1"-36"16,-1 1-41-16,0-1-15 0,2 0 38 0,0 0-30 16,3 0-31-16,-2 4-49 0,-1-4-33 15,5 2-11-15,-2-1-32 0,4 5-14 0,-1-4-20 16,0 0-46-16,4 3 0 0,0 1-18 0,2-1 0 15,0 0-10-15,3 1-8 0,-1 2 16 16,2 1-42-16,0-3 29 0,0 3-21 0,-3-3 3 16,4 0 41-16,-6 0-36 0,3 0 18 0,-1 1 22 15,-3-2-9-15,-1-2-8 0,-1 2 33 0,0 0-94 16,-3 0-24-16,-3 1 37 0,-2-1-17 16,-1 3-9-16,0-3 0 0,-3 1-21 15,-2 1-15-15,-3-2-69 0,-1 1-46 0,0-1-60 0,1 0-73 16,-1 0-21-16,0-2-77 0,5-2-278 0,-1 0-452 15,-3 2 99 1,2-3 88-16,2 3 137 0,0-2 53 0,-2 2 112 0,4-2 1 16</inkml:trace>
  <inkml:trace contextRef="#ctx0" brushRef="#br0" timeOffset="95408.01">9262 490 629 0,'10'-1'220'0,"-10"1"0"0,0 0-25 15,0 0-29-15,3-3-17 0,-3 3 86 16,0 0-27-16,0 0 2 0,0 0-13 0,8-2 0 15,-8 2-16-15,0 0-12 0,0 0 5 0,2-3-15 16,-2 3-92-16,0 0 4 0,0-4-17 16,0 4 2-16,0 0-12 0,0-7 7 0,0 7-15 15,-2-4 0-15,2 4 7 0,-3-6-2 16,-2 4-13-16,5 2 21 0,-6-4-3 16,1 3 18-16,-2-2-33 0,2 0 0 0,-1 2 27 0,-4-2-6 15,2 2-24-15,-2 0 10 0,0 0 6 16,0 1 53-16,2 0-7 0,-2 1 12 15,-1-1-38-15,1 0 3 0,0 2 2 16,-1 0-8-16,4 0 3 0,-3 0-18 0,0 1-25 0,-1 0 4 16,1 2 19-16,0 0-21 0,-1-1-3 0,4 0 1 15,1 2 7-15,-1-2 0 0,2 1 5 16,-1 0-10-16,0 0-5 0,0 0-2 0,1 1 2 16,0 1-8-16,2-1-15 0,-2 1-3 0,2-1-2 15,-1 0 5-15,0 1 17 0,4-2-1 16,-2 1-9-16,0-1-2 0,-1 0 0 15,3 0-23-15,0-1 28 0,0 1-30 0,0-1 30 16,0 1-13-16,3-1-12 0,-3 0 4 0,2 0 27 16,1 0-17-16,0 0-6 0,1-2 4 0,-1 0-10 15,2 1 15-15,0 1 11 0,0-3-31 16,0 0-8-16,1 1 29 0,-6-2-16 0,10 1 18 16,-10-1-3-16,12-1-4 0,-6 1-1 15,-6 0 8-15,11-1-18 0,-4 0 3 0,-2-1 12 16,0-1-17-16,-2 2 27 0,1-2 4 0,2 3-14 15,-1-3-20-15,-2 0 38 16,2 1-35-16,0-1 17 0,-2 2 3 0,1-3-7 0,2 1 4 16,-2-1 11-16,0 2-3 0,0-3-13 15,2 0 8-15,-2 1 21 0,-1 0-19 0,3 0 24 16,-2 0-26-16,-1 0-3 0,0 0 6 16,2 0 12-16,-2 0-12 0,-1-1-3 0,3 1 2 15,-2-1 11-15,-1 2 8 0,1 0 4 0,-1-1-15 16,1-1-7-16,0 1-3 0,-1 0 13 15,1 2 2-15,-1-1-5 0,-2 3 6 16,5-6 2-16,-2 4 7 0,-1-1-14 0,-2 3-14 0,0-4 6 16,0 4 4-16,0 0 3 0,3-4 31 15,-3 4-46-15,2-2 28 0,-2 2-2 16,0 0-14-16,0-4-9 0,0 4 12 0,0 0 3 0,0 0-13 16,0 0 13-16,0 0-13 0,0 0 13 15,0 0 10-15,0 0-16 0,0 0 9 0,0 0 7 16,0 0-16-16,-7 10 11 0,4-6-2 15,3-1-29-15,-2 1 5 0,0 0 16 0,2 1 7 16,-1 1-23-16,1 0 37 0,-2 1-24 16,2 1-13-16,-3-1 3 0,1 1-3 0,1 1 1 15,-1 1 9-15,2-2 11 0,-3 2-21 16,3 1-5-16,-2-1 42 0,1 2-24 0,-1-1-5 16,0 2-8-16,-1-2 3 0,3 2 8 0,-3 0-3 15,1-2-8-15,2 2 18 0,-2 0-7 0,-1-2 2 16,3 0-8-16,-3-1 3 0,1 2-7 0,-1-2-6 15,3 0 38 1,-3 0-12-16,1-2-23 0,0 2 2 0,1-3 18 0,-1 1-4 0,-1 0-12 16,0-1-6-16,3-1 17 0,-2-1-15 0,0 1-1 15,-1-1 1-15,1 1 28 16,1-2-26-16,1 1 26 0,0-1 0 0,-2 0-20 16,2-4 2-16,0 6 23 0,0-4-34 0,0-2 4 15,-2 7 7-15,2-5-5 0,0-2-13 16,-3 4 41-16,3-4-21 0,0 0-12 0,-1 6 7 15,1-6-12-15,-2 3 20 0,2-3 5 0,0 0-12 16,0 0-1-16,0 0-4 0,0 4 12 16,0-4-15-16,0 0-1 0,0 0 22 0,0 0-4 15,0 0 11-15,0 0-18 0,2 4-18 16,-2-4 11-16,0 0 1 0,0 0 12 0,0 0-9 16,0 0 8-16,0 0-2 0,0 0-19 0,0 0 24 15,0 0 15-15,0 0-15 0,0 0-1 16,0 0-2-16,0 0 13 0,0 0 11 0,0 0 1 15,0 0-27-15,0 0 12 0,0 0-23 32,0 0 6-32,0 0 25 0,0 0-15 0,0 0-3 0,0 0-13 0,0 0 8 0,0 0 31 0,0 0-18 15,0 0-21-15,0 0-2 0,0 0 17 0,0 0 11 16,0 0-18-16,0 0 21 0,0 0-14 16,1 3-14-1,-1-3 14-15,0 0-7 0,0 0 16 0,0 0-6 0,0 0-5 0,0 0-7 0,0 0 2 16,0 0-8-16,0 0 3 0,0 0-18 15,0 0 5-15,0 0 13 0,0 0-3 0,0 0 11 16,0 0-6-16,0 0 26 0,0 0-23 16,0 0-2-16,0 0-4 0,0 0 1 0,0 0-2 15,0 0 17-15,0 0 15 0,0 0-45 16,0 0 28-16,0 0-13 0,0 0 5 0,0 0 10 16,0 0-15-16,0 0 0 0,0 0-3 0,0 0 16 15,0-11-1-15,0 11-17 0,0 0 25 16,0 0-10-16,0 0 11 0,0 0 4 0,0 0-2 15,0 0-2-15,0 0 1 0,0 0-22 0,0 0 13 16,0 0 13-16,0 0-32 0,0 0 1 16,0 0 28-16,0 0-5 0,0 0-11 15,0 0 3-15,0 0-7 0,0 0 15 0,0 0 10 0,0 0-21 16,0 0-15-16,0 0-4 0,0 0 22 16,0 0 10-16,0 0-23 0,0 0 19 15,0 0-6-15,0 0-16 0,3-4-22 0,-3 4-44 16,0 0-48-16,0 0-47 0,0 0-73 0,0 0-172 15,2-3-572-15,0 1 99 0,-2 2 104 0,3-3 64 16,-3 3 105-16,10-3 13 16</inkml:trace>
  <inkml:trace contextRef="#ctx0" brushRef="#br0" timeOffset="99223.15">9664 510 1085 0,'-8'-2'310'0,"8"2"-21"0,0 0-23 16,0 0-18-16,0 0-15 0,0 0-46 0,0 0-18 15,-7 8-8-15,7-4 8 0,0 1-20 16,-3 0-24-16,1 2-2 0,2 1-21 0,-2 1 1 16,-1 0-11-16,2 1-10 0,-1-1-11 15,0 2-4-15,-1-1-8 0,3 1-26 0,-3-1 11 16,1 0-8-16,-1-2 7 0,1 1-25 0,-1 0-3 15,1-1 11-15,2-1-21 0,-1-1-10 16,-1 0-8-16,2-2-28 0,0 1-5 0,-2-1-31 16,2 0-38-16,0-4 28 0,-3 7-20 0,3-4 2 15,0-3-54-15,0 0-33 0,0 0-5 16,0 5-16-16,0-5 1 0,0 0-26 0,0 0 10 16,0 0-56-16,0 0-397 0,0 0 28 0,0 0 103 15</inkml:trace>
  <inkml:trace contextRef="#ctx0" brushRef="#br0" timeOffset="99775.49">9544 624 860 0,'-8'-1'330'0,"8"1"-108"0,0 0-4 0,0 0-8 0,0 0 2 16,0 0-22-16,0 0-29 0,0 0 5 15,0 0-30-15,0 0 77 0,0 0-4 0,0 0-19 16,0 0-11-16,0 0-15 0,0 0-26 15,0 0 21-15,26 0-39 0,-21 1-5 0,3 1-20 16,0-1-5-16,-1 0-62 0,1 0-31 16,2 1 3-16,-2 0-15 0,0-1 28 0,-1 1-13 15,1 1-6-15,2-1-6 0,-3 1 9 16,1-1 11-16,0 0-11 0,-3-2 11 0,3 3 2 0,-3-3 18 16,0 1-23-16,-2 1 26 0,4-1 5 15,-7-1-18-15,8 2 10 16,-5-1 23-16,-3-1-7 0,7 2 4 0,-7-2-2 15,0 0 11-15,8 0-1 0,-8 0-7 0,0 0-13 0,5 1-16 16,-5-1 3-16,0 0 8 0,0 0 10 0,0 0-11 16,0 0 4-16,8 0 17 0,-8 0-10 15,0 0 51-15,0 0-10 0,0 0-18 0,0 0-8 16,0 0 16-16,0 0-44 0,0 0 16 16,0 0-26-16,0 0-11 0,0 0-17 0,0 0-21 15,0 0-15-15,0 0-2 0,0 0-27 16,0 0-14-16,0 0-9 0,0 0-9 0,0 0-21 15,0 0-82-15,0 0-51 0,-13 7-105 16,10-5-67-16,3 0-427 0,0-2 51 0,-2 7 108 16,2-4 46-16,0-3 64 0</inkml:trace>
  <inkml:trace contextRef="#ctx0" brushRef="#br0" timeOffset="100291.96">9549 877 865 0,'0'0'327'0,"0"0"-48"16,0 0-20-16,0 0 51 0,0 0-24 0,0 0-20 16,0 0-4-16,0 0-6 0,0 0-59 15,0 0-5-15,0 0-16 0,0 0-2 0,0 0-2 16,0 0-19-16,0 0 14 0,18 3-88 15,-13-2-15-15,0 0-2 0,-5-1-4 0,13 2 9 16,-10-2 2-16,2 1-18 0,-5-1 0 0,13 0-7 16,-8 1 20-16,-5-1-15 0,10 0 4 15,-5 0 50-15,-5 0 2 0,0 0-13 0,8 0 18 16,-8 0-5-16,7 1-26 0,-7-1-12 0,0 0 7 16,6 2-13-16,-6-2 19 0,0 0-27 15,0 0-4-15,7 0 10 0,-7 0-36 0,0 0-10 16,0 0-11-16,0 0-30 0,0 0-26 15,8 0-40-15,-8 0-27 0,0 0-32 0,0 0-37 16,6-3-96-16,-6 3-131 0,9-3-543 0,-6 0 64 16,2 1 113-16,2 0 58 0,-1-2 95 15,2 0 75-15</inkml:trace>
  <inkml:trace contextRef="#ctx0" brushRef="#br0" timeOffset="101047.12">9957 581 1407 0,'5'-3'389'0,"0"1"-5"0,-5 2-30 0,10-3-52 15,-4 3-11-15,1 0-27 0,-7 0-44 16,10 3 0-16,-4-1-33 0,1 2 13 0,-2-1-18 16,-2 2-21-16,0 0-18 0,-1 2 16 15,0-1-26-15,-2 0-2 0,-4 3-44 0,3-1-82 16,-4 0 25-16,0 2-14 0,0 1-3 0,2-1-6 15,-4-1 6-15,4 0 15 0,-2-2-7 0,0 1-9 16,2-2-9-16,1 0-8 0,-3-1-10 16,5-2 12-16,-3 1-12 0,3-4-8 15,-3 7 2-15,3-7 24 0,3 6-21 0,-3-6 20 16,5 3 16-16,-2-1-31 0,2-1 21 0,0 0 0 16,0 2 17-16,0-1-25 0,1 0-30 15,3 0 19-15,-1 2 6 0,0 0 3 0,-1-1 7 16,1 3-8-16,-2-2-7 0,1 1-13 0,-1-1 21 15,1 1 2-15,-2 0 10 0,0 0-5 16,-2-1-5-16,-1 1 20 0,1 1-4 0,-3-1 32 16,0-1-17-16,-3 2-13 0,1 0 18 15,-1-1 0-15,1 1 10 0,-5-1-18 16,1 0-3-16,1 0-9 0,-1-1 4 0,-1 1 8 16,2-1 1-16,-1-1 1 0,-1 0-4 0,0 0-3 15,-1-1 15-15,3 1-15 0,-3-2 11 16,0 0-24-1,0 0-10-15,3 0-26 0,-2 0 1 0,-1-1-29 0,0 0-28 0,8 0-15 0,-10 1-47 16,10-1-42-16,-7 0-63 0,7 0-130 0,-8-1-176 16,8 1-372-16,-3-4 144 0,3 4 8 15,0 0 119-15,0 0 75 0</inkml:trace>
  <inkml:trace contextRef="#ctx0" brushRef="#br0" timeOffset="101231.1">10226 745 1420 0,'0'-4'371'0,"0"4"-38"0,2-4-72 15,-2 4-92-15,0 0-102 0,0 0-185 16,3-1-607-16,-3 1 83 0,0 0 20 15</inkml:trace>
  <inkml:trace contextRef="#ctx0" brushRef="#br0" timeOffset="101758.71">10398 576 949 0,'0'0'318'0,"0"0"-32"0,0 0 1 0,17-6-23 0,-11 5-34 15,1 0-18-15,-7 1-9 0,14 0-29 0,-7 0 2 16,0 0-27-16,1 1-3 0,0 0-6 0,0 1 14 16,-1-1-11-16,1 2-10 0,0-1-12 15,-3 3-16-15,2-1 15 0,-1 2 3 16,-3 1-10-16,1-1-11 0,-4 2 11 0,3 1-19 0,-3-1 1 15,0 1-11-15,0 2 6 16,0-1-6-16,-3 1-35 0,1 2 18 0,2 0-8 16,-3-1-8-16,3 0 15 0,-2 1-22 0,-1-2 7 15,0 0 5-15,3-1 57 0,-2 0-18 0,0-1-29 16,-1 1-40-16,3-1-39 16,-1 0 13-16,-1-2-28 15,0 1-31-15,2-2-15 0,0 0-49 0,0-1-33 0,0 0-26 0,2-2-71 0,0 2-144 16,-1-3-484-16,2 0-30 0,-3-2 148 15,5 2 21-15,-5-2 87 0,0 0 76 0</inkml:trace>
  <inkml:trace contextRef="#ctx0" brushRef="#br0" timeOffset="102004.35">10408 783 1054 0,'0'0'389'0,"0"0"-28"16,-5-4-20-16,5 4-19 0,0 0-33 0,0 0-35 0,4-6-21 16,-4 6-11-16,8-4 6 0,-2 4-8 0,1-3-18 15,1 1-25-15,0 0-18 0,2 0-11 16,0 0-2-16,0-1-33 0,-1 2-24 0,1-1-30 16,2 0-20-16,-2-1-34 0,1 1-39 0,-1 1-32 15,3-1-49-15,-5 1-93 16,2 0-147-16,0-2-106 0,0 2-430 0,0-1 139 15,1-1 32-15,-3 0 57 0,2 1 57 0</inkml:trace>
  <inkml:trace contextRef="#ctx0" brushRef="#br0" timeOffset="102374.53">10915 577 1203 0,'-15'4'404'16,"8"-2"-25"-16,-1 1-23 0,3 1-8 15,-3-2-44-15,-2 1-45 0,2 2-34 0,0-1-7 16,0 0-21-16,1 2-41 0,2-1-23 16,3-1 8-16,1 0-21 0,-1 1 11 0,2-1-39 15,2 0-23-15,1 0 5 0,2 1 0 16,0 0 13-16,3 1-15 0,0 0 5 0,2 0 2 0,0 1-20 15,0-1-69-15,1 1 23 0,-1 0 22 16,0 0 9-16,0-2 79 0,-2 1 18 0,-3 0 7 16,3-2-76-16,-3 2 25 0,-2 1-10 15,-3-1 0-15,0 0 0 0,-3 2 8 0,-2-2-29 16,-3 4 21-16,0-2-23 0,-5 2-7 16,1-3-39-16,-4 2-77 0,1-1-59 15,-1-1-23-15,2 1-94 0,-2-1-67 0,3-2-261 0,-3 1-420 16,-1 1 74-16,-1-1 57 0,0-1 155 15,0-1 27-15,-1 2 73 0</inkml:trace>
  <inkml:trace contextRef="#ctx0" brushRef="#br0" timeOffset="104776.65">11049 7430 1205 0,'0'0'351'0,"-3"-4"-41"0,3 4-19 0,0 0-14 0,0 0-16 15,0 0-28-15,0 0-85 0,-10 11 1 0,10-6 20 16,0-1-52-16,-2 2 1 0,1 0-18 15,-1 4 7-15,2-2 4 0,-3 2-24 0,1-1 2 16,2 1-15-16,0 3 6 0,0 0-3 16,-2 0 58-16,1 0 6 0,1 0-23 0,-2 5-8 15,2-4-21-15,-3 3-7 0,3-2-28 0,0 1 10 16,0-1-5-16,0 2 0 0,0-2 0 16,0 1 2-16,0 1-35 0,-2-1 7 0,2 1-7 15,-1-1-9-15,1 0-4 0,0 0 26 16,0-2-16-16,-2 1 18 0,2 0-11 0,0 0-9 15,0-3 2-15,-2 3-15 0,2-4 2 0,-3 3-3 16,3-1 6-16,-1-3 0 0,1 0-23 16,-2-2 23-16,2 2 12 0,0-2-20 0,0-1 8 15,0-1 5-15,0-1-8 0,0 1 1 0,-2 0 6 16,2-3-19-16,0 3 4 0,0-3-2 16,0-3 13-16,0 7 13 0,0-5-31 0,0-2 0 15,0 0-8-15,0 6-3 0,0-6-12 0,0 0 5 16,0 0-30-16,0 0-11 0,0 0-36 0,0 0-5 15,0 0 0-15,0 0-59 0,0 0-66 16,0 0-101-16,0 0-99 0,8-12-491 16,-8 12 79-16,0 0 94 0,0 0 65 0,0 0 56 0</inkml:trace>
  <inkml:trace contextRef="#ctx0" brushRef="#br0" timeOffset="105281.08">10903 7914 1441 0,'-3'-3'409'0,"3"3"-43"0,0 0-20 0,0 0-26 16,0 0-26-16,0 0-35 0,0 0 7 0,0 0-36 16,0 0-17-16,5 11-88 0,-3-7 13 15,-1 2-35-15,2 0-1 0,1 1-12 0,-3-1-24 16,4 1 16-16,-3 2-20 0,1-2 12 0,2 1 3 16,-5-1-21-16,3 3 0 0,-1-2-2 15,0-1-21-15,1 2 8 0,-2-2-15 16,1 0 86-16,0 0-4 0,1-3 10 0,-3 0-6 15,3 1-14-15,-1-1-63 0,0-2 27 0,1 2-11 0,0-2-10 16,-3-2 5-16,12 0 18 16,-6 0 72-16,-6 0-31 0,15-1 15 0,-5-1-5 15,-2-1-30-15,2 1 9 0,3-2-2 16,-3 2-17-16,1-3 12 0,1 2-21 0,1 0 3 0,-2-1-30 16,1 1 7-16,-2-2-21 15,1 3-14-15,-1-2-45 0,-2 1-58 0,2 0-28 0,-2-1-54 16,-1 1-39-16,1-3-68 0,-2 4-144 15,1-2-197-15,0-1-404 0,-4 2 73 0,2-2 96 0,-2-1 153 16,0-1 36-16,-1 2 64 0,0-2 51 16</inkml:trace>
  <inkml:trace contextRef="#ctx0" brushRef="#br0" timeOffset="106180.08">10862 6970 847 0,'0'0'317'0,"-5"7"52"16,5-3-49-16,-1 1-34 0,1-2-14 0,0 3-42 16,0 2-15-16,1-3 3 0,-1 5-57 15,-1-2-5-15,2-2-18 0,1 4-10 0,-2-2-97 16,3-2-3-16,-3 2 8 0,2-3-26 0,-1 1 0 15,1 0 1-15,-2-1-9 0,2-3 1 16,-2 3 17-16,3-3-12 0,-3-2-3 0,2 4 5 16,-2-4 6-16,0 0 4 0,0 0 11 0,0 0 2 15,0 0-5-15,0 0 21 0,9-6 0 16,-7 0 4-16,0 1-14 0,-2 0 12 16,3-3 10-16,0 2 6 0,1-1 2 0,-1-1 5 15,0-1-15-15,2 1 0 0,-2 1-8 0,1-2 11 16,2 2-1-16,-3 1-10 0,1 0 6 15,2 3-27-15,-2-2 9 0,0 1 17 0,0 1-28 16,2 2 11-16,-2 1-6 16,-4 0-8-16,0 0 16 0,13 1 69 0,-8 1-28 0,-4 2 8 15,4-3-23-15,-3 3-1 0,1-2 11 16,-1 2-23-16,1 0 10 0,-3 0-11 0,3-2-32 16,-3-2 2-16,2 6 8 0,0-2 7 0,-2-4-2 0,3 3-3 15,0 0-2-15,-3-3-18 16,0 0-1-16,2 5 22 0,-2-5-80 0,0 0 15 15,0 0 26-15,0 0 5 0,0 0-5 0,0 0 23 16,10-8-1-16,-7 6-19 16,0-3 12-16,-1 2 11 0,3-1-6 0,0-1 0 0,-2 3 11 15,-1-3-6-15,4 4-9 0,-1-1 27 16,0-2-23-16,0 4-9 0,2-1 17 0,-1 0-16 0,-6 1 6 16,10 0-10-16,-2 1 32 15,-5 0-12-15,4 0-30 0,-4 3 30 0,2-3-13 0,0 1-2 16,0 2-6-16,0-2-20 0,-4 3-25 0,3-4-13 15,1 3-26-15,-4 1-16 16,1-3-53-16,0 3-12 0,-2-5-63 16,4 3-89-16,-4-3-199 0,4 2-461 0,-2 0 97 0,-2-2 64 15,4 5 120-15,-4-5 72 16,5 0 82-16</inkml:trace>
  <inkml:trace contextRef="#ctx0" brushRef="#br0" timeOffset="106361.33">11266 6905 1169 0,'0'0'412'0,"0"0"-40"0,0 0-24 0,0 0-51 16,0 0 10-16,0 0-49 0,3 13-38 0,-3-13-15 16,0 7-8-16,0-4-53 0,0 1-29 15,3 1-59-15,-3 1-41 0,0-3-96 0,0 2-134 16,2 0-359-16,-2 0-250 0,0-2 74 0,1 1 77 15,-1-4 71-15</inkml:trace>
  <inkml:trace contextRef="#ctx0" brushRef="#br0" timeOffset="106528.66">11248 6858 801 0,'-4'-1'261'0,"1"-1"-82"0,3 2-105 0,-7-5-143 0,7 5-520 16,-3-1 16-16</inkml:trace>
  <inkml:trace contextRef="#ctx0" brushRef="#br0" timeOffset="106964.54">11387 6680 1103 0,'0'0'460'0,"0"0"-22"0,0 0-79 0,0 0-52 0,10 7-13 0,-7-2-20 16,4 1-33-16,-1 3-14 15,2 1-17-15,-1 2-36 0,3 2-2 0,-2 1-31 0,-2 0-1 16,1-1-45-16,0 4-18 0,-1-3-3 0,-1-1-25 16,1-2-16-16,-2 3-7 0,2-5 7 15,-2 1-15-15,-1 0-8 0,0-3 3 0,1-1 7 16,0 2-4-16,-2-5 4 0,0 2 19 0,1-1-22 15,-3-4 7-15,3 3-7 0,-3-4 1 0,0 0 23 16,0 0-18-16,0 0 3 0,0 0 5 16,0 0-6-16,0 0-4 0,-21-5 22 15,16 1-7-15,-3 2-5 0,3 1-6 0,5 1 16 16,-13 0-20-16,6 0-1 0,-1 0 3 16,0 2-10-16,0 2 5 0,1-3-5 0,-1 4-3 15,1 0 11-15,2-1-4 0,-1 1-17 0,1 0 16 16,2 2-3-16,1-3 2 0,2-1-2 15,0 3-13-15,0-1 10 0,0 2 16 16,2-2-19-16,1-3 6 0,2 3 0 16,1-4-13-16,-1 1-13 0,2 1-25 0,1-2-19 0,-1-1-40 0,1-1-33 15,2 0-32-15,-2-3-50 0,0 2-80 16,2-3-135-16,-2 0-503 0,2-1 78 16,-2 3 105-16,2-3 68 0,-2-1 65 0</inkml:trace>
  <inkml:trace contextRef="#ctx0" brushRef="#br0" timeOffset="107395.24">11662 6657 1146 0,'0'0'474'0,"0"0"-13"0,0 0-37 0,0 0-42 16,0 0-21-16,0 0-36 0,0 16-28 0,2-8-59 15,0 0-5-15,-1 2 15 0,1 2-53 16,3 2-29-16,-2-1-18 0,-1 0-9 0,1 3-32 15,-2-3 13-15,3 0-40 0,-1 0-16 16,-3-1-5-16,3-3-13 0,-1 2 0 0,0-4-10 0,1 3 2 16,0-4-23-16,-3 1 3 0,2-1 8 15,-2-4-18-15,-2 3 2 0,2-2 33 16,0-3-32-16,-6 4 17 0,2-3-10 0,4-1-6 16,-11 1 9-16,11-1-1 0,-10 2 3 0,2-1-5 15,1 1-2-15,2-2-3 0,-3 0 30 0,2 3-28 16,-1-1 11-16,-1 0-11 15,1 2-10-15,1-2 26 0,-1 3-18 0,1 0 0 0,2-2 15 16,1 2-33-16,-2 1 10 0,2-1 8 16,0 2-6-16,3-2 1 0,0 0-5 15,0-2 4-15,0 3 11 0,4-2 10 0,0-1-30 16,2 1-16-16,1-3 8 0,0-1-34 16,2 0-43-16,1 0-10 0,0 0-13 0,0-5-62 0,0 5-38 15,0-5-102-15,-1-1-146 0,1 3-515 16,0-2 52-16,0-2 148 0,-2 0 71 0,0 2 57 15,-1-3 75-15</inkml:trace>
  <inkml:trace contextRef="#ctx0" brushRef="#br0" timeOffset="107590.04">11834 6633 1269 0,'-3'-1'517'0,"3"1"-30"0,0 0-22 0,0 0-106 0,0 0-39 0,0 0 10 15,0 14-49-15,2-6-25 0,1 1-5 16,-1 1-36-16,2 1-7 0,0 1-6 0,2 4-43 16,-2-2-39-16,-1-1-13 0,0 4-50 0,1 0-27 15,-3 0-55-15,1-1-29 0,1-2-77 16,-1 4-50-16,-1-5-57 0,1-1-75 0,0 1-170 16,1-1-441-16,0-5 97 0,-1 3 64 0,1-4 82 15,0 0 90-15</inkml:trace>
  <inkml:trace contextRef="#ctx0" brushRef="#br0" timeOffset="107922.24">12005 6890 834 0,'8'-9'346'0,"2"-1"17"16,-2 1-7-16,-3-1-39 0,3 2 1 0,-3-3-9 15,2 1-30-15,-1-1 5 0,-1-5-94 16,0 6-29-16,0-3 26 0,-5 3 61 0,2-1-10 0,-2 4 11 15,-2-1-27-15,-1 0-32 0,-2 4-9 16,2 0-6-16,-4 3-4 0,7 1-30 0,-15 6-39 16,5-1 8-16,1 3-2 0,-1 3-14 15,0 2 9-15,2 0-1 0,1 3 24 16,-1-2 7-16,3 4-39 0,2-4-17 0,3 1 18 16,0 1-36-16,1-4-59 0,3 2 18 15,2-4-39-15,2-1 26 0,2 0-2 0,2-4-21 0,1-1-25 16,0 0-16-16,5-3-21 0,-3-2-22 15,1-2-11-15,2-2-45 0,2 1-45 0,-2-2-65 16,0-1-132-16,-3 1-245 0,3-4-366 0,-2 3 143 16,2-2 47-16,-5-1 145 0,2 2 49 15,-5-1 41-15</inkml:trace>
  <inkml:trace contextRef="#ctx0" brushRef="#br0" timeOffset="127489.13">9726 1917 977 0,'0'0'249'0,"-2"-3"-27"0,2 3-2 0,0 0-7 0,0 0-13 15,0 0-11-15,4 16-18 0,-1-5-20 16,0 2-2-16,1 5 99 0,2 6-35 0,-4 4-44 15,4 11-16-15,-2 4-12 0,-1 2-16 0,0 4 9 16,0 11-9-16,-1 2-35 0,-2-10-16 31,-3 11 13-31,3-10-113 0,-2-2-10 0,-3-3 3 0,4-2 10 0,-1-3-18 0,2-1-2 0,-2-11-19 16,-1-4-35-16,3-5 7 0,0-1-20 16,0-3-43-16,0-3-16 0,-3 0-23 15,6-7-49-15,-3-1 6 0,0-4-34 0,0-2-43 0,0-1-374 16,0 0 46-16,0 0 74 0</inkml:trace>
  <inkml:trace contextRef="#ctx0" brushRef="#br0" timeOffset="129574.53">9744 1803 875 0,'0'0'322'0,"-5"-4"-117"16,5 4-28-16,0 0-1 0,0 0-4 16,0 0-42-16,0 0 11 0,10-2-18 0,-10 2 13 15,8 0-16-15,-8 0-10 0,16 2 5 16,-4 0-10-16,0-1 5 0,2 0-20 0,1 0 2 16,5 1-18-1,1 0 1-15,2 0-6 0,2-2-10 0,-2 2 2 0,8-1-17 0,-5-1 4 16,7 1 8-16,1 0-9 0,-3-1-1 15,18-1 66-15,-9 1-12 0,9-4-3 0,0 1 8 16,2-1-2-16,1 1-29 0,1 0 5 16,1-1-20-16,-2 0 13 0,-1 1-11 15,2-1-12-15,-2 0 33 0,1-1-26 0,2 1-89 0,-3 0 20 16,0 0-25-16,0 0 38 0,1-3 2 0,-1 3-15 16,-2-1-22-16,2-1 45 15,-3 2-15-15,-1-1-21 0,-1-1 8 16,0 2 3-1,1-1 5-15,-2 0 35 0,2 0-27 0,-4 0-19 0,1 0 6 0,-6 2 12 0,-4 0 29 16,-1 2-29-16,3-1 11 0,8-2 5 0,-6 1-11 16,-5 1 1-16,-2-1-13 0,3 3-6 0,-1-3 14 15,0 1 4-15,1 0 3 16,-4-1-2-16,1 3-6 0,0-2-2 0,2 0 3 0,-2 0-1 16,2-1 11-16,0-1-1 0,0 1-4 0,1 1-13 15,-1 1 20-15,-2-1-28 0,2-1 16 0,1 1 25 16,-1 0-31-16,0 1 8 15,1-1 0-15,-1 1-13 0,0-1 5 0,1-2 24 16,-1 4-3-16,0-2-13 0,13-2 10 0,-2 1-5 16,-6-1 67-16,-4 3-8 0,10-2 0 15,-4 1 0-15,4-1-11 0,0-1 24 0,2 2-36 16,0-2 5-16,3 3 3 0,-3-1 10 16,0-2-29-16,0 2-14 0,-2 0-11 0,2 0 10 0,-7 0-2 15,-4 1 20-15,-1-1-28 0,12 0 13 16,0 0-10-16,0 0 5 0,5-2 18 15,-2 4-16-15,0-3 8 0,2 0-3 0,-3 0 19 16,-1-2-9-16,-1 2-22 0,2-1-16 0,-1 0 55 16,-1 1-35-16,0 1-9 0,1-1 23 15,1 3-29-15,-2-2 3 0,1 0-8 16,1 0 19-16,-2 2 6 0,3 0 6 0,-8 0-15 0,8 0-10 16,-8 2-1-16,7-2 34 0,1 1-24 15,0 0 9-15,0 0 12 0,-3 0-20 0,2-1-8 16,1 3 7-16,2-1 11 0,-4-1-23 15,2 1 26-15,-1 3-1 0,-2-2 6 0,1-1-29 0,-4 2-5 16,1-2 21-16,-6 0-8 16,10 1-2-16,-3 1-3 0,-7-2 0 0,6 1 13 15,-4-1-11-15,-6-2 3 0,17 3 6 0,-5 0 4 0,0 0 8 16,-2 0-28-16,-3-1 10 0,-8 0 8 16,11 1-3-16,-1 0-10 0,-7 0 0 0,-7-2-3 15,2 2 6-15,1-1 0 0,-3 0-9 0,2 0 1 16,-1-1-7-16,-4-1 22 0,5 2-13 15,-6-1-7-15,1-1 13 16,2-1 9-16,-4-1-27 0,4 4 30 0,-3-2-7 0,1 0-18 16,-1 0 15-16,-1 0-5 0,-1 0-3 0,-3-2 6 15,1 1 7-15,-3 1-7 0,0-1 12 0,-3 0 21 16,1 1-26-16,-4-1-5 16,-2 1-12-16,1 1 7 0,-1 0 0 0,-2-2 41 0,0 0-41 15,-2 2 7-15,0 0 9 0,-1 0 14 0,2 0-4 16,-4 3 20-16,3 2-23 0,-4 1 3 15,3 1 17-15,-4 3-15 0,1 4-7 16,0 2 4-16,-2 5-2 0,-2 3 11 0,2 3-4 0,-2 2 14 16,-2 9-24-16,2 3-17 0,2-3 35 15,-2 2-10-15,-1 0 8 0,0 1 8 16,1-2-26-16,-1 1 7 0,1 0-12 0,-1 0 3 16,-2 0-11-16,3-2 23 0,-1 0-5 0,3-5-13 15,0-3 0-15,3 0 3 0,-3-1 31 16,0-1-44-1,0 0 2-15,2 2-53 0,-4-4-18 0,-1 2 10 0,3-3 0 0,-1 1 5 0,-1-5 16 16,0-1 10-16,0-1 5 16,-2-1-13-16,2-1 10 0,-1 0 8 0,-2-1-5 0,1-2 18 15,1-2-2-15,-2 0-4 0,2-2 4 16,-2 2 2-16,0-2-6 0,-1-3 4 0,-1 1-9 16,0-1-2-16,-1-1 3 0,-1-1 7 15,0-1-15-15,0 0 5 0,-3-2-5 0,-1-1-20 16,-3 0 17-16,-1 0-4 0,-6-2-11 0,-2-1 10 15,-6 1 3-15,-18-3-6 16,-5 1 4-16,-2 0-1 0,-16-2-2 0,-3 0 15 0,1 1 2 16,0-2-1-16,-1 4 1 0,0-1-12 0,2-2 13 15,-2 2 2-15,3-1-8 16,1 0 29-16,-1 0 13 0,13 2-27 0,-2 1 12 0,2 0-14 16,-3-1-8-16,-13-1-7 0,14 2 18 15,-11 0-7-15,8 0 14 0,-11-3-12 0,1 3 20 0,-3 0-28 16,3-1 21-16,12 2-6 0,-1-1-10 0,1 0 18 15,3 0-7-15,-2 0 4 16,2 3-14-16,-1-3 7 0,2 1 10 16,1 0-3-16,1 0-7 0,-1 0 5 0,4 1-10 15,1-2 0-15,-2 1 25 0,0 0-20 0,-2 1 15 16,0-2-18-16,-3 2 3 0,2-1 16 0,-2-1-14 16,3 1 13-16,-3 0-28 0,3 0 6 15,2 2 9-15,0-3-10 0,5 2 8 0,1-1 15 0,-1 2-17 16,0 0 32-16,3-1-32 0,-3 0 19 15,3-1-7-15,-2 0-2 16,1-1-18-16,1 1 20 0,8 1 2 0,2-1 14 0,-10 1-21 0,-3-2-8 16,0 0 6-16,0 0-19 0,0 2 42 15,-2 0-24-15,-2-2-12 0,1 0 25 16,1 0 0-16,2 2-7 0,3-1 2 0,8 1 5 16,5-1 3-16,-1 0-21 0,1 1-2 0,0-2 0 15,-3 0 15-15,3 0-3 16,-1 0-9-16,3 1-9 0,-2-1 19 0,2 2 23 0,0-2-24 15,-2 1 14-15,2 1 1 0,-4 0-9 16,-10 1 15 0,2 2-5-16,-3-2-28 0,2 1 0 0,1-1-3 0,6 1 20 0,5 0 29 15,1-1-28-15,-3 1-3 0,1-2-15 0,4 2-11 16,-1-2 34-16,-1 3-18 0,0-3 5 0,3 2 23 16,-2-2-33-16,1 2 7 0,-1-1 8 15,1 3-2-15,-2-2 10 0,-10 3-21 0,0-1 23 16,0 0-7-16,6-1 0 0,-9-1 7 0,6 0-7 15,7-2-6-15,-13 3-2 0,8-1 0 16,3-2-7-16,2-1 7 0,-2 1-3 0,2 0 1 16,3 0 7-16,-3-1 0 0,6 1 3 0,-1-2-8 15,3 1 46-15,-3 1 0 0,1 0-23 0,-1 0-13 16,1-1 8-16,-1 1 15 16,3 1-2-16,0-3 12 0,-3 1-17 0,3 1 10 0,0-1-26 15,0 1 0-15,2-1 16 0,3 0-8 16,0 0 0-16,3 1 0 0,-1 0-3 0,1-2-5 15,0 1-2-15,4-1-31 0,1 2-18 16,3-2-72-16,-1 0-53 16,-2 2-44-16,4-1-38 0,1 0-57 0,5-1-189 0,-7 0-494 0,4 1 110 15,3-1 67-15,0 0 135 0,0 0 36 16,0 0 85-16</inkml:trace>
  <inkml:trace contextRef="#ctx0" brushRef="#br0" timeOffset="130526.24">16162 1553 1279 0,'-4'-4'425'0,"4"4"-46"0,0 0-38 16,-4-4-32-16,4 4 11 0,0 0-51 0,2-8-8 15,-2 5-115-15,2-2-8 0,2 1-18 16,-2-2 11-16,2-3-8 0,2 2-18 0,2-2 15 15,-1 1-20-15,1-6-16 0,5 1 11 16,-3-5-5-16,6 1-6 0,4-8 13 0,0 0-27 16,1 0-9-16,2-1 16 0,0 2-18 15,2 1-8-15,2-2 0 0,3 4 0 0,-2 1-7 16,1-1 4-16,-1 4-7 0,3-2-15 0,-3 1 12 16,-3 5 80-16,-2 5-23 0,-2-3 12 15,2 2-20-15,-2 1-2 0,-1 1-19 0,-2 1-30 16,0 2 28-16,2-1-84 0,1 1-1 0,-3-1-7 15,2 3 26-15,-2-1-11 16,1-1 10-16,-4 1-4 0,0 1-6 0,-2 1 2 0,-3-2 22 16,3 2-11-16,-5 0 5 0,2 0-10 0,-3-1 18 15,-1 1 4-15,1 0 24 0,-1 0-12 16,-1 0 1-16,-5 1-4 0,10-1 2 0,-10 1 18 16,8-1-10-16,-8 1-16 0,5-2-25 0,-5 2 5 15,3-1-15-15,-3 1-26 0,0 0-13 16,4-2-43-16,-4 2-13 0,0 0-31 15,3-4-41-15,-3 4-22 0,0 0-47 0,0-5-54 16,0 5-158-16,-3-3-497 0,3 3 100 16,0-5 43-16,0 5 106 0,-2-5 63 0,2 1 88 0</inkml:trace>
  <inkml:trace contextRef="#ctx0" brushRef="#br0" timeOffset="130933.06">16848 863 849 0,'0'0'336'0,"0"0"-14"0,0 0 60 0,0 0-37 16,0 0-17-16,0 0-1 0,20 8-48 15,-11-6-94-15,1-1-14 0,2 2-4 0,2 1-39 16,-2-1 40-16,4 0-29 0,-3 1-11 0,2-1 10 16,-2 0-23-16,4 4-13 0,-3-3 44 15,0 2-30-15,0-1-17 0,-1 1 11 16,-1-1-7-16,1 2-6 0,-3 1 3 0,0-2 77 16,-2 2-3-16,0 0-11 0,-3 1-12 0,2 0 3 15,-4 0-13-15,-3 0-36 16,3-1-69-16,-6 3-3 0,1 0-18 0,-3 1-4 0,-3 1-32 15,0 0-33-15,0 0-40 0,-2 0-42 0,0 1-48 16,-3-3-37-16,3 2-24 0,-2 0-157 16,-7-1-97-16,11 0-477 0,2-4 116 15,0-2 49-15,4-1 125 0,1-1 67 0,1-4 48 0</inkml:trace>
  <inkml:trace contextRef="#ctx0" brushRef="#br0" timeOffset="131607.22">17817 635 965 0,'-12'-2'399'15,"4"0"-38"-15,-2 0-11 0,-1 2-48 0,1 2-23 16,0 1-28-16,0 0-18 0,-1 2-8 0,-1 1-17 0,2 2-9 15,-4 2-1-15,2-1-19 0,-1 3-49 16,3-1-9-16,0 0-9 0,-1 2-7 16,4-3 5-16,1 1-10 0,4-1-8 0,-1-3-7 15,3 2-9-15,0-2-9 0,2 1-21 0,1-1 10 16,3-1 6-16,1-2-16 0,3 0-8 16,-2-2 8-16,3-1-17 0,1-1 6 0,-1-1 4 15,4-2-1-15,-5 0-20 0,6-1 31 0,-4-2-6 16,1-2 24-16,0-1-21 15,0-1 13-15,-5 1 30 0,2 1-96 0,0-2 48 0,-2 2-26 16,-3 0 5-16,2 1 16 0,-4 1-8 0,4 0 31 16,-4 2-15-16,0 0 2 0,0 0-10 15,-1 1 0-15,0 1-13 0,-2 2 0 0,0 0 2 16,0 0 14-16,0 0-9 0,3 11 6 16,-3-3-10-16,0 3-1 0,-3 1-30 0,1 3 18 15,0 3 0-15,-1-1-5 0,0 3 4 16,1 0 88-16,-1 4-15 0,1 1-19 0,-2 0-20 15,2-4 0-15,0 0 0 0,-1-1 3 0,1-1-16 16,2-3 1-16,-1-1-6 0,-1-1-31 16,2-1-15-16,0-2-15 0,-2-1-23 0,2-1-8 15,0-3-16-15,2 1-17 0,-2-1-39 0,-2-1-30 16,4-1-11-16,0-2-35 0,-2-2-47 0,6 2-101 16,-6-2-181-16,0 0-444 0,10-8 86 15,-2 3 98-15,-3-1 87 0,3-3 84 16,0 1 65-16</inkml:trace>
  <inkml:trace contextRef="#ctx0" brushRef="#br0" timeOffset="132076.28">18341 597 1359 0,'0'0'386'0,"-3"-2"-50"16,3 2-14-16,0 0-30 0,0 0-26 0,0 0-7 15,-3 13-16-15,1-6-21 0,-1 1-22 0,1 2 7 16,-1 2-27-16,1 1-34 16,-1 0 10-16,0 1-26 0,1 2-7 0,0-3-10 0,-1 1-24 15,-2-1 11 1,5 0 61-16,-2-1-48 0,1-2-34 0,-2-1 6 0,3 1-60 15,-2-3-32-15,2 1-32 0,-2-2-17 16,2 0-39-16,0 0-10 0,-1-2-48 0,1-1-32 0,1 2-78 16,-1-5-108-16,0 4-556 0,2-2 113 15,-2-2 85-15,0 0 20 0,2 4 92 0</inkml:trace>
  <inkml:trace contextRef="#ctx0" brushRef="#br0" timeOffset="132317.1">18138 783 1208 0,'0'0'458'0,"-1"-4"-46"0,1 4-13 16,0 0-43-16,1-6-92 0,-1 6 2 0,8-4-18 16,-1 1-20-16,1 1-26 15,3-2 72-15,1 4 0 0,3-3-38 0,-1 0-29 0,3 2-28 16,1-2-20-16,0 2-26 0,2-2-3 15,-1 1 16-15,-1 0-36 0,2 0-28 0,-2-1-15 0,-3 2-36 16,1 1-42-16,-1-1 4 0,-2 1-50 0,0 0-50 16,-3 0-21-16,1 1-33 15,-4-1-26-15,4 4-72 0,-7-3-148 0,2 2-535 16,-4 0 49-16,1 0 99 0,-3 2 70 0,2 0 130 16,-4 0 28-16</inkml:trace>
  <inkml:trace contextRef="#ctx0" brushRef="#br0" timeOffset="132596.31">18192 987 1205 0,'0'0'361'0,"0"0"-21"16,7 5-17-16,-1-3-13 0,-1-1-34 0,2-1 54 15,3 0-20-15,0 0-31 0,-1 0-38 16,3 1-16-16,2 1-7 0,-2-2-42 0,1 1-2 0,0-1-20 16,0 0-29-16,-1 0-30 0,1-1-11 15,0 1-71-15,-2 0-23 0,3-3-31 0,-1 3-69 16,1-3-62-16,1 1-130 0,0 0-468 16,0-1-118-16,-1-3 156 0,1 1-3 0,1 0 72 15,1-2 49-15</inkml:trace>
  <inkml:trace contextRef="#ctx0" brushRef="#br0" timeOffset="133140.9">18884 600 1139 0,'5'-3'396'0,"2"2"-32"0,-7 1-26 0,11 0-21 16,-11 0-23-16,16 1-12 0,-6 4-16 15,-2-3-35-15,-1 4-16 0,3 0-6 0,-2 1-19 16,-2-1-19-16,-2 1-22 0,-2 2-21 15,-2 0-13-15,-2 1 10 0,0 1-14 0,-1 1-1 16,-4-1-23-16,1 0 5 0,2-2 43 16,-2 0 4-16,1 0-24 0,0-1-8 0,2 0-12 0,1-2-23 15,-1 0-6-15,3-1-22 16,-1 0-13-16,1-1 12 0,0 1-2 0,1-2 0 0,2 1-13 16,-1 0 3-16,4-1-6 0,-1 1-4 0,0 0 10 15,2 1-1-15,1-1-30 0,0 0 3 16,2 2 20-1,-2-1-10-15,2 1 2 0,0 0 8 0,-5-1 13 0,3 3-28 0,0-2 33 16,0 2-24-16,-3-2 19 0,-3 1 26 0,1-2-16 16,-3 3 31-16,0 1-16 0,-3-2-2 15,0 0 2-15,-4 1-86 0,-1 0 30 0,-2 2-10 16,-1-2-21-16,1-2 100 0,-3 2-22 0,1-1 24 16,1-1-42-16,-1-1 9 0,-1 0-43 0,2-2-46 15,-1 1-15-15,2-3-42 0,-1 1-53 16,1-1-56-16,0-1-47 0,4-1-71 15,-1-2-195-15,0 2-529 0,4-2 91 0,-2-3 103 0,2 3 110 16,1-1 21-16,-1-3 102 0,6 0 84 16</inkml:trace>
  <inkml:trace contextRef="#ctx0" brushRef="#br0" timeOffset="133309.34">19112 785 1003 0,'0'0'281'0,"3"-1"-91"16,-3 1-139-16,8-2-389 0,-8 2-289 15,7-3 77-15</inkml:trace>
  <inkml:trace contextRef="#ctx0" brushRef="#br0" timeOffset="133712.29">19348 552 1128 0,'0'0'374'0,"8"-1"-41"0,-8 1-23 0,10 0-21 0,-2 1 0 0,2 0-30 16,-2 0-9-16,2 3-19 0,1-2 4 0,-4 2 60 15,3 1-24-15,0-1-10 0,1 3-8 16,-4-1-17-16,1 1-18 0,0 0-1 0,0 3-12 0,-1-1-11 16,-4 0-84-16,1 1-5 0,-1 1-25 15,-3 1-3-15,3 1-6 0,-3 0 3 16,0 0-20-16,-3-1-5 0,3 2-3 0,-2-3 8 15,1 2-24-15,-3 0-1 0,1-1-47 16,3 0-13-16,-3-1-25 0,1-1-26 0,0-1-59 16,-1 1-33-16,0-2-28 0,3-1-26 0,-2 0-46 15,2 1-74-15,-2-6-141 0,2 3-489 0,-1 0 123 16,1-1 62-16,0-4 112 16,-3 5 64-16,3-2 97 0</inkml:trace>
  <inkml:trace contextRef="#ctx0" brushRef="#br0" timeOffset="133964.29">19279 825 1233 0,'0'0'492'0,"0"0"-21"0,5-6-34 16,-2 4-35-16,2 1-102 0,2-1-29 15,1-1 6-15,0 2-39 0,0-1-31 0,2 0-10 16,3 0 10-16,-3 0-20 0,5-1-23 0,-2 1-15 15,-1 1-22-15,1-3-45 16,3 2-30-16,-4-1-50 0,2 0-48 0,-1 1-38 0,-1-1-44 16,1 0-87-16,0 0-118 0,-3-1-136 15,1 1-439-15,3 0 78 0,-3-2 70 0,3 1 72 16,-2-1 50-16</inkml:trace>
  <inkml:trace contextRef="#ctx0" brushRef="#br0" timeOffset="134293.59">19854 553 1105 0,'-19'1'484'0,"6"1"-23"16,-2 0-134-16,4 0-27 0,-1 0-21 15,4 0-26-15,0 1-38 0,3 0-5 0,-3 0-41 0,4 0-15 16,-1 0-8-16,2 1-3 0,3 0-35 15,0 2-6-15,2-2-7 0,1 3-6 16,4-1 19-16,2 3-6 0,1 0 3 0,5-1 13 16,-2 3-3-16,2-1 13 0,1 0-3 0,-1 1 14 15,1-1-14-15,-2 0 113 16,0-2-18-16,-2 1-12 0,-3-2-4 0,1 0-73 0,-4 0-3 16,0-1 5-16,-4 2-23 15,-1-1 0-15,-2 0 8 0,-6 2-39 0,-1-2 1 0,-7 3-22 0,0-1-27 16,-6 2-79-16,-2-2-86 0,-8 7-75 15,3-7-94-15,-8 5-150 0,0-1-693 0,1-1 122 16,4-4 97-16,-8 1 123 0,-2-3 67 0,5-2 59 16,-10 1 69-16</inkml:trace>
  <inkml:trace contextRef="#ctx0" brushRef="#br0" timeOffset="146106.54">10585 8237 852 0,'0'0'279'16,"-2"-5"-21"-16,2 5 62 0,-1-2-30 0,1 2-34 16,0 0-6-16,0-4-45 15,0 4-23-15,0 0-18 0,0 0-13 0,0 0-33 0,0-7-19 16,0 7-37-16,0 0-16 0,0 0-36 0,0 0-46 16,0 0-12-16,0 0-45 15,0 0-34-15,0 16-37 0,-2-9-69 0,-3 2-115 16,-1 3-402-16,-1 0 130 0,-3 5-15 0</inkml:trace>
  <inkml:trace contextRef="#ctx0" brushRef="#br0" timeOffset="146506.17">10180 8813 982 0,'0'0'249'0,"0"0"-39"0,0 0-3 0,0 0-13 0,0 0-53 16,0 0-38-16,0 0-47 0,0 0-66 15,0 0-57 1,0 0-56-16,0 0-5 0,0 0-87 0,0 0-435 0,0 0 87 15</inkml:trace>
  <inkml:trace contextRef="#ctx0" brushRef="#br0" timeOffset="149127.63">12913 8922 701 0,'0'0'238'0,"0"0"-36"0,2-3-23 0,-2 3-23 0,0 0-25 0,0 0-72 15,0 0-44-15,0 0-61 0,0 0-82 16,0 0-182-16,10 7-327 0,-7-4 107 0</inkml:trace>
  <inkml:trace contextRef="#ctx0" brushRef="#br0" timeOffset="149465.37">13823 9464 476 0,'0'0'151'0,"0"0"-105"0,5 0-190 16</inkml:trace>
  <inkml:trace contextRef="#ctx0" brushRef="#br0" timeOffset="154633.79">9775 8969 368 0,'0'0'64'0,"0"0"-77"0,0 0-12 0,0 11-90 16</inkml:trace>
  <inkml:trace contextRef="#ctx0" brushRef="#br0" timeOffset="155034.37">9703 9494 296 0,'0'0'44'15,"0"0"-136"-15</inkml:trace>
  <inkml:trace contextRef="#ctx0" brushRef="#br0" timeOffset="159559.81">11775 8725 171 0</inkml:trace>
  <inkml:trace contextRef="#ctx0" brushRef="#br0" timeOffset="165143.12">8057 12696 857 0,'0'0'363'0,"5"-3"-9"15,-5 3-27-15,0 0-17 0,2-2-82 0,-2 2-8 16,0 0-13-16,0 0-7 0,0 0-3 0,0 0-43 15,0 0 20-15,0 0-26 0,0 0-22 16,0 0-27-16,0 0 14 0,-7 12-16 0,7-6 1 16,-3 1 14-16,1 2-17 0,-4 2-26 15,2 3-13-15,-2 3 1 0,-4 2 4 0,0 2-12 16,0 1-1-16,-6 5-9 0,1 0 9 0,2-5-12 16,0-1 5-16,3-3-18 0,-1-1 85 15,1-1-14-15,3-2-12 0,-1-1-7 0,2-2-9 16,-1-2 1-16,4 1-24 0,-1-3 11 15,1 0-13-15,0-1-5 0,1-1-21 0,2 0 26 16,0-2-10-16,2 1-3 0,-2-4-5 0,10 2 0 16,0-1 5-16,-2-1-7 15,3 0-9-15,1 0 11 0,2 0-5 0,-2-1 8 0,6 1-21 16,-5 0-2-16,3 0-14 0,-1-2 1 0,1 2-41 16,-2-2 0-16,-1 2 0 15,3-2-29-15,-6 2-37 0,2 0-19 0,-1-1-20 0,-1 0-31 16,-2 0-148-16,2-2-52 0,0 0-476 15,-2 1 11-15,0 0 110 0,0 0 76 16,-3-2 19-16,0 0 58 0</inkml:trace>
  <inkml:trace contextRef="#ctx0" brushRef="#br0" timeOffset="165362.79">8316 12811 959 0,'-3'-3'359'0,"3"3"-55"0,0 0 11 16,0 0-31-16,-7 8-25 0,4-1-8 16,1 1-41-16,-4 1-24 0,4 2 6 15,-3 0-28-15,2 3-23 0,1-3-5 0,-1 1-29 16,-2 2-43-16,3-2-10 0,-1 1-46 16,0 0-29-1,1-2-66-15,1 1-64 0,-1-3-161 0,-4 1-95 0,6-1-374 0,0-2 87 0,1-3 62 16,1 0 38-16</inkml:trace>
  <inkml:trace contextRef="#ctx0" brushRef="#br0" timeOffset="165570.31">8505 12722 1039 0,'1'-5'463'0,"-1"2"-20"15,0 3-31-15,0-5-105 0,0 5-15 0,0 0-34 16,0 0-7-16,0 0-25 0,-5 18-1 15,1-9-56-15,2 3 30 0,0 2-32 16,-1 4-32-16,-2 0-9 0,0 0-19 16,2 2-7-16,-1-1-36 0,1 0-20 0,0 0-44 0,0-2-44 15,-2 1-56-15,1-2-51 0,3-1-64 16,-1-1-189-16,-1-1-477 0,1-1 98 0,2-1 2 16,-3 0 118-16,5-3 85 0</inkml:trace>
  <inkml:trace contextRef="#ctx0" brushRef="#br0" timeOffset="165807.23">8239 12992 1123 0,'0'0'430'0,"-5"-3"-66"0,5 3-21 0,0 0-26 16,0 0-23-16,0 0 1 0,0 0-37 15,0 0-117-15,0 0-41 0,20 0-8 0,-10-1-15 16,1 2-57-16,1-1-48 0,2-1-38 16,1 0-113-16,1-1-111 0,4 0-503 15,0 0 25-15,3 0 90 0,3-3 63 0</inkml:trace>
  <inkml:trace contextRef="#ctx0" brushRef="#br0" timeOffset="166078.22">8708 12818 1233 0,'-11'1'379'0,"4"3"-41"0,2 1 2 16,0-1-48-16,2 2-38 0,1 0-16 0,2 1-8 16,0 1-28-16,2 0-15 0,-2 1-23 0,3 0-5 15,-3 0-21-15,5 2 0 0,-3-1-10 16,1-1-28-16,-3 1-5 0,3-2 4 0,-1 1-12 15,-2-1 11-15,0 1-9 0,0-2-104 16,-5 1 20-16,2 0-20 0,1-1 7 0,-3 0-23 16,0-1-7-16,0-1-54 0,-1 0-72 0,1 0-205 15,2-3-519-15,-1 0 28 0,4-2 113 16,0 0 58-16,-8 0 116 0</inkml:trace>
  <inkml:trace contextRef="#ctx0" brushRef="#br0" timeOffset="166340.01">9180 12737 985 0,'5'7'379'0,"-3"-1"-26"16,1 1-7-16,-3 1-57 0,0 2-23 0,0 1-23 16,0 1-33-16,3 1-20 0,-3 0-9 0,0 3-35 15,0-2-28-15,-3-1-49 0,3 2-31 16,0-2-35-16,-3 0-36 0,1 0-49 16,0-3-100-16,2-1-120 0,-3 0-491 0,3 1 37 15,3-1 134-15,-6-3 18 0</inkml:trace>
  <inkml:trace contextRef="#ctx0" brushRef="#br0" timeOffset="166717.14">9465 12787 967 0,'0'0'371'0,"-9"1"-30"16,9-1-24-16,-12 2-30 0,6 0-31 0,-1 1-23 16,2-1-23-16,0 0-13 15,-1-1-31-15,2 4-10 0,-1-3 16 0,4 1-21 0,-1 1-21 16,2-4-17-16,0 5-24 0,0 0 21 16,2 0-30-1,-1-1-11-15,4 1 15 0,-3-1-22 0,3 2-14 0,0-2 1 0,-2 0-8 16,-1 1 8-16,1 0-1 0,0-1-2 0,1 0 36 15,-4 0-23-15,1 1-13 0,2-2 16 0,-3 2-29 16,-3 1 8-16,2-1 23 0,-3 0-28 16,1 1 7-16,-4-1-2 0,1 1-2 0,-1 1 12 15,-4-2-31-15,1 1-27 16,0-1-16-16,-3-1-31 0,3 0-41 0,2-1-48 0,3-2-241 16,-1 1-589-16,2-2 134 0,4 0 27 15,-6 3 83-15,6-3 66 0,0 0 120 16</inkml:trace>
  <inkml:trace contextRef="#ctx0" brushRef="#br0" timeOffset="167038.25">10536 12835 1103 0,'0'0'373'0,"0"0"-27"0,0 0-41 0,0 0 7 15,0 0-51-15,0 0-49 0,0 0-14 16,23 3-53-16,-13 0-29 0,1-2-73 0,-4 1-115 16,3 0-132-16,1 1-569 0,-3-1 58 0,2 2 27 15,-2 0 161-15</inkml:trace>
  <inkml:trace contextRef="#ctx0" brushRef="#br0" timeOffset="167249.75">10546 12969 970 0,'-4'1'399'0,"4"-1"-54"0,0 0-25 15,0 0-30-15,0 0-24 0,0 0-31 16,10 4-45-16,-3-4-39 0,1 0-90 0,2 1-53 16,0 1-118-16,-2-2-241 0,4 0-424 0,4 0 112 15,-1 0 2-15,3 0 62 0</inkml:trace>
  <inkml:trace contextRef="#ctx0" brushRef="#br0" timeOffset="167533.4">11938 12781 1325 0,'-2'3'389'15,"-1"0"-48"-15,-2 2-24 0,3 3-15 0,-1 1-33 16,1 1-36-16,-1 2-23 0,0 0-8 0,1 1-48 15,-3 1-31-15,2 0-29 0,1 0-50 16,-1 0-65-16,0 0-125 0,1-6-179 0,2 5-527 16,0 0 115-16,-2-2 25 0,4-1 83 0,-4 1 71 15</inkml:trace>
  <inkml:trace contextRef="#ctx0" brushRef="#br0" timeOffset="167887.9">11985 12763 1013 0,'7'-9'353'15,"-2"1"-28"-15,1 2-20 0,-1 2-28 16,2 0-16-16,1 2-18 0,0 2-3 0,-3 0-45 16,-5 0-21-16,10 6-10 0,-4-2-16 0,-2 3 14 15,-1 0-27-15,-3 2-35 0,-3 1 13 16,1 3-21-16,-4 0-10 0,-1 3-6 0,0-2-12 15,-4-1-12-15,3 1-6 0,-2-3-5 16,5 0 12-16,-2 0 29 0,1-3-53 0,-2 0-12 0,4 0 27 16,1-2-13-16,-2 0-8 0,2 0 15 15,1-1-12-15,-1 0-8 0,3-1-13 16,0 0 8-16,3 0-6 0,-1-2-14 0,1 2-42 16,2-2-25-16,2-2-34 0,4 3-12 15,-1-5-47-15,0 1-65 0,3 0-134 0,-3-1-105 16,3-1-343-16,5-4 28 0,-3 0 148 0,3 0 32 15,-2-1 25 1</inkml:trace>
  <inkml:trace contextRef="#ctx0" brushRef="#br0" timeOffset="168037.54">12307 12750 998 0,'0'0'333'0,"0"0"4"16,0 0-17-16,0 0-38 0,0 0-16 15,-10 10-35-15,6-4-14 0,1 1-10 16,-2 1-22-16,-1 1-9 0,2 1-7 0,-2 1-30 15,1 1-35-15,0-1-6 0,0 1-60 0,-1-2-48 16,2 1-64-16,1 2-177 0,-2-7-118 16,3 4-445-16,1-2 54 0,-1 0 100 15,4-3 25-15</inkml:trace>
  <inkml:trace contextRef="#ctx0" brushRef="#br0" timeOffset="168227.97">12392 12744 1348 0,'-2'-4'454'0,"2"4"-37"0,0 0-41 16,0 0-117-16,0 0-14 0,0 0-35 15,0 0-8-15,-5 14-7 0,3-7-21 0,1 3-36 16,-2 0-25-16,1 3-21 0,2-2-59 0,-3 3-28 16,1-1-48-16,-1 1-65 0,1-1-66 15,1 0-220-15,-1-1-433 0,2-1 57 0,-2 0 58 16,-1-1 103-16,3-2 51 0</inkml:trace>
  <inkml:trace contextRef="#ctx0" brushRef="#br0" timeOffset="168415.15">12238 12919 1039 0,'0'0'437'0,"-4"-3"-47"0,4 3-68 16,-1-4-20-16,1 4-18 0,3-5-107 0,2 3-29 15,0 1-58-15,1-1-44 0,4-1-51 16,0 1-64-16,3-1-123 0,2-1-105 0,0 0-433 16,6 2 26-16,-3-2 111 0,2 0 4 15</inkml:trace>
  <inkml:trace contextRef="#ctx0" brushRef="#br0" timeOffset="168657.96">12552 12765 1187 0,'-6'-3'361'0,"1"1"-26"0,0 0-25 0,0 0-18 0,5 2-23 16,0 0-26-16,0 0-20 0,-13 5-47 0,13-1 14 16,-2 2-27-16,2-1-19 0,2 3-11 15,-2 0-10-15,3 2-23 0,-1 2 28 0,0-1-18 16,-1 2-13-16,1 0-15 0,1 0 10 0,-1-1-13 16,-2-1-22-16,-2 2 14 15,2 1 60-15,-5-1-6 0,0-1-2 0,-1 1-23 16,-4-1-36-1,2-2-28-15,-2 1-13 0,2-3-39 0,-2 1-45 0,3-2-57 0,-1-1-174 0,2-2-289 16,-1 0-327-16,4-3 7 0,3-1 164 16,0 0 79-16,0 0 38 0,-7-7 55 0</inkml:trace>
  <inkml:trace contextRef="#ctx0" brushRef="#br0" timeOffset="170771.31">13017 12823 888 0,'-2'8'317'0,"-3"3"-35"0,2 1-24 15,1 1-15-15,-3 0-22 0,2 4-27 0,-1 0-20 16,1 0-46-16,-3-1-56 0,-1 1-116 0,4-2-122 15,-2 2-551-15,2-4 128 0,1 1-30 16,0-1 71-16</inkml:trace>
  <inkml:trace contextRef="#ctx0" brushRef="#br0" timeOffset="171124.5">13236 12843 901 0,'-10'1'263'0,"2"1"-38"0,-2 0-12 16,2 1-11-16,-2 0-33 0,-1-1-8 15,4 4-20-15,-3-1-16 0,4 2 37 16,-2-1-42-16,4-1 0 0,1 1-7 0,0 2 53 15,3-1-17-15,0 1 4 0,0-1-22 0,3 1 2 16,-3-1-5-16,3 2-31 16,1-1 18-16,0 0-4 0,-2-1-4 0,0 0-5 15,1 1 6-15,-3-1 17 0,0 1-30 0,0-3-16 0,-5 3 26 16,-1-2-115-16,-1 3 10 0,-1-2 28 16,-4 0-28-16,-1 2-15 0,-2-3-16 0,-1 2-10 15,-2 0-12-15,0-3-35 0,0 1-34 16,-2-2-68-16,2 2-56 0,-1-1-158 0,-1-1-423 15,5 0 18-15,1-1 123 0,2-1 41 0,0 0 44 16</inkml:trace>
  <inkml:trace contextRef="#ctx0" brushRef="#br0" timeOffset="171824.43">9238 13634 796 0,'39'-4'330'0,"7"1"-46"16,6-1-26-16,19 1 52 0,11-3-39 15,14 1-20-15,6 0-15 0,26 1-29 16,8 2-12-16,2-2-34 0,6 2 0 0,-3 1-20 0,5-1-3 15,0 1-84-15,-2-2-23 0,-8 1-11 16,-31 2 19-16,2-1-42 0,-4-1 16 16,-6-1-44-16,-7 0-15 0,-2 2-33 0,-7-1-16 15,-19 2-56-15,-3-2-62 0,-5 1-25 16,-8-2-48-16,-10 3-457 0,-8 0 80 0,-10-3 18 16,-3 2 100-16</inkml:trace>
  <inkml:trace contextRef="#ctx0" brushRef="#br0" timeOffset="172276.45">9205 13780 908 0,'-15'5'277'0,"5"-1"-19"16,7-1-10-16,3-1-4 0,0-2-4 0,13 3-4 16,2-2-11-16,8-2-5 0,11-1-23 15,17-1-7-15,5 0-29 0,24-3-97 0,9-1 18 16,9-2 2-16,28 1-30 0,-1 2 2 16,3-1 8-16,6 3-5 0,-1-1-10 15,-4 1 20-15,2 0 0 0,-24 0-10 0,-2 2-3 16,0-1 6-16,-2 2-16 0,-3-1 2 0,-6 1 1 15,-4 0 7-15,-8-3 60 0,1 4 14 16,-11-2-12-16,-14 0-31 0,-4 0 5 0,-5 0-23 16,-11 0 0-16,-5 2 0 0,-4-3 13 0,-6 3-31 0,0-2-5 15,-6 2 18-15,-1-1-38 0,-5 1 2 16,1-3-41-16,-4 3-4 0,-3-2-14 16,0 1-10-16,-5 1 0 0,3-3-28 0,-3 3-34 15,0 0-19-15,0 0-27 0,-11-4-45 16,4 3-101-16,2-1-91 0,-3 2-482 0,8 0 46 15,-13 0 134-15,5-1 35 0,-2 1 64 0</inkml:trace>
  <inkml:trace contextRef="#ctx0" brushRef="#br0" timeOffset="179623.65">9777 1978 911 0,'0'0'279'0,"8"-2"-16"0,-8 2-4 0,0 0-11 16,0 0-15-16,0 0-26 0,0 0-25 15,0 0-28-15,0 0-3 16,2-4-26-16,-2 4 11 0,0 0-100 0,0-6 12 0,0 6-2 0,0-5-12 16,0 5 9-16,-2-8-4 0,2 2 14 15,-2 2 9-15,2-2-1 0,-1-1-10 16,-1-1 3-16,-3 0-23 0,3-1 10 0,1-1 82 15,-4 0-21-15,2-3 1 0,1 2-14 16,-3-2 6-16,4 1-3 0,-1 1-20 0,0 1-31 16,-1 1 35-16,0 0-32 0,3 1 17 0,-2 1-27 15,0 1 12-15,2-1-26 16,0 1 3-16,0 2 13 0,2-1-31 0,0 2 18 0,1-1-30 16,2 2 9-16,0-1-51 0,3 3 11 0,0-1-26 15,2 1-18-15,0 0-48 16,0 0-60-16,0 3-61 0,3-7-115 0,3 6-435 15,-4 1 20-15,1-1 70 0,1 1 114 0,-2 0 37 16</inkml:trace>
  <inkml:trace contextRef="#ctx0" brushRef="#br0" timeOffset="180800.1">9680 2890 61 0,'0'0'18'0,"0"0"-23"0,3-5 46 16,-3 5-3-16,2-1-12 0,-2 1-3 16,2-2 0-16,-2 2 43 0,0 0-55 0,6-5-40 15,-6 5 55-15,2-2-6 0,-2 2 37 0,0 0-29 16,5-3-8-16,-5 3 1 0,3-2 7 16,-3 2 0-16,0 0 13 0,0 0 5 0,5-1 26 15,-5 1-13-15,0 0 5 0,0 0 25 16,0 0-7-16,3-3 105 0,-3 3-5 15,0 0 2-15,0 0-12 0,0 0-16 0,2 9 5 16,-2-6 16-16,0 3-14 0,0 0-32 0,-2 3-57 16,2-1-15-16,0 1-13 0,-3 2 11 15,6 1 9-15,-3 1 6 0,0 0-21 0,0 0-13 16,2 0 8-16,-2-2-17 0,2 1 1 0,-1 0-7 16,4-1 5-16,-2-1-10 15,1 1 34-15,2-1-14 0,-2-3-2 0,4 0-5 0,0 1 9 16,-3-2-19-16,5-2 7 0,1-2-15 0,-1 1-21 15,-2-1-20 1,5-1-15-16,-1 0-60 0,3-1-22 0,-1-1-70 0,1 0-22 16,-5-1-83-16,3-1-394 0,2 2 37 0,1-2 70 15</inkml:trace>
  <inkml:trace contextRef="#ctx0" brushRef="#br0" timeOffset="-140239.33">20854 1997 1563 0,'0'0'530'0,"0"0"-31"0,0 0-45 16,-3-5-42-16,3 5-54 0,0 0-33 15,0 0-41-15,0 0-7 0,-16 5-24 16,11-1-40-16,0-1-24 0,0 2-7 0,-3 2-29 15,1 1-15-15,-2-1-30 0,1 1 25 0,-4 0-20 0,2 3-21 16,-1 0 0-16,-1-2-25 16,-1 2-9-16,3-3-9 0,-3 3-8 0,2-2-15 15,1 0-8-15,-2-1-3 0,2-2-28 0,1 3-2 16,1-2-29-16,-1 1 16 0,1-4-23 0,1 0-23 16,1 1-16-16,1-1-12 0,-2 0-14 15,4-1 1-15,-2-1-31 16,2 2-33-16,3-4-31 0,-5 2-51 0,5-2-107 0,-5 1-101 0,3 0-463 15,2-1 116-15,0 0 48 0,0 0 149 16,0 0 12-16,0 0 49 0</inkml:trace>
  <inkml:trace contextRef="#ctx0" brushRef="#br0" timeOffset="-139895.95">20589 2054 982 0,'0'0'494'0,"0"-4"-43"16,0 4-52-16,0 0-51 0,0 0-5 0,0 0-15 0,0 0-18 15,0 0-49-15,0 0-3 0,16 10-107 16,-9-5 3-16,1 4-16 0,2 1-10 0,0 1 87 16,1 1-15-16,2 0-18 0,-3-1-21 15,5-1-23-15,-5 4-18 0,6-1 8 0,-1 1-12 16,2 0-17-16,-3-4-14 0,-1 0-16 0,-3 1-10 15,0-1-52-15,1-3 6 0,-2 1-18 16,-1-1-20-16,0 0-11 0,-3-2-10 0,0 0 23 16,2-1-29-16,-3 0-35 0,0-2-7 0,-1 0-6 15,0 0-31-15,-3-2-17 0,5 1-31 16,-5-1-29-16,0 0-76 0,0 0-97 0,0 0-111 16,0 0-401-16,-2-7 56 0,2 2 118 15,0 5 66-15,-3-8 44 0</inkml:trace>
  <inkml:trace contextRef="#ctx0" brushRef="#br0" timeOffset="-138717.28">20443 1866 898 0,'0'0'353'0,"-13"3"-28"0,8 3-33 0,0 0-10 15,-2 4-32-15,1 1-11 0,1 1 78 16,-1 3-61-16,-1 1-21 0,2 2-2 0,2 4-33 16,-2 2-110-16,3-1-3 0,-1 0-18 0,3-2 0 15,3 5 0-15,-1-6-33 0,4 4-6 16,1-3-19-16,1-1-16 0,2-2-18 15,4-1-13-15,0 0-26 0,2-3-17 0,1-1-64 0,-1-4-108 16,2-2-72-16,-3-1-217 0,6-2-243 16,-3-2 56-16,0-1 115 0,0-2 67 15</inkml:trace>
  <inkml:trace contextRef="#ctx0" brushRef="#br0" timeOffset="-138331.41">20830 1750 1075 0,'0'0'458'0,"0"0"-115"16,26 9-16-16,-11 1-32 0,6 0-11 16,9 6-8-16,4 3 6 0,-1 0-13 0,1 1-24 15,-1-1 16-15,0 4-30 0,1-1-29 0,-6 0-15 16,-1 0-13-16,-8-5 64 0,-1-1-15 16,-3 1-47-1,-5 0-2-15,-2 0 0 0,-3 1-20 0,-4-2-18 0,-4 4-31 0,-5 2-29 0,-8 6-53 16,-4 1-38-16,1-2-46 0,-5 0-21 15,0-2-46-15,1-2-46 16,0-2-116-16,5-10-206 0,3 4-482 0,-3-2 46 0,2-1 108 16,1-2 77-16,-3-3 81 15,4 0 90-15</inkml:trace>
  <inkml:trace contextRef="#ctx0" brushRef="#br0" timeOffset="-137126.25">8221 3554 1290 0,'0'0'399'0,"0"0"-18"0,-13 6-15 15,10-1-23-15,-1 4-38 0,-2 1-18 16,1 2-3-16,0 4-115 0,0-1-6 0,0 4 4 0,2 7-34 15,-2 1-38-15,0-1 30 0,2 14-20 16,1 1-26-16,-1-2 3 0,3 3-10 16,0-9-8-16,0-6-3 0,3 13 1 0,2-12-26 15,0 0 0-15,0-5-24 0,0 1-30 0,1-2 6 16,-2-7-40-16,4 2 1 0,-2-5-36 16,-1-3-33-16,3 1-21 0,-1-7-61 0,3 3-126 15,-2-2-115-15,2-4-424 0,0 0 63 0,1-4 123 16,-1 2 59-16,5-2 41 15</inkml:trace>
  <inkml:trace contextRef="#ctx0" brushRef="#br0" timeOffset="-136499.39">8495 4051 1228 0,'0'-6'422'0,"0"0"-53"0,2-2-5 0,2-1-1 15,-2 2-115-15,-2-4-30 0,2 1 2 16,1-3-20-16,-3 0-19 0,5-1 4 0,-5 3 53 16,1-3-31-16,1 0 11 0,-2 1-8 0,2 1-6 15,-2 3-63-15,0-1-26 0,3 2-7 16,-3 1 27-16,-3-2-30 0,3 3-5 15,0 2-5-15,0-2-5 0,0 2-26 0,0 4 0 0,-4-5-8 16,4 5-15-16,0 0-3 0,0 0 8 16,-9 9-12-16,7-3 1 0,0 1-6 15,-2 1-35-15,2 2-22 0,2 3-18 0,-2-4 3 16,2 3-14-16,0-1-37 0,0 2-14 16,2-1 3-1,0 0-5-15,4-2-8 0,-1-1 34 0,0 0-26 0,0-4 0 0,1 0 23 0,2 0 2 16,2-3 3-1,-3 0 8-15,3-2 10 0,1-1 10 0,-1-1 26 0,0-2 10 0,1 1 23 0,-1-3-2 16,0 0 28-16,0-1-1 16,-3-2 19-16,1 2-3 0,0-1 13 0,0 2 20 15,-3-2-20-15,1-1 8 0,-2 1-3 16,-1 2 5-16,2 0 0 0,-3 0 21 0,1 1 9 0,-3 2-45 16,0-2 20-16,3 1-20 0,-3 4-8 15,0 0-7-15,0 0-6 0,0 0 5 0,0 0-20 16,0 0 21-16,-6 12-19 0,4-3-10 0,2 0 8 15,0 1-5-15,2-1-8 0,1 4 3 0,-3-1 0 16,3 1-3-16,1 1-3 0,2-2 3 16,-1 0-10-16,0 0-25 0,3-2-34 15,-3-1 0-15,3 1-21 0,-4-2-20 0,4-1-5 16,0-1-33-16,-3-2 2 0,3-2-48 0,0-2-34 16,-3-1-43-16,-5 1-141 0,15-4 10 15,-7 0-499-15,0 0 79 0,-3-1 131 0,2-1 16 0,-4 2 55 16</inkml:trace>
  <inkml:trace contextRef="#ctx0" brushRef="#br0" timeOffset="-136146.35">8593 3640 1156 0,'2'-3'448'0,"-2"3"-23"0,6-5-10 0,-2 3-41 0,4-1-77 16,0 3-41-16,3 0 2 0,3 2-22 16,2 1-34-16,2 0-3 0,5 6-17 0,0-2 56 15,0 5-7-15,8 3-34 0,-3 4-105 0,0 2-13 16,-2 0 19-16,-3 3-4 0,-5 0-17 15,0 4-16-15,-1 3 3 0,-6-1 0 0,-4 0-12 16,-4-3 7-16,-3 2-19 0,-2-1-11 16,-6 10 6-16,-2 0-42 0,-3-3-21 0,-2 2-31 0,-6-6-18 15,3 0-33-15,-2 0-46 0,0-6-36 16,-1-3-154-16,-10 0-143 0,18-7-478 16,2 0 112-16,-1-6 72 0,2 1 120 0,-1-3 35 15,1 0 65-15</inkml:trace>
  <inkml:trace contextRef="#ctx0" brushRef="#br0" timeOffset="-133173.46">11364 2328 104 0,'0'0'-79'0</inkml:trace>
  <inkml:trace contextRef="#ctx0" brushRef="#br0" timeOffset="-132456.37">12948 2336 181 0</inkml:trace>
  <inkml:trace contextRef="#ctx0" brushRef="#br0" timeOffset="-131497.83">16092 2415 673 0,'0'0'143'15,"0"0"-82"-15,0 0-66 0,0 0-166 16,-20 4-379-16</inkml:trace>
  <inkml:trace contextRef="#ctx0" brushRef="#br0" timeOffset="-130547.68">13492 3991 867 0,'-2'-3'361'16,"2"3"18"-16,-3-6-36 0,1 5-15 15,2 1-24-15,0 0-40 0,-10 0-39 0,10 0 8 16,-8 7-28-16,5-1-21 0,-2 0-10 15,2 2-30-15,-1 2-32 0,0-2 16 0,0 3-8 16,1-3-27-16,0 3 1 0,1-1-30 16,-1-1 31-16,3 1-46 0,-2-1 4 0,2-2 14 15,0 1-36-15,0-1 17 0,0-1-9 0,0-1-21 16,0 1 2-16,0-1 1 0,0-2 4 0,0-3-9 16,2 5 4-16,-2-5 3 15,0 0 10-15,0 0-30 0,0 0 5 0,8-8 15 0,-5 1-21 16,-1-1 11-16,-2-2 2 0,5-3 3 15,-4 0-5-15,1 0-18 0,3-3 0 0,-2-2 18 16,-1 3-13-16,0-1 5 16,1 1 13-16,0 3-16 0,-1 0-2 0,1 1-2 0,-1 2 22 15,1 2-20-15,0-2 28 0,-1 7-48 16,4-3 4 0,-2 5 6-16,-4 0-3 0,10 2 13 0,-7 1 8 0,4 2-16 0,-3 2 3 15,1-1-5-15,0 3 20 0,0 1 8 0,0-1-20 16,2 3 2-16,-1-1-6 0,2 0-11 15,-4-1 11-15,4 0 6 0,-3-1-2 0,1 1-16 0,1-2 15 16,-4-2 3-16,2 0 16 16,2-1-19-16,-1 0 11 0,-1-2-6 0,2-2 11 0,-1 1 5 15,-1-2-2-15,-5 0-4 0,8-3 34 16,-1 1-74-16,-2-3 3 16,-2-1 12-16,2 1 18 0,0-3-10 0,-2 0 18 0,-1-3 20 15,1-2-36-15,-1 2 11 0,3-2 13 0,-2 1 2 16,0-1-18-16,-1 0-5 0,-1 0 10 0,1 2-13 15,0-2 75-15,1 5 5 0,-3-2-44 16,3 2 8-16,-3 1-33 0,2 1-52 0,0-1-27 16,1 1-45-16,-3 2-12 0,3 2-38 15,-1-2-67-15,-2 4-143 0,8 0-587 16,-8 0 121-16,0 0 64 0,11 0 102 0,-7 3 65 16,-4-3 40-16</inkml:trace>
  <inkml:trace contextRef="#ctx0" brushRef="#br0" timeOffset="-130388.08">14034 3865 665 0,'7'0'243'0,"0"0"-69"15,1 0-112-15,-8 0-78 0,11 0-55 0,-4 4-454 16</inkml:trace>
  <inkml:trace contextRef="#ctx0" brushRef="#br0" timeOffset="-130187.2">14000 3977 1098 0,'0'4'263'0,"0"-4"9"0,0 0-34 16,0 0-5-16,7 2-31 0,-7-2-18 0,8 0-25 0,-8 0 5 15,13-1-49-15,-5 0 18 16,2 1-44-16,2-4-37 0,-1 2-45 0,4-1-73 0,-2 0-57 16,3-2-110-16,-3 3-92 0,2-2-343 15,0 2 28-15,3-1 41 0</inkml:trace>
  <inkml:trace contextRef="#ctx0" brushRef="#br0" timeOffset="-129680.02">14523 3743 875 0,'-5'4'358'0,"4"-1"-28"0,-1 3-12 16,0-3-3-16,2 3-52 0,0 3-30 0,0 0-2 16,2 2-47-16,-2 1-2 0,3 1-21 15,-1 1-20-15,1 2-11 0,-3 0-22 0,0 0 17 16,0 4-35-16,-3-2-26 0,0 0-10 0,-1 1-16 16,-4-5-12-16,3 3 4 0,-2-5 9 15,1-2-19-15,-2 0-10 0,5-3 24 16,-4 0-14-16,2-1-7 0,3-2 5 0,-4-3 2 0,4 0-12 15,2-1 15-15,0 0-5 0,0 0-3 16,0 0 1-16,-3-12-11 0,6 5 18 16,1 0-13-16,2-3 8 0,2 1 15 0,2-4 3 15,-3-1 0-15,4 0 25 0,2-5-17 16,-3 0 12-16,2 0-53 0,-3-2 20 16,-2 0 15-16,1 2 11 0,-1 1 2 0,-1 1 31 0,-4 1-16 15,0 1 11-15,-2 2-8 16,-2 1 6-1,2 0-32-15,-5 0 6 0,2 1 17 0,-1 3-35 0,0 1 7 0,-3 1-7 0,2 0-31 0,-3 0-43 16,3 2-21-16,-2 1-23 0,1 1-34 16,1 1-19-16,0-1-32 0,5 2-56 0,-8 0-51 15,8 0-102-15,-13 2-405 0,9-2-33 16,4 0 61-16,-13 3 90 0,7-3 26 0</inkml:trace>
  <inkml:trace contextRef="#ctx0" brushRef="#br0" timeOffset="-129336.77">13028 3763 1215 0,'-33'40'400'0,"5"8"-42"0,2 4-33 0,3 4-36 15,5 0-30-15,8 4-26 0,4-4-13 16,4-5-38-16,7-1-19 0,5 6 9 0,8-1-34 16,5-5-15-16,8-5 10 0,7-3-33 15,6-6-31-15,5-5 16 0,10-2-42 16,3-6-35-16,2-7-11 0,5-1-7 0,0-8-59 0,5-6-54 15,1-2-89-15,-1-10-137 0,5 3-495 16,-4-9 53-16,-3-1 66 0,-3-1 83 16,-3-5 20-16</inkml:trace>
  <inkml:trace contextRef="#ctx0" brushRef="#br0" timeOffset="-129058.79">14744 3404 921 0,'25'11'348'15,"-2"2"-23"-15,3 9-28 0,4 4-5 0,7 11-26 16,-4 2-23-16,-3 4-5 0,-4 6 3 0,-3 2-36 15,-7 1-11-15,-6 2-32 0,-5-5-1 16,-2 1-3-16,-11 6-17 0,-8 0-13 16,-4 1-25-16,-8-6-65 0,-8 4-69 0,-8 1-66 15,-17 9-146-15,-6-3-187 0,1-4-428 0,9-12 78 16,-2-6 66-16,-5-2 71 0,2-9 90 0</inkml:trace>
</inkml:ink>
</file>

<file path=ppt/ink/ink9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1:06.878"/>
    </inkml:context>
    <inkml:brush xml:id="br0">
      <inkml:brushProperty name="width" value="0.05292" units="cm"/>
      <inkml:brushProperty name="height" value="0.05292" units="cm"/>
      <inkml:brushProperty name="color" value="#FF0000"/>
    </inkml:brush>
  </inkml:definitions>
  <inkml:trace contextRef="#ctx0" brushRef="#br0">11049 10303 806 0,'51'-6'256'0,"15"-4"-36"0,6 4-13 0,8-1-2 16,7-1-44-16,5 2 13 0,6-3-30 15,7 5-11-15,-2-3-21 0,20-2 1 0,-18 3-5 16,0 2-19-16,26-5-12 0,-1 3-3 0,-27 1-5 16,0 1-15-16,1 0-3 0,-3-2-5 15,1 1 8-15,-2 2 0 0,-5-2 0 0,-7 3-29 16,-6-1-2-16,-3 2-5 0,-18 0-41 0,-2 3-20 16,-5-2-42-16,-6 0-51 0,-6 6-91 15,-9-6-29-15,-12 3-497 0,-6 1 85 0,-7-1 64 16,-8-1 105-16</inkml:trace>
  <inkml:trace contextRef="#ctx0" brushRef="#br0" timeOffset="327.06">10549 10478 929 0,'44'-4'297'0,"7"-2"-47"16,18-2 19-16,8 1-46 0,8-2-29 0,7 2-9 16,0-1-16-16,8-2-3 0,26 2-10 0,-3-4-38 15,3 4 5-15,-3-2-11 0,-21 4-19 16,-2-2-6-16,24-3-8 0,-25 4 0 0,-4 1-7 15,2 0 2-15,-7-1 3 0,0 2-26 16,-10 3-18-16,-7-3-7 0,-14 2-18 0,-7 0-59 16,-1 1-54-16,-15 2-82 0,-8-4-115 15,-7 3-520-15,-6-1 72 0,-5-1 102 0,-4-3 55 16</inkml:trace>
  <inkml:trace contextRef="#ctx0" brushRef="#br0" timeOffset="755.07">11267 9376 540 0,'59'-3'217'0,"26"-1"-15"0,7-2-20 15,12 0-5-15,30-1-42 0,4 1 14 16,8 0-6-16,8-1-22 0,3-2 1 0,2-1-17 16,5 4-20-16,8-1 4 0,-8 0 4 0,3 3-9 15,2-2-25-15,-5-1-5 0,-7 3-1 16,-4 1 1-16,-4-2-13 0,-3 3 5 0,-5 0 8 0,-8 0-18 16,-30 1-29-16,-3 1-14 0,-3 0-14 0,-5 0-58 15,-7 0-80-15,-5 0-7 16,-22 0-236-16,-4 1-294 0,-18 2 89 0,-10-3 21 15</inkml:trace>
  <inkml:trace contextRef="#ctx0" brushRef="#br0" timeOffset="1110.54">10526 9579 801 0,'87'-10'248'0,"36"-9"-33"0,16 1-18 16,7 2 13-16,15 0-28 0,11 0-42 0,7-4 22 15,3 3-16-15,13 1-23 0,61-4-8 0,-63 7 15 16,69-9-27-16,-65 9 2 0,6 0 2 15,66-1-22-15,-69 3 14 0,5-2-9 0,59 2-21 16,-64-2 0-16,3 7-7 0,1 0-29 0,-4 1 10 16,-2-2 6-16,0 6-16 0,-6 1-7 15,-8-2 10-15,-12 4-8 0,-3-1-31 16,-7 4 1-16,-17 0-37 0,-11 3-32 0,-34-2-83 16,-3 3-120-16,-12 0-28 0,-10-3-471 0,-17 1 77 15,-14-3 25-15,-13-2 77 0</inkml:trace>
</inkml:ink>
</file>

<file path=ppt/ink/ink9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1:17.513"/>
    </inkml:context>
    <inkml:brush xml:id="br0">
      <inkml:brushProperty name="width" value="0.05292" units="cm"/>
      <inkml:brushProperty name="height" value="0.05292" units="cm"/>
      <inkml:brushProperty name="color" value="#FF0000"/>
    </inkml:brush>
  </inkml:definitions>
  <inkml:trace contextRef="#ctx0" brushRef="#br0">12123 3494 752 0,'0'0'335'0,"0"0"-35"0,0 0 56 16,0 0-31-16,0 0-41 0,0 0-20 0,0 0-6 15,0 0-2-15,0-12-36 16,0 12 21-16,0-11-42 0,0 5-60 0,0-2-27 16,0 1 21-16,0-4-23 0,-2 0-2 0,2-2-8 15,-3-2 5-15,3 0 71 0,-2-4-27 16,1 0 4-16,-1-2-22 0,-1-4-8 0,3-1 0 16,-3-1-29-16,3-2 6 15,-2 0-10-15,2 3 12 0,0 3-17 0,-2-3-21 0,2 7 2 16,0 0-27-16,0 3 19 0,-3 0-1 0,3 1-1 15,0 4-25-15,0-2 12 0,0 3-7 0,-3 2 8 16,3-2-1-16,-2 2-33 0,2 3 8 16,0-2-5-16,0 2-31 0,0 0-20 0,0 1-8 15,0 0-26-15,-2-1-15 0,2 5-23 0,-1-7-33 16,1 7-3-16,-2-3-5 0,2 3-41 16,0 0-69-16,-3-3-29 0,3 3-76 15,0 0-38-15,0 0-425 0,0 0 7 0,-8 3 51 16,8-3 119-16,0 0 91 0</inkml:trace>
  <inkml:trace contextRef="#ctx0" brushRef="#br0" timeOffset="289.7">12085 2904 957 0,'0'0'478'16,"-3"-4"-17"-16,3 4-44 0,0 0-58 0,0 0-6 15,-10 0-36-15,10 0-17 0,0 0-26 0,-8 4-41 16,3-2-44-16,2 1 34 0,-1 2-47 16,-2-1-30-16,1 0-2 0,2 2-101 15,-2-1-2-15,-2 1 5 0,2 1-15 16,0 0 0-16,-1 2-16 0,1-2-15 0,0-1-13 0,0 1-7 16,0 2-24-16,-3-3-7 0,3 3-15 0,2-2-9 15,-2 0 6-15,0 0-28 0,0-1-36 0,2-1-3 16,1 1-43-16,0 0-16 0,-2-2-71 15,2-1-20-15,2 1-68 0,0-2-106 16,0-2-329-16,0 0 108 0,0 0 54 0,0 0 69 16</inkml:trace>
  <inkml:trace contextRef="#ctx0" brushRef="#br0" timeOffset="581.52">12069 2913 913 0,'6'0'338'16,"-6"0"51"-16,0 0-28 0,15 1-28 0,-12-1-11 16,4 2-32-16,-4 1-9 0,2-2-22 0,2 1-8 15,1 3-16-15,0-1-43 0,-1 0-31 16,-1 0 3-16,4 1-28 0,-5-2-6 0,3 1-4 15,-1 0-106-15,1 0 21 0,-3 2-20 16,3-2 4-16,0 1-14 0,-3-1-19 0,2 0-10 16,-1 2 0-16,-1-3-41 0,0 1-28 15,-2-2-23-15,1 3-20 0,-1-3-62 0,2 1-21 16,-3 0-84-16,-2-3-130 0,1 3-418 0,-1-3 54 16,5 3 103-16,-5-3 71 0</inkml:trace>
  <inkml:trace contextRef="#ctx0" brushRef="#br0" timeOffset="1644.51">12205 2579 719 0,'0'0'312'0,"0"0"49"0,0 0-26 16,0 0-58-16,0 0-34 0,8 13-5 0,-6-9-61 16,-1 1-11-16,1 1-25 0,1 0-31 15,-1 1-21-15,1-1-19 0,-1-1-7 0,1 0-14 16,-1 0-8-16,-1 0-18 0,1 0 0 16,0-1-10-16,-2 0-3 0,3-1 3 15,0 0-3-15,-3-3 3 0,2 6 13 0,-2-6-1 16,0 0 21-16,3 1-12 0,-3-1-6 0,0 0 8 15,0 0 17-15,0 0-30 0,0 0 11 16,0 0 12-16,3-10-5 0,-3 10-3 0,0-8 8 16,0 2 0-16,0 2 16 0,0-2-16 0,0-1 2 15,0 1 4-15,2-3-14 0,-2 4-5 0,2 0 6 16,1 0-1 0,-3-2-2-16,3 1-13 0,-3 2 10 0,2 0-17 0,1 0 19 0,-1 0-6 15,-2 4-12-15,5-2 29 0,-5 2 3 0,0 0-92 16,9 0 2-16,-9 0 0 0,7 3 23 15,-7-3-21-15,7 4 19 0,-4 1 2 0,0-3-8 16,1 1 16-16,2-2 5 0,-4 3-8 0,1-1 8 16,2-1 3-16,-3 2-14 15,-2-4 1-15,3 5-3 0,0-4 13 0,-3-1-3 16,3 4 13-16,-3-4 34 0,4 2 86 0,-4-2-2 16,0 0-8-16,0 0-12 0,0 0-1 15,0 0-18-15,0 0 6 0,0 0 5 0,8-7-24 16,-8 4 6-16,0 3-3 0,3-6-15 0,0 3-23 15,-1-1 46-15,-2 1-39 0,2 0 9 0,-2 3 9 16,6-5-17-16,-4 3 4 0,1 0-20 16,2 0 1-16,-5 2-6 0,7-2 18 15,-1 1-11-15,-6 1-12 0,10 0-8 0,-10 0 6 16,10 0 9-16,-10 0-14 0,10 1-14 16,-10-1-17-16,8 2-21 0,-3 0-13 0,0-2-28 0,-5 0-8 15,8 3-56-15,-5 1-35 0,-1-3-68 16,1 1-101-16,-3-2-98 0,7 3-466 0,-4-1 74 15,-3-2 121-15,7 4-5 0,-4-3 81 16</inkml:trace>
  <inkml:trace contextRef="#ctx0" brushRef="#br0" timeOffset="1971.46">12595 2491 993 0,'0'-3'338'0,"0"-3"-36"0,-2 2-16 0,2 1 65 0,0 3-13 16,-3-6-23-16,0 3-47 0,3 3-22 0,-4-3-3 15,4 3-46-15,0 0 8 0,-8 0-36 16,8 0-31-16,-6 4 19 0,4-1-37 0,-1 2 8 15,1-2-21-15,2 2-2 0,-3 1-33 16,3 0 28-16,0 0-21 0,0 1-94 0,0 0-16 16,0 1 8-16,5 0-3 0,-3-1 1 15,1 0-34-15,0 1-8 0,2-1 3 0,0-2-23 16,0 0-20-16,1 0-29 0,-2-3-28 0,2 0-69 16,-1 1-107-16,0-2-57 0,3 0-463 15,-3-1 103-15,-5 0 58 0,15-1 69 0</inkml:trace>
  <inkml:trace contextRef="#ctx0" brushRef="#br0" timeOffset="2760.51">12841 2421 1420 0,'-5'-5'453'0,"5"5"-41"16,-5-2-33-16,5 2-38 0,-5-1-85 0,5 1-57 15,0 0-4-15,-11 3-29 0,6 0-12 16,0 0-24-16,0 3 1 0,-2-1-29 0,1 1 3 16,1 0 0-16,-2 2-18 0,1-2-8 0,1 4 1 15,0-4-21-15,2 0-8 16,-1 2 3-16,0-2-16 0,2 1-10 0,2 0-20 0,-2-2 7 16,2 1-12-16,0 0-19 0,0-3 1 15,2 2 7-15,-2-1 8 16,2-1-2-16,-2-3 2 0,6 3 23 0,-4-2-31 0,-2-1 3 0,8 0-5 15,-8 0 10-15,10-1 5 0,-5-2 5 0,0 0-7 16,-2-1 4-16,3-1 16 0,-2-1-10 0,-1 2 8 16,4-3 40-16,-4 2-61 15,2-1 28-15,-3 0 3 0,2 2-3 0,-2-1-2 16,1 0 17-16,-1 2-25 0,1 0-5 0,-3-1 7 16,0 4-2-16,3-5-5 0,-3 5-3 15,2-2 1-15,-2 2-4 0,0 0-2 0,0 0 11 16,0 0-8-16,0 0-8 0,0 0 0 15,0 0-3-15,0 11-5 0,0-8-15 0,0-3 8 16,0 7-16-16,2-3 16 0,-2-4-3 0,3 6-13 16,-3-3 11-16,0 0-6 0,0-3-10 15,3 6 3-15,-1-4-8 0,-2-2 21 16,6 5 2-16,-6-4-16 0,0-1 27 0,2 4 9 16,-2-4-2-16,0 0 13 0,5 2-16 0,-5-2 9 15,0 0 17-15,0 0 0 0,0 0-23 0,0 0 18 16,0 0 10-16,13-6 0 0,-11 5-15 15,-2 1 17-15,5-4-7 0,-5 4 3 16,5-2 7-16,-5 2-5 0,3-3-2 0,-3 3-5 0,8-2-6 16,-6 0 23-16,-2 2 21 15,0 0-8-15,10-1 65 0,-10 1-9 0,10 2-15 16,-6 0 0-16,1 1-17 0,0-3-81 0,0 2 17 16,-5-2 2-16,8 4-3 0,-1-2 0 0,-4 2 0 15,2-3 8-15,-2 1-2 0,1 2 7 0,-1-4 5 16,-3 0 43-16,6 3 4 0,-6-3 1 15,4 3 63-15,-4-3 7 0,6 1 10 0,-6-1-8 16,8-1 52-16,-8 1-59 0,7-1-31 16,-2-2 12-16,0 1-4 0,2-1-51 0,-1 2 15 15,2-2 15-15,-1 1-20 0,1 0-8 0,2 0-20 16,0 2 15-16,-2-1-64 0,3 1 0 0,-3 1 0 16,2 1-13-16,-3 0-67 0,1 1-32 15,0-1-57-15,-1 2-67 0,1 1-89 16,-3 0-187-16,0 0-683 0,0 1 117 0,-2 0 164 15,4 1 47-15,-1-2 99 0,-1 2 64 0,0 0 51 0</inkml:trace>
  <inkml:trace contextRef="#ctx0" brushRef="#br0" timeOffset="3914.94">11828 4444 1144 0,'0'0'376'16,"0"0"-15"-16,0 0-39 0,0 0-14 16,0 0-29-16,0 0-23 0,31 0-26 0,-21 0-13 15,3 2-9 1,0-1-34-16,2 2-5 0,1-1-31 0,-1 3-5 0,3 0-13 0,0-2 3 15,0 3-15-15,2-2-19 0,-2 2-9 16,-5-3 4-16,0 1-15 0,0-1-7 0,0 1-3 16,-1 0-6-16,-2-1-7 0,1 1 8 0,-1-2-8 15,-2 0-5-15,0 1-23 0,0-1 5 16,-4-1 8-16,2 2-5 0,-1-3 20 0,0 2-28 16,0-1 61-16,-3 2-20 0,-2-3-13 0,8 1-26 15,-3 0-15-15,-5-1-25 16,0 0-29-16,8 0-25 0,-8 0-44 0,0 0-30 0,7 0-85 15,-7 0-110-15,0 0-105 0,6-3-468 0,-6 3 45 16,2-3 147-16,-2 3 51 16,1-4 94-1</inkml:trace>
  <inkml:trace contextRef="#ctx0" brushRef="#br0" timeOffset="4227.66">12205 4413 1215 0,'0'0'302'16,"0"0"0"-16,0 0-38 0,0 0-36 0,0 0-11 0,13 6-27 16,-8-3-11-16,-2 0-20 0,2-1-1 15,0 2-12-15,0 0 8 0,0 1-13 16,1-1 61-16,1 2-18 0,-2-2-12 0,0 1-16 15,1 1-20-15,1 0 7 0,-4 3-10 0,2-1-13 16,0-2 19-16,0 2-14 0,-5 0-33 16,3 1-5-16,-1-1-2 0,-4 3-16 0,-1 1 0 15,3-3-8-15,-5 2-20 0,0 2-13 0,-3-2-15 16,0 3-46-16,-2-1-29 0,2-1-58 16,0-1-90-16,-2 1-169 0,3-1-621 0,-1-1 93 15,0-1 83-15,-2-2 143 0,2 0 54 0,-2-1 74 16</inkml:trace>
  <inkml:trace contextRef="#ctx0" brushRef="#br0" timeOffset="4881.85">13103 4484 1323 0,'0'0'430'0,"0"0"-105"16,0 0-18-16,0 0-30 0,0 13-42 16,0-4-10-16,2-2-38 0,0 2-8 0,-1 3 8 15,1 1-33-15,1 3-26 0,-1-3-16 16,0 0-27-16,-1 4-11 0,2-4-15 0,-1 1-10 16,1 0-39-16,-1-1-10 0,1-1-41 15,-1 2 13-15,-1-4-46 0,1 1-88 0,0 0-12 16,-2-3-69-16,3-1-51 0,-3-2-39 0,3 1-432 15,-3 0 30-15,2-4 75 0,-2 3 50 0</inkml:trace>
  <inkml:trace contextRef="#ctx0" brushRef="#br0" timeOffset="5161.66">13190 4446 1151 0,'-3'-4'410'0,"3"0"-34"0,3 0 47 16,-3 4-29-16,-3-6-38 0,3 6-39 0,0-3-12 16,0 3-37-16,0 0-4 0,0 0-26 15,0 0-31-15,-2 16-15 0,2-8-2 16,0 2-24-16,0 0-17 0,0 3-19 0,0 1-33 16,2 0-12-16,-2 2-31 0,0-2-8 0,3 2-23 15,-3-2-41-15,2 0-10 0,-2 2-31 16,1-4 0-16,1 1-49 0,-2 0-38 15,2-6-12-15,-2 4-50 0,3-1-112 0,0-4-138 0,-1 3-456 16,0-3 101-16,-1 1 80 0,1-5 6 16,3 2 123-16</inkml:trace>
  <inkml:trace contextRef="#ctx0" brushRef="#br0" timeOffset="5441.42">13085 4583 1205 0,'5'-5'387'0,"-2"2"-42"0,1 0-30 15,4 0-41-15,-3-2-8 0,6 4-20 16,-1-4-34-16,0 3-15 0,3-3-10 0,-1 4-49 0,-1-3-22 15,4 2-32-15,-4 1-35 0,1-2-47 16,-1 0-50-16,-1 2-98 0,-2-1-95 16,-1 2-148-16,1-1-435 0,-3 1 138 0,-5 0-5 0,8 0 105 15</inkml:trace>
  <inkml:trace contextRef="#ctx0" brushRef="#br0" timeOffset="5671.61">13066 4643 1026 0,'0'0'379'0,"0"0"-26"0,0 2-15 15,0-2-5-15,0 0-34 0,0 0-22 0,8 5 7 16,-8-5-82-16,11 1-23 31,-3-1-5-31,-1 0-25 0,0-1-34 0,4 1 23 0,-1 0 5 0,3-1-33 0,-2-3-20 0,1 4-8 16,3-1-10-16,-1-2-37 0,0 1-9 15,2 1-46-15,-1-3-29 0,1 3-43 0,4-2-36 16,-4-1-151-16,1 0-131 0,-1 1-440 0,2-1 54 16,-3 1 51-16,-2 0 83 15,3 2 52-15</inkml:trace>
  <inkml:trace contextRef="#ctx0" brushRef="#br0" timeOffset="6356.73">13621 4488 1008 0,'0'0'343'0,"-11"3"-18"0,8 0-13 0,1 2-40 16,2-2-21-16,-2 3-16 0,2 0-43 15,-3 1 3-15,3-1-39 0,3 1-5 0,-3 2-31 0,0-2-5 16,4-1-35-16,-4 2 4 0,3-2-12 16,2-1-6-16,1 1 8 0,-2-3 11 0,2 1-44 15,-1-3-8-15,2 1 21 0,-2-2-31 16,-5 0 3-16,14-3-1 0,-9-1 11 0,4 1-5 16,-3-2-1-16,-1-1 4 0,1 0-1 15,-2 0 28-15,-1-1-9 0,2 1-4 0,-5-2-2 16,2 3-10-16,-2-2 8 0,0 1 79 0,-2 0-11 15,0 1-35-15,-1-1 20 0,-2 1 0 16,3 2-9-16,-1 0-14 0,-2 0-28 0,2 2 10 16,3 1-2-16,-5-3-13 15,5 3 2-15,0 0 3 0,-11 0-7 0,11 0-29 0,0 0 18 16,-4 4-18-16,4-4 3 0,2 6-13 16,-2-6 11-16,5 6 4 0,0 0-10 0,0-3-13 0,1 3 3 15,2 1-26-15,-1 2 1 0,3 0 27 16,1 1-25-16,-1 3 13 0,2 1-13 15,1 3 22-15,-3-2 4 0,0 6 2 0,-1-2-10 16,-1-4 12-16,-4 4-17 0,-1-1 17 0,-3-1 6 16,3-2-18-16,-6 1 5 0,0-2-8 15,1 0 8-15,0-1 18 0,-4 0-3 0,1 0 13 16,0-3 0-16,0 0-5 0,0-1 7 0,2-2 19 16,1 0-11-16,-2-2 18 0,2 0-17 0,0-2 9 15,2-3-2-15,0 0-8 0,0 0 8 16,0 0 16-16,0 0-9 0,0-16 14 15,2 6 9-15,1 1-37 0,2-3 2 0,0-3-6 16,2 0 11-16,-1 1-23 0,4-2 0 0,1-3-3 16,-1 0 11-1,0 4-59-15,3-3-13 0,-3 5-21 0,0-2-38 0,1 2-36 0,1 1-61 16,-1 1-49-16,-1 0-186 0,0 0-580 0,-2 3 60 16,2-1 151-16,0 1 43 15,0 2 64-15,4-2 95 0</inkml:trace>
  <inkml:trace contextRef="#ctx0" brushRef="#br0" timeOffset="6902.92">14507 4459 1435 0,'0'0'346'0,"0"0"-41"15,0 0-26-15,6 16-18 0,-4-10-10 0,3 1-47 0,-2 0-7 16,2 4-20-16,0-1-18 16,3 0-36-16,-3 0 5 0,0 0-39 0,2 0 14 0,1-2-27 15,0 0 4-15,-3-3-6 0,1 2-18 16,1-2-20-16,-2 0 13 0,1 0 20 0,1-4 10 15,-2 0 11-15,-5-1 17 0,8-1-4 16,-8 1-6-16,8-6 26 0,-3 1 59 0,-3 1-1 16,3-4 6-16,-4 0-13 0,1 1-28 0,0-5 13 15,1-2-118-15,-3-1 7 0,0 0-4 16,3-1-6-16,-1-2-22 0,-2 3 7 0,0-1-10 16,2 1-1-16,-1 2-35 0,2 0-18 0,-1 0-71 15,-2 3-29-15,2 2-5 16,1 1-36-16,2 1-43 0,-2 0-46 0,2 1-134 0,-2 4-86 15,1-2-436-15,2 3 85 0,-6 0 79 0,12 3 75 16,-6 0 89-16</inkml:trace>
  <inkml:trace contextRef="#ctx0" brushRef="#br0" timeOffset="8191.88">14917 4352 982 0,'-7'4'346'0,"0"2"-41"0,1-1-3 0,-2 2-44 0,1 0-38 0,-1-1-12 0,0 2-4 0,0 2-30 16,1-2-12-16,2 1-14 0,0 0-25 16,0 1-28-16,0-2-6 0,2 0 1 0,0-3-18 0,3 2-1 15,0-1-9-15,0-1-19 16,0-2 31-16,1 1-17 0,-1-4-9 0,5 1 1 0,-5-1-18 15,7 0-1-15,-7 0 19 0,10-6-8 16,-7 4 0-16,4-3 5 0,-1 0-20 0,-1 0-6 16,0-2 80-16,0 1 0 0,-2 0-16 15,0-1 3-15,1 2-18 0,2 2-17 0,-4-2 4 16,1 3 5-16,-3 2-17 0,3-2-11 0,-3 2 23 16,0 0-17-16,7 5-21 0,-4-1 25 15,-1-1-56-15,0 2 13 0,1 0-17 0,0 1-1 16,-1-4-13-16,-1 4-2 0,4-1-1 0,-1 1-17 15,-1-4 23 1,3 2 2-16,-2-3 9 0,2 1 14 0,-1-2 3 0,-5 0 13 16,10-2 2-16,-3 1 41 0,-1-3 6 0,-1-2 10 15,1 2 20-15,-2-3 2 0,2 0 4 0,-2 0 22 16,2-2-66-16,-1-3 17 0,0 0-27 0,-3-1 10 16,1 0-3-16,0-3 8 0,-1 0 2 15,1-2 6-15,-1-1 4 0,1 6-14 16,-3-2-21-16,3 3 17 0,-3-1-17 0,2 4 15 0,0-1-7 15,-2 4-13-15,0-2-3 16,3 3 0-16,-3 0-15 0,0 5 22 0,0-2-6 0,0 2-1 16,0 0-18-16,0 0 16 0,0 15-21 0,0-7 0 15,0 2-3-15,3 2-7 0,-3 2 82 0,0 1-15 16,2-1 4-16,0 3-4 16,2-4-39-16,-2 1 15 0,3-1-51 0,0 3-2 15,3-4 7-15,-3 1 0 0,3-4 3 0,0 1-5 16,-1-2-8-16,1 0 5 15,0-1-7-15,-1-3 15 0,1 0-13 0,2-3-5 0,-3 0-18 16,1-1 13-16,0 0 25 0,0-2 8 0,-1-2-10 16,1 0 18-16,0 0 0 0,0-3 23 0,-1 1-1 15,1-1-1-15,-3 2 4 0,3-2-10 0,-3 1 13 16,0 0 0 0,0 2-2-16,0-2-19 0,-2 4 6 0,2-3-3 0,-2 3 2 0,-1-1-4 15,0 0-8-15,-2 3 2 0,0 0 3 16,0 0 0-16,6 0 7 0,-6 0-30 0,0 0 10 15,3 6-15-15,-1-2 31 0,-2 0-19 16,0 0 6-16,2-1 5 0,-2 1 5 0,3-1 5 16,-3 3-21-16,2-3-4 0,-1 0-1 0,1 1-7 15,-2-4 7-15,5 6-2 16,-2-4-5-16,2-1 12 0,-2 2-12 0,-3-3 5 0,7-1 5 16,-7 1-13-1,13-4-5-15,-8 2-2 0,1-2 17 0,1-1 1 0,0 2 12 0,-1-2-7 16,-1 0 9-16,3-1 9 0,-3 0-14 0,0-1 29 15,2 2 3-15,-4 0-26 0,3 0 30 16,-2-1 6-16,2 1-21 0,-4 1 0 0,1 1-2 16,2-2-1-1,-3 4 1-15,1-3-13 0,-3 4 20 0,3-2-2 0,-3 2-16 0,5-1 11 16,-5 1 9-16,0 0 6 0,0 0-10 0,0 0-5 16,5 8-11-16,-5-3-5 0,0 0 11 0,2-2-14 15,-1 3-17-15,-1-1-18 0,2 1 36 16,0-3 4-16,1 2-17 0,0 0-25 0,-1-3 12 15,3 4 20-15,-2-3-12 0,2-1-28 0,-2 0 27 16,2 1-17-16,0-3 8 16,-5 0 12-16,12 0-18 0,-4-4 9 0,0 2-12 0,-3-2 27 0,3 1-3 15,0-2-31-15,-1-1 28 16,1-1 11-16,0 1 2 0,0-1-23 0,-4-3 26 16,2 2-6-16,-1-2 3 0,0 2-20 0,-2 0 15 15,-1 0 3-15,0 0 2 0,-2 1 10 0,0 1-10 16,0 0-15-16,0 4 20 0,-2-3-7 15,2 5 20-15,-3-1-28 0,3 1-8 0,0 0 3 16,0 0 25-16,-12 7-20 0,9-2-8 0,0 1 36 16,1 1-18-16,0 0 13 0,1 3-23 15,1-1 8-15,0-1-3 16,3 2 7-16,2-3 6 0,0 1-5 0,5 1-11 0,0-2 6 0,-1-1-16 16,5-2 10-16,-3-1-17 0,5-1 10 0,-2-2-31 15,2 0-39-15,-1-2-2 0,6-3-28 16,-4 2-20-16,2-2-29 0,-3-2 8 15,-1 1-18-15,-3 0 16 0,1 1 2 16,-5-1 7-16,0 0-20 0,-1 1-25 0,-1-2-52 0,-4 1-94 16,-10 2-215-16,6-3-472 0,-1-1 180 0,-4 0 33 15,-6-3 95 1,-3-2 110-16,-17-6 18 0</inkml:trace>
  <inkml:trace contextRef="#ctx0" brushRef="#br0" timeOffset="9200.85">11131 3446 1021 0,'0'0'438'0,"0"0"-98"0,0 0-12 0,0 0 2 15,-10-8-26-15,10 8 47 0,-6-4 13 0,2 1-21 16,-2-2-103-16,1 0-12 0,-5 1-21 0,2-1 3 16,-2-3-8-16,0 0-25 0,-3 0-5 0,-2-3-24 15,-1-2 6-15,1-2-14 16,-3 0-14-16,2 0-29 0,-1-2-5 0,1-1 13 16,1 1-36-16,-1-2 21 0,1 2-31 0,2 0-3 15,0 0 11-15,3 4 17 0,0 0-35 0,0 2 2 16,2 1-10-16,0 0-10 15,3 2-3 1,-3 1-8-16,3 1-48 0,0-1-13 0,0 2-23 0,2 0-23 0,1 1-59 0,-1 1-13 0,1-1-7 16,2 4-13-16,-3-4-5 0,3 4-39 15,0 0-51-15,0 0-74 0,0 0 43 16,0 0-79-16,0 0-527 0,0 0 107 0,0 0 44 0,0 0 100 16,0 0 97-16</inkml:trace>
  <inkml:trace contextRef="#ctx0" brushRef="#br0" timeOffset="9781.59">10723 3101 1287 0,'0'0'468'16,"0"0"-55"-16,0 0-19 0,-7 8-36 16,7-2-17-16,0-1-121 0,-1 0-28 0,1 4-13 15,0-3-8-15,0 4-12 0,0 0-23 16,1 1-21-16,-1 0-13 0,2-1 3 16,-2 1-20-16,3 0-6 0,-3 0-7 0,2-2-24 15,-2 1-7-15,0-2-2 0,3 2-9 0,-3-3 4 16,2-1-1-16,-2 1-20 0,3 0-13 0,-3-2 13 15,0-2-1-15,3 3-19 0,-3-3-4 16,0-3 14-16,2 3-13 0,-2-3 25 0,0 0 6 16,0 0-21-16,0 0 5 0,0 0 5 15,13-9-10-15,-13 3 5 0,3 0 3 0,1-4-3 16,-3-1-3-16,4-1-4 0,-3-2 10 16,1-1 17-16,-1 0-2 0,3-1-13 0,-2-2 16 0,0 5 10 15,0-1 2-15,1 2-12 16,-1 0 2-16,2 1-5 0,-3 1 13 0,1 1-23 15,2 2 15-15,1 1-3 0,-2 2 11 0,2 2 3 16,-1 2-19-16,3 0-7 0,-8 0 23 16,15 2-8-16,-5 2 67 0,-2 0 10 15,5 0-31-15,-3 0 0 0,0 1 5 0,1 0-17 0,1 0-6 16,-4 0-25-16,3-1-34 0,1-2-10 0,-2 2 13 16,-2-1-23-1,2 0-7-15,-2-2-42 0,-1 1-20 0,-1 0-49 0,2 1-7 16,-3-3-49-16,2 1-80 0,-7-1-112 0,10 1-489 0,-7 1-36 15,-3-2 90-15,8 0 97 0,-8 0 92 16,0 0 70-16</inkml:trace>
  <inkml:trace contextRef="#ctx0" brushRef="#br0" timeOffset="12297.58">10777 3234 972 0,'0'0'225'0,"0"0"-15"0,0 0-10 16,0 0-11-16,0 0-9 0,0 0-11 0,0 0 74 0,0 0-26 15,0 0-17-15,0 0-18 0,0 0-11 0,0 0 8 16,0 0-40-16,-2-12-4 15,2 12-2-15,0-6-17 0,0 6-6 0,-1-7 0 16,-1 4-3-16,2-3-10 0,-3 0 8 0,3-1-18 16,0 2-12-16,0-2-24 15,0 1 8-15,-2-3-11 0,2 1-7 0,0 1 10 16,0 0 1-16,2 0-29 0,-2-2 18 0,3 2 0 0,-1 0-26 16,1 0 11-16,0 2-6 15,-1-1-23-15,3 0 11 0,-2 0-5 16,2 3-11-16,-2-2-5 0,2 3-7 0,0 0-37 0,2 0 32 0,-1 1-78 15,1-1-48-15,3 0-74 16,-2 1-108-16,2 1-573 0,1-2 105 0,-1 0 33 16,0 1 77-16,0-2 95 0</inkml:trace>
  <inkml:trace contextRef="#ctx0" brushRef="#br0" timeOffset="14211.98">9893 2778 865 0,'-3'-3'412'15,"0"0"-33"-15,1 0-49 0,-1 0-31 0,3 3-25 16,0 0-43-16,0 0 9 15,0 0-32-15,0 0-17 0,1 13-6 0,3-4-9 0,-1-1-19 16,0 3-17-16,1 1-19 0,2 3-4 0,-1-2-55 16,2 3 17-16,-1-2-2 15,1 1-31-15,-1-1-15 0,-1-2 10 0,2-2-8 16,1 2-13-16,-3-2-4 0,3-1-3 0,-3-1-1 16,0-1-6-16,0 0 24 0,-2-2 9 15,2 0-21-15,-5-2 5 0,3-2 7 0,-3-1 4 16,0 0-19-1,0 5 16-15,0-5-31 0,0 0 18 0,0 0 2 0,0 0-15 0,-20-4 23 16,14 3-23-16,-2 0 11 0,-2 0 9 0,0-1-17 16,-1 2 2-16,1-2 1 0,-3 2-1 0,3 0-5 15,0 2 8-15,-2 1 0 0,1 0-13 16,3 3 28-16,-2 1-23 0,0-2-13 16,2 1 13-16,0 2 5 0,5-2-4 0,-1 3-6 15,-1-3 0-15,4 1 20 0,-1 0-30 0,-1-1 10 16,3 0 5-16,3-1-8 0,-3-1 9 15,3 1 1-15,2-1-9 0,-1-1-11 16,2 0-13-16,1-3 8 0,1 0-30 0,0 0-14 16,2-2-32-16,1 0-6 0,4 0-62 0,-2-1-88 15,0-5-147-15,2 4-509 0,-2 0 89 0,2-1 100 16,0-1 78-16,1-1 55 0</inkml:trace>
  <inkml:trace contextRef="#ctx0" brushRef="#br0" timeOffset="14932.21">10167 2883 834 0,'0'0'333'0,"-10"1"-36"0,10-1-23 0,-8 3-24 0,5-2-14 16,-1 3-29-16,-2 0-15 0,4 0-28 0,-4 0-3 15,1 1-2-15,3 0-44 16,-3 1 21-16,2-1-18 0,1 1-13 0,-1 0-8 16,3-2-13-16,-2 1-17 0,2-1 2 0,0-4 0 0,5 7-15 15,-3-5 5-15,0 1-34 16,-2-3 32-16,0 0-11 0,9-2-72 0,-9 2-10 15,10-3 0-15,-6-1 11 0,2 1-11 0,-1 0 10 16,-2 0 29-16,1 0-6 0,-1 2-12 16,2-1-6-16,-5 2 1 0,10-1 0 15,-10 1-3-15,6-4 17 0,-1 4-9 0,-5 0 33 0,8-2-26 16,-4 2 6-16,-4 0-21 0,8-3 20 16,-2 0 13-16,-2 0 11 0,2-1 12 0,-1-1 77 15,0-1 8-15,-2-1 10 0,1 1 13 16,-1-3-59-16,0 2 5 0,-1-2 2 15,-2-3 24-15,0 1 81 0,0-2-32 0,0-1 17 0,-4-3-18 16,0 0-23-16,0-1-12 0,1 2 7 16,0 3-13-16,1 0-33 0,-1 2 10 15,1 1-10-15,-1 1 0 0,1 3-23 16,1 0-20-16,1 4 7 0,0 2-28 0,0 0 18 0,0 0-8 16,0 0 21-16,3 13-23 0,0-4-41 0,-1-1-6 15,1 3-12-15,2 1-46 16,-2-1-16-16,4 0-27 0,-2 0-32 0,3 1-17 0,-3 0-19 15,3-3-91-15,2 1-64 0,0 0-101 0,-2-2-529 16,0-2 85-16,2 2 124 0,-5-3 22 16,1 0 81-1,1-1 66-15</inkml:trace>
  <inkml:trace contextRef="#ctx0" brushRef="#br0" timeOffset="15305.17">10282 2846 801 0,'0'0'217'16,"3"-7"3"-16,-1 4-15 0,1-1-28 0,2 0-3 0,0-3 56 16,0 1-28-16,1 0-2 15,-1 0-26-15,2-1-5 0,-4 2-8 0,2 0-2 0,2 1-10 16,-3 1-6-16,-2 0-13 0,0-1 21 15,-2 4-43-15,6-3 17 0,-6 3-86 16,4 0-1-16,-4 0-12 0,0 0 7 0,0 0 11 16,3 6-19-16,-3-6-17 0,0 4 25 0,0-4-12 15,3 4-6-15,-3-4 0 0,0 5-7 16,0-5-5-16,3 3 2 0,-1 0-18 0,-2-3 13 16,7 0 2-16,-7 0 1 0,8 0 10 15,-8 0-6-15,8-3 1 0,-3 2-5 0,0-1-1 16,-2 0 14-16,2 1 4 0,-5 1-20 15,10-3 0-15,-5 2-10 0,-5 1-16 0,8 0-15 0,-3-2-41 16,-5 2-28-16,10-1-84 0,-7 1-108 16,2 0-292-16,0-1-200 15,-5 1 80-15,8-1 54 0,-1 0 63 0</inkml:trace>
  <inkml:trace contextRef="#ctx0" brushRef="#br0" timeOffset="15776.44">10583 2534 1108 0,'-1'-3'327'0,"1"3"-32"0,0 0-19 0,0 0 3 16,0 0 23-16,5 14-41 0,-2-7-5 15,2 1-23-15,0 2-43 0,3 3-6 0,-3 0 5 16,3 2-22-16,2 3-39 0,-3 3-39 0,4-1-25 15,-4-1-46-15,-1-1-33 0,1 3 12 16,1-3-45-16,-3 0-24 0,0-3 8 0,1 1-2 16,-2-2-4-16,-1-1 24 0,0-3-7 15,1 0 27-15,-3 1 34 0,2-2 30 0,-1-2 21 16,0-1 0-16,-2-1 18 0,0-1 7 0,1-1 11 16,-1-3 5-16,0 0 15 0,0 0 0 15,-3 3 13-15,3-3 15 0,0 0-4 0,-8-11-1 16,6 3-18-16,-1-3-48 15,0-2-6-15,1-3-14 0,0-1 60 0,2-2 3 0,-3-1-17 16,6-1 22-16,1 2-28 0,-1 3 8 0,0-1-18 16,2 1-31-16,-2 3 3 0,1 3 12 15,2 1-30-15,-3 1 10 0,1 3-33 0,-1 2 36 16,2 0-14-16,-3 3 1 0,-2 0-2 0,0 0 7 16,6 6-11-16,-6-2-14 0,0 2-14 15,0 1-48-15,-2 0-38 0,-2 1-34 0,2 2-28 16,-3-2-38-16,5 3-16 0,-3-2-128 0,-7 0-186 15,10-1-513-15,0-2 80 0,0 0 126 16,3-2 119-16,0 0 21 0,-1-1 42 16</inkml:trace>
  <inkml:trace contextRef="#ctx0" brushRef="#br0" timeOffset="16281.91">10852 2590 1013 0,'-3'-3'433'0,"3"3"-62"0,-3-3-10 0,3 3-31 16,0 0-46-16,0 0-33 0,-8 8-8 16,6-4-36-16,-3-2-12 15,5 3-11-15,0 0-40 0,-3 0-16 0,3-1-8 0,0 0-23 0,0-4-25 16,-2 8 7-16,4-4-17 0,-2 1 9 16,0-5-12-16,6 3-15 0,-4 0 20 15,-2-3-11-15,0 0-1 0,13-3-27 0,-13 3 24 16,7-3-11-16,-4 0 24 0,2-1-26 0,-2 1-8 15,-1 0 36-15,1-1-18 0,-3-1-10 16,2 2 7-16,-1-3-7 0,-1 2 18 0,-1-2-6 16,-1 3 1-16,2-2-8 0,0 5-18 15,-3-6 5-15,1 3 0 0,0 0-2 16,2 3-6-16,0 0 3 0,-6-2-38 0,6 2 18 16,0 0-26-16,0 0-11 0,0 0-4 0,0 0 17 0,-10 3-9 15,10-3-11-15,-3 4 5 16,3-4-2-16,0 0-9 0,0 0 12 0,0 0 14 15,0 0 13-15,0 0-9 16,0 0 9-16,0 0 13 0,21-6-15 0,-19 3 15 0,4 0 43 16,-1 2-53-16,-2-2-5 0,1 0 31 15,2 1-1-15,-2 1-2 0,2-1-13 0,-6 2 31 0,8 0-28 16,-8 0 30-16,10 2-15 0,-5 1 15 16,0 0-27-16,-2 1 17 0,1 1-87 15,2 2-20-15,-4-2-14 0,4 0-1 0,-2 0-9 0,-3 1-50 16,1 0-47-16,1-1-58 0,-1 0-167 0,-1-2-463 15,1 3 79-15,-2-3 69 16,2 1 74-16,-2-4 78 0</inkml:trace>
  <inkml:trace contextRef="#ctx0" brushRef="#br0" timeOffset="16403.45">10983 2491 709 0,'-3'-3'79'0,"3"3"-143"0,-5-2-502 0</inkml:trace>
  <inkml:trace contextRef="#ctx0" brushRef="#br0" timeOffset="16740.9">11005 2459 1315 0,'8'5'359'0,"-8"-5"-19"0,3 5-2 16,-1-3-31-16,1 2-25 0,-1-1-29 0,-2 1-28 15,3 0-12-15,-3 0-16 0,2 0 59 0,1-1-11 16,-1 1-27-16,-1 0-21 0,1-1-30 0,0-1-6 16,-2 2-20-16,0-4-31 15,4 5 25-15,-4-5-20 0,2 3-15 0,-2-3 10 0,0 0 16 16,5 4-19-16,-5-4-12 0,0 0-21 0,10-4 16 15,-10 4 22-15,8-1-40 16,-3-1-5-16,-5 2-14 0,10-2 9 0,-5 0-29 16,-5 2-2-16,8 2-11 0,-8-2-2 15,10 2-36-15,-4-2 8 0,-2 2-64 0,-4-2-36 16,8 1-10-16,-3 0-34 0,-5-1-25 0,6 3-23 16,-6-3-88-16,0 0-140 0,10-3-604 0,-6 2 97 15,0-1 126-15,-2-3 53 0,0 2 108 16,1 0 41-16</inkml:trace>
  <inkml:trace contextRef="#ctx0" brushRef="#br0" timeOffset="17129.97">11175 2392 990 0,'0'-4'428'0,"-1"0"-9"0,-1 1-32 0,-1-2-26 0,3 5-34 16,0-4-14-16,0 4-45 0,0 0-50 0,0 0 7 16,0 0-25-16,0 0-13 0,0 0-26 15,0 0-20-15,3 16-26 0,-3-12-30 0,2 1-34 16,-1 1-21-16,-1 2-32 0,0 0-47 0,0-1-35 15,0 1-31-15,0-2-24 0,-1 2 14 16,1 0 7-16,-2-1 0 0,2-3 26 16,0 1 18-16,-3 0 13 0,3-1 30 0,0-4 16 0,3 4 15 15,-3-4 15-15,2 3-2 16,-2-3 0-16,0 0 30 0,0 0-7 0,11-9 0 16,-6 5-6-16,2-2 6 0,1 1-15 0,0-3 12 15,0 0 5-15,2 2-17 0,-3-2-1 16,1 0-2-16,2 1-8 0,-4 1 24 0,-1 0 2 15,0 2 38 1,-2 1-36-16,2 0 11 0,-3 0-8 0,-2 3-3 0,0 0 19 0,0 0-9 16,0 0 6-16,0 0-16 0,0 0 16 0,-10 14 18 15,7-9-21-15,1 1-10 0,-1 0-16 16,1 1 6-16,-1-2-3 0,1 2-5 0,1 0-28 16,-1-2-18-16,0 3-25 0,2-3-19 15,-3 3-63-15,2 0-22 0,-1 1-27 0,0-2-112 16,0 2-657-16,-2 0 122 0,0 3 71 0,-2-2 76 15,2 0 90-15</inkml:trace>
  <inkml:trace contextRef="#ctx0" brushRef="#br0" timeOffset="17382.84">10038 3117 1057 0,'18'-10'307'0,"1"-1"-15"0,3-1-34 0,7-3-15 16,4 0 29-16,6-1-4 0,4-1-19 15,6-2-39-15,-3 3-31 0,8-1-31 0,0-1-50 16,-11 5-32-16,1-3-48 0,-3 5-102 15,-2 0-147-15,-8 1-588 0,-6 4 77 0,-5 1 43 0,-2 1 141 16</inkml:trace>
  <inkml:trace contextRef="#ctx0" brushRef="#br0" timeOffset="17613.78">10215 3151 941 0,'0'0'279'0,"8"-11"-10"0,-3 7-31 16,5-3-35-16,1 0 78 15,7 0-40-15,5-3-39 0,0-1-8 0,10-2-25 0,3-2-23 16,-2 3-33-16,2-2-29 0,-1 3-25 0,-6 2-46 16,-3 1-80-16,-1-1-186 15,-5 6-182-15,6-4-325 0,-5 2 87 16,-3-1 68-16,-3 3 68 0</inkml:trace>
  <inkml:trace contextRef="#ctx0" brushRef="#br0" timeOffset="41079.39">4246 11281 870 0,'24'0'274'15,"4"-2"-29"-15,0 1-9 0,3-1-42 16,15 1-20-16,3 1-7 0,2 0-16 0,1-3-23 15,1 3-10-15,1 0 4 0,2-1-27 0,1 2-18 16,0 0-33-16,-4-1-19 0,4 2-35 16,-4-2-62-16,-2 0 24 0,-2 0-188 0,-10 0 75 15,-6 0-231-15,-2 0-286 0,-5 0 20 0,-3 1 115 16</inkml:trace>
  <inkml:trace contextRef="#ctx0" brushRef="#br0" timeOffset="41412.35">3844 11497 1108 0,'0'0'315'0,"9"6"-36"0,-2-3-23 15,3 1-34-15,3-1-9 0,2-3-3 16,5 3-29-16,4-1-19 0,1-1-6 0,2-1-18 16,5 0-20-16,2 0-8 0,0-1-18 15,4 1-5-15,10-2 10 0,1-2-25 0,-1 1 10 16,4-1-8-16,-4-1-20 0,-1 2 2 0,-1-1 3 16,-10-2-21-16,-3 5 21 15,-2-2-7-15,0 1-19 0,-6 0 0 0,-4 1-30 0,2-1-29 16,-7 0-38-16,1 2-79 0,-6 0-93 0,-1-1-117 15,2 1-484-15,-3 0 54 0,0-1 104 16,0 0 50-16,1-1 76 16</inkml:trace>
  <inkml:trace contextRef="#ctx0" brushRef="#br0" timeOffset="44197.18">14785 11326 1238 0,'-8'0'354'0,"5"0"-24"0,3 0-31 0,-8 2-22 16,8-2-119-16,-4 1 32 0,4-1-26 16,0 0-24-16,0 0-17 0,0 0 0 15,0 0-5-15,0 0-3 0,7 7-7 0,0-6-11 16,1-1 10-16,0 3 60 0,3-1-24 0,1-1 13 16,4 0-25-16,-1 1-111 0,8 0 19 15,-3 0-21-15,6-2 15 0,2 0-2 0,3 0-16 16,2 0 5-16,4 1 19 0,-2-2-29 0,12 1 8 15,1 0 0-15,-2-2-3 0,3 0-10 0,-11-1 21 16,9 3 0 0,1-2-29-16,-4-2 21 0,5 3-3 0,-1 0 8 0,-2 0-15 0,-4-1-3 15,-9 1 0-15,3 1 16 0,0 0-24 16,0 0 3-16,-1 0-8 0,1 0 21 16,-2-2-8-16,-1 2-7 0,1 0-1 0,-4 0-4 15,1 0 32-15,-3 0-20 0,-3 0 13 0,1 0-23 16,-3 0 3-16,-3 0-4 0,-1 0 14 15,-1 0 0-15,0-1-16 0,-3 1 16 0,-2 0-13 0,4 0 12 16,-6-2 6-16,2 2-18 0,-2 0 5 16,-1 0 0-16,2 0-3 0,-1 0-7 0,-1-2 23 15,-2 2-13-15,-1 0 3 0,4 0-3 16,-1 0-11-16,0 0 11 0,0 0 29 0,-2 0-27 16,5 0 21-16,-3 0-20 0,1 0-1 15,1 0 11-15,0 0 5 0,-1 0-26 16,2 0-2-16,0 0 18 0,-1-1-16 0,1 1 11 0,0 0 15 15,-2 0-6-15,1 0-9 0,1-1 12 16,0 1-22-16,-2 0-6 0,1-1 13 16,0 1-8-16,-3-2 6 0,1 1 27 0,0 1-22 15,0 0 9-15,-2-2-1 0,0 2-16 0,-1-1 17 16,-1-1 6-16,1 1-18 0,-7 1 3 16,11 0 2-16,-11 0-15 0,10 0 7 0,-5 0 11 15,-5 0-8-15,8 0-10 0,-8 0 7 0,8 0 1 16,-8 0 4-16,0 0 19 0,7-1-24 0,-7 1 3 15,5-2 23-15,-5 2-10 0,5-2-8 16,-5 2 13-16,0 0-16 0,3-3-4 0,-3 3 17 16,4-5-2-16,-4 5-13 0,1-2 8 15,-1 2-1-15,2-4-2 0,-2 4 42 16,5-5-63-16,-4 2 34 0,1-1 0 0,-2 4-18 0,3-3 8 16,-1 0 2-16,-2 3-15 0,3-7 0 15,-1 4 10-15,1-1 10 16,0 0-25-16,-3 1 18 0,2-2-16 0,0 0 0 0,1-2 16 15,-2 2 2-15,1-2-20 0,0-1 13 0,1 1-6 16,-3-3-10-16,5 1 26 0,-2-3 2 0,-1-1-33 16,1-1 16-16,1-3 15 0,-3 0-18 15,1-2 7-15,1-1-2 0,0-4 0 16,1-2 8-16,0 2 5 0,-2-1-8 0,3-1 7 16,-5 0-19-16,3 1 2 0,-1 3 17 0,0-2-19 15,-2 4 9-15,3 1 11 16,-3 3-8-16,0 1 3 0,0 3-3 0,0-1 10 0,0 1 6 15,0 4-3-15,0-3-10 0,-3 3-6 0,3-2 16 16,0 4-18-16,-2-2 18 0,2 2 2 16,0 0-25-16,-2 0 26 0,2 1-3 15,0 2-16-15,0 3 8 0,0-7 3 0,-3 3-3 0,3 1-7 16,0 3 12-16,-3-7-12 0,3 4 5 16,0 3 4-16,-2-4-17 0,2 4 16 0,0-2-22 15,0 2 11-15,-3-5 5 0,3 5 3 16,0 0-10-16,-8-1 9 0,8 1-2 15,-8 0-10-15,8 0 8 0,-12 0-11 0,4 0 8 16,0 0-5-16,-4 1 2 0,1 2-7 0,-4-3-10 0,0 0-1 16,-3 2 19-16,-1-2-26 0,-5 0 15 15,0 0-13-15,-1 1-12 0,-6 0 4 16,0 1-4-16,-5-1-3 0,-10 0 26 0,5-1-29 16,5 0 19-16,-13 0 2 0,1 0-11 0,9 2 22 15,3-2-6-15,-15-2 18 0,3 4-11 16,1-2 1-16,6 0 15 0,-8 0-23 15,8 0 18-15,8 1 8 0,-3 1-23 0,3-2-16 0,-1 2 26 16,1-2 10-16,4 1-2 0,2 1-3 16,-4 0 5-16,8-1-31 0,-3-1 23 15,3 4-25-15,0-2 16 0,0-2-4 16,3 0 8-16,2 1-17 0,0 1 35 0,0-2-33 0,2 1 21 16,1-1-1-16,0 1-2 0,2 1-11 15,0-2 16-15,2 0-10 0,-1 1-5 0,2 2 28 16,-1-2-18-16,-2 0 22 15,3 0-22-15,0 2-7 0,2-1-1 0,-2-1 3 0,3 2-14 16,-2-1 7-16,0-1 9 0,1 2-20 16,0-2 25-16,0 0 1 0,-2 0 4 0,3-1-17 0,-1 3 10 15,3-3-11-15,-6 1 24 0,6 0-16 16,-3-1 16-16,-2 0-8 0,2 0-10 16,1 2 5-16,-1-2 5 0,-2 0-11 0,0 0 19 0,0 2-5 15,-1-4-16-15,1 2 18 0,0 2-5 16,0-4-20-16,-1 2 12 0,-2-2 8 15,3 2 5-15,0 0 3 0,-1-1-11 0,1 1 3 16,0-1-5-16,0 2 0 0,2-2-5 0,1 1 12 16,-1 0-17-16,0 0 17 0,8 0-4 15,-11-2 2-15,4 2 2 0,7 0-14 0,-11-1 24 16,11 1-4-16,-10 0-28 0,10 0 20 0,-10 0 5 16,10 0-28-16,-10 1 28 0,10-1-18 0,-8 0 36 15,8 0-23-15,-7 0-3 0,7 0-2 16,-8 0 16-16,8 0-14 0,-10-1 8 15,10 1-2-15,-10 1 9 0,4-1-6 0,-1 2-4 0,7-2-2 16,-14 1 13-16,4 0-8 16,3-1-5-16,-1 2 13 0,-2 0-23 0,0-2 22 15,2 1-4-15,0 0-10 0,0 0-1 16,-2-1 13-16,3 0-20 0,-3 1-5 0,4 2 15 16,-2-3 2-16,1 0-7 0,-1 2 20 0,3-2-25 15,5 0 3-15,-11 1 19 0,4-1-1 16,7 0-14-16,-7 2 8 0,4 0-10 0,3-2-3 0,-7 3 16 15,7-3-8-15,-4 3 0 16,2-1 15-16,2-2-33 0,-2 6 18 0,1-2 11 16,-1-1-16-16,2 3-3 0,-3-2 33 0,6 2-22 0,-6 3 2 15,3 1 34-15,3-1-27 16,-3 4 9-16,0 1 17 0,0 2-5 0,0 0-15 16,2 5 26-16,-1-2-34 0,-1 4 18 0,0-3 11 15,0 4-3-15,2-3-11 16,-2 1 8-16,0 0-2 0,2-1-13 0,-2-1 18 0,3 0-26 15,-3 1 16-15,0-3-8 0,0 1 5 0,0-3-5 16,0-1 10-16,0 2-3 0,0-3-14 16,-3-1 12-16,3-1-5 0,0 0 5 15,3-1 2-15,-6-3 14 0,3 2-11 0,0-1-5 0,0-3 7 16,0 0 19-16,3 0-18 0,-3-1 2 0,1-1-12 16,1 1 2-16,0-1 0 15,4 0-3-15,-2 0 1 0,2 0-14 16,4-1 11-16,-2 2-15 0,4-2 15 0,1 0-3 15,0 0-12-15,0 0-19 0,-2 0-20 0,3-1-22 0,-3 0 14 16,-1 1-43-16,0-1-21 0,0-1-2 16,0 3-30-16,1-4-22 0,-4 2-86 0,1-1-159 15,-3-1-550-15,3 0 76 0,-8 0 111 0,10 0 74 16,-10 0 107-16,8-2 18 0</inkml:trace>
  <inkml:trace contextRef="#ctx0" brushRef="#br0" timeOffset="47972.01">12397 3728 908 0,'0'0'387'15,"0"0"-39"-15,0 0-33 0,0 0 0 16,0 0-49-16,0 0-18 0,0 0-7 0,16-2-31 16,-16 2-6-16,13-4-2 0,-5 3-27 15,2-1 11-15,5-2-37 0,1 1 15 0,6-2-3 16,6-1-10-16,1 0-41 15,12-1 41-15,2-3-130 0,2 1 19 0,0-1 9 0,4 0-16 0,0-1-12 16,12-2 7-16,-10 4-13 0,11-4 6 0,0 0 7 16,-1 1 23-16,1 1-41 15,-1 1 1-15,-12-1-11 0,-3-1 15 0,3 3 16 16,-6-3-26-16,1 2 3 0,0 1 12 0,-3-2-10 16,-3 1 3-16,0 1 8 0,-7 1-9 15,-7 2 4-15,-4 0-6 0,-2 1 13 0,-3 4-18 16,1-4-13-16,-4 3 11 0,-1-1 2 0,-3 0 0 15,-1 0 0-15,3 0-2 0,-5-1 5 16,1 4-16-16,-2-3-7 0,-3 0-6 0,-1 3-10 16,5-4-17-16,-3 1-11 0,-2 3-20 0,0 0-26 15,-2-5-34-15,2 5-35 16,0 0-71-16,-3-3-106 0,3 3-15 0,-3-3-464 16,3 3 17-16,0 0 106 0,-7-3 108 0,7 3 10 15</inkml:trace>
  <inkml:trace contextRef="#ctx0" brushRef="#br0" timeOffset="48406.83">13667 3315 1133 0,'0'0'308'0,"0"0"-22"0,0 0 1 0,0 0-34 0,0 0-9 16,0 0-40-16,0 0-12 0,26 5-7 15,-16-4-14-15,2 3-20 0,1-3-2 16,3 0-14-16,-2 2-12 0,2-1 0 0,0-1-5 15,-1 0-3-15,1-1-8 0,1 3-25 0,-1-3 3 0,-1 1-6 16,-2 1 6-16,0-2-9 16,-1 2 4-16,-1 0-16 0,-1 0 7 0,0 2-1 15,-2-1-6-15,-2 0 12 0,1 2-14 0,-2 0-26 16,-3 1-3-16,1 0 39 0,-3 3-37 16,0-1 1-16,-3 2-23 0,-4 0 25 0,0 4-15 15,-1 0-10-15,-3-1-36 0,-1 4-23 0,-2 0-56 16,2-1-36-16,-1 1-29 0,0-2-122 15,2-1-141-15,-1-1-484 0,2 1 92 16,2-2 80-16,3-1 71 0,-3-1 67 0,3-1 92 16</inkml:trace>
  <inkml:trace contextRef="#ctx0" brushRef="#br0" timeOffset="50222.82">10952 3924 657 0,'2'3'264'16,"-2"4"-16"-16,0-1-10 0,2 4-28 0,-2-4-15 15,3 2-29-15,0 3-10 0,-1-4 0 16,-2 2-25-16,3-1-3 0,-1 0-13 0,1-2-20 16,0 2 25-16,-1-1 39 0,3-2-16 0,-2 1-7 15,-1-2-11-15,1 0 3 16,2-1-13-16,-2 3-17 0,2-6 19 0,0 3-40 0,0-2 0 16,0 1 2-16,0-1-9 0,3 0-1 15,-1-1 30-15,4 0-17 0,-3-1-25 0,4 1-4 16,1-3 9-16,-2 1-14 0,4 0-4 15,1-2 0 1,2 2-14-16,2-2-9 0,1 2 35 0,3-2-23 0,0 2 1 0,-1-2-4 0,6 1 4 16,1 0-17-1,-2 0-4-15,3-3 13 0,0 2 2 0,12-1-13 0,1 1-58 0,0-2-16 16,1 0 3-16,-1 1 15 0,-1 0 2 16,-1 2 11-16,2-3 13 0,1 1-13 0,-1 1 17 15,0 1-9-15,-1-4-8 0,1 2 10 16,-1 1 3-16,-6 1-6 0,6-1 3 0,-5 1-5 0,-5 1-3 15,-2 0 24-15,0 1-21 16,3-4 10-16,-1 4 16 0,-2 0-16 0,2-2 5 16,1 1 26-16,1-2-13 0,6 1-2 0,-3 2-3 15,-4-2-8-15,-1 0-7 0,0 3 28 16,-2-4-24-16,3 2 4 0,-3-1 2 0,0 0 10 16,1 0-18-16,-3 1 8 0,2 0 0 0,-1-1-3 15,1 0 3-15,-1-2 18 0,-1 1 2 0,-1 1 0 16,1-1-10-16,-1 1-15 0,0 0 13 15,0 0 4-15,-2-1-4 0,-3 1 5 0,3-1 10 16,2-1-8 0,-1 3-5-16,-3-2-10 0,-1 2 0 0,0-2 5 0,-3 2-3 15,1-1 11-15,2 0 10 0,-2 1-34 0,-3-2 4 0,-1 3 14 16,-1-3 6-16,-1 1-18 0,-1 0 25 16,0 0-10-16,-1-1 3 0,0 3-6 15,-2-1-12-15,-1-1 2 0,0 0 13 0,-2 1-2 16,-1 0-11-16,-1 1 13 0,2-2 3 0,-1-1 79 15,-2 1 8-15,-2 2-23 0,4-1-24 0,-4-2 34 16,2 2-18-16,-2-1-15 0,2 1 5 16,-2 0-11-16,1-1 6 0,-1 0-14 0,2-1 6 15,-3-1 6-15,1 1 14 0,2-2-12 0,1 0-1 16,-4 0-17-16,6-4 12 16,-5 1 4-16,4 0-17 0,0-1 4 0,1 0-6 0,2-2 2 15,-2-1 22-15,3 1-34 0,-3-1-3 16,4 0 39-16,-2 0-16 0,1 0-25 0,1 0 25 15,2-4-15-15,-2 5-10 0,0-1 5 16,-1 1-23-16,-1 0 15 0,0 3 26 16,0-1-18-16,-1 3-5 0,-2 1-11 0,1-1 34 0,-5 1-51 15,4 1-11-15,-4 2-12 0,2-2-29 16,-2 3-38-16,-1-2-46 0,0 3-51 0,-2 1-167 16,1-4-550-1,-1 4-7-15,0 0 68 0,0 0 167 0,0 0 10 0,0 0 67 0</inkml:trace>
  <inkml:trace contextRef="#ctx0" brushRef="#br0" timeOffset="50984.96">14254 3187 1021 0,'-2'3'340'16,"-4"1"-20"-16,4-2-46 0,-4 5-5 0,2-2-57 15,-2 1-25-15,3 0 13 0,-2 1-29 16,0 1-20-16,0 2-5 0,2-4-38 15,-1 2-8-15,1-2-16 0,3 1 3 0,-3-1-15 16,3-1-3-16,3 0-10 0,-3-3 0 0,3 2-3 16,-3-4-10-16,7 2 10 0,-7-2-20 15,8-2 20-15,0-1-12 0,-1 1-41 0,-2-3-9 16,3 2 9-16,-2-3 5 0,1 0 17 0,0-4 37 16,-1 5-9-16,-1-3 4 0,0 2 20 15,0-1-11-15,0 1 3 0,-2 0 13 0,2 3 8 16,-2-2-26-16,-1 1-3 0,0 3 47 0,-2 1 4 15,0 0-25-15,0 0 18 0,0 0-15 16,8 5 7-16,-6 0-23 0,-1-1-10 0,1 2-5 16,1 0-8-16,-3 1-5 0,2-1-12 0,1 2-9 15,-3-1-30-15,3 0-28 0,-1 0-11 16,1-1-30-16,-1 1-38 0,1 0-19 16,0-1-76-16,1-1-106 0,0-4-122 0,0 4-502 15,2-3 62-15,-2 2 105 0,-1-3 96 0,-3-1 65 16,10 1 46-16</inkml:trace>
  <inkml:trace contextRef="#ctx0" brushRef="#br0" timeOffset="51416.57">14413 3010 1003 0,'-3'12'417'0,"0"0"-30"0,1-2-42 0,0-1-38 0,2 1 6 0,-1-3-52 0,1 2-16 0,1 2-9 15,-1-1-129-15,2-1-9 0,0 1 2 16,1 0-3-16,0-1-20 0,-1-2 15 0,1 1-15 16,2-1 22-16,-2-1 6 0,2-1-5 0,0 0 8 15,-3-2-9-15,4 0 78 0,1-2-21 0,-2 0 18 16,1-1-18-16,1 1-38 15,1-1 15-15,0 0 0 0,-1 0-38 0,4 0 28 16,-1 2-26-16,-3-2 3 0,4 3 0 0,-4-3-8 16,1 4-7-16,0-2 12 0,0 2-90 15,-1-3 17-15,-2 4 1 0,-2-2-12 0,-1 2 12 16,-2 0 6-16,0 1-8 0,-3-2 3 16,-4 2 10-16,2-1-16 0,-3 1 3 0,-2-2-28 0,0 3 33 15,-1-5-33-15,1 4-18 0,0-4-36 16,2 2 0-16,-2-1-64 0,2-1-35 0,-2 0-21 15,5-1-54-15,-3 1-95 0,3-2-184 0,2 0-491 16,3 0 84-16,-5 0 82 0,5 0 140 16,0 0 47-16,0 0 44 0</inkml:trace>
  <inkml:trace contextRef="#ctx0" brushRef="#br0" timeOffset="52381.28">14797 3071 826 0,'-8'1'302'0,"1"3"3"0,-1-2-44 0,0 1-5 16,1-1-33-16,2 3-34 0,-3-2-23 15,3 1 1-15,0-2-19 16,2 2-9-16,-2 0-19 0,5 0 69 0,-2-1-25 0,2 2-8 0,2-1-25 16,-2 1-8-16,5 1-6 0,-2 0 6 15,2 0-13-15,0 0 0 0,0-3-94 0,2 2 7 16,-1 1 10-16,-1-1 16 0,2-2-13 0,-1 0 12 15,-3 2 6-15,1-1-3 16,-1-1 3-16,0 0 2 0,-3 2 8 0,0-1 69 16,0-4-20-16,-3 9 5 0,-4-3-21 0,1-1-10 15,-1-2 8-15,-1 3-31 0,-2-2-11 0,-1 2-24 16,-1-3-4-16,-1 2-40 0,2-1-29 16,1-3-20-16,0 0-23 0,2 2-41 15,-2 0-28-15,5-3-84 0,-3 1-91 16,8-1-58-16,-8-2-522 0,8 2 69 0,0 0 140 0,-4-3 34 15,4 3 85-15</inkml:trace>
  <inkml:trace contextRef="#ctx0" brushRef="#br0" timeOffset="53535.07">14836 3121 913 0,'0'0'395'0,"8"4"-27"0,-8 0-48 0,2 0-33 16,0 1-21-16,-2 0-33 0,3-1-13 0,-3 2-97 15,5-1-10-15,-3 0-1 16,2 2-27-16,0-2-9 0,2-1-4 0,-2 1-18 0,-1-2 15 16,3 0-15-16,2 1-16 0,-1-3-2 15,0-1 20-15,-1 0-17 0,4-1-4 0,-2-3 27 16,-1 2-24-16,1-2 3 0,0 2-2 16,-3-3-9-16,0-1 9 15,0 1 12-15,-2-1-15 0,-3-1-11 0,2 0 1 0,-2 0 2 0,-2 0 3 16,-1-1 2-16,0-1-7 0,1 3-6 15,-3-1-2-15,2 1-18 0,-2 1 13 0,0 2 2 16,0 0 3-16,-3 3-8 0,8 0 1 0,-13 2-4 16,6 0 1-16,-1 3 15 15,0-3-33-15,0 3-3 0,4 1 8 0,-2-1-31 0,1 2 16 16,3-2-21-16,-1-1 10 0,3 0-2 0,0 0 15 16,0-4-8-16,7 5 3 0,-1-2 3 15,-1-3-9-15,3-1 9 16,2-1-13-16,2-1 10 0,-1-1 12 0,2-1 14 0,2-2 5 0,-5 0 4 15,3 1 1-15,1-3 13 0,-2 0 30 16,-2 2-12-16,0-2 25 16,-2 0 5-16,0-1 3 0,-1 1 7 0,-1-1 8 0,-2-1 11 15,0 4-16-15,0-2 0 0,-1 2-10 0,2 1 5 16,-3 0-1-16,-1 3-17 0,1-4-2 16,-2 4 2-16,0 3-18 0,0 0-3 0,0 0-4 15,0 0 81-15,0 0-12 0,0 0-14 0,0 0-14 16,-7 15 4-16,4-8-30 0,0 1-23 0,-1 3-11 15,0 0-40-15,2-1-6 16,2 0 11-16,0-2-6 0,0 2-17 0,0-2 15 16,0-1-16-16,2 1-2 0,2-2 29 0,0 1-29 0,-1-2 7 15,5-1 17-15,-1-2-6 16,1 2-13-16,0-3 23 0,2-2 0 0,-3-1 0 16,1 0 6-16,2 0-4 0,-1 1-1 0,-2-4-4 15,1 0 24-15,2 3-13 0,-5-2 20 16,3-1 3-16,-3 2 18 0,0-2-16 0,0 3-7 15,0-2 5-15,-2 2-8 0,-1-2 8 0,1 2 3 16,-3 2-11-16,3-3 13 0,-3 3-10 16,0 0-11-16,0 0 24 0,0 0-8 0,0 0-34 15,0 0 11-15,0 0 13 0,4 6-23 0,-4-6 12 16,0 0 8-16,0 6-12 0,0-6 1 16,3 3-4-16,-3-3-3 0,5 1 42 15,-5-1-35-15,6 1-4 0,-6-1 31 0,0 0-19 0,13-1-2 16,-13 1 18-16,7-1-18 0,-7 1 13 0,10-2-5 15,-10 2-16-15,8 0 8 0,-8 0 5 16,7-1-20-16,-7 1 12 0,0 0-2 16,9 0 0-16,-9 0 5 0,7 3-5 0,-7-3 0 15,5 1 0-15,1 1-3 0,-6-2 10 16,7 3 1-16,-7-2-21 0,0-1 10 0,8 0 14 16,-8 0 4-16,9 0 8 0,-9 0-13 15,8-1-18-15,-5-2 28 0,3 0 11 0,-2 0-3 0,2 0 5 16,-2-2 16-16,2-1-6 0,-4 1 26 15,4-1 21-15,-2-1-1 0,-1-2-5 16,3 0 6-16,-2 0-31 0,-1-4 22 0,2 1 4 16,-2-3-19-16,2-1 18 0,-3-2-30 0,1-1 2 15,2 0-92-15,-3-1 23 16,1 2 11-16,0-1-3 0,-1 3 48 0,1 3-30 0,-3 1 102 16,3 1 10-16,-3 2-7 0,2 1-29 0,-2 4-22 15,0-1 14-15,0 5-14 0,0 0 7 0,0 0-21 16,0 0 4-16,-10 10-6 15,7-1-21-15,0 1-4 0,-1 2 15 0,1 1-1 0,0 2-19 16,1 0-3-16,0 0-24 0,-1 4 1 16,3-3-21-16,-3-2-4 0,3 3-4 0,3-4-20 15,0 2 3-15,-1-4-3 0,3 1-2 16,-2-3 10-16,1 0-16 0,2 0-5 0,-2-3 31 16,2 0-12-16,-1-1-19 0,3-3-7 0,0-1 20 15,-1 1-26-15,-2-2-20 0,3 1 0 0,0-2 8 16,-1 1-21-16,-1-2-38 0,-6 2-23 15,10-1-26-15,-5-1-84 0,-5 2-118 0,3-2-136 16,-1 0-429-16,1 1 89 0,-3 1 87 0,5-2 84 16,-5 2 62-16,0 0 97 15</inkml:trace>
  <inkml:trace contextRef="#ctx0" brushRef="#br0" timeOffset="53732.18">15325 2975 1446 0,'0'-4'440'0,"0"4"-28"0,8-6-59 0,-3 6-35 0,1-5-52 0,4 3-23 15,-2-1-48-15,2 0-49 0,0 1-54 16,3-2-54-16,-1 2-79 0,4-2-97 0,-3 2-133 16,-1-1-561-16,2 3 87 0,-2-2 59 0,-1 1 59 15,-1 1 53-15</inkml:trace>
  <inkml:trace contextRef="#ctx0" brushRef="#br0" timeOffset="53949.75">15600 2914 949 0,'0'0'389'0,"-5"-3"-15"0,5 3-36 0,-6-2-3 16,6 2-35-16,0 0-19 0,-10 5 62 0,8 0-23 16,-1-2-13-16,-2 2-43 0,2 0-11 15,1 1-35-15,2-3 7 0,-2 3-30 0,2-1-37 16,2 1-1-16,0-2-12 0,1 1-11 0,-3-2-40 15,5 1-43-15,0 0-15 0,1-1-72 16,1-2-28-16,-2 1-53 0,1-2-60 16,-2 4-135-16,-4-4-200 15,3 1-443-15,2 1 77 0,-5-2 95 0,8 0 82 0,-8 0 73 0,12 0 63 16</inkml:trace>
  <inkml:trace contextRef="#ctx0" brushRef="#br0" timeOffset="54585.31">16025 2815 1087 0,'0'0'456'0,"8"10"-54"0,-5-4-34 0,2 1-25 0,-2-1-23 15,4 3-53-15,-2 0-4 0,1 0-40 16,1 0-13-16,-2-1-26 0,3 3-20 16,-1-2-54-16,1-1 10 0,0-2-10 0,2 3-33 15,-2-2 3-15,0-4 25 0,-1 2-6 16,1-1-63-16,-1-2 10 0,-2 0 5 0,1-2 29 16,-6 0 91-16,12-2-15 0,-9 0 8 0,4-2-90 15,-4-2-2-15,3 1 2 0,-1-2 13 0,-2 0-15 16,1-1-10-16,-1-4-6 15,2 1-13-15,-3-1-2 0,1-1-15 0,0 1-39 0,2 1-23 16,-2 0-28-16,1 0-38 0,-1 3-54 0,2-2-31 16,-2 3-41-16,2 1-15 0,0 0-154 0,-5 2-122 15,8 2-377-15,-3 1 36 0,2 0 104 16,1-2 73-16,0 3 82 0,2-2 83 16</inkml:trace>
  <inkml:trace contextRef="#ctx0" brushRef="#br0" timeOffset="55505">16428 2778 1008 0,'-5'5'384'0,"-1"1"0"0,-1-1-44 0,-1 1-40 0,1 1-16 0,-1-1-33 16,0 2-11-16,1-1-17 0,1-1-49 16,2 1-13-16,0-1-27 0,0-1-12 15,1-1 17-15,0 3-32 0,3-4-38 0,0 2 0 0,0-1 6 16,0-4-17-16,3 4 6 0,-3-4-5 15,5 1-5-15,-5-1-39 0,0 0 8 0,13-3-5 16,-13 3-12-16,8-2 11 16,-3 2 1-16,-5 0-15 0,7-3 5 0,-7 3 2 0,8 1-23 15,-8-1 16-15,6 2-19 0,-2-1 16 16,-4-1 0-16,8 3-38 0,-3 0-1 16,-5-3 1-16,5 2 5 0,1-1-24 0,-1 1 14 0,2-1-1 15,-7-1 14-15,13-1-1 0,-5-2 13 16,2 1-2-16,0-2 30 0,1 1 21 0,1-3 7 15,1 0 23-15,-5-1 24 16,2-2 7-16,0 3 13 0,0-3 8 0,-2-2 79 0,-2-1 20 16,-1 1-87-16,2-2-15 0,-2-3 11 15,1 0-6-15,-4 0 10 0,4-1-15 0,-6 1 1 16,2 3 11-16,0 0-1 0,1 0-6 0,-3 5-2 16,0-1-32-16,0 2-14 0,0 1 15 15,3 2-26-15,-3 4-15 0,-3-4 13 0,3 4-28 16,0 0 38-16,-7 11 35 0,3-4-7 0,0 5 1 15,1 0-42-15,-2 0-5 0,4 1-46 0,-1 0-23 16,0 0-59-16,-1 1-3 0,6-1-2 16,-1 1-15-16,1-3 30 0,2-1-17 0,0-1 12 15,3 0 0-15,0-2-7 0,-1-2-6 16,1-2 11-16,0 1-6 0,0-1 21 0,2-3-2 16,-2 0 20-16,-2 0 10 0,-6 0-8 0,14-3 1 15,-7-1 4-15,1 2 19 0,-2-2 10 16,-2 3 2-16,2-2 11 0,-2 1-6 0,-1 0-10 15,-3 2 13-15,8-3 5 0,-8 3-7 16,5-3 7-16,-5 3-15 0,0 0 7 0,0 0 13 16,11 2-20-16,-11-2 2 0,4 3 3 0,-4-3 8 15,8 0 5-15,-8 0-14 0,10-2-4 16,-10 2-15-16,10-3-6 0,-4 2 8 0,-1-2 10 0,3 1 3 16,-1-1-3-16,-2-1 3 15,3 0-11-15,-3 2 16 0,2-2-13 0,-1 1 13 0,-3 0-13 16,2 0 5-16,-2 1 16 0,1-1 0 0,-4 3-6 15,6-2-5-15,-6 2 13 0,4-3-10 16,-4 3 8-16,0 0 38 0,0 0-33 16,0 0-8-16,3 10 5 0,-2-7 5 0,-1 0 3 15,0 0-3-15,2 1 16 0,-2-4-21 0,2 6-10 16,-2-3 12-16,3 0 1 0,2-2 5 0,-5-1-6 16,5 2 32-16,-5-2-32 15,10-1-7-15,-10 1 13 0,10-2 5 0,-4-1-23 0,-1-1 36 16,0 1-1-16,0 0-1 0,0 0 1 0,-2 0 22 15,2 0 9-15,-2 0 16 0,-1-1-8 16,1 1-5-16,-3 3-13 0,5-2-10 16,-5 2 8-16,0 0-21 0,0 0 10 0,0 0 3 15,8 5-10-15,-8-1-11 0,0-4 6 0,2 6 0 16,-2-3-39-16,2 1-21 0,-2 1-45 0,3-1-3 16,-2-1 3-16,1 0-52 15,0 1-61-15,1-1-120 0,0 1-205 0,-1-1-530 0,3 0 87 16,0-2 116-16,3-1 68 0,-1 0 67 0,1 0 92 15</inkml:trace>
  <inkml:trace contextRef="#ctx0" brushRef="#br0" timeOffset="55884.4">17399 2355 1141 0,'-7'17'504'0,"2"2"-33"0,0 1-41 16,-1 3-20-16,2 2-57 0,-4 14-12 15,2 2-34-15,1 3-33 0,-2-1-31 16,4 1-20-16,3-1-21 0,0-2-59 0,3-1-17 0,2-3-57 16,0-8-49-16,3-6-20 0,2-2-46 15,0 0-51-15,3-6-52 0,0 0-150 0,2-5-515 16,-2-1-69-16,2-4 82 0,-2-2 84 0,3-3 67 15,1-3 94-15</inkml:trace>
  <inkml:trace contextRef="#ctx0" brushRef="#br0" timeOffset="56184.46">17715 2517 1251 0,'0'0'443'0,"8"11"-41"0,-6-5-128 0,1 1-26 0,2 4-28 16,-3 0-7-16,1 1-42 0,0 0-51 0,-1 2-20 16,1-1-72-16,-1 1-33 0,1-2-107 15,-1 1-134-15,-1-1-535 0,1 1 59 0,0-3 85 16,-2-2 69-16</inkml:trace>
  <inkml:trace contextRef="#ctx0" brushRef="#br0" timeOffset="56385.32">17758 2425 872 0,'0'0'233'0,"0"0"-118"0,0 0-184 0,0 0-512 16</inkml:trace>
  <inkml:trace contextRef="#ctx0" brushRef="#br0" timeOffset="56709.14">17964 2434 1156 0,'-8'3'425'0,"3"2"-36"0,-3 0-48 0,-2 1-36 16,2 0-19-16,0 1-32 0,1-1-29 0,0 3-18 16,1-2-10-16,3 0-53 0,-2-1 12 15,3 1-36-15,-1-2 11 0,3 1-6 0,0-2-51 16,2 2 3-16,1-1 0 0,2 0-3 0,-2 0-12 16,4 1-11-16,-1-2-3 15,-1 2-14-15,3 0 14 0,-3 3 9 0,4-1 4 0,-3 3-84 16,-1 1-5-16,1-2 33 0,-2 2-3 15,-1 1 4-15,2 1-12 0,1 1 14 16,-4 3 5-16,0-4-16 0,1 0 14 0,-3 0-11 16,-3 0-11-16,1 0 4 0,0-1-39 0,-2 1-26 15,0-4-46-15,1 2-87 0,-2-9-209 16,0 7-497-16,0-4 43 0,2 0 123 0,1 0 67 16,-2-3 66-16</inkml:trace>
  <inkml:trace contextRef="#ctx0" brushRef="#br0" timeOffset="57605.78">17997 2477 1453 0,'0'0'423'0,"0"0"-42"0,10 4-48 16,-5-2-16-16,-2 3-17 0,2 1-31 0,0-2-39 15,0 5-25-15,0-4-24 16,-2 3 1-16,2 1 38 0,-2 0-23 0,2-1-30 16,-2 0-19-16,-1 1-7 0,3-2-10 0,-5 1-19 0,3-2 9 15,-1-1-17-15,2 0 14 0,-3-1 0 16,2-1 7-16,-3 0-99 0,5-1 17 16,-5-2 11-16,3 2-15 0,-3-2 2 0,0 0 23 15,12-5-3-15,-9 3 6 0,-3 2 17 0,8-4-2 16,-6 2-16-16,3 1 16 0,-2-3-7 15,-3 4-45-15,5-1-1 0,-5 1 14 0,7-2-5 16,-7 2-25-16,6 0-15 0,-6 0-32 16,0 0-42-16,10 1-19 0,-10-1-31 0,8 1-35 0,-8-1-13 15,7 0-18-15,-7 0-10 16,10-2-28-16,-4 0 15 0,-1 0-11 16,3-1 1-16,0 0 10 0,1-1 28 0,-3 1 39 0,1 2 27 15,-1-4 40-15,-1 4 47 0,0-1 19 0,-5 2 25 16,5-1 3-16,0-1 30 0,-5 2 11 15,0 0-8-15,11 3 3 0,-11-3 10 0,7 2 20 16,-4 0-2-16,-3-2-8 0,6 5-8 0,-4-4-2 16,-2-1-28-16,7 5 15 0,-7-3-15 0,5 0 0 15,-5-2-1-15,3 4 9 0,-3-4-6 16,5 1-5-16,-5-1 16 0,5 2-16 0,-5-2 0 16,0 0 3-16,0 0 10 15,0 0-6-15,8-5 9 0,-8 5 5 0,2-4 7 0,-2 4 0 0,3-6 1 16,-1 3-11-16,-1-1 0 15,1 0 5-15,-2 0 8 0,5 0-26 0,-5 1 5 0,3 0-4 16,-3 3-4-16,5-5 4 0,0 4-1 16,0-1 5-16,-5 2-2 0,10 0-10 0,-10 0-24 15,13 2 32-15,-10 1-11 0,5-1-3 16,-4 2-2-16,2-1 3 0,-4 0-19 0,3 1 21 16,-2 1-20-16,0 0-8 0,-1 0 5 0,3-2-3 15,-3 1 16-15,1-2 20 0,0 1 31 16,0-1 18-16,-3-2 8 0,2 3-1 0,-2-3-27 15,2 2 27-15,-2-2-38 0,0 0 8 0,0 0-13 16,0 0 21-16,10-6-29 0,-9 3 1 0,4 0-1 16,-3-3-35-16,0 0-16 15,2 0-49-15,-2-2-17 0,3-1-36 0,-2 1-44 0,2 0-35 16,0-2-42-16,2-1-12 0,-1 2-52 16,2-1-61-16,-1 1 36 0,1 2-92 15,0-2-8 1,0-1 62-16,-1 2 91 0,0 2 70 0,-4 1 105 0,4 1 64 0,-1 0 38 0,-3 1 46 15,2 2 33-15,-2-1 34 0,-3 2 13 0,0 0 27 16,7 4 4-16,-2-1-19 0,-3 0 36 16,0 1-5-16,-1 1-18 15,0 0 11-15,-1 1-26 0,0 0-19 0,2 1-22 0,-2-1-10 0,0 0-34 16,0 2-38-16,0 0-38 0,0-2-62 16,-2-1-49-16,2-1-76 0,-1 2-254 0,1-1-453 15,-1-3 72-15,1-2 100 0,-2 6 48 16,2-6 121-16</inkml:trace>
  <inkml:trace contextRef="#ctx0" brushRef="#br0" timeOffset="57746.53">18566 2331 929 0,'-2'-3'204'0,"2"3"-122"0,-3-3-199 15,3 3-487-15</inkml:trace>
  <inkml:trace contextRef="#ctx0" brushRef="#br0" timeOffset="58024.28">18646 2365 1328 0,'0'5'425'0,"2"1"-31"0,-2-3-23 0,0 2-20 15,3 0-46-15,-3 1-16 0,2-1 3 0,-1-2-108 16,-1 2-5-16,2 0-7 0,0-2 12 16,2 0 0-16,-4-3 93 0,2 2-19 0,-2-2 21 15,0 0-49-15,7 4 11 0,-7-4-44 16,8-2-23-16,-8 2 16 0,8-1-50 0,-8 1 19 16,10-2-103-16,-5 1-7 0,0 1-18 0,3-3-36 15,-3 3-13-15,4-1-56 0,-3 0-60 16,2 0-19-16,0-2-57 0,-1 0-43 0,-1 0-121 15,2-1-210-15,-1 1-429 0,3 0 101 0,-3 0 73 16,1 0 119-16,0-1 42 0,-3-1 123 16</inkml:trace>
  <inkml:trace contextRef="#ctx0" brushRef="#br0" timeOffset="58293.05">18886 2346 1018 0,'-2'5'435'0,"2"1"70"0,0 1-34 0,-2 2-21 0,-1 6-30 0,3-2-75 0,-3 2 6 0,3 4-39 0,-2 0-35 15,0 3-42-15,-2 2 55 16,0-2-9-16,-2 3-45 0,2-2-14 0,-4-3-30 16,3-1-12-16,-1-1-9 0,4-4-58 0,-4-3 7 15,4-1-13-15,-3-1-9 0,5-5-34 0,0-1-34 16,0-3 9-16,0 0-26 0,0 0-34 16,0 0-7-16,15-19-41 0,-7 4-13 15,3-3-31-15,3-2-30 0,4-8 0 16,1 0-34-16,3-2 6 0,-1-2-44 0,3 0-67 0,3-11-250 15,-3 12-467-15,-1 3 101 0,-1-1 84 16,-3 1 89-16,3 1 60 0,-1-2 63 0</inkml:trace>
  <inkml:trace contextRef="#ctx0" brushRef="#br0" timeOffset="59738.83">19935 2132 1325 0,'0'0'392'0,"-6"0"-36"16,6 0-18-16,0 0-21 0,-14 2-63 15,8-2-14-15,6 0-7 0,-5 5-28 0,3-4-18 16,-1 3-21-16,1-1-5 0,2-3-12 0,5 9-34 16,-3-6-2-16,1 2-6 0,3 1-20 0,2-1 16 15,0 1-29-15,0 1-5 0,0-1-3 16,1 0 21-16,-1-1-30 0,-2-1 12 0,0 1-23 15,-1 0 3-15,2-2 20 0,-1 3-23 16,-2-1 0-16,-3-1-5 0,1 0-3 0,-4 1 13 16,2 0-20-16,-1 0-18 0,-6 0-16 15,0 0-2-15,-1 1 8 0,-4 1-75 0,-4 1 0 16,3-1-38-16,-3-2-97 0,3 2-110 16,1-7-121-16,-1 5-514 0,2-2 115 0,1-1 66 0,0-1 126 15,2-1 21-15,3-1 71 16</inkml:trace>
  <inkml:trace contextRef="#ctx0" brushRef="#br0" timeOffset="59940.13">20022 2185 1374 0,'3'3'410'15,"-1"0"-37"-15,1 0-32 0,0 0-19 0,1 3-43 16,-3-1-28-16,4 0-49 0,-3 1-20 15,-1 1-39-15,-1-2-35 0,2 1-62 16,-2 0-61-16,0 1-126 0,3-4-166 0,-3 4-561 0,2-2 146 16,-1 0 39-16,0-2 63 0,-1-3 124 15</inkml:trace>
  <inkml:trace contextRef="#ctx0" brushRef="#br0" timeOffset="60057.66">20112 2125 944 0,'-3'-5'197'0,"3"5"-25"0,0 0-67 0,-4-1-108 15,4 1-66-15,0 0-136 0,0 0-402 16</inkml:trace>
  <inkml:trace contextRef="#ctx0" brushRef="#br0" timeOffset="60363.39">20158 2122 1238 0,'0'0'389'0,"0"0"-17"16,0 0-42-16,0 0-31 0,0 0-81 0,-12 7-16 15,12-7-7-15,-1 5-32 0,-1-2-9 16,2-3 0-16,3 10-39 0,-3-4-3 0,2 0 14 16,3 1-34-16,-2-1 0 0,-1 3-5 0,4-2-28 15,-2 2 8-15,2 1-1 0,-1-2 1 16,0 3-3-16,0-3 0 0,2 2 0 0,-4-1-8 0,3 2 13 15,-2 0-15-15,0-3-6 16,-2 1-9-16,-2 0 7 0,2-1-15 0,-2 1 12 16,0 0-22-16,-2-1-9 0,0-2-14 0,-2 0-6 15,2 0-40-15,0 0-42 0,-1-3-15 16,-2 0-59-16,2 1-133 0,1-2-135 0,2-2-480 16,-3 2 75-16,3-2 100 0,0 0 62 0,0 0 58 15</inkml:trace>
  <inkml:trace contextRef="#ctx0" brushRef="#br0" timeOffset="60670.47">20258 2179 1210 0,'0'0'389'0,"0"0"-20"0,0 0-54 15,0 0-36-15,0 0-3 0,3 15-22 0,-3-12-21 16,0 1-8-16,0 0-41 0,0 1-18 15,-3 0-4-15,6 0-4 0,-3-5-27 0,0 6 10 16,0-1-3-16,0-5-7 0,2 5 81 0,-2-5-5 16,1 3 8-16,-1-3-15 0,2 3-67 15,-2-3-2-15,2 3 9 0,-2-3-19 0,0 0-27 16,6 2 14-16,-6-2 2 0,10 0-18 16,-5 0 5-16,-5 0 1 0,10 0-27 0,-10 0-17 15,14 0-3-15,-6 0-2 0,-2 0-29 0,2 0-12 0,0 0-16 16,0 0-38-16,-1 0-36 15,1 0-43-15,2 0-34 0,0-2-43 0,-2 2-39 16,2-2-30-16,0 0-118 0,-1 0-131 0,1 0-450 16,0-1 74-16,-2 0 49 0,2 0 123 0,-3-1 84 15,5 0 54-15</inkml:trace>
  <inkml:trace contextRef="#ctx0" brushRef="#br0" timeOffset="61034.68">20566 2132 829 0,'0'0'292'0,"-3"2"-29"0,3-2 1 0,-5 4 66 0,5-4-15 15,-2 4-16-15,2-4-27 0,0 6-24 0,2-1-18 16,-2 0 14-16,3-1-11 0,-3 1 10 0,3 0 2 16,-1 1-109-16,0 2-18 15,1-3-6-15,0 4-9 0,1-4-1 0,-1 2-2 0,-2 0-18 16,1-3-10-16,2 2 30 0,-6-1-28 0,2 0-28 16,0 1-15-16,-2-1-18 15,-1-2-44-15,-2 1-41 0,-3 0-58 0,3 0-57 16,-2 0-138-16,-1-3-620 0,0 1 62 0,1-2 169 15,-1 0 5-15,0-2 54 0,0 1 48 16</inkml:trace>
  <inkml:trace contextRef="#ctx0" brushRef="#br0" timeOffset="61248.65">20530 1787 1300 0,'13'8'542'0,"0"3"-91"16,2 3-18-16,8 8-11 0,-2 3-48 0,1 3 76 16,-3-1-48-16,1 3-54 0,-4 1-87 15,-3 0-41-15,-1 0-12 0,-4-4-39 0,-6-2-16 16,1 1-58-16,-3 0-54 0,-3 1-64 0,-1-1-51 16,-4 8-44-1,-2-1-49-15,-3-4-12 0,-1 1-79 0,2-12-249 0,0 1-448 16,-2 2 95-16,-1-4 79 0,-1 0 134 0,-1 0 4 0,-1-3 88 15</inkml:trace>
  <inkml:trace contextRef="#ctx0" brushRef="#br0" timeOffset="63084.71">15938 11511 819 0,'0'8'355'0,"-2"5"-40"0,-1 2-38 0,-2 5-11 16,2 4-10-16,-7 9-36 0,5 4-28 0,-3-4-36 15,1 4-5-15,-3-2-41 16,4-5-61-16,1 4-90 0,-3-3-74 0,4-6-98 0,-2 1-562 16,4 0 112-16,-4-2 13 0,2-4 107 15</inkml:trace>
  <inkml:trace contextRef="#ctx0" brushRef="#br0" timeOffset="63341.8">16017 11474 921 0,'-4'12'353'0,"1"4"-46"15,-4 6-30-15,-1 1-44 0,-2 11 0 0,-1 3-18 16,3 0-31-16,-4-1-25 0,2 1-36 0,1-3-39 0,-1 4-48 16,2-6-77-16,1-2-69 15,0-6-74-15,4-3-29 0,-2 0-301 0,4-3-195 16,-1-3 117-16,-1-1 34 0</inkml:trace>
  <inkml:trace contextRef="#ctx0" brushRef="#br0" timeOffset="63573.17">15910 11577 857 0,'10'-15'376'0,"3"4"-22"0,0 4-6 0,-1 2-138 0,2 3 15 0,-1 2-38 15,2 3-11-15,2 3 83 0,2 4-42 16,9 9-32-16,0 1-11 0,-5 6-13 0,3 3-43 16,-1 1-39-16,4 11-48 0,-4-7-59 15,-1 7-31-15,4 0-67 0,-8-7-127 0,8 10-579 16,-2-3 77-16,0 4 33 0,-4-10 128 0,4 7 54 16</inkml:trace>
</inkml:ink>
</file>

<file path=ppt/ink/ink9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3:32.185"/>
    </inkml:context>
    <inkml:brush xml:id="br0">
      <inkml:brushProperty name="width" value="0.05292" units="cm"/>
      <inkml:brushProperty name="height" value="0.05292" units="cm"/>
      <inkml:brushProperty name="color" value="#FF0000"/>
    </inkml:brush>
  </inkml:definitions>
  <inkml:trace contextRef="#ctx0" brushRef="#br0">6263 4183 1551 0,'0'0'463'0,"-1"-5"-18"0,1 5-120 0,-3-3-40 0,3 3-22 0,0 0-7 15,0 0-33-15,0 0-21 0,-13 7-7 16,9 0-24-16,-4 0-20 0,2 4 13 0,2 1 36 16,-6 4-3-16,2 5-23 0,0 0-31 0,1 3 8 15,-4 8-8-15,1 1-35 0,3-5-8 0,1-3-5 16,-2 8-1-16,1-3-50 16,2-6 7-16,4-3-2 0,-3-2-29 0,4 0 3 15,0-1-41 1,0-4-5-16,0 1-28 0,2-1-36 0,0-1-8 0,1-2-20 0,2-3-8 15,0-2-36-15,0 1-9 0,1-3-86 0,1-2-138 16,1 0-539-16,2 0 35 0,0-2 115 0,-1-4 36 16,0 3 105-16,2-3 29 0</inkml:trace>
  <inkml:trace contextRef="#ctx0" brushRef="#br0" timeOffset="582.15">6470 4570 1092 0,'5'-6'407'0,"-5"1"-10"0,2 2-118 15,1-3-20-15,0 2-14 0,-1-2 9 16,0-1-24-16,1-1-7 0,0 2-23 0,0-4 63 15,-1 1-17-15,1-3-3 0,-1 0-38 16,0 1-18-16,1-2-82 0,0 1-21 0,-3 0 16 0,2 3-8 16,-2-1-7-16,0 1-3 0,1-1 10 15,1 4 5-15,-2-1-13 0,0 2-9 0,0 2-11 16,0-2 2-16,0 5-9 0,0 0-6 0,0 0 0 16,0 0-8-16,0 0 6 15,-2 13-21-15,1-3-12 0,1-1-22 0,-2 2-19 16,2 1-19-16,0 0-4 0,0-1-3 0,2-1 10 15,-2 3-23-15,3-3-6 0,-1-1 4 0,1 1 10 16,2-3-8-16,-2 0 10 0,4-1 3 16,-1-1 5-16,-1 0 23 0,2-3-8 0,-2-1 13 15,3-1 5-15,-2 0 41 0,1-1-23 0,0-1 21 16,1-3 28-16,-2 1-13 0,1-2 0 0,-1-2 12 16,1 0 11-1,-2-2-18-15,1-1 26 0,-2 1-23 0,2-1-1 0,-2 2-7 0,-1 0 13 16,0 1-8-16,-1 2 5 0,1 0 1 15,-3 1-22-15,2 2 1 0,-2 3 28 16,0 0-21-16,0 0 8 0,0 0 3 0,0 0-36 16,4 14 0-16,-4-7 2 0,-1 0-10 15,1 4 8-15,0-3-26 0,1 2-2 0,-1 0-62 0,2 1-31 16,-2 0-25-16,2 1-38 0,1-5-21 16,-1 1-21-16,1 2-60 0,2-4-117 15,-5 0-63-15,7-2-455 0,-4 1 63 0,2-1 80 16,1-3 68-16,-2 0 52 0</inkml:trace>
  <inkml:trace contextRef="#ctx0" brushRef="#br0" timeOffset="867.59">6759 4195 1464 0,'0'0'460'0,"3"-4"27"0,2 3-121 15,-5 1-31-15,13 4 6 16,-5 2 63-16,2 0-25 0,5 4-39 0,-2 1-102 16,5 5-38-16,-5 0 15 0,2 2 51 0,3 9-15 0,0 1-33 15,-2 2-24-15,-1-2-15 0,-8-2-35 0,-1-2-9 16,-1 1-25-16,-5-2-17 16,0-3-12-16,-3 5-19 0,1 0-26 0,-6-2-41 15,3-2-24-15,-2 2-27 0,1-7-54 0,1 1-23 16,-2-4-3-16,1-1-33 0,1-1-41 0,-1-3-43 15,2-1-82-15,-1-2-164 0,-6 0-67 16,7 0-391-16,1-4 81 0,-2 1 111 16,5-2 99-16,-8 0 24 0,8 0 56 0</inkml:trace>
  <inkml:trace contextRef="#ctx0" brushRef="#br0" timeOffset="4185.05">7665 5050 939 0,'-6'-1'369'0,"6"1"-6"0,0 0-43 15,-13 8-28-15,9-3 2 0,-4 2-56 16,2 1-7-16,-1 3-14 0,-1 1-10 16,0 1-27-16,4 1-14 0,-4 3-7 0,2-1-16 0,2 1-30 15,1 0-3-15,-2 1-18 0,2 0 15 16,1-1-14-16,2-1-29 0,0-3-18 0,0 1-3 15,2-2-20-15,-1 0 5 0,3 1-25 16,2-2-3-16,-2-5-3 16,-1 1 3-16,5 0-12 0,-1-3 27 0,1-1-5 0,-3 1-18 15,1-3 3-15,1 0 5 0,-2-1 95 0,-5 0-18 16,8-1 25-16,-8 1-20 0,5-5-5 16,-2 2 7-16,-1-1 1 0,-2 1-6 0,0 3-10 15,0-9-10-15,-2 4 8 0,-1 1-19 0,0-2-2 16,1 1 3-16,-3-1 0 0,0 3-1 0,-1-1-25 15,2 0 29-15,-4 1 6 0,3 0-65 16,-1 1 7-16,-3 1-16 0,3 0-19 0,-1 1-42 16,1-3-18-16,6 3-25 0,-12 0-13 15,12 0-31-15,-8 3-49 0,8-3-55 0,-5 1-40 16,5-1-134-16,-5 0-152 0,5 0-246 16,0 0 83-16,0 0 19 0,0 0 88 15,15-6 82-15</inkml:trace>
  <inkml:trace contextRef="#ctx0" brushRef="#br0" timeOffset="4871.12">7759 5144 1116 0,'0'0'422'0,"0"0"-38"0,0 0-110 0,0 0-26 0,0 0-10 16,0 0-31-16,0 13-12 0,0-7-13 15,-2-1-19-15,0 3-22 0,2 0-20 0,-1 2-11 16,1-2-44-16,1 2-15 0,-1-1-15 0,2 1-13 15,0-2-5-15,1 2 10 16,0-3-15-16,4-1-10 0,-2 0-19 0,1-2 16 0,1 0 21 16,0 0-19-16,2-3 21 0,-2 0-2 0,1-1-16 15,-1 0 18-15,1-1 5 16,0-3 5-16,-3 2 6 0,0-2 15 0,-2 2 20 16,2-3-10-16,-3 2-5 0,-1-2 7 0,-1-1 6 0,-1 0-23 15,1 0 2-15,-2-1-8 0,-3 1 1 16,2-3-26-16,-2 1 23 0,2 2 0 0,-1-2-18 15,-2 3 15-15,1-1-17 0,-2 1-11 16,4 1-13-16,-4-1 13 0,1 1-12 0,1 2-16 16,-1 1-8-16,2-1-22 0,4 2-3 15,-6-3-34-15,2 2-12 0,4 1-31 0,0 0 15 16,-8-3-38-16,8 3-43 0,0 0-62 0,0 0-36 16,0 0-23-16,13-7 39 0,-6 5-96 15,-4-2-132-15,7 1-192 0,-2-1 74 0,4 4 56 16,-1-3 546-16,-3-1 35 0,2 2 8 15,-2-1 31 1,0 1 35-16,-1 0 60 0,0 1 33 0,-1-1 102 0,-1 5 0 0,-5-3-5 16,10 4-5-16,-5-1-82 0,-2 0-23 0,-1 6-11 15,1-1-24-15,0-1-17 0,-1 5 4 16,3-1-29-16,-4 1-8 0,1-2 6 0,3 1-26 16,-2 0-16-16,1-3 4 0,2 1-1 0,-1 0 5 15,3-2-30-15,-1-2 20 0,1 1-23 16,0-4 18-16,1-2 5 0,2 0 3 0,-1-1 7 15,0 0-5-15,1-5 39 0,2 2-16 0,-1-3 23 16,-3 1 85-16,1 0 0 0,-3-2 27 16,0 1-91-16,-1-3 26 0,-3 2 9 15,-1-1-10-15,-2 1-15 0,0-1 100 0,-3-1-25 16,1 3-14-16,-3 0-12 0,0 0-21 0,-1 1-16 16,2 0-19-16,-4 0 4 0,0 2-28 15,-2 2-43-15,2-1-49 0,1 1-23 0,-4 2-48 16,1 0-44-16,3 2-34 0,-1 1-48 0,3-1-74 15,-1 3-138-15,-1 1-241 0,4-2-325 16,1 0 102-16,2-1 49 0,0-3 105 16,0 7 48-16,2-6 72 0</inkml:trace>
  <inkml:trace contextRef="#ctx0" brushRef="#br0" timeOffset="5087.51">8364 5031 1412 0,'0'0'487'0,"3"-4"-32"16,-3 4-60-16,0 0-4 0,0 0-45 0,0 0-8 15,8 7-54-15,-6-3-44 0,1 2-7 0,0 1-20 16,1 1-39-16,-1 2-46 0,0-2-16 16,-1 3-30-16,0 1-56 0,2 0-34 0,-2 0-28 15,1 0-20-15,-1 1-39 0,3-4-38 16,-4 2-100-16,3-2-156 0,-8 1-112 0,8-2-385 0,-1-2 59 15,-1 3 157-15,1-2 53 0,-1-1 20 16</inkml:trace>
  <inkml:trace contextRef="#ctx0" brushRef="#br0" timeOffset="5353.49">8316 5194 1310 0,'0'0'435'0,"5"-6"-107"16,0 2-29-16,0 3-27 0,0-1-14 16,3-2-22-16,0 2-26 0,4-3-11 0,-1 2-30 15,2-1-25-15,2 0-17 0,0 1-24 0,3-2-29 16,0 3-25-16,-2-2-44 0,4-1-51 0,-5 2-36 15,-2 0-102-15,1 2-159 0,0 0-487 16,-3 0 29-16,-1 0 107 0,0-2 52 0,-2 3 69 16</inkml:trace>
  <inkml:trace contextRef="#ctx0" brushRef="#br0" timeOffset="6056.87">9026 5024 1200 0,'-5'3'394'0,"-3"3"-23"0,0 0-51 15,-2 2-41-15,-2 3-12 0,1-1-24 0,-2-1-28 0,1 3-23 16,1 0-3-16,-1 0-28 0,1 0 6 0,1-3-11 16,0 1-26-16,2-2-17 15,3 0 20-15,-3-3 16 0,3 2-19 0,2-2-17 16,1 1-13-16,-1-1-6 0,3-1 4 0,0-4-11 15,5 7 0-15,-2-5-11 0,2 3 4 16,3-4-96-16,-3 0 22 0,5 2-12 0,0-2-9 16,-1-1 2-16,3 0 11 0,0 0-34 15,4 0-20-15,-3 0-1 0,3-4-50 0,-2 3-34 16,2 1-28-16,-3-5-31 0,0 4-91 0,2-1-104 16,-4-1-401-16,-1 1 18 0,0-1 28 0,-5 0 36 15,2-2 159-15</inkml:trace>
  <inkml:trace contextRef="#ctx0" brushRef="#br0" timeOffset="6316.75">9039 5074 1341 0,'-3'-3'440'0,"3"3"-92"0,0 0-41 16,-13 4-12-16,8-2-6 0,1 2-25 0,1 2-19 15,0 0 6-15,1 2-36 0,1 0-18 0,-1 2 85 16,0 3-24-16,2-1-48 0,0 1 3 0,-4 0-37 15,5 4-20-15,-2-4-20 0,1 2 2 16,0 0-40-16,0-1-34 0,0 0-41 0,0-1-34 16,0-1-22-16,0 0-56 0,0-2-22 0,1-1-52 15,2-3-78-15,-1 5-81 16,-4-8-190-16,4 2-428 0,3-1 93 0,0-3 56 0,-5-1 100 16,8 0 105-16,-8 0 51 0</inkml:trace>
  <inkml:trace contextRef="#ctx0" brushRef="#br0" timeOffset="6621.9">9159 5044 1428 0,'3'-2'366'0,"-1"-1"-21"16,-2 3-40-16,11-1-18 0,-6 1-21 0,-5 0-2 16,13 3-44-16,-6 0-10 0,1-1-8 0,0 4-44 15,0 0-4-15,0 2-16 0,-4 1 11 16,4 1-32-16,-6 0-1 0,1 3-19 0,0-2-5 16,-1 2-30-16,-2-1 2 0,0 0-3 15,0-1-30-15,0-1-24 0,0 2-45 16,-2 0-8-16,2-1-26 0,0-3-12 0,-3 2-49 15,3-2-44-15,-2-1-82 0,2-2-165 0,0 1-452 0,2 1 93 16,-2-1 64-16,3-4 33 0,-1 1 120 16</inkml:trace>
  <inkml:trace contextRef="#ctx0" brushRef="#br0" timeOffset="7086.96">9144 5196 1343 0,'0'0'338'16,"-2"-7"-26"-16,2 7-30 15,2-6-5-15,0 4-37 0,4-4-27 0,-1 0-9 16,5 1-37-16,0-1-11 0,3-1-10 0,0 2-18 16,2-1-13-16,1-1-20 0,-3 1 2 15,2 1-33-15,-4 2 5 0,1-2 0 0,0 2-28 16,-4 0 36-16,0 1-31 0,-3 2 0 0,1 0 0 15,-6 0-18-15,10 2 6 0,-6 1-4 0,0 0-4 16,-2 2-16-16,3 1 3 0,-2 1 0 16,-1-1 5-16,0 2 7 0,4-2-15 15,-4 1 1-15,1-1-14 0,2 1 16 0,3-2-8 0,-3-1 8 16,3 1-8 0,-1-3 5-16,4-1 0 0,-1-1-4 0,0 0 11 0,1 0 17 0,1-3-4 15,-2-2 6-15,1 1 8 0,-1-1 22 16,-2-2 3-16,-3 2 39 0,2-2-1 15,-6 0 68-15,1-2 9 0,-2 3-36 0,-2-3-2 0,-1 1-2 16,-3 0-19-16,-1 1-15 16,0-2-13-16,1 6 3 15,-6-4-21-15,3 2-7 0,2 1-36 0,-4 2-23 0,1-2-23 0,3 4-44 16,-3 0-36-16,2 1-30 0,2 2-52 0,-1-1-71 16,2 2-136-16,-3 1-158 0,6-1-474 0,2 1 66 15,0 0 129-15,2 0 45 0,1-2 113 16,2 1 49-16</inkml:trace>
  <inkml:trace contextRef="#ctx0" brushRef="#br0" timeOffset="7319.17">9854 4977 1528 0,'0'0'524'0,"0"0"-40"0,0 0-54 0,0 0-23 0,0 0-43 0,2 10-19 16,-1-3-48-16,-1-1-33 0,0 3-13 0,0 1-36 16,0 2-31-16,2 1-41 15,-2 0-20-15,0-1-67 0,3 0-43 0,-1 1-43 0,-2 1-50 16,1-3-15-16,1-3-58 0,0 2-85 16,-2-1-167-16,3-2-247 0,0 0-249 0,-1-2 112 15,1-1 32-15,-1-1 86 0,-1 1 59 16</inkml:trace>
  <inkml:trace contextRef="#ctx0" brushRef="#br0" timeOffset="7526.51">9705 5112 1095 0,'-5'-3'384'0,"5"3"-26"15,-3-3-10-15,3 3-30 0,0 0-14 0,0 0 34 16,0 0-15-16,14-4-42 0,-10 4-40 15,5-2 5-15,3 1-64 0,-2-3-24 0,6 3-20 16,2 0-71-16,-3-2-47 0,5 1-50 0,-4-1-83 16,5 1-148-16,-9 0-200 0,9-1-417 15,-3 1 77-15,2 1 74 0,1 0 100 0,0-3-5 16</inkml:trace>
  <inkml:trace contextRef="#ctx0" brushRef="#br0" timeOffset="7991.67">10185 4963 1287 0,'0'0'392'0,"0"0"-11"16,0 0-38-16,0 0-31 0,0 0-28 0,-3 14-48 16,1-4-1-16,-1-2-17 0,3 2-21 15,-2 3-25-15,2 0-24 0,0 0-25 0,-1 1-21 16,-1-1-33-16,2 1-25 0,0 1-34 15,-3-3 6-15,3-2-73 0,0 1-30 0,0 0-66 16,3-2-91-16,-3 1-88 0,3-4-531 0,2 1 75 16,-3-2 91-16,1-2 29 0,2 0 103 15</inkml:trace>
  <inkml:trace contextRef="#ctx0" brushRef="#br0" timeOffset="8383.69">10285 4983 962 0,'0'0'402'0,"2"-6"-36"15,-2 6-33-15,6-3-13 0,-1 0 40 16,2 3-32-16,1-2-21 0,0 2-48 0,-1 0-13 15,1 0-8-15,-2 2-31 0,4-2-20 0,-5 4-5 16,3 0-21-16,-1 0 0 0,1 1-33 16,-5 1 3-16,1 0-16 0,-1 3 0 0,2 0-18 15,-5 0 16-15,2 2-24 0,-2 0-17 16,1-1 2-16,-2 2-15 0,1 0 28 16,0 0-64-16,0 1 13 0,0-2 0 0,0 0-23 15,0-1-16-15,-2 0-35 0,4-3-11 0,-2 3-12 16,0-2-29-16,1-2-10 0,1 1-30 0,1-1-62 15,1-3-21-15,0 1-119 0,-2 0-106 16,3-2-527-16,0-1 95 0,0 0 112 0,-5-1 28 16,10 0 65-16</inkml:trace>
  <inkml:trace contextRef="#ctx0" brushRef="#br0" timeOffset="8893.7">10316 5113 1418 0,'0'0'419'0,"0"0"-114"0,0-5-11 16,0 5-45-16,5-2-14 0,0-2-30 0,0 3-29 16,6-1-19-16,-1-3-27 0,0 1-20 0,3 2-36 15,5-4-33-15,2 0-30 0,-2 1-9 0,5-1 8 16,3-1-25-16,-3-1 18 0,-3 2-8 15,-1 1-11-15,-2-1 9 0,-1 0 14 0,-1 3-7 16,-5-2 18-16,1 3 15 0,-4-1-2 16,1 3 10-16,-3-1 8 0,0 1-6 0,-5 0 11 15,0 0 25-15,0 0-12 0,6 2-8 16,-6-2 5-16,-4 5-16 0,4 1-2 0,-2-1-2 16,2 0-3-16,-2 1-3 0,2 2-15 0,0-2-5 15,2 0 3-15,0 1 7 0,2-1-20 16,0 1 4-16,2-1-9 0,1-1 2 0,1-3 5 15,2 2 8-15,3-1-10 0,-3-3-16 0,3 0 24 16,-2-1 4-16,3 0-10 16,0-4 26-16,-4 4 20 0,2-4 16 0,-4 1 10 0,0 0 13 15,-1-2 22-15,-4 1 73 0,2-2-11 16,-3 1 0-16,-2 0-7 0,-2-1-31 0,-5-1-77 0,2-1 10 16,-3 2-26-16,-2 1-2 15,-1 0 13-15,-4-1-28 0,2 2-8 0,0 2 0 16,1 0-36-16,-2 0-10 0,2 0-41 0,2 2-51 15,0 1-15 1,1 0-39-16,2 3-28 0,0-2-77 0,-1 2-146 0,2 0-568 0,4 0 56 16,-1 1 105-16,3-4 111 0,0 3 78 0,0-3 65 15</inkml:trace>
  <inkml:trace contextRef="#ctx0" brushRef="#br0" timeOffset="9099.08">11087 4918 1144 0,'0'0'494'0,"0"0"-18"0,6 7-33 0,-6-5-57 0,2 2-12 16,0 3-47-16,-2-1-47 0,3 2-12 0,-3 3-40 16,0-3-26-16,3 4-17 0,-3 0-29 15,2 2-59-15,0-1-46 0,-1-1-51 0,2 0-61 16,-1 0-49-16,1-1-90 15,-1 1-110-15,-2-4-112 0,5-2-492 0,-2 1 85 0,2-1 92 0,-2-1 99 16,1-2 29-16</inkml:trace>
  <inkml:trace contextRef="#ctx0" brushRef="#br0" timeOffset="9311.54">10998 5050 1251 0,'0'0'364'0,"0"0"-9"16,7-6-4-16,-7 6-64 0,10-2-26 0,-1-1-23 15,1 3-28-15,0-1-10 0,3-3-26 32,2 3-23-32,0-1-18 0,3-2-46 0,-2 2-39 0,1-3-58 0,-1 3-54 0,-1-1-112 15,3-6-221-15,-2 9-433 0,-1-3 52 0,-5 2 90 16,3-1 94-16,-2 2 26 0</inkml:trace>
  <inkml:trace contextRef="#ctx0" brushRef="#br0" timeOffset="9927.85">11585 4962 1144 0,'0'0'384'0,"0"0"-18"0,0 0-62 0,0 0-25 16,0 0-13-16,-11 13-17 0,4-11-39 16,2 5-11-16,-5 0-25 0,2 2-17 15,0-2-14-15,-2 0-2 0,-1 3-29 0,3-3 1 16,1 1-13-16,-3-1-16 0,5 2-17 0,-1-3-8 16,1 1-6-16,0-1 24 0,3-2-28 15,-1 2 10-15,3-1-16 0,0 0 6 0,0-2 2 16,3 1 10-16,-1-2 1 0,3 1-19 0,3-1-7 15,-3 1 18-15,5-1-54 0,0-2 15 16,1 0 21-16,2 0-20 0,2-1-11 16,1 0-41-16,-1-2-33 0,3 1-23 0,-3-2-11 0,3 2-50 15,-2-1-85-15,-1 0-128 0,-7 1-70 16,7-2-457-16,-7 1 102 0,-1 0 74 31,1-1 75-31,-3 1 63 0</inkml:trace>
  <inkml:trace contextRef="#ctx0" brushRef="#br0" timeOffset="10132.84">11575 4977 1354 0,'-3'5'417'0,"0"-1"-31"0,3 0-12 0,-2 2-44 0,2 4-23 0,2-2-22 0,1 5-50 15,-1-1-10-15,-1 4-74 0,6 0-28 16,-4 2-10-16,-1 1-11 0,4-2 11 0,-2 2-34 15,-1-1-23-15,2-3-12 0,-3 0-44 0,4-2-26 16,-4 0-35-16,4-4-24 0,-4 1-96 16,1-3-55-16,2-1-127 0,-2 0-487 0,1-3 67 15,0 0 86-15,0-2 60 0,-4-1 56 16</inkml:trace>
  <inkml:trace contextRef="#ctx0" brushRef="#br0" timeOffset="10673.02">11810 4974 1077 0,'8'1'428'15,"-8"-1"-42"-15,0 0 8 16,10 2-125-16,-5 2-28 0,-2-2-14 0,-1 2-14 15,2 0-29-15,-2 1 6 0,-2 0-11 0,2 1-41 16,-2 1-18-16,-2-1 1 0,2 2-16 16,-3 0-13-16,3-2 2 0,-3-1 1 0,3 3-28 15,-2-5 2-15,2 2-5 0,0 1-8 0,0-4-10 16,2 2 16-16,-2 1-9 0,3-2-12 16,0 2 11-16,-1-1 12 0,1-1-39 0,2 2 42 15,-3-3 2-15,1 2-13 0,0 1-7 16,-1-2-6-16,1 0 8 0,-3 1 1 0,2 0 1 15,-2-4 1-15,-2 7-18 0,2-5 13 0,-1 2-1 16,1-4 62-16,-7 6-2 0,4-4-39 0,-1 2-23 16,-2-3-33-16,2 1-29 0,0 1-53 15,-1-3 3-15,-2 2-70 0,4 0-48 16,-2 1-57-16,5-3-109 0,-10 0-111 0,9 0-509 16,1 0 66-16,0 0 144 0,0 0 59 0,0 0 66 15,0-10 69-15</inkml:trace>
  <inkml:trace contextRef="#ctx0" brushRef="#br0" timeOffset="11013.72">11977 4988 1072 0,'0'0'425'16,"0"0"-28"-16,0 0-31 0,0 0-26 16,0 0-35-16,2 8-1 0,-2-3-50 0,0 0-19 15,0 2-25 1,3 0 0-16,-2 0-46 0,3 3-28 0,2-1-14 0,1-3-6 0,-2 4-27 15,3-3 1-15,2-1-11 0,-2-3-12 0,2 1-26 16,3 1 15-16,-1-4 0 0,-1-1 1 0,2 0-11 16,-3-3 2-16,3 0-43 0,-3 1 21 15,1-3 25-15,-4 1 16 0,0-1 73 0,-1 0 6 16,-1 1 5-16,-2-3-76 0,-3 1-11 0,-3 0 2 16,0-1 6-16,-1 2-6 0,-2-1-22 0,-2 4 15 15,-2-2-26-15,0 0 3 0,-3 1-8 16,1 1-54-16,1 0-9 0,-2 2-19 15,3-1-66-15,-1 1-16 0,-1 3-51 0,2-2-43 16,0-1-116-16,1 3-199 0,2 1-458 16,2-2 114-16,0 2 75 0,0-3 187 0,2 3 13 15,3-4 20-15</inkml:trace>
  <inkml:trace contextRef="#ctx0" brushRef="#br0" timeOffset="11263.45">12441 4913 1121 0,'0'0'517'0,"0"0"-54"0,0 0-41 0,-8 12-33 0,8-6-58 0,-2 2-32 15,2 0-20-15,2 3-36 0,-4 2-48 0,4-1-39 16,-1 1-46-16,-1 0-41 0,2 2-64 0,-2-2-74 15,2 0-151-15,1-4-174 0,-3 3-502 0,3-2 82 16,-1 1 79-16,0-3 85 0,-1-2 13 0</inkml:trace>
  <inkml:trace contextRef="#ctx0" brushRef="#br0" timeOffset="11447.02">12297 5052 1418 0,'3'-6'396'0,"2"4"42"0,-5 2-57 15,11-2-12-15,-1-1-39 0,0 1-30 0,6-2-52 16,1-1-18-16,4 3-50 0,-1 0-81 0,3-2-37 16,3-1-95-16,-3 3-108 0,2-2-230 0,-1 2-515 15,-3 0 54-15,-1-2 120 16,1 3 103-16,-4-2 18 0</inkml:trace>
  <inkml:trace contextRef="#ctx0" brushRef="#br0" timeOffset="12046.2">12897 4892 1328 0,'6'-3'450'0,"1"3"6"16,1 0-54-16,-8 0-44 0,15 0-33 15,-7 3-17-15,-1-1-22 0,1 0-32 0,-2 2-14 16,-2 0-38-16,-1 0 11 0,2 1-123 0,-5 1 2 15,0 0-18-15,-2 0 18 0,-1 0-30 16,1-2-1-16,1 2-20 0,-1-1 8 0,0-1-26 16,-1 0 7-16,3 0-14 0,0 1-6 0,0-5 0 15,0 3 0-15,0-3-7 0,3 5-3 16,-3-5 20-16,5 4 1 0,0-2-8 0,-2-1 22 16,1 2-9-16,2 0 0 0,-4 0 35 15,3 0-25-15,-2 1 2 0,-1-2 37 0,1 2-22 0,-3 0-7 16,-3 0-12-16,1 1 30 15,0 0-21-15,-4-1 3 0,1 1-18 0,-3 0 1 16,0-1-32-16,1 0-5 0,-4 0-27 0,1-2-27 16,3 3-17-16,-3-4-42 0,2 3-14 0,0-3-21 15,0 1-47-15,4-2-106 16,4 0-93-16,-14 3-51 0,12-5-446 0,2 2 49 0,0 0 129 16,2-8 27-16,-2 8 54 0</inkml:trace>
  <inkml:trace contextRef="#ctx0" brushRef="#br0" timeOffset="12382.47">13077 4908 980 0,'0'0'374'0,"0"0"-42"0,0 0 1 0,0 0-46 0,-5 13 7 16,2-8-61-16,1 1-26 0,1 0 3 16,-1 0-36-1,2 0-5-15,0 0-28 0,2 2-21 0,-1-1-15 0,4-1-2 0,-2 0-6 0,1-1-20 16,4 1 0-16,-2-4-3 0,1 2-13 0,3-4 3 15,-2 2-2-15,2-3 30 0,0 0 5 16,-4 1-7-16,4 0 7 0,-2-4 0 16,-1 2 93-16,-2-4 2 0,0 2-11 0,0 1-22 15,-2-2-87-15,-3 1 2 0,3-1-13 0,-6 0 3 16,3-1 5-16,-3 0-5 0,-2 1-35 16,-2 0 4-16,1 2-15 0,-1-3 2 0,0 1-38 15,-1 4-10-15,2-3-36 0,-1 2-7 16,2 1-22-16,0-2-19 0,-1 1-55 0,1 1-2 15,5 1-28-15,0 0-18 0,-7-1-74 0,7 1-74 16,0 0-55-16,0 0 63 0,0 0-311 16,14-4-94-16,-8 3 20 0,2-1 69 0,-1 0 44 15</inkml:trace>
  <inkml:trace contextRef="#ctx0" brushRef="#br0" timeOffset="12624.34">13233 4908 606 0,'1'4'297'0,"3"2"5"15,-1-3-123-15,0 1 18 0,-1 2-20 16,0 1-29-16,2-2-2 0,0 1-13 0,-1-2 6 15,4 1 27-15,-1 0-38 0,-1-4 33 16,3 2 70-16,0-1 4 0,4-2 11 0,-2 0-11 16,1 0-63-16,1-5 10 0,1 3 89 0,-5-2-2 15,2-1-8-15,0 1-69 0,-2-1 2 0,0 0-7 16,-3-2 79-16,-2 0-56 0,-1 1 3 16,-2-1 7-16,-2 1-46 0,-1-3-23 15,-2 3-31-15,-3-1-48 0,0 0-29 0,1 0-53 16,-3 2-61-16,0 0-45 0,-1 1-63 0,1 1-26 15,0 0-74-15,-1 3-143 0,-2 0-597 0,0 1 70 16,-2 4 86 0,-2 1 67-16,-2-3 95 0,-6 6 33 0,1 0 79 0</inkml:trace>
  <inkml:trace contextRef="#ctx0" brushRef="#br0" timeOffset="13556.57">7680 5657 811 0,'0'0'343'0,"13"-1"-46"0,-5 1-21 16,4 0-20-16,3 0-7 0,6 0-24 15,5-1-18-15,7 1-15 0,14-3-10 0,3 2-18 16,2 0 10-16,4-3-39 0,3 2-7 16,15-1-5-16,3 0-18 0,6 2-15 0,4-3 2 15,0-1-2-15,0 2 2 0,2-3 7 0,9 2-88 16,4 2 7-16,4-4 10 0,22 1 0 16,0-2 23-16,3-1-18 0,0 3 29 15,2 0-37-15,3-3 9 0,-5 2 9 0,4-5 67 16,7 3-10-16,-1-1-15 0,-1-1 14 0,-1 0-1 15,2 0-114-15,5-1 6 16,-5 1 10-16,2 0-2 0,-1-1-21 0,4-2 20 0,0 0 3 16,-5 1 0-16,-5-1 20 0,-2 1-32 0,-1-1 9 15,-3 1 11-15,-1 3-6 0,-29 0 1 16,-2-1 10-16,-2 2-26 0,-1-3-8 0,-3 3 3 0,-2 0-2 16,-5-1 23-16,-5 0-29 15,-8 1 34-15,-3 2-21 0,-18-3 8 0,-2 4 2 16,-14 1 1-16,-7 0-32 0,-5 2 9 0,-2-2 2 0,-5 2 0 15,-1-1 7 1,-5 0 14-16,1 2-14 16,-4-2 39-16,1 2-30 0,-3 0 4 0,-2 0 19 0,1-2-27 0,-4 3 27 0,0 0-14 15,4-3-7-15,-4 3-13 0,0 0-48 0,0 0-11 16,0 0-33-16,0 0-34 0,0 0-48 16,0 0-69-16,0 0-120 0,0 0-512 15,0 0 112-15,0 0 74 0,0 0 93 0,0 0 31 0</inkml:trace>
  <inkml:trace contextRef="#ctx0" brushRef="#br0" timeOffset="14916.87">10390 5808 1141 0,'7'-1'379'16,"-7"1"-18"-16,0 0-13 0,6 0-38 15,-6 0-98-15,0 0 6 0,0 0-6 0,5-2-22 16,-5 2 7-16,0 0 0 0,0 0-59 16,0 0 0-16,0 0 75 0,-21 6-32 0,14-2-9 15,-4 2-11-15,-1 0-35 0,-1 1 12 0,-3 1-15 16,1 0-11-16,-1 0-4 0,1 2-3 15,0-3-5-15,2 2-21 0,1 0-5 0,1-1-7 16,1-2 4-16,0 2-17 0,4-1-38 0,-2 0 7 16,6 0-11-16,0-2-4 0,2 0 5 0,0 1 5 15,2-1-3-15,3-1-5 0,2 0-12 16,-1 0 20 0,4 3-23-16,1-3 10 0,-1 1 38 0,2 0-104 0,1 0-6 0,0 0 44 15,-2 1-20-15,-1 0 7 0,0 0 31 0,-5-1-16 16,1-1 34-16,-2 5 15 0,-4-3-7 15,0 1-11-15,-4 0 18 0,1 1-2 0,-5 0 10 16,-2 3-16-16,-3 0-2 0,-2-3 2 16,-1 2-45-16,-5-1-1 0,-2 1-25 15,-2-2-28-15,2-2-54 0,-2 0-21 0,-4 1-28 16,-1-2-63-16,1 1-124 0,-4-4-56 16,-11 3-514-16,1 1 99 0,-1-5 64 0,-4 4 103 0,-4-4 49 15</inkml:trace>
  <inkml:trace contextRef="#ctx0" brushRef="#br0" timeOffset="15540.62">7032 5727 1279 0,'0'0'364'0,"-4"-1"-16"0,4 1-26 0,0 0-25 0,0 0-43 16,0 0-14-16,19 1-14 0,-9-1-22 15,0 0-37-15,0 0-24 0,3 0-46 16,2 0-27-16,1 0-53 0,-1-1-45 0,3 0-54 16,-2 0-81-16,1 0-81 0,-1 1-70 0,-3 0-385 15,-1 1-36-15,-1 0 88 0,-4 0 53 16,-1 0 79-16</inkml:trace>
  <inkml:trace contextRef="#ctx0" brushRef="#br0" timeOffset="15674.21">7126 5838 1251 0,'0'0'387'0,"-8"1"-26"0,8-1-113 0,-2 3-28 0,2-3-13 0,0 0-27 0,0 0 17 15,0 0-31-15,10 7-23 0,-7-6-27 0,4-1-42 16,3 0-28-16,-1 0-74 0,1-1-36 16,2 1-128-16,-2-2-141 0,4 0-473 0,-1 2 112 15,1 0 26-15,2-3 66 0</inkml:trace>
  <inkml:trace contextRef="#ctx0" brushRef="#br0" timeOffset="16770.25">7324 7286 1364 0,'2'-5'402'0,"-2"5"-59"0,8-4-46 0,-3 3-16 15,2 1-25-15,1-1-18 0,1 0-54 0,0-3-35 16,2 4-42-16,-1 0-58 0,0 0-69 16,0 0-113-16,-2-2-139 0,2 2-547 15,-2 2 115-15,-1-2 8 0,-1 0 82 0</inkml:trace>
  <inkml:trace contextRef="#ctx0" brushRef="#br0" timeOffset="16971.22">7232 7467 988 0,'-1'4'404'0,"1"-4"-41"0,0 0-9 15,8 3-39-15,-8-3-16 0,10 0-10 0,0-2-71 16,1-1 5-16,2-1-44 0,0 2-44 0,4-4-58 16,-1 3-41-16,2-2-92 15,2 0-152-15,-2 0-339 0,0-1-283 0,0 0 165 0,0 3-21 16,0-4 74-16</inkml:trace>
  <inkml:trace contextRef="#ctx0" brushRef="#br0" timeOffset="17843.7">8397 7125 980 0,'4'-5'386'0,"0"5"29"16,2-2-36-16,-1-1-26 0,-5 3-20 0,12 3-52 16,-6-1-9-16,-1 3-11 15,-2 0-38-15,-1-1-1 0,0 4-25 0,-2-2-2 0,-2 3-19 16,0-2-27-16,-1 3-26 0,-2 0-3 0,-1 1-2 15,1-1-8-15,-2-2-26 16,2-1 1-16,-1 2-8 0,2-2-13 16,0-3 7-16,0 2-19 0,1-1-12 0,1-2-9 0,1-1-5 0,1-2 15 15,-2 3-31-15,2-3 16 0,0 0-11 16,0 0-7-16,10 0 25 0,-4 2-36 16,-1-1 26-16,-5-1-15 0,15 2-11 15,-5 0 29-15,-2 2-8 0,2-1-13 0,-2 0 5 0,5 1 8 16,-6-1-5-16,3 2 25 0,-2 1-30 15,-2-2 5-15,-1 2 33 0,0-2 0 16,-5 3-18-16,0-1-5 0,-3 2 18 0,0 0-10 16,-1-2 0-16,-7 2 2 0,4 1 21 0,-4-1-29 15,-2-1 9-15,0 1-14 0,-1 1-7 16,0-2-3-16,1-2-46 0,-2 0 31 0,5-1-26 16,0 0-53-1,-1-1-16-15,1-3-61 0,3 4-46 0,-1-4-149 0,2 1-149 0,2-2-490 16,4 1 55-16,0 0 106 0,0 0 104 0,2-10 75 15,-2 10 71-15</inkml:trace>
  <inkml:trace contextRef="#ctx0" brushRef="#br0" timeOffset="18508.68">8872 7130 1197 0,'-8'0'428'0,"0"-3"-116"0,1 2-17 15,-3 5-19-15,3-4-25 0,-1 3-44 16,-3 2-10-16,1 1-10 0,-3-1-23 16,3 3-3-16,-3-2-12 0,0 5-26 0,3-4-6 0,0 0 9 15,0 0-34-15,2 3-13 0,0-3 8 16,3 0-20 0,0-2-6-16,2 1-15 0,1-4 11 0,2 4-6 0,0-6-10 0,5 4-8 15,2-4 3-15,-1 1 5 0,4-4-10 0,-3 1 7 16,3 0-15-16,1-2-3 0,4 1 1 15,-4-2 10-15,4 0 4 0,-4 0 17 0,1 1 78 16,-4 0-17-16,-1-1 7 0,1 5 6 0,0-3-14 16,-3 0-12-16,2 3 28 0,-7 0-23 15,8 0-82-15,-8 0 10 16,9 4-5-16,-5-2 11 0,-1 2-14 0,0-1 6 0,-1 2 10 0,-2 0-23 16,2 0 2-16,1 3 1 0,-6-1-13 0,3-1-21 15,0 2-31-15,0 1 6 16,-2 0-36-16,0-3-18 0,2 1-36 0,-3-1-16 0,3 1-66 15,0-1-23-15,0-1-128 0,0-5-71 16,0 6-515-16,0-2 48 0,5-3 160 16,-5-1 17-16,8 1 69 0,-8-1 57 0</inkml:trace>
  <inkml:trace contextRef="#ctx0" brushRef="#br0" timeOffset="18826.43">9165 7106 1016 0,'2'-2'448'0,"-2"2"35"0,0 0-30 0,0 0-48 0,0 0-44 0,0 0-41 16,0 0-28-16,-15 8-103 0,9-5-2 15,-2 5-3-15,1-1-28 0,-6 2-15 16,1 0-13-16,3-1 3 0,-3 1-29 0,0 0-12 16,3-1-1-16,-1-1-15 0,2 2-2 0,0-2-13 15,1 0 10-15,0-2-10 0,1-1-3 16,2 2-12-16,1-1 7 0,3 1-5 15,-3-4-5-15,3-2-8 0,5 9 6 0,-2-7-11 0,2 1 10 16,0-1-17-16,3-1 17 0,2-1-51 0,0 0 18 16,1 0-30-16,4 0-16 15,-2-2-36-15,2-2-30 0,1 2-34 16,-1-1-31-16,2-1-43 0,-1 0-61 0,-1-2-103 0,-2 1-41 16,0-1-491-16,-2 2 79 0,-1-1 87 0,0-1 108 15,-2 1 35-15</inkml:trace>
  <inkml:trace contextRef="#ctx0" brushRef="#br0" timeOffset="19022.5">9252 7087 1223 0,'-6'3'371'0,"2"1"-12"16,-2 1 65-16,1 1-40 16,-2 2-15-16,1 2-39 0,1 0-25 0,0 1-13 0,0 6-26 15,-1-2-46-15,4 2-5 0,0-2-31 16,-1 2-15-16,0 2-66 0,1-4 9 15,2 3-45-15,-2-1-49 0,2-4-57 0,0 4-32 16,0-3-19-16,0-1-99 0,0-1-193 0,-3 0-102 16,3-4-432-16,0 3 76 0,0-4 80 15,0-1 143-15,0 0-5 0</inkml:trace>
  <inkml:trace contextRef="#ctx0" brushRef="#br0" timeOffset="19317.75">8275 7669 1187 0,'0'0'407'0,"10"-6"46"0,0 3-38 16,3-2-41-16,7-2 2 0,6 0-33 15,15-4-15-15,3 0-42 0,7 3-32 16,11-7-16-16,-1 4-23 0,1 0-39 0,-3-1-22 16,0-1-3-16,2 0-128 0,-10 2-15 0,0 0-26 15,-2 3-54-15,-2-3-28 0,-6 4-33 16,-8 1-49-16,-7 1-10 0,-3 2-25 0,-5 0-47 0,-6 1 47 16,-1 1-175-16,-4-2 8 0,-2 3-435 15,-2 2 100-15,-3-2 48 0,0 0 62 16</inkml:trace>
  <inkml:trace contextRef="#ctx0" brushRef="#br0" timeOffset="19561.39">8465 7732 860 0,'-9'6'325'16,"5"-2"-5"-16,1-2-18 0,3-1-11 15,0-1-9-15,10 3 0 0,-10-3-16 0,24-4-23 16,-9 4-8-16,10-4-2 0,4 1 75 15,14-3-24-15,-2 1-36 0,6-1 0 16,-4-2-102-16,4-3-31 0,-2 3-7 0,1-3-16 16,-2-1-10-16,2 2-51 0,-3-1-31 0,-2 0-41 0,-4 2-16 15,-6-1-9-15,-6 4-19 0,-7 0-25 16,0-1-20-16,-2 2-26 0,-6 3-103 0,-3-5-168 16,-2 2-457-16,-2 0 101 0,-5 3 20 15,-4-2 154-15,-4-3 18 0</inkml:trace>
  <inkml:trace contextRef="#ctx0" brushRef="#br0" timeOffset="20336.97">6493 7682 880 0,'-3'6'284'0,"1"-5"-18"16,2-1-30-16,-1 5-16 0,1-5 3 0,0 0-13 15,0 5-13-15,0-5-13 0,0 0-13 0,0 0-9 16,0 0 71-16,11-10 5 0,-6 4-41 16,0 0 15-16,1-2-22 0,2 1-27 0,-1-4 9 15,0 2 2-15,3-3-20 0,-4 1-16 16,1-1 5-16,-1-1-2 0,2 0-23 0,-4 2 23 15,2-2 12-15,-2 5-2 0,-1-2-15 16,0 3 12-16,0 0-25 0,-1 0 10 0,1 2-15 16,-1-1-26-16,-2 6 3 0,0-1-6 0,0 1 1 0,0 0-77 15,0 0-16-15,0 0 19 16,-5 13-27-16,5-7 27 0,0 0-3 0,0-1-26 16,0 2-26-16,0-1 3 0,0 0-7 0,0 0-21 15,3-1-3-15,-1-1 3 0,0 1 3 0,1-4 15 16,2 3-10-16,-5-4 17 0,11-3-9 15,-11 3 22-15,13-3-5 0,-4-1 3 0,-1-2 15 16,0 1 29-16,0 0-14 0,-1 0-7 16,1 0 33-16,-3 1-10 0,3 2 10 0,-3 0 3 15,0 2-10-15,-5 0-9 0,13 2 1 16,-6 3-3-16,-1 1-5 0,-1-3-5 0,0 2-25 16,-2 1-31-16,2 1-37 0,0-1-24 0,-3-1-37 15,3 1-7-15,1-1-46 16,-4-2-55-16,1 2-132 0,-1-1-61 0,4-1-464 0,-4-2 54 15,-2-1 71-15,5 5 121 0,-5-5 56 0</inkml:trace>
  <inkml:trace contextRef="#ctx0" brushRef="#br0" timeOffset="20680.54">6291 7320 1346 0,'-3'7'461'0,"2"5"-11"0,-1 1-135 15,2 4 0-15,0 2-18 0,0 2-39 0,-2 6-12 0,4 0 48 16,-2 12-27-16,0 2-14 16,0-1-51-16,0 1-25 0,-2-1-16 0,-1-2-53 15,3-4-34-15,0-7-26 0,0-4-60 16,0-3-16-16,3-2-26 0,-1-4-49 0,0-1-155 0,2-2-170 16,0-3-506-16,2-4 77 0,-2-2 86 15,2-2 162-15,-6 0-21 0,11-8 123 0</inkml:trace>
  <inkml:trace contextRef="#ctx0" brushRef="#br0" timeOffset="21399.67">6204 7012 877 0,'25'-10'318'15,"11"-3"33"-15,2 1-29 0,8-2-30 0,13-5-8 16,8 0 15-16,5-4-48 0,9 3 10 16,27-10-87-16,10-2 54 0,3 6-25 15,7-5 4-15,-7 0-15 0,7 1-41 0,3 1-82 0,2-2-5 16,-5 3 5-16,-5 3-2 16,-3 3 12-16,-1 1-18 0,-22 9 19 0,-7 2-29 0,-3 0 8 15,-3 3-8-15,-10 2 16 0,-14 4-11 16,-4 2 0-16,-2 2-17 0,-6-1 7 15,-1 4 2-15,-8 1-9 0,-1 3-9 0,-7-1 24 16,-8 1-23-16,0 2 7 0,-3-2 8 0,6 11 3 16,-1 0-8-16,-4 2-5 0,-1 0 2 0,1 4 11 15,0 0-16-15,-6 5 11 0,3-1-11 16,0 5 5 0,-3-4-10-16,1 6 11 0,-1-1-16 0,-2 1 23 0,0 0-28 0,0-1-10 15,-3 0 2-15,2 0-5 0,-1 1-8 0,-1-5-9 16,-3 3-9-16,-1-6 18 0,2 3-4 15,-1-4-19-15,-2-5 3 0,-2-3-2 0,-1-2-9 0,1 1-7 16,0 2 3-16,-1-3 7 0,0-1-10 16,-2-3-12-16,0-2-4 0,0 0-2 0,0-1-15 15,0 0 0-15,0-2 15 0,-2-1 8 16,0-2-3-16,-1 0 11 0,0-1 9 16,-1-1 1-16,1 1-8 0,-2-2 23 0,0-1-23 0,-1 1 13 15,-2-2 8-15,-2 2 2 0,-2-3 12 16,-1 1-4-1,-3 1 8 1,1-1-3-16,-2-1-1 0,-2 3-11 0,1-3 9 0,-3 1 3 0,3 0-8 0,-4 0 23 0,1-2-12 0,-1 2 9 0,-2 0-2 16,1-1 21-16,0 0-13 0,-3 0-6 15,3-1-1-15,-5 0 4 0,-3 1-8 16,-5 2 4-16,-10-1 14 0,-2-2-7 0,-1 5-11 16,3-4 1-16,-1 4-1 0,1-3-4 0,11 3 15 15,6-4-13-15,6-1-3 0,0 4-10 16,3-3-7-16,4 0-31 15,1-1-31-15,2 0-23 0,0 0-23 0,3 1-18 0,0 1-69 0,2 0-72 16,0 0-79-16,0-2-494 0,4 1 90 16,-2 1 48-16,2 0 92 0,4-2 75 15</inkml:trace>
  <inkml:trace contextRef="#ctx0" brushRef="#br0" timeOffset="23161.64">18338 9006 1244 0,'0'0'422'0,"0"0"-25"15,0 0-47-15,20-2-43 0,-12 2-12 16,2-3-49-16,1 2-8 0,1-1-34 0,-1-1-37 0,2 2-37 16,1-1-35-16,-3-1-36 15,2 2-36-15,-2-1-36 0,-1-2-84 0,0 4-105 16,-3-3-159-16,1 2-497 16,0-1 106-16,0 1 53 0,-3 1 82 0,-5 0 102 0</inkml:trace>
  <inkml:trace contextRef="#ctx0" brushRef="#br0" timeOffset="23739.41">18654 8869 1215 0,'8'1'389'0,"-4"1"-35"0,2 1-34 0,1-3-31 16,-2 4-25-16,-2-2-1 0,2 3-27 15,-3-2-47-15,0 2 26 0,-2 1-33 0,0 1-23 16,-2-1-14-16,0 0 4 0,-3 1-24 0,2-1-22 16,1 1-14-16,-1-2 19 15,0 1-34 1,1 0-15-16,0-1 18 0,2-2-24 0,-1 2-6 0,1-5-7 0,1 6 12 0,3-3-24 0,-1 0 15 15,2-2-15-15,-2 5 8 0,2-5 8 16,2 4-19-16,-1 0 6 0,-1 1 10 16,0-4 5-16,0 3-15 0,-5 1 18 0,5-1-6 15,-5 1-7-15,0-3 20 0,0 3-15 0,-2 0-8 16,-1 0 1-16,-2 0-9 0,0 0 1 16,-3-2 5-16,-2 2-3 0,0-2-8 0,-1 1 6 15,2-4-11-15,-2 3-28 0,3-3-10 0,0 1-43 16,0-1-26-16,1 1-31 0,0-2-41 15,7 0-36-15,-8 0-61 0,8 0-97 0,0 0-47 16,-2-5-503-16,2 5 114 16,0 0 34-16,7-6 84 0,-2 1 90 0,3 1 31 0</inkml:trace>
  <inkml:trace contextRef="#ctx0" brushRef="#br0" timeOffset="24114.31">18961 8850 1369 0,'-10'-1'402'0,"10"1"28"0,-13 2-36 0,5-2-31 15,1 5-58-15,-3-3-13 0,1 2-3 0,-3 1-41 0,2 0-22 16,0 0-27-16,1 0-27 0,0 2-31 16,1 0-16-16,0 0 0 0,3 0-20 15,-1-4-18-15,2 4-5 0,1-1-5 0,3-1-15 16,0-3 14-16,3 2-30 0,1-4 6 0,-4 0-1 15,10 3-13-15,-4-3-12 0,-6 0 20 16,13-3-18-16,-5 3 28 0,0-2 3 0,-1-1 13 16,1 2-16-16,1-1 13 0,-6-1 21 0,3 3-26 15,-1-2 0-15,-5 2 26 0,7 0-37 16,-7 0-7-16,8 2 11 0,-4 1-9 0,-3-1 6 16,2 3-10-16,-3 1-9 0,0-1-12 15,0 3-20-15,-3 0 5 0,2 2-13 0,-3-1-44 0,4 0-30 16,-5 1-29-16,2 1-15 15,-1-1-36-15,1-1-66 0,0 2-192 0,-2-3-123 0,2 0-469 16,3-3 85-16,0 1 90 0,3-1 120 16,0-3 64-16,-1 2 53 0</inkml:trace>
  <inkml:trace contextRef="#ctx0" brushRef="#br0" timeOffset="24431.73">19166 8914 1313 0,'0'0'476'0,"2"-1"-39"0,-2 1-111 16,0 0-40-16,0 0-4 0,0 0-31 0,0 0-8 15,-17 4-21-15,9-2-19 0,0 3-37 0,2-3 3 16,-6 4-26-16,4 1-27 0,1-2 4 0,-3 1-8 16,0 0-37-16,2-1 17 0,0 2-18 15,0-1-2-15,4-2-18 0,-2 0 12 0,1 2-15 16,0 0 16-16,4-1-26 0,-1 0 7 15,2-1-4-15,0 0-21 0,3 3 3 0,0-3 7 16,2 2-20-16,3-4-11 0,0 3 1 0,2-2-42 16,0 1-30-16,0-3-41 15,2-1-23-15,-1 0-38 0,3 2-85 0,-2-4-90 0,0-1-64 16,-1 1-470-16,1-1 109 0,-1 1-2 16,-1-1 108-16,-2-3 84 0</inkml:trace>
  <inkml:trace contextRef="#ctx0" brushRef="#br0" timeOffset="24593.23">19243 8930 1087 0,'0'0'336'0,"-13"1"-9"15,8 4 52-15,0-1-38 0,0 3-6 16,-1 2-30-16,2 3-16 0,-2 1-33 0,3 3-23 16,-4 1-26-16,5 0 0 0,-1 2-20 0,-2 0-31 15,2-1-35-15,1 1-88 0,0 0-54 0,1-2-89 16,-2-3-115-16,-2 0-207 0,5 1-446 15,1-6 107-15,-2 2 21 0,2-3 136 16,-1-1 5-16</inkml:trace>
  <inkml:trace contextRef="#ctx0" brushRef="#br0" timeOffset="25296.95">17428 8810 1110 0,'0'0'413'0,"0"0"-37"0,-3 16-10 16,3-7-49-16,0 0-40 16,-2 3 2-16,2 4-46 0,-3 1-29 0,3 5-7 15,0-2-35-15,-3 3-32 0,1 2-43 0,2 1-51 16,-2-6-41-16,4 4-85 0,0 0-117 16,1-4-154-16,2 1-499 0,6-2 90 0,-1-1 91 15,5-7 60-15,3 2 58 0</inkml:trace>
  <inkml:trace contextRef="#ctx0" brushRef="#br0" timeOffset="26003.87">19445 8688 1418 0,'0'0'432'0,"0"0"-112"0,0 11-41 15,1-4 8-15,-1 5-24 0,0 1-37 0,2 0-27 16,1 6-17-16,0 1-10 0,-1 4-16 0,0 1-5 16,3 0-44-16,-2 2-4 0,-3-1-52 15,5-1-31-15,-4-4-66 0,1 4-74 16,3 0-180-16,-6-6-89 0,5 0-471 0,-2 0 82 15,0-1 87-15,1-4 118 0,-3 2 30 16</inkml:trace>
  <inkml:trace contextRef="#ctx0" brushRef="#br0" timeOffset="26631.14">17382 9544 982 0,'0'0'343'0,"0"0"-30"0,2 12-11 0,-2-5-10 16,0 4 45-16,0 2-35 0,0 1-7 15,0 2-29-15,0 5-30 16,-2-1-21-16,-1 8-36 0,3-1-90 0,0 1 3 0,-3 0-40 15,3 1-60-15,-2-1-38 0,0-4-18 0,2 0-82 16,0-3-123-16,0 2-87 0,2-3-496 0,3-3 110 16,0-2 58-16,0-3 67 0</inkml:trace>
  <inkml:trace contextRef="#ctx0" brushRef="#br0" timeOffset="27262.01">18528 9711 906 0,'0'0'299'0,"0"0"-2"0,0 0-21 15,0 0-22-15,0 0-24 0,0 0 1 0,0 0-21 16,0 0-26-16,0 0-8 15,25-5-25-15,-20 5-10 0,3-1-31 0,2-1-15 16,-2 2-28-16,2-3-16 0,-1 3-67 0,1-3-42 16,-3 0-73-16,3 3-92 0,-2-2-61 15,2-1-448-15,-2 1 21 0,0 2 81 0,0-2 79 16</inkml:trace>
  <inkml:trace contextRef="#ctx0" brushRef="#br0" timeOffset="27836.7">18820 9597 1451 0,'5'3'404'0,"0"-2"-22"0,-2 4-39 0,-1-2-36 16,0 0-8-16,-1 3-50 0,-1-1-22 16,-1 2-12-16,-1-2-28 0,0 1 0 0,-1 1-28 15,2-1-21-15,-1 1-10 0,0-1-20 16,0-1-1-16,2-1-17 0,0 4-24 0,0-5 19 16,0 4-98-16,4-3 3 0,-1 1 7 0,0-2 6 15,2 4-8-15,2-2-1 0,-4 1 12 16,3 0-19-16,-2-1 13 0,2 1 7 15,-2 0 24-15,0-2-8 0,-2 2-15 0,0 1 28 16,-2-2 63-16,2 1-4 0,-4 0-18 0,0 1 13 16,-4-1-14-16,2-1-9 0,-2 1-8 15,2-1-23-15,-4-2-18 0,0 2-13 0,0-1-3 16,1-1-58-16,1-2-21 0,-1 2-38 0,2-1-39 16,-3-2-27-16,8 0-93 0,-8 0-138 15,8 0-108-15,-5-2-368 0,5 2 46 0,0 0 135 16,0-5 34-16,0 5 56 0</inkml:trace>
  <inkml:trace contextRef="#ctx0" brushRef="#br0" timeOffset="28139.15">19020 9638 1100 0,'0'0'343'0,"-8"1"51"0,8-1-25 15,-10 5-62-15,4 0-10 0,-1-1-23 16,0 0-31-16,1 1-41 0,2 1 1 0,-4 2-29 15,2-3-21-15,2 0-68 0,-2 1-29 0,4-3-5 16,-1 2-15-16,3 1-5 0,0-6-1 0,2 5 22 16,1-3-29-16,2-2 7 0,-5 0 14 15,11 0-8-15,-3 0-13 0,2-3 18 0,-3-1 15 16,3 3 5-16,0-4 3 0,-2 3 13 0,0-1 8 16,-3 2 4-16,2 0-9 15,-1-1-16-15,-3 0 12 0,-3 2-14 0,0 0 4 0,10 4-9 16,-8-3-1-16,-2 5-12 0,0-1 7 0,0 0-28 15,-2 1-13-15,-1 1-10 16,1 1-46-16,-1-2-26 0,0 1-22 16,-1 3-55-16,1-4-97 0,2 3-63 0,-1-3-119 0,2 0-355 15,0-1-87-15,2-2 117 0,-1 2 90 0,2-1 33 16,2-3 57-16</inkml:trace>
  <inkml:trace contextRef="#ctx0" brushRef="#br0" timeOffset="28443.28">19284 9695 1026 0,'0'0'379'0,"0"0"-41"15,0 0-26-15,0 0-33 0,0 0-38 0,0 0-14 16,-18 5-1-16,13 0-45 0,-3-3 65 16,-2 4-18-16,2-1-28 0,-2 1-6 15,0-1-20-15,2-1-20 0,-2 1-6 0,2 4-25 16,3-5-18-16,-3 1 15 0,3-1-28 15,-2 2-25-15,4-3 20 0,-2 1-18 0,3-2-10 16,-1 3 5-16,3-3-20 0,0-2-4 0,0 7 7 16,3-4 1-16,-3-3-12 0,9 2 15 15,-4 1-20-15,1-2-11 0,2 0-17 0,2-1-29 16,-3 0-56-16,3-1-15 0,1 0 2 0,-1-2-35 16,-2 2-54-16,0 0-100 0,2-3-144 31,-2 4-506-31,0-3 104 0,-1-1 93 0,1 2 82 0,-3-2 61 0,2-1 67 0</inkml:trace>
  <inkml:trace contextRef="#ctx0" brushRef="#br0" timeOffset="28662.06">19315 9700 970 0,'0'0'314'0,"0"0"-11"0,-6 6-24 15,6-6-29-15,-4 7-17 0,3-2-20 16,-1 1-19-16,-1 1-15 0,1-1-2 0,1 5 51 15,1-3-18-15,0 3-28 0,0 0-14 16,-2-1-22-16,2 3-10 0,-2-2-26 0,2 2-25 0,-3-1-73 16,3-1-22-16,-2 1-33 15,1-3-90-15,-1 1-131 0,2-2-238 0,0-1-335 16,0 0 85-16,0-2 40 0,2-2 87 16</inkml:trace>
  <inkml:trace contextRef="#ctx0" brushRef="#br0" timeOffset="29223.53">19382 9545 1287 0,'0'0'440'16,"4"11"-46"-16,-4-4-35 0,0-1-16 0,-2 3-33 15,2 1-29-15,0 6-27 0,0-1-29 0,0 2-26 16,-2 3 4-16,-1 0-32 0,3-1-76 16,-3 8-44-16,1-2-28 0,0-3-38 15,2 0-19-15,-4 3-45 0,4-6-74 0,0 1-80 0,0-6-146 16,3 4-443-16,-3-1 47 0,1-2 27 0,1 1 93 15,-2-4 53-15</inkml:trace>
  <inkml:trace contextRef="#ctx0" brushRef="#br0" timeOffset="30044.69">17499 10194 1116 0,'0'0'437'0,"0"0"-20"0,8 12-43 15,-8-2-36-15,3 2-28 0,0 1-39 16,-1 3-89-16,0 3-11 0,-2 2-27 16,0 1 25-16,-2 4-16 0,2 1-40 0,-2 1-24 0,1 3-32 15,-1-5-44-15,-3 12-34 0,3-5-43 16,-2-6-59-16,4-3-102 0,0-3-121 0,0-2-516 16,0-1 112-16,4-1 36 0,0-5 122 0,1-3-4 15</inkml:trace>
  <inkml:trace contextRef="#ctx0" brushRef="#br0" timeOffset="30672.55">18428 10479 1021 0,'0'0'445'0,"0"0"-22"0,-8-3-45 0,8 3-35 16,0 0-2-16,0 0-47 0,0 0-25 15,0 0-39-15,0 0-17 0,23-1-24 16,-15 0-17-16,-1 0-47 0,1 0-33 0,2-1-38 16,0 1-39-16,-1 0-50 0,1 0-91 0,2 0-132 15,-2 1-119-15,4-1-501 0,-4-1 103 16,0-1 84-16,1 0 23 0,-1 2 69 0</inkml:trace>
  <inkml:trace contextRef="#ctx0" brushRef="#br0" timeOffset="31067.56">18733 10351 954 0,'10'0'425'0,"-10"0"-20"0,8 1-16 0,-5 1-39 0,1 0-48 0,0 3-17 0,-2 0-81 0,-2-2-25 16,2 3-4-16,-2 0-42 0,-2 3-18 0,2-2 8 16,-2 0-13-16,-2 0-23 0,0 0 7 0,3-1 6 15,-4 1-20-15,3-2-27 16,1 1 1-16,-1-2-8 0,2 0-15 0,2 1 12 0,-2-5-14 16,1 6 4-16,1-2 3 0,3 0-11 15,-2 1-9-15,-1-3 9 0,3 2 1 16,-2 0 5-16,-1-1 17 0,2 3-20 0,-2-5 1 0,0 4 6 15,1 0 1-15,-3-2-13 0,0 2 16 0,0 1-1 16,-1-2-5-16,-3 0-7 16,1 1 20-16,-2 1-20 0,0-1-19 0,-2-2-4 15,1 1 5-15,1-2-14 0,-1 2-19 0,-1-2-47 16,2 1-23-16,0-2-25 0,5-1-54 0,-5 1-61 16,5-1-93-16,0 0-38 0,-10-1-82 15,10 1-415 1,0 0 85-16,2-6 46 0,-2 6 131 0</inkml:trace>
  <inkml:trace contextRef="#ctx0" brushRef="#br0" timeOffset="31421.02">18933 10337 1220 0,'0'0'425'0,"0"0"-30"0,-13 0-119 15,6 4-23-15,4-1-30 0,-5 2-18 16,3 0-3-16,-3-2-28 0,1 2-23 0,1 1 0 15,2-1-33-15,-2 1-23 0,2-4 12 0,-2 4-22 16,4-1-16-16,-1-3-5 16,3 2-8-16,-3-2-5 0,3-2-5 0,0 0-18 0,6 5 8 15,-6-5 3-15,9-1-14 0,-9 1 6 16,11-4 0-16,-6 3-1 0,2-4 19 0,-1 3 18 16,-1-2 4-16,0 3-2 0,0-1 18 15,1-2-20-15,-4 4 7 0,3-2 6 0,-5 2-11 16,0 0-16-16,0 0-1 0,0 0 9 0,10 6 75 15,-10-3-21-15,0 2-5 0,0 0-15 16,0-2-11-16,0 3-43 0,-1 0-8 0,-3 3-45 16,2-2-32-16,2 1-30 0,-3-1-59 0,0 0-90 15,1-1-79-15,2 0-125 0,0 1-541 0,0-2 105 16,0 0 70-16,5-1 71 0,-2-2 57 16,1-1 50-16</inkml:trace>
  <inkml:trace contextRef="#ctx0" brushRef="#br0" timeOffset="31719.67">19105 10399 939 0,'0'0'432'0,"2"-5"-19"15,-2 5-22-15,0 0-63 0,0 0-6 0,0 0-17 16,0 0-46-16,-18 6-32 0,13-2 11 0,-1-1-102 16,-1 2-18-16,0 1-6 15,-1-2-2-15,3 0-15 0,-3 1 10 0,0-1-28 0,3 0-8 16,-2 1 8-1,1-1-21-15,1-1 6 0,-2 1-6 0,4-3-10 0,-2 4 3 0,4-3-6 16,-3 2 3-16,4-4 0 0,0 7 16 16,0-7-11-16,2 5-8 0,1-4-9 0,2 1 2 15,-2 1-24-15,4-1 11 0,-2-2-2 0,5 4-11 16,-2-4-2-16,2 2 5 16,-1-2-44-16,1-2-20 0,0 2-1 0,0-3-58 0,0 2-38 15,-2 1-93-15,2-2-114 0,-2-5-60 0,2 4-509 16,-5 2 133-16,1 1 23 0,1-4 105 15,1 1 54-15</inkml:trace>
  <inkml:trace contextRef="#ctx0" brushRef="#br0" timeOffset="31920.78">19174 10362 1069 0,'-3'4'441'16,"-2"-2"-11"-16,2 2-49 0,-2-1-43 0,1 3-21 15,1 3-22-15,-2 0-116 0,2-1-5 0,1 3-15 16,-1 0-6-16,0 2-20 0,1 0-17 16,-1 1-6-16,0-1-23 0,1-1-3 0,0 1-63 15,-1-1-16-15,0 1-33 0,1-1-65 0,2-2-170 16,-2-2-98-16,1 0-504 0,1 1 76 16,0-6 106-16,1 2 94 0,1-1 18 15</inkml:trace>
  <inkml:trace contextRef="#ctx0" brushRef="#br0" timeOffset="32226.85">19243 10212 1366 0,'0'0'533'0,"0"0"-88"0,0 11-17 0,0-5-19 0,3 3-120 15,-3 0-20-15,2 4-13 0,-2 1-41 16,3 5-18-16,-3 0 54 0,0 3-36 0,-3 0-15 16,1 3-47-16,1 1-43 0,-4-2-48 15,2 1-65-15,-1-1-58 0,0 2-98 0,0-7-220 16,2 1-601-16,-1 1 89 0,0-3 139 0,3-2 30 15,-2-3 67-15,2-2 76 0</inkml:trace>
  <inkml:trace contextRef="#ctx0" brushRef="#br0" timeOffset="34019.47">17584 10995 877 0,'0'0'387'15,"0"0"-26"-15,-2 16-36 0,2-8-23 16,0 4-41-16,0 1 0 0,0 3-15 0,0-1-36 16,-3 7-18-16,3-1-13 0,-3 4-36 0,3-5-20 15,-2 7-5-15,-3-4-31 0,2 1-31 0,1-4-20 16,-1 4-51-1,0-3-54-15,-1-2-54 0,3 0-77 0,-4-3-92 0,3 0-17 16,2-3-411-16,-3-2-19 0,3-3 68 0,0 0 41 16</inkml:trace>
  <inkml:trace contextRef="#ctx0" brushRef="#br0" timeOffset="34817.71">18333 11224 926 0,'0'0'346'0,"0"0"-8"0,0 0-49 0,0 0-23 0,0 0-25 15,28-2-31-15,-21 2-11 0,4-2-22 0,-3 1-42 16,4 1-63-16,1-1-39 0,-2 0-117 16,4-1-113-16,-8 0-105 0,4 2-464 0,5-3 137 15,-2 2 12-15,-3-2 97 0</inkml:trace>
  <inkml:trace contextRef="#ctx0" brushRef="#br0" timeOffset="35268.58">18702 11053 1103 0,'11'1'335'0,"-11"-1"-33"0,12 5-20 0,-7-1 38 0,0 1-29 16,-2 1-45-16,0 0-13 0,-1 1 0 15,-2 3-44-15,-2-1-12 0,-1 2-21 16,0 0-5-16,-2-1-23 0,2 2-2 0,-1 0-27 0,-2 0-9 15,4-2-16-15,0-1-2 16,-1-2-18-16,3 2-6 0,0-3-12 0,2-1 0 16,-1 0-3-16,3 0-2 0,2 0-5 0,-2-3 12 15,2-1 8-15,-1 4 18 0,2-2-36 16,-1 0 3-16,-3-1 30 0,1 1-2 0,0-1-8 16,-2 1 24-16,0 0-19 0,0 2-2 0,-2-3 7 15,-2 4-17-15,2-2 7 0,-3 1 8 16,-2-2-16-16,0 2-12 0,-2-2-13 0,-1 1-16 15,3-3-14-15,-3 3-19 0,0-3-28 16,1 1-15-16,2 0-49 0,5-2-61 0,-8 1-90 16,8-1-87-16,-8-1-118 0,8 1-386 0,0 0 15 15,0 0 131-15,3-9 76 0,-3 9 37 16</inkml:trace>
  <inkml:trace contextRef="#ctx0" brushRef="#br0" timeOffset="35636.89">18927 11087 1144 0,'-4'-2'409'0,"4"2"-27"0,0 0-42 0,0 0-33 15,-18 6-18-15,10-1-35 0,0 0-8 0,-2 1-34 16,3 4-28-16,-3-2-10 0,1-2-15 16,-1 5-33-16,2-3-19 0,3 3 8 0,-2-3-15 0,4 1-23 15,-2-2-11 1,3 0 4-16,2-3-32 0,2 0 3 0,0 0 15 0,-2-4-5 15,6 2-15-15,1-2 0 0,-7 0-8 0,13-2-2 16,-5-2 15-16,-1 0-13 0,1-1 28 16,2-1 13-16,-2 2-15 0,0-3 2 0,-1 4 8 15,-1-2 6-15,-1 1 1 0,0 3-73 0,0-1-6 32,-5 2-2-32,0 0 5 0,0 0-1 0,10 4 22 0,-10 2 2 0,3-1-21 0,-3 2 6 15,0-1-11-15,0 3-20 0,0 1 5 0,-3-1-41 16,2 1-26-16,1 0-30 0,-4 1-36 0,4-1-51 15,-2 0-98-15,2-1-82 16,-3-3-78-16,6 1-416 0,-3-1 128 0,2-1 26 16,0-1 77-16,1-2 49 0</inkml:trace>
  <inkml:trace contextRef="#ctx0" brushRef="#br0" timeOffset="36009.43">19164 11134 867 0,'0'0'374'0,"-16"4"-26"0,11 1-18 0,-1 0-35 15,-2 1-42-15,-1 1-5 0,-2 0-10 0,4 1-25 16,-3-2-37-16,0 4-4 0,2-2-8 0,-2-2 51 16,2 4-39-16,0-3-7 0,3-1-5 15,0 0-28-15,0 0 5 0,1 0-26 0,0-2 10 16,2 1-17-16,-1-1-11 0,3-2 23 0,0 4-43 16,0-2 8-16,5-1 22 0,0 0-35 15,-2 0-6-15,2-3-2 0,3 4-13 16,0-3-12-16,2 0-14 0,0 0-12 0,0 2-28 15,3-3-21-15,-1 1-36 0,-1 0-25 0,2-1-26 16,-3-1-74-16,0 0-120 0,0-5-100 16,-1 5-536-16,-2-2 75 0,0 3 126 15,-1-2 89-15,-1-2 69 0,0 1 31 0</inkml:trace>
  <inkml:trace contextRef="#ctx0" brushRef="#br0" timeOffset="36210.71">19194 11191 1000 0,'-10'5'425'16,"8"-1"-115"-16,-4 1-16 0,4 1-25 0,0 2-23 15,-2 0-21-15,2 1-10 0,-1 3-15 0,-2-1-19 16,3 2-22-16,0 0-15 0,-1 1-6 16,-2-1-5-16,2 1-15 0,1 1 35 0,-1-2-40 15,2 1-29-15,-3-2-68 0,1 1-65 0,2-2-125 16,-3-5-195-16,4 2-483 0,0-1 92 15,0-1 20-15,0-1 98 0,2-3 40 0</inkml:trace>
  <inkml:trace contextRef="#ctx0" brushRef="#br0" timeOffset="36550">19282 10995 1415 0,'0'-4'466'0,"0"4"-57"0,0 0-27 15,0 0-90-15,0 0-24 0,0 0 1 0,5 16-36 16,-5-7 10-16,2 3-25 0,-2 2-8 0,0 0-16 15,0 7-35-15,3 1-8 0,-3 0-20 16,-3 5-1-16,3-1-25 0,0 1-10 0,-2 0-13 16,2-1-31-16,-3 1-15 0,1-1-41 15,-1-4-54-15,3-1-28 0,-3 3-44 0,1-4-74 16,0-2-117-16,-2 1-136 0,2 0-474 0,0-5 141 16,1 1 10-16,-1-3 82 0,-1-3 90 15</inkml:trace>
  <inkml:trace contextRef="#ctx0" brushRef="#br0" timeOffset="37362.83">17507 11741 1149 0,'0'0'304'0,"0"0"1"0,0 0-26 0,3 14-15 15,-1-4-31-15,-1 4-13 0,-1 4-21 0,2 2-12 16,3 6-36 0,-5-1 59-16,0 2 5 0,5 1-54 0,-3 1 8 0,-1 1-25 0,1-2-19 15,-2 0-20-15,3 2-23 0,-3-5-41 16,0 2-23-16,2-4-33 0,-2-3-24 0,-2-2-53 15,5 1-100-15,-3-4-161 0,0-1-259 0,0-3-143 16,2-3-31-16,1 0 118 0,-1-3 118 16</inkml:trace>
  <inkml:trace contextRef="#ctx0" brushRef="#br0" timeOffset="38472.6">18361 11973 985 0,'0'0'384'0,"0"0"-46"0,0 0-36 0,0 0-38 0,0 0-29 16,0 0 0-16,0 0-27 0,0 0-29 15,18-6-23-15,-10 6-25 0,0-2-16 0,2 0-43 16,0 1-34-16,-2 0-41 0,2 0-117 15,0-3-131-15,-5 4-120 0,5-1-430 16,2 0 128-16,-3-1 15 0,1 1 49 0</inkml:trace>
  <inkml:trace contextRef="#ctx0" brushRef="#br0" timeOffset="39341.01">18654 11812 1302 0,'7'5'384'0,"-5"-3"-18"0,-1 3-46 16,1-1-5-16,2 0-54 0,-3 1-7 15,0 2-32-15,-2 0-17 0,0 0-36 16,-1 1 13-16,0 0-44 0,-1-1-74 0,1 0-13 0,-3 0-5 16,3 0 18-16,1-2-23 15,-1 0 18 1,-1 1-5-16,1-2-29 0,-1 0 9 0,3-1-9 0,0 1-7 0,2 0 10 0,-1 0-12 16,1-2 7-16,3 1 8 0,-2 0-3 15,3 2 0-15,-2 0-15 0,4-2 7 0,-3 2-5 16,2 1 14-16,-1-1-11 0,-1 1 81 15,2-1-30-15,-4 0 49 0,2 0 20 0,-4 1-30 16,-1-1 5-16,2 0 15 0,-2-1-34 0,-2 2-78 16,1 0-1-1,-4-2-7-15,3-1-11 0,-4 3 16 16,3-2 0-16,-6-2-18 0,4 3 12 0,-3-3-12 0,0 2-20 0,0-1-19 16,1-2-10-16,-1 2-20 0,2-2-28 0,-1-1-39 15,0 2-31-15,1-1-20 0,6-1-117 0,-7 1-88 16,2 0-404-16,5-1 7 0,0 0 3 15,0 0 90-15,0 0 102 0,-6-5 54 0</inkml:trace>
  <inkml:trace contextRef="#ctx0" brushRef="#br0" timeOffset="39708.6">18907 11820 865 0,'0'0'355'0,"-10"5"-29"0,2 0-19 0,3-3-28 0,-3 3-26 0,0 2-28 0,3-2-30 15,-4 2-8-15,3-1-16 0,1 3-22 16,0-1-8-16,0-1-3 0,2-1-44 0,3-1-17 16,-3-2 3-16,3 2-24 0,0-1 10 0,0-4-19 15,3 5-1-15,-3-5 25 16,8 0-27-16,-8 0 2 0,10 0 10 0,-10 0 13 0,10-4 11 15,-5 1 53-15,-2 1 0 0,3 2 8 16,-6 0 2-16,6-3-23 0,-6 3 36 0,0 0-46 16,8 3-17-16,-5-1 12 15,-3 2-24-15,3 3-4 0,-3-3-8 0,2 3-84 0,-2-1 2 16,-2 2-20-16,2-1-21 0,-3-1-17 0,3 3-14 16,0-1-33-16,0-1-28 0,-2 2-38 15,2-4-80-15,0 2-109 0,-3 0-83 0,6-2-442 16,-1 0 125-16,1-4 84 0,-1 3 24 0,1-2 71 15</inkml:trace>
  <inkml:trace contextRef="#ctx0" brushRef="#br0" timeOffset="40020.06">19130 11888 1456 0,'0'0'335'0,"0"0"-43"0,0 0-18 0,0 0-28 0,0 0-13 15,-15 11-13-15,7-7-28 0,3 0-3 0,-5 3-30 16,2 0-3 0,-2 1-8-16,0-1 55 0,-1 0-6 0,1 0-21 0,0-1-30 15,0 3-13-15,0-2-2 0,2-1-18 0,2-2-1 0,1 3-22 16,0-3-1-16,0 0-2 16,0 2 3-16,4-3-23 0,-1 0 4 0,2 1-4 0,0-4 7 15,3 5-18-15,0-1-4 0,2-2 1 0,0 1-9 16,2 0 4-16,1-2-12 15,2-1-2-15,2 3-27 0,-3-2 1 0,4 0-41 16,-1-1-19-16,-1 0-35 0,2-1-35 16,-3 1-27-16,0-1-22 0,0-2-114 0,0 3-111 15,-2-2-142-15,0 0-388 0,0-1 76 0,-3 0 146 16,2 0 41-16,-4-2 38 0</inkml:trace>
  <inkml:trace contextRef="#ctx0" brushRef="#br0" timeOffset="40221.14">19166 11907 865 0,'-8'-2'399'16,"8"2"-36"-16,-4 5 3 0,1-1-48 0,-2 0-13 15,2 1-29-15,1 1-82 0,-1 1-25 16,0 1 8-16,1 2-39 0,2-1 13 0,-3 3-28 16,3 2 3-16,0-2 58 0,0 2-28 0,-1-1-20 15,2 0-44-15,-2 1-41 16,1-1-54-16,1 1-48 0,-1-3-69 0,0 1-151 0,-3 0-126 15,6-4-415-15,-3 1 9 0,5-3 94 0,-3 0 69 16,-1-3 89-16</inkml:trace>
  <inkml:trace contextRef="#ctx0" brushRef="#br0" timeOffset="40516.71">19240 11694 1371 0,'3'11'418'0,"-1"3"-39"0,1 3-95 0,0 2 0 16,2 5-38-16,2-1-34 0,-2 0 11 15,1 3-47-15,2 7 6 0,-3-6 41 0,4-1-29 16,-6 0-45-16,3-2-19 0,-2 1-32 15,2 0-47-15,-1-1-36 0,-5-4-20 0,5 0-44 16,0-1-58-16,-2 0-67 0,-1-2-105 16,1-5-72-16,-1 1-488 0,3 0 68 0,-2-2 70 15,0 0 89-15,0-3 95 0</inkml:trace>
  <inkml:trace contextRef="#ctx0" brushRef="#br0" timeOffset="49803.68">5287 9745 1203 0,'6'-3'409'0,"-1"2"-40"0,2-3-19 0,1 4-42 15,3 0-32-15,-1 0-15 0,1 0-20 0,4 4-34 16,-3-1 21-16,1 4-26 0,-3 1-41 15,-1 1-33-15,0-2 5 0,-4 6-61 0,-2 0-21 16,-3 2-17-16,-3 0 32 0,-1 2-20 16,-4 3-5-16,-3-1-10 0,1 0-3 0,-3 0-5 15,-2-2 13-15,2-2-8 0,-2 1 8 16,-1-3 5-16,4-2-10 0,-1-2 15 0,3-2 15 16,2-1-2-16,0 0 5 0,1-3 5 15,1 1 46-15,1-2 8 0,3-1-5 0,2-1-13 16,0 0-13-16,0 0-10 0,0 0-3 0,0 0-2 15,12-7-21-15,-4 4-7 0,0 2-3 0,2-4 26 16,1 4-29-16,1-2 3 0,1 1-36 16,0-1 3-16,0-1-20 0,0 3-60 15,2 0-2-15,-2-3-28 0,-3 2-24 0,2 1-40 16,-1-2-36-16,-1 3-28 0,1-1-93 0,-2-3-186 16,0 2-415-16,1 2 57 15,0 0 71-15,-2-1 71 0,2-1 52 0,-2-1 120 0</inkml:trace>
  <inkml:trace contextRef="#ctx0" brushRef="#br0" timeOffset="50200.71">5649 9762 1080 0,'-7'2'430'0,"-1"1"-21"15,0 0-63-15,0 2-26 0,1 1-23 0,0 1-13 16,1 4-51-16,1 0-26 0,-1 1-28 16,2 0-7-16,1-2-14 0,0 2-27 0,3 0-18 15,0-1-3-15,3 1-31 0,-3-2 26 0,7 0-59 16,-1-2 31-16,2 1-5 0,-1-2-14 16,3-3-88-16,1 0 9 0,-3-3 11 0,2-1 2 15,3-1 3-15,-6-4 92 0,3 3-23 16,0-3 39-16,-1-1-21 0,-2-1 17 0,1-1-1 15,-3-1-1-15,-3 1-13 0,-2-2 11 0,0 2-31 16,-2-1-8-16,-1-1 6 0,-2 4-6 0,1-2-10 31,-2-2 8-31,1 4-13 0,-3-2-10 0,0 2-13 0,1 2-6 0,-1 1-14 16,-2-1-32-16,2 3-24 0,0 0-12 0,1 2-40 16,7-1 3-16,-13 0-62 0,8 1-31 0,-1 2-79 15,2 0-107-15,-1 0-154 0,4-1-379 16,1-2 92-16,0 0 74 0,0 0 62 15,8 6 77-15</inkml:trace>
  <inkml:trace contextRef="#ctx0" brushRef="#br0" timeOffset="50558.55">5918 9694 1057 0,'0'0'417'0,"-23"6"-31"0,15 0-50 15,1 1-19-15,-1 2-33 0,1 1-38 0,-1 2-85 16,0 0-2-16,1 2-31 0,-3 5-10 0,4-1-19 16,2 0-35-16,0-1-7 0,4-3 4 15,0 2-15-15,3-2-10 0,0-3-10 0,2-1 15 16,3 1-13-16,1-4 15 0,2-1-7 16,2-1-3-16,0-2 26 0,0-1-10 0,-1-1 0 15,1-1 33 1,-2-1-6-16,-1-1 9 0,0 1 4 0,-2-2 11 0,-3-1-20 0,0-2 99 15,-5 0-31-15,0 1-2 0,0 0-33 0,-7-3-3 16,-1 2-8-16,0 2-25 0,-3-2 15 16,-1 1-25-16,-1 0-6 0,0 4-35 15,0-1-44-15,0 3-8 0,1-2-25 0,1 2-36 16,-2 1-44-16,3 1-50 0,2 1-121 0,-6 1-169 0,8-1-510 16,1 0 96-16,-1 2 78 0,4-3 147 15,0 0 20-15,2-3 44 0</inkml:trace>
  <inkml:trace contextRef="#ctx0" brushRef="#br0" timeOffset="50974.05">6288 9706 857 0,'-5'7'384'0,"2"-2"61"16,-2 2-53-16,3 3-46 0,-1 0-14 16,0 4-35-16,3 2-112 0,-2 2-17 0,0 1-19 15,1 0-24-15,-2 0-12 0,3 0-57 16,0-2-45-16,0-2-11 0,0 1-36 16,0-2-44-16,3-1-53 15,-3 0-89-15,1-1-81 0,-1-2-70 0,2-2-421 0,0-1 147 0,1-1 12 16,-3 0 36-16</inkml:trace>
  <inkml:trace contextRef="#ctx0" brushRef="#br0" timeOffset="51214.28">6114 9885 1018 0,'0'0'410'0,"0"0"4"0,0 0-24 0,0 0-58 0,0 0-40 16,15-3-10-16,-5 4-108 0,3-1-8 16,2-1-15-16,-2 0-10 0,8 0-31 0,-1-1-10 0,1-1-23 15,2 2-34-15,-1 0-30 16,4-3-46-16,-5 4-52 16,2-3-104-16,0 0-124 0,-2 3-508 0,0-3 76 0,1-1 77 0,-4 3 23 15,0-4 66-15</inkml:trace>
  <inkml:trace contextRef="#ctx0" brushRef="#br0" timeOffset="51770.3">6580 9692 908 0,'0'0'341'15,"0"0"-29"-15,0 0-25 0,10-5-24 16,-4 4-20-16,2 0-22 0,1 1-19 0,0 1-28 16,1-1-18-16,2 1-13 0,-2-1-17 0,1 2 20 15,-1 1-13-15,-2-1 2 0,2 1 52 16,-2 0-13-16,-1 3-15 0,-2 1 10 0,0-1-15 15,-2 3-19-15,-3 0 32 0,0 1-111 16,-3 2-15-16,1-1 33 0,-3 7-5 16,-1-6-28-16,2 5 26 0,-4-3-19 0,2 0-17 15,2 1 15-15,-4-1-10 0,3-1 0 0,2-1 7 16,-2 0-17-16,2-1-1 0,-2-2 6 16,5 2-23-16,-2-3-8 0,-1-1-23 15,1 2-13-15,2-3-15 0,0-2-34 0,0 4-27 0,2-5 9 16,1 4-30-16,-1-4-36 0,1 0-76 15,-1 0-116-15,-2-3-34 0,11 2-493 0,-8-1 92 16,-3-1 59-16,10 0 69 0,-10 0 61 0</inkml:trace>
  <inkml:trace contextRef="#ctx0" brushRef="#br0" timeOffset="51973.08">6542 9885 1241 0,'0'0'358'0,"-3"-3"-25"16,3 3-23-16,0 0-21 0,0 0-18 0,0 0-15 15,13-1-2-15,-13 1-34 0,15 1-41 0,-5-1-20 16,1 0 2-16,2 0-30 16,-1-1-3-16,3 1-44 0,1-2-43 0,2-1-44 15,-3 2-32-15,3 0-70 0,-2-1-64 0,1-2-144 16,1-1-88-16,0-1-447 15,1 3 96-15,-4-1 107 0,3-2 30 16</inkml:trace>
  <inkml:trace contextRef="#ctx0" brushRef="#br0" timeOffset="52308.57">7013 9680 962 0,'-8'2'366'0,"-1"3"-31"0,0 0 62 0,-3 3-54 0,2-2-28 16,-1 6-16-16,1 1-27 0,0-1-29 0,2 2-43 16,0 4 2-16,1-2-23 0,1 1-33 0,2 1-28 0,0-2-16 15,3-2-30-15,2-1 7 16,3 0-18-16,-2-2-7 0,3 0-3 0,3-3-15 16,0 0 8-16,0-3-6 0,-1 1 11 0,3-2-26 15,-2-1-54-15,2-3 8 0,-2 0 26 16,-3 0 9-16,-5 0 88 0,10-3 15 0,-5-1-15 15,-3 3 13-15,-1-4-13 0,-2 0-3 16,1 5-36-16,-7-8 3 0,0 3-7 0,-1 4 2 0,-2-4-3 16,-1 3-10-16,1 0 3 0,-5-1-29 15,4 2-17-15,-1 0-9 0,2 1-47 16,-1 1-19-16,1 0-56 0,-1 0-41 0,4 2-28 0,-1 0-131 16,1-3-91-1,1 3-518-15,4-1 97 0,-1 1 54 0,3-3 105 0,0 0 47 16,0 0 78-16</inkml:trace>
  <inkml:trace contextRef="#ctx0" brushRef="#br0" timeOffset="52558.65">7203 9725 1098 0,'2'-2'465'0,"-2"2"-11"15,0 0-42-15,0 0-18 0,0 0-118 16,0 0-20-16,0 0-18 15,0 14-7-15,0-6-32 0,-2 3-9 0,2-5 40 0,0 7-2 16,-2 1-57-16,2 0 9 0,-3 0-34 0,3 0-16 16,0-1-28-16,0 0-50 15,0 3-65-15,3-7-23 0,-3 3-33 0,0 0-31 0,2-4-23 16,0 1-84-16,-1-1-118 0,4-1-612 16,-3-2 72-16,1-1 61 0,2-2 126 15,-2 0 40-15,-1 1 68 0</inkml:trace>
  <inkml:trace contextRef="#ctx0" brushRef="#br0" timeOffset="52777.89">7039 9857 1131 0,'0'0'422'0,"-10"-1"-109"0,10 1 4 15,0 0-20-15,0 0-34 0,0 0-12 16,0 0 59-16,0 0-28 0,0 0-44 0,20 7-3 0,-12-7-40 15,5 0-31-15,-3 0-1 0,5 1-40 0,1-1-33 16,-1-1-49-16,3 1-62 0,-3 0-15 16,3 0-97-16,0 0-158 15,-2-2-534-15,1 2-7 0,1-1 29 0,-2-3 117 0,2 3 105 16,-3-1 15-16</inkml:trace>
  <inkml:trace contextRef="#ctx0" brushRef="#br0" timeOffset="53493.06">7521 9733 1185 0,'7'-1'366'0,"-7"1"-36"15,11 5-41-15,-6-5 52 0,0 5-21 0,1-2-31 0,-2 3-5 16,2 0-44-16,-1 3-27 16,-3-2-80-16,-1 1-13 0,-1 3 1 0,-1 1-16 15,-4 1 15-15,0 1-43 0,-2 3-6 0,-1-2-2 16,0-3 6-16,-3 1-11 0,-1 0-16 15,2-2-12-15,2 0 13 0,0-3 5 0,1-1-6 16,-1 2 1-16,3-3-1 0,-1-1 14 0,1-1-6 16,1 2-7-16,1-4 17 0,0 2 6 15,1-2-51-15,2-2 43 0,0 0-21 16,5 5-7-16,-2-2 2 0,-3-3 8 0,15 2-25 16,-8-2 10-16,3 0-14 0,0 0 4 0,4 0-16 15,-1-1-23-15,-1 0-23 0,4-2-13 0,-1 1-53 16,1 2-29-1,-2-3-38-15,2 0-38 0,-1-1-80 0,-1 1-115 0,-1-1-453 0,-1 4 8 16,-2-5 122-16,0 2 67 0,-2-1 46 16,0 3 69-16</inkml:trace>
  <inkml:trace contextRef="#ctx0" brushRef="#br0" timeOffset="53810.6">7767 9766 1259 0,'5'-4'386'0,"-5"4"-32"0,0 0-29 16,0 0-16-16,13 7-17 0,-11-4-10 15,-2 3-31-15,0 1-26 0,0 0-95 0,-4 1-9 16,-2 4-16-16,1-1 74 0,-3 1-23 0,1 3-25 16,-3-4 4-16,2 2-14 0,0-4 1 15,1 1-27-15,1-2-18 0,1 2 0 0,0-2 5 16,0-2-8-16,3 0 3 0,-2-1 7 0,0 0-2 15,1-2-5-15,1 2 17 0,2-1-30 0,0-4 41 16,2 5-43-16,1-1-3 0,1-4 23 16,2 1-34-16,-1 2-12 0,5-3-8 15,0 0-43-15,1-3-23 0,2 3-16 0,-1-1-56 0,4 1-23 16,-3-2-26-16,2-1-102 16,3-3-172-16,-2 4-539 0,-1-3 42 0,1 4 122 15,-2-4 116-15,0 2 37 0,1-3 66 0</inkml:trace>
  <inkml:trace contextRef="#ctx0" brushRef="#br0" timeOffset="54156.42">8216 9737 995 0,'2'-2'405'0,"-2"2"58"0,0 0-38 0,0 0-13 16,0 0-64-16,-13 12-43 0,6-8 15 15,2 4-105-15,-5 0-23 0,0 0-6 16,-1 2-14-16,-4-1-21 0,-1 5-31 0,-1 0 65 16,0-2-4-16,5-2-9 0,-3 2-26 0,2-2 7 15,2-1-22-15,1-1-29 0,0 0 1 0,5-4 12 16,-3 2-26-16,3 0-17 16,0-1-21-16,3 2 13 15,2-3 8-15,0-2 0 0,0-2-6 0,4 10 1 0,-1-7-24 0,5 0 16 16,0 0-10-16,2-3-16 0,0 4 21 0,5-3-36 15,1 0 7-15,-3-1-53 0,4 0-26 0,-1 1-17 32,2-2-14-32,-3 1-7 0,1-1-8 0,-3 0-48 0,1-3-24 0,-3 1-32 0,2 0-63 15,0 0-73-15,-3-1-90 0,0-2-517 16,-2 4 48-16,0-2 96 0,-3-1 73 0,0 1 93 16,0 0 63-16</inkml:trace>
  <inkml:trace contextRef="#ctx0" brushRef="#br0" timeOffset="54386.18">8187 9775 1003 0,'-4'3'456'16,"1"0"-39"-16,-4 5-38 0,4 1-16 16,-3 1-84-16,1 5-43 0,0-1-9 15,0 4-19-15,0-1-21 16,0 2-11-16,2-1-9 0,-1 2-32 0,0 0-4 0,0 3-16 15,-2-1 0-15,4 3-36 0,-3-1-9 0,2-5-55 16,1 0-20-16,1-1-64 0,1-4-34 0,0 2-58 16,1-2-92-16,1-7-154 0,1 6-469 15,2-4 111-15,0-2 71 0,0-2 47 0,0-2 32 16</inkml:trace>
  <inkml:trace contextRef="#ctx0" brushRef="#br0" timeOffset="54906.9">8521 9750 1244 0,'2'-6'504'0,"-2"6"-46"0,0 0-97 15,0 0-23-15,0 0-23 0,0 15-18 16,-2-7 43-16,2 0-38 0,-3 5-26 0,1 0-20 15,0 5-33-15,-1-1-33 0,0 2-14 0,0 0-22 16,-1-1-49-16,0 1-29 0,2-1-19 16,-3 2-57-16,2-3-28 0,1-2-65 0,0 4-75 15,-1-6-58-15,3 0-142 0,-3-1-341 0,3 0-215 16,0-5 140-16,0 0 29 0,3-2 95 16,-3-1 84-16</inkml:trace>
  <inkml:trace contextRef="#ctx0" brushRef="#br0" timeOffset="55152.05">8311 9901 985 0,'0'0'440'0,"-5"0"-87"0,5 0-25 0,0 0 10 15,0 0-59-15,0 0-13 0,17-3 54 0,-9 2-33 16,3 1-36-1,-1-2-29-15,2 2-22 0,4 0-31 0,-1-1-13 0,1 1-7 0,1-1-29 16,1 0-15-16,-2 0-39 0,2 1-68 16,-3-3-34-16,1 2-20 0,-1 1-65 0,-3-1-104 15,-1 0-118-15,2-2-555 0,0 3 38 16,-3-1 143-16,0 0 5 0,1-1 101 0</inkml:trace>
  <inkml:trace contextRef="#ctx0" brushRef="#br0" timeOffset="55925.61">9031 9751 1441 0,'5'0'396'0,"1"0"-19"0,-6 0-34 0,10 3-21 16,-5-1-94-16,-3 2-23 0,3 0-24 0,-5 2 1 16,0 2-28-16,-2-1 48 0,-1 2 8 15,-2 1-31-15,-3-2-15 0,4 4 10 0,-4-4-38 16,0 3-19-16,3-4-7 0,-3 0-5 0,3 0-15 15,2-2-8-15,-1 1-13 0,0-1 5 16,2 0-5-16,0-3-10 0,2-2-13 16,-3 4 13-16,3-4-15 0,0 0-16 0,8 3 8 15,-3 0 10-15,0-1-10 0,1-1-3 0,1 0 13 0,-2 2 13 16,3-1 0-16,0 2 7 16,-3-2-7-16,2 3-21 0,-2-3 21 0,0 4 0 15,-2-2-8-15,-3-1 3 0,2 3-5 0,-2-1-47 16,-2 0 6-16,-1 1-21 0,-4 0 8 0,-1 0 8 15,-2 1-8-15,-1-1-3 16,-1 1 13-16,-1-2-5 0,-3-1 8 0,2 1-6 16,0 0-12-16,-1 0-16 0,2-2-32 0,0-1-22 0,1-1-27 15,3 1-39-15,-1-1-36 0,3-2-18 16,7 1-61-16,-8-3-56 0,5 1-116 0,-2-1-22 16,5-1-457-16,5-2 65 0,-1 0 95 0,3-1 76 15,3-1 108-15,1-2 17 0</inkml:trace>
  <inkml:trace contextRef="#ctx0" brushRef="#br0" timeOffset="56264.46">9269 9716 934 0,'0'0'399'0,"0"0"29"0,0 0-19 16,0 0-56-16,-15 9-15 15,7-1-31-15,1 1-38 0,2 0-87 0,-5 6-16 16,2 0-27-16,-2 4-19 0,1 0-10 0,2 3 5 0,2-6-5 15,0 3-18-15,0-1-33 0,3 0-23 16,4-2 5-16,0-2-8 0,1-1-5 16,2-1 16-16,3-3-19 0,-3 1 11 0,5-2-5 15,0-2-13-15,-2-2 8 0,2-2 7 16,0-1 10-16,-2 2 1 0,2-3 2 0,-2-3 13 16,-3 2 5-16,-2 0 28 0,2-4-20 0,-5 3-14 15,0 2-4-15,0-7-20 0,-5 3 12 0,0-1-3 16,-3 4 8-16,0-4-43 0,-4 4 2 15,1-2-33-15,-1 1-36 0,1 2-23 0,1 2-58 16,0-2-47-16,-3 1-100 0,5 1-199 0,0-1-418 16,0 4 118-16,1-4 44 0,4 3 74 15,-1-3 72-15,0 4 40 0</inkml:trace>
  <inkml:trace contextRef="#ctx0" brushRef="#br0" timeOffset="56784.32">9636 9719 1261 0,'0'0'446'0,"0"0"-16"0,0 0-41 15,0 0-33-15,-2 13-21 0,2-7-110 0,0 5-10 16,0-1-33-16,-3 4-26 0,3 1 54 15,0 4-5-15,0 0-23 0,0 0-34 0,-3 0-17 16,3 2-65-16,-2-2-53 0,2-4 2 0,0 1-45 16,0-1-34-16,0-2-29 15,0 0-73-15,0-2-118 0,0-1-123 0,0-1-458 16,2-2 58-16,-2-1 104 0,3-2 47 0,-3-2 52 0</inkml:trace>
  <inkml:trace contextRef="#ctx0" brushRef="#br0" timeOffset="57021.5">9469 9875 1464 0,'0'0'417'0,"0"-6"-31"0,0 6-4 0,0 0-57 0,13-2 15 15,-8 2-140-15,5-3-16 16,4 2-17-16,-2 1-16 0,3-2-11 0,3 1-24 15,-2-2-9-15,2 2-30 0,3-1-31 0,-1-2-10 16,1 2-62-16,2-1-71 0,-3 2-54 0,3-1-141 16,-3-3-99-16,4 3-472 0,-4-2 85 15,1 2 71-15,0-1 116 0,1-1 7 0</inkml:trace>
  <inkml:trace contextRef="#ctx0" brushRef="#br0" timeOffset="57410.39">10144 9681 1208 0,'0'0'376'0,"-13"0"-33"0,5 0-23 0,0 4-28 0,-4-2 48 16,-1 5-20-16,3-3-38 0,-5 2-21 0,4 0 0 15,-1 1-23-15,-2 1-31 16,2 0-25-16,2 1-28 0,2 0-24 0,3-4 1 0,-1 5-11 15,4-3-18-15,2-1-12 0,0 0-6 0,2-3-22 16,4 1 9-16,-2-2-4 0,5-2-21 16,0 0-5-16,2 0 15 0,1 0-17 0,-1-5 9 15,2 4-2-15,0-6 6 0,-1 1 22 0,-2 1-92 16,1 1 28-16,-1-2 3 0,-2 2 38 16,0 2 0-1,0-2-15-15,-1 1 79 0,-2 0 11 0,-5 3-24 0,8 0-2 0,-8 0-23 16,0 0-3-16,2 7-5 0,-2-1-10 0,-2 1 5 15,-1-1-18-15,1 4-30 0,-1-2-9 16,1 4-20-16,-4 0-69 0,4-1-10 16,-3 1-48-16,2-2-52 0,1 1-59 0,-1-4-195 0,3 4-631 15,0-4 104-15,3-1 93 16,-1-2 104-16,0-1 82 0,4 1 93 0,-1-3 20 16</inkml:trace>
  <inkml:trace contextRef="#ctx0" brushRef="#br0" timeOffset="57728.28">10513 9680 1476 0,'0'0'451'0,"2"-4"-13"0,-2 4-65 0,0 0-30 0,0 0-18 0,0 0-53 16,-18 9-90-16,11-7-1 0,-1 5-14 15,-2-1 2-15,0 4-41 0,0-3 61 0,-4 1-28 16,2 2 0-16,1-3-2 0,-1 2-31 0,2 0 13 15,0-1-31-15,1-1-5 0,0-1 0 0,1 1-13 16,3-1-15-16,-1-1-5 0,2 0-21 0,0 1 13 16,2-3-5-16,2 3 5 0,-2-1-8 0,2-5 33 15,4 7-145-15,0-4 33 16,3 0-2-16,0-3 1 0,1 6 14 0,3-5-18 16,-1-1 15-16,0 3-17 0,2-3 9 0,-1 1-33 15,2-1-45-15,-2-1-35 0,1 1 4 16,-2-2-26-16,1 1-26 0,-1 0-23 15,0-3-87-15,0 2-122 0,-7-1-75 0,5 0-397 0,-1-2 52 16,-2 3 102-16,-2-3 61 0,2 2 59 0</inkml:trace>
  <inkml:trace contextRef="#ctx0" brushRef="#br0" timeOffset="57949.75">10521 9681 1246 0,'-16'4'453'0,"11"-2"-25"0,2 5-14 0,-4 3-112 0,2-1-10 16,-3 6 5-16,3 1 49 0,-5 6-32 0,2-3-109 16,0 3-10-16,3 2-11 0,-2-1-12 0,-3-1-27 15,2 3-27-15,0-3-41 0,3-1-36 16,-1 3-67 0,4-5-43-16,0-6-38 0,-1 4-70 0,0-4-115 0,3-2-125 0,0-1-479 0,0-1 75 15,3-3 88-15,-3-1 65 0,0-1 72 0</inkml:trace>
  <inkml:trace contextRef="#ctx0" brushRef="#br0" timeOffset="58595.8">4596 10054 862 0,'0'0'341'0,"0"0"-32"0,0 0-43 0,0 0-25 16,0 0-16-16,0 0-20 0,23 2-23 0,-13-1-26 16,-3 1-46-16,3-1-33 0,1 1-44 15,-1-2-51-15,-2 0-64 0,2 2-99 0,0 1-45 16,-2-1-17-16,-3 1-451 0,1 0 49 15,-2 2 121-15</inkml:trace>
  <inkml:trace contextRef="#ctx0" brushRef="#br0" timeOffset="58731.66">4601 10180 813 0,'0'0'341'0,"-5"4"-31"0,5-4-1 15,0 3-50-15,0-3-13 0,7 4-24 0,-2-4-25 16,1 2 3-16,4-2-46 0,0 0-44 0,2 1-28 15,2-2-59-15,1 1-57 16,3 0-117-16,-5 0-140 0,5 1-544 0,0-1 164 0,2 1 60 16,1 1 55-16</inkml:trace>
  <inkml:trace contextRef="#ctx0" brushRef="#br0" timeOffset="59439.18">5444 10325 977 0,'0'0'318'0,"0"0"-1"15,0 0-28-15,0 0-38 0,28 0 3 0,-17 0-98 16,2-1 5-16,2 0-13 0,3-3 9 16,7 4 88-16,6-4-42 0,18 0-19 15,2-1 16-15,16-1-24 0,5-2-2 0,2 1-28 16,5 1 0-16,4 1-5 0,3-3-103 0,0 3 6 16,4-2 2-16,4 0-3 0,1 0 16 15,5 2-5-15,28-5-11 0,0 4 29 0,-2-1-13 16,2-1-18-16,-28 4 15 0,28-2-22 15,-2-1 12-15,4 1-21 0,-27 0 14 0,23 0 2 16,-21 2-16-16,20-1-15 0,-19 0 11 16,25-2 2-16,-29 2 10 0,-2-2 6 0,-5-2-22 0,5 2-6 15,-1 3 1-15,-1-5 1 16,-6 2 5-16,-4 1 0 0,-4 0-18 0,-9-1-8 0,-6 1 29 16,-16 2-21-16,-6-1 2 0,-4 0-7 15,-9 1-25-15,-9 3-6 0,-4-3 13 0,-3 3-16 16,-5-1 9-16,-1 1 9 0,-1-2-4 15,-1 2-6-15,-5 0 10 0,3 1 1 0,-5-2-6 16,-3 2 1-16,9-3-11 0,-9 3 5 0,3-1 8 16,-3 1 5-16,0 0-25 0,0 0-44 0,0 0-23 15,0 0-31-15,0 0-5 0,0 0-56 16,0 0-123-16,-7 11-103 0,2-8-450 16,2 2 110-16,-3-1 67 0,-1 2 46 0,0 0 71 0</inkml:trace>
  <inkml:trace contextRef="#ctx0" brushRef="#br0" timeOffset="60127.6">7946 10516 1028 0,'6'0'300'0,"-6"0"-36"0,5-4-24 0,-5 4 1 15,7 0-44-15,-7 0 3 0,6-1-29 16,-6 1-5-16,0 0-2 16,0 0-8-16,0 0-33 0,0 0-5 0,-16 8-5 0,8-2-16 0,-2-3-10 15,0 1 0-15,-2 2-31 16,1 0 3-16,-2 0 72 0,0 1-6 0,3-2-33 0,-2 2-2 16,3 0-1-16,2 1-14 0,0-3-19 0,3 0 13 15,-3 2-36-15,7-2 11 0,-3 2 15 16,6-1-21-16,0 0 11 0,1 1-13 0,4-1-18 15,2 1 25-15,3 2-17 0,0-1 10 16,2 1-13-16,-1-1 15 0,1-1 5 0,0 1 21 16,-2-3 6-16,-3 1 4 0,0-1 10 15,-2-3-7-15,0 4 20 0,-3-5 11 0,-2 4 7 16,-1 0-30-16,-2-3 22 0,-5 4-104 0,0-1-1 16,-2-1 3-16,-2 0 0 15,-6 2-2-15,2-2-24 0,1 1-4 0,-4-1-19 16,3 0-20-16,-2-2-51 0,2 2-10 0,0-1-39 0,1 1-51 15,2-3-62-15,-1 0-91 16,3 2-34-16,-2 0-479 0,0-1 70 0,2 1 41 16,-2 2 68-16,-1-3 93 0</inkml:trace>
  <inkml:trace contextRef="#ctx0" brushRef="#br0" timeOffset="60687.84">5405 11701 931 0,'0'0'377'0,"0"0"-27"0,0 0-38 16,21-2-30-16,-11 0-21 0,6 2-33 0,-1-3-21 16,1 2-92-16,2-1-7 15,3-2-13-15,1 3-21 0,-1-1-38 0,1-2 61 0,2 2-46 16,-3-1-71-16,-1 2-111 0,-2-4-130 16,-1 4-525-16,-3 2 57 0,-4-1 45 0,3 0 116 15</inkml:trace>
  <inkml:trace contextRef="#ctx0" brushRef="#br0" timeOffset="60881.05">5467 11877 1018 0,'20'-5'379'16,"-3"2"-51"-16,3-1-36 0,-5-1-6 15,3 0-35-15,5 1-92 0,2-3-13 0,4 0-34 16,-1 2-50-16,3 0-42 0,5-3-58 0,-2 2-126 16,-4-1-66-16,-5 1-98 0,1 0-391 15,0 3 46-15,-1-3 132 16</inkml:trace>
  <inkml:trace contextRef="#ctx0" brushRef="#br0" timeOffset="74072.55">6570 11519 1351 0,'0'0'417'0,"0"0"-38"15,0 0-28-15,0 0-49 0,-3 13-23 16,1-4-28-16,0 1-3 0,1 4-23 15,-2 0-46-15,3 1 3 0,-4 2-18 0,3 1-8 16,-1 1-31-16,-1 1-9 31,0-2-32-31,1 0-2 0,0 0-8 0,2-2-15 0,-3-2-18 0,1 2-15 0,1-3-21 0,-1-1-21 16,0 1-24-16,-1-3-37 0,2-2-15 0,-1 0-34 0,2-1-63 16,0-2-113-16,-2-3-126 0,4 1-455 15,-2-3 110-15,0 0 54 0,0 0 97 16,0 0 82-16</inkml:trace>
  <inkml:trace contextRef="#ctx0" brushRef="#br0" timeOffset="74545.56">6695 11466 1141 0,'13'-4'330'0,"1"2"-7"0,0 1-47 15,-3 2-15-15,1 1-28 0,-1 2 59 0,-1 2-26 16,-3 0 1-16,1 2-47 0,0 0-13 15,-3 4-25-15,-2 1-16 0,-3 0 24 0,-3 4-50 16,0 0-22-16,-5 1 25 0,-2 3-66 0,0-2-3 16,-4 1 3-16,0-1-10 0,2 0-11 0,-1-2 3 15,3-4-5-15,0 0-8 0,1-3 8 16,1-1-24-16,1-1 19 0,2 0-11 16,0-2-7-16,0 0 13 0,2 0-14 0,3-3-2 0,-3 2 18 15,3 0-23-15,0-5-7 16,6 5 12-16,-4-2-2 0,4-2-8 0,1 2 2 15,3-1-2-15,1-2 2 0,-1 0 9 0,1 0-19 16,1-1-23-16,0 0-13 0,1 0-12 16,1-2-16-16,-2-2-28 0,-1 4-20 0,1-1-34 15,1-2-58-15,-5 3-108 0,-1-1-169 0,1-1-481 16,0 1 99-16,-1-3 88 16,1 2 53-16,-2-2 103 0</inkml:trace>
  <inkml:trace contextRef="#ctx0" brushRef="#br0" timeOffset="74941.73">6993 11503 765 0,'0'0'312'16,"0"0"-15"-16,0 0 26 0,0 0-27 0,20-3-9 15,-15 3-51-15,5 0-14 0,1 0-7 0,-1 0-33 16,3 2-5-16,-2-1-13 0,-1 0-1 0,2 0-30 16,-2 0-5-16,1 2 6 0,-3 0 19 15,0 1-2-15,-1 2 3 0,-2 0-3 0,0 2-16 16,-2 0-1-16,-1 2-73 0,-2-2-25 15,0 5 18-15,0 0-8 0,-2 1 5 0,-3 0-33 16,4-1 28-16,-3 2-18 0,1 1-8 0,3-3 11 16,-3 0-23-16,3-1-3 0,-2 0-10 15,0-1-28-15,1-1-21 0,1 0-15 0,-2-2-23 16,2-2-47-16,0 1-45 0,2 0-10 16,-1-2-155-16,-1 0-99 0,2-3-437 0,0 0 107 15,-2-2 69-15,0 0 53 0,6 2 75 16</inkml:trace>
  <inkml:trace contextRef="#ctx0" brushRef="#br0" timeOffset="75142.53">6995 11712 1000 0,'-2'-3'369'0,"2"3"-26"0,0 0 74 0,0 0-33 16,0 0-36-16,8-5-33 0,-1 5-113 15,3 0-10-15,0-3-25 0,1 1-6 0,5 1-25 0,1-1-21 16,4-1-28-16,-1 0-39 0,3-1-45 16,0 0-47-16,-2 0-78 15,2 0-145-15,0-3-250 0,-2 2-332 0,-1-1 93 0,-2 2 63 16,-5 0 73-16</inkml:trace>
  <inkml:trace contextRef="#ctx0" brushRef="#br0" timeOffset="75386.13">7408 11579 1151 0,'0'0'318'0,"0"0"-85"16,0 0-57-16,0 0-45 0,0 0-77 0,0 0-131 15,0 0-581-15,0 0 5 0,0 0 123 16</inkml:trace>
  <inkml:trace contextRef="#ctx0" brushRef="#br0" timeOffset="75745.06">7670 11476 1313 0,'10'0'399'0,"-2"5"-89"15,-1-1-21-15,-1 2-31 0,-1-1-25 0,0 3-5 16,-3 1-3-16,-2 0-20 0,0 1-26 0,-5 2-12 15,2 2-26-15,-1-1-11 0,-2 2-10 16,-1-2 8-16,2 0-33 0,-1-1 7 16,2-2-17-16,1 0-6 0,0-1 19 0,1-1-6 15,1-2-8-15,1-1 11 0,0-2 20 16,1 2-33-16,1 0 18 0,3-4 46 16,-2 2-11-16,2-1 9 0,0 0-37 0,3-2 8 15,0 0-99-15,2 0 2 0,0 0-11 0,5-3-2 16,1 2-28-1,-1-1-30-15,1 1-16 0,-2-3-41 0,2 4-57 0,-5-2-22 0,1 2-52 0,-2 0-140 16,-2 0-129-16,0-2-409 0,-3 4 49 0,-5-2 120 16,8 0 74-16,-6 2 70 0</inkml:trace>
  <inkml:trace contextRef="#ctx0" brushRef="#br0" timeOffset="76060.55">6062 12289 1164 0,'8'-3'382'0,"2"-1"-29"0,6-3-46 15,10 2 5-15,14-4-30 0,6 1-16 16,5-2-48-16,16-2-19 0,2-1-4 15,3 0-1-15,3 2-32 0,1-2-14 0,4 1-2 16,5 1-44-16,4-3 14 0,1 4-22 16,0-2 9-16,-3 1-21 0,0-1 5 0,-2 1-13 15,-9 2-13-15,1-1-28 0,-5 2 6 0,-18 2-49 16,-2 1-13-16,-6 4-39 16,-10-3-56-1,-11 3-53-15,-4 1-98 0,-8 0-122 0,-8 0-24 0,2 1-422 0,-5 1 43 0,-2-2 88 0,0 0 71 16,-12 8 64-16</inkml:trace>
  <inkml:trace contextRef="#ctx0" brushRef="#br0" timeOffset="76376.78">6173 12499 1090 0,'12'0'351'0,"9"-3"-29"0,7-1 75 0,5 1-29 0,13-1-42 16,8-2-22-16,15-2-15 0,0-4 1 16,3 1-40-16,5-1-11 0,3 1-117 31,0-2-6-31,7 0-9 0,-5-2 13 0,0 3-22 0,-3-1-32 0,-2 2 8 0,-3 0-27 0,-7 1 6 16,-3 0 4-16,-15 1-16 0,-3 3-16 15,-4 0-7-15,-10 1-13 0,-6 0-30 16,-3 2-6-16,-8 0-5 0,3 1-46 0,-5-1-10 0,-2 2-26 15,-1-1-7-15,0 0-49 0,-5 2-41 16,0-3-49-16,-5 3-79 0,3-2-66 0,-1 0-403 16,-2 2 54-16,3-7 88 0,-3 7 102 0</inkml:trace>
  <inkml:trace contextRef="#ctx0" brushRef="#br0" timeOffset="82083.81">18425 4744 1366 0,'5'-5'441'0,"2"4"-27"16,-3 0-48-16,1-1-35 0,3 1-9 16,-1 1-51-16,3 0-30 0,-2 1 10 0,0 2-21 15,0-2-22-15,1 4-4 0,-1-2-37 16,-3 2-88-16,1 1 0 0,-2 2-4 0,-3 1-9 0,-1-3 3 16,-3 2-5-16,1 0-2 0,-6 3-3 15,-2 0-21-15,0-1 77 0,1 1-7 16,-1-1-14-16,0-3-1 0,0 0 6 15,2-1-22-15,1 1-23 0,-1-1 0 0,2-1-6 0,-1 1-22 16,4-4 20-16,1 2 0 0,-1-3-5 16,3-1-18-16,-5 6 18 0,5-6-13 15,0 0-18-15,8 1 13 0,-6 2-7 0,4-2 7 0,-1-1-10 16,4 3 5-16,-3 0-24 0,2-1 12 16,-1-1 9-16,1 3-5 0,0 1-2 0,2-2 7 15,-2 2-15-15,-3-2 10 0,3 1-7 0,-3 2 5 16,0-1-8-16,0 1 33 0,-2-4 8 15,-3 3-3-15,2 1 3 0,-2-4-13 16,-2 4 6-16,-1-2 9 0,-2-1-4 0,-3 1-29 16,0 2 8-16,-2-4 12 0,0 2-27 0,-3 0 7 15,1-1 16 1,-1-1-21-16,-3 1-28 0,1-2 0 0,0 0-44 0,2 1-12 0,-5 0-16 16,2-2-28-16,5 1-30 15,-3-1-16-15,1 0-15 0,2 0-47 0,1 0-104 0,0 0-100 0,3-1-69 16,1-3-415-16,1 4 35 0,5 0 119 15,-5-3 71-15,5 3 80 0,0 0 71 0</inkml:trace>
  <inkml:trace contextRef="#ctx0" brushRef="#br0" timeOffset="82633.35">18774 4742 934 0,'-3'-4'450'0,"-2"3"-32"15,5 1-55-15,-10 0-17 0,10 0-11 16,-13 2-38-16,5 0-21 0,0 3-22 0,1-1-14 15,-3 0-14-15,2 1-24 0,-2 1-31 0,2 0-15 16,-2 1 13-16,2 2-30 0,3-2-91 0,-2 1 14 16,1-1-44-16,1 3-16 0,3-4 26 15,-1 0-15-15,3-1 8 0,0 0-14 0,3 0 6 16,-1-1 5-16,1-1-10 0,2 0 2 16,0-1-10-16,2-1 25 0,-7-1-17 15,13-2 10-15,-5 1 5 0,0-2-5 0,-1 0 8 16,4-1 27-16,-4-2-9 0,1 2 10 0,0-1 2 0,-3-2 23 15,0 2 70-15,3-1-6 16,-5 1 16-16,4 0-31 0,-4 2 5 0,-1-2-8 16,0 4-4-16,2-3-19 0,-4 4 0 0,4-1-4 15,-4 1-19-15,0 0-7 0,0 0 2 0,0 8-87 16,0-3 8-16,-2 2-5 0,0 1-1 16,1 1 4-16,-2 2-3 0,-1 2 7 0,3-1-17 15,-4 0 7-15,1 1-28 16,3-1-36-16,-4 1-5 0,2 0-46 0,1-1-13 0,-3 0-35 0,4-1-19 15,-1-2-30-15,0 1-44 0,-1-1-120 16,3-1-84-16,0-1-508 0,0-2 75 0,3 0 123 16,-1-3 53-16,0 2 113 0,2-3 0 15</inkml:trace>
  <inkml:trace contextRef="#ctx0" brushRef="#br0" timeOffset="83025.39">19102 4800 1315 0,'0'0'504'0,"3"-3"-125"0,-3 3-33 16,0 0-36-16,0 0-3 0,0 0-26 15,0 0-40-15,0 0-21 0,-18 11-2 0,10-6-55 16,-3-2 75-16,1 3-10 0,-2 3-26 0,-1-2-33 15,0 2-33-15,0 0-5 0,2 0-85 16,-3 1-13-16,3-4 3 0,-2 2-3 0,3 0 3 16,3-1-5-16,1-2-6 0,-2 2-12 15,1-2 5-15,2-1 0 0,0 2 18 0,0-3-8 0,2 1-10 16,0-1 0-16,3 1 10 16,0-4 3-16,3 6 4 0,0-4-9 0,2 1 12 0,0-1-17 15,3-1 15-15,-1 2 2 0,6-2-28 16,-2-1 21-16,1 0-3 0,1 0-7 15,0 0-6 1,2 0-15-16,1 0 8 0,-1 0-24 0,0-1-12 0,-2-2-13 0,-1 2-53 0,-1-1-1 16,-1 2-36-16,0 0-40 0,1-4-19 0,-6 4-60 15,3-1-160-15,-4 0-17 0,0 1-462 16,1-1 42-16,-3-3 87 0,-2 4 71 16,5-4 72-16</inkml:trace>
  <inkml:trace contextRef="#ctx0" brushRef="#br0" timeOffset="83403.28">19048 4817 1059 0,'0'0'464'0,"0"0"-29"16,0 0-64-16,-10 7-15 0,7-4-111 15,1 4-7-15,-1 3-28 0,0-2-7 0,-1 4-9 16,1 1-15-16,0 1 3 0,-1 1-21 0,0 0-2 16,2 3-26-16,0 1-5 0,1-5-13 15,-1 4 3-15,-1 0-18 0,1 0-13 16,1-3-3-16,1 1-17 0,0-3-6 0,-2 1-7 0,2-3-13 16,0 2 5-16,0-2-31 0,0-3-4 15,2 2-14-15,-2-3 21 16,0-1-13-16,0 1-13 0,0-1-20 0,0-1-5 0,1 1-5 15,-1-4-6-15,0-2-10 0,2 5 8 0,-2-5-31 16,3 3-17-16,-3-3-16 0,3 3-23 16,-3-3-26-16,0 0-74 0,0 0-82 0,0 0-56 15,15-4-504-15,-12 2 142 0,-3 2 4 0,0 0 102 16,7-4 59-16</inkml:trace>
  <inkml:trace contextRef="#ctx0" brushRef="#br0" timeOffset="85153.85">19517 4712 1013 0,'0'-6'415'0,"0"6"-49"16,0 0-13-16,0 0-41 0,0 0-28 0,0 0-33 16,0 0-13-16,-8 9-15 0,4-4-5 15,3 2-31-15,-4-1-31 0,3 0 13 0,-1 2-47 16,1 2-4-16,-1-2-33 0,2 2 12 15,-3-4-18-15,2 2 1 0,-1 2-55 0,2-3 3 16,-1 1 6-16,0-1-57 0,0-1 2 16,-2 1-30-16,4 0-8 0,-2-1-25 0,2-1-62 15,0-1-49-15,-2 0-53 0,2 0-29 0,-3-2-209 16,3-2-356-16,0 8 110 0,0-8 64 16,-3 2 56-16</inkml:trace>
  <inkml:trace contextRef="#ctx0" brushRef="#br0" timeOffset="85570.81">19363 4806 957 0,'0'0'330'0,"0"0"-5"16,0 0-46-16,0 0-20 0,0 0-21 0,0 0-16 0,13-6 11 15,-7 5-56-15,-1-1-6 16,4 0 52-16,-1 1-26 0,1 1-12 0,-2-1-17 15,3-1-14-15,0 1-26 0,3 0-10 0,-3 0-82 16,-1 1-13-16,1-1-5 0,-3 1-16 16,1-2-12-16,2 1-36 0,-2 0-21 0,-1 1-4 15,-7 0-32-15,11 0-25 0,-7 1-64 0,-1 2-38 16,-3-3-49-16,6 1-28 0,-6-1-100 16,0 5-356-16,2-3 136 0,-2-2 10 0,0 6 64 15</inkml:trace>
  <inkml:trace contextRef="#ctx0" brushRef="#br0" timeOffset="86126.35">19378 5014 1162 0,'0'0'343'0,"-6"3"-31"15,6-3-20-15,0 0 48 0,0 0-10 0,0 0-48 0,0 0-3 16,17 2-23-16,-10-2-39 0,-7 0 9 15,13-1-103-15,-5 1-21 0,4 0-2 16,-4 0 20-16,1 0-30 0,-1 0 30 0,0-1-41 16,-2 1-2-16,2 0 0 0,0 0-3 0,-3-2-12 15,2 1 4-15,-7 1-17 16,11 0 2-16,-5 0-13 0,-2-1-2 16,-4 1-5-16,10 0 10 0,-10 0-18 0,0 0-23 0,8 0-10 0,-8 0-21 15,5 1-41-15,-5-1-22 16,0 0-24-1,0 0-33-15,8 1-74 0,-8-1-65 0,7 2-117 0,-7-2-82 0,3 2-350 0,-3-2 50 0,13 1 134 16,-8-1 43-16,3 0 31 0</inkml:trace>
  <inkml:trace contextRef="#ctx0" brushRef="#br0" timeOffset="86832.85">19997 4765 985 0,'-1'-6'363'0,"1"6"-14"0,0 0-35 16,0 0-19-16,0 0-21 0,0 0 71 0,-4 11-15 15,4-6-48-15,-3 1-16 0,3 0-2 16,0 2-100-16,0 3-29 0,-3 0-7 15,1 3-2-15,0-2-1 0,-1 0-33 0,0-1 6 0,3 1-19 16,-2-1-2-16,-1 0-21 16,3-3 0-16,-3 3-17 0,3-4-6 0,0 2-38 0,-2-1-5 15,2-1-13 1,0-1-21-16,0-2-2 0,0 0-56 0,0 1-14 0,0 0-9 16,0-5-54-16,2 3-103 0,1-1-114 0,0 1-454 15,1-3 69-15,-4 0 31 0,0 0 72 0,0 0 115 16</inkml:trace>
  <inkml:trace contextRef="#ctx0" brushRef="#br0" timeOffset="87351.29">20117 4771 1430 0,'3'-3'492'0,"0"0"-60"0,-3 3-109 16,7-3-18-16,1 3-39 0,2-1-15 0,-2 1-11 15,2 1-40-15,0 0-18 0,3 4 12 16,-3-2-27-16,0 1-16 0,1 2 0 0,-4 1-18 0,1-1 64 16,-3 2-18-16,1-1 0 15,-4 3-25-15,-2-3-19 0,0 3-27 0,-2 0-6 16,-4 0-20-16,1 2 8 0,0-3-8 0,-2 2-11 16,1 0 4-16,-2-2-19 0,4 1 8 0,-4-3-10 15,5-1-8-15,-2 1 2 0,0-4 1 16,0 3 5-16,2-2-6 0,1 1-4 0,-1-3 2 15,0 2-10-15,1-2-8 0,2-2-2 0,-2 5 7 16,2-5-46-16,0 0 13 0,0 0 33 16,4 5-12-16,-4-5-6 0,8 1-61 15,-2-1 5-15,-6 0-5 0,12 0 13 0,-4 0-16 0,-1 0 16 16,1 0-13 0,2-1 20-16,0-2-28 0,-1 3-12 0,1-2-11 0,0 2-38 15,0-2-13-15,0-1 8 0,1 3-39 0,-3-1-10 16,2-2-38-16,0 1-26 0,-2 0-46 0,2-1-100 15,-2 1-13-15,-1 0-534 0,1-2 66 0,0 2 104 16,0-2 37-16,-1 0 107 16</inkml:trace>
  <inkml:trace contextRef="#ctx0" brushRef="#br0" timeOffset="87803.07">20447 4728 1244 0,'-7'-2'394'0,"7"2"-46"0,0 0-44 0,0 0 14 0,0 0 25 16,13-2-26-16,-8 0-38 0,3 0-2 15,2 2-24-15,0 0-12 16,1-1-31-16,1 1 10 0,1 0-23 0,-2 0-10 0,3 0-3 16,-5 0-77-16,3 0-14 0,0 1-9 0,-3-1-12 15,-1 2 20-15,2 0-2 0,-2 0-14 16,0 0 14-16,-1 3 81 0,-2-1 1 0,0 0-21 16,2 1 0-16,-6 1-28 0,4 0 2 0,-4 1-7 15,0 3-13-15,0-4-95 0,-1 3 13 0,0 1 10 16,0 0-12-16,0 1 10 15,-1 0-19-15,0-2-4 0,0 0-16 0,-1 1 3 0,2-1-5 16,0-1-31-16,-3 2-15 0,3-3-44 0,0 0-2 16,0 0-29-16,0-2-28 15,0 2-35-15,3-2-37 0,-3 0 4 0,3-2-40 0,-1 2-58 16,3-4-77-16,-5-1-51 0,7 2-463 0,-4 1 23 16,2-2 122-16,-5-1 47 0,8 0 79 15,-8 0 66-15</inkml:trace>
  <inkml:trace contextRef="#ctx0" brushRef="#br0" timeOffset="88089.7">20543 4901 1466 0,'0'0'435'0,"0"0"-2"0,8-7-41 16,-4 7-32-16,-1-2-124 0,3 1 17 15,1-1-25-15,3 1-36 0,-2 0-2 16,2-2-29-16,0 2-10 0,-2 1 2 0,5-2-32 0,-3 2-11 16,1 0-26-16,-1-3-25 0,0 2-15 0,1 1-39 15,-1-1-54-15,-3 1-40 0,1 0-52 16,2 0-118-16,-2-1-81 0,0 3-67 0,-1-2-469 16,4 0 75-16,-1 1 128 0,0 2 36 0,-1-3 81 15</inkml:trace>
  <inkml:trace contextRef="#ctx0" brushRef="#br0" timeOffset="88263.99">20999 4889 1123 0,'-2'-1'446'0,"2"1"-62"0,0 0-39 0,0 0-45 16,-5-1-67-16,5 1-52 0,0 0-58 0,-3-4-61 16,3 4-50-16,0 0-152 15,0 0-178-15,0 0-419 0,0 0 18 0,0 0 76 16,0 0 90-16</inkml:trace>
  <inkml:trace contextRef="#ctx0" brushRef="#br0" timeOffset="88733.63">21105 4763 1039 0,'4'-4'432'0,"2"3"-37"0,1 0-63 15,-2 1 55-15,-5 0-31 0,13 0-24 0,-6 1-9 16,0 0-19-16,0 3-12 0,-2 2 21 0,2-3-155 16,-4 3 4-16,1 0-14 0,-3 0 16 15,-2 3 56-15,-3 0-33 0,0 0 2 0,-4 1-33 32,0 3-5-32,-1 0-10 0,-3 0-23 0,2-1 0 0,-1-1-21 0,1 1 5 0,0-2-12 0,4-2 7 15,-2-1-23-15,2 0 6 0,0-1-24 16,2-1 8-16,1 0-8 0,-2-1 1 15,3 1-4-15,1-1-17 0,1-2 8 0,0-2-6 0,1 7 31 16,1-3-18-16,3-3-12 0,-5-1-6 16,7 5-2-16,1-4 2 0,-2 0-5 15,4-1 13-15,-3 3-15 0,3-3-13 16,3 1-21-16,-2-1-7 0,-1 0-11 0,2 0-51 0,-1 0-20 16,-1 0 0-16,3 0-29 0,-5 0-15 15,2-1-35-15,-2 1 12 0,0 0-15 0,-1 0-8 16,-7 0-31-16,10 0-27 0,-5 1-68 0,-5-1-40 15,6 1-105-15,-6-1-13 0,5 2-450 0,-5-1 96 16,0-1 88-16,0 0 92 0,0 0 33 16,0 0 57-16</inkml:trace>
  <inkml:trace contextRef="#ctx0" brushRef="#br0" timeOffset="90466.62">18387 5365 1100 0,'0'0'420'0,"0"0"-31"0,0 0-28 0,18-7-31 0,-3 6 13 16,6 0-66-16,2-3-19 0,8 2-4 16,15-2-24-16,5 2-87 0,5-3-7 0,16 3-13 15,4-2 2-15,4-2-5 0,6 1 19 16,-2 1-62-16,5 0 53 0,9-1-22 0,4-1-14 16,25-1 39-16,-23 5-12 0,1-2-37 15,26-2 90-15,-3 2-92 0,-21 1-10 0,22 0 5 16,-24 0-19-16,-5 3-4 0,0-2-18 15,0 2 23-15,-5 0-10 0,2 2-1 0,-4-1-2 16,-2 2-18-16,-5-1 3 0,-2 2 13 0,-2-4-21 16,-7 1-5-16,-16-1 5 0,0 1 7 0,-4 0-12 15,-5-1-7-15,-2 2 19 0,-11-1-17 16,-4-1-5-16,-8 1 12 0,1-2-15 0,-8 1 3 16,4 0-18-16,-6 0 25 0,-1-1 8 0,-2-1-8 15,1 1 24-15,-2 0-14 0,-2 0 4 0,1-3-11 16,-2 2 15-16,-1-2-13 15,0 2 19-15,-3-4-19 0,3 1 6 0,-3-1-3 16,0-1-5-16,-2 1 2 0,2-3-10 0,-2-2 21 16,2 0-21-16,-2-3 19 0,-1 1-17 0,3-4-19 15,-2-1 17-15,4-4-13 0,0-2-2 16,2-11 3-16,1 1-9 0,0-3-6 0,3-1 6 16,2-2 1-16,-4 0 2 0,1 0-2 0,0-1 5 15,-3 0 0-15,1 1 5 0,0 0-15 16,-2 0 2-16,0 0 5 0,0 3-7 0,-1 1 15 15,-4 9-11-15,2 2 4 0,0 2 17 16,-2 3-5-16,-3 1-2 16,2 0 7-16,1 2-13 0,0 2 14 0,-2 2-19 0,0 0 18 15,-1 2-10-15,0 1-5 0,0 2-5 0,0 1-8 0,0 0 18 16,-1 1-3-16,0 0-7 0,-2 2 13 16,0 1-6-16,-2-1 11 0,0 3-11 0,-3 0 6 15,1 1-1-15,-3-3 16 0,-4 6-15 16,-1-2-3-16,-1 0-10 0,-6-1 12 15,-4 4-20-15,-2-3 23 0,-3 2-5 0,-5-2-18 0,-13 2 6 16,-2-2-29-16,-4 3-13 0,-3-4 13 0,-16 2 10 16,-1-2 16-16,-1 1-18 0,-1-1-1 15,-3-1-9-15,3 1-1 0,-2-2 3 0,-1-2 23 16,-1 2-15-16,-4-2 20 0,2 1-5 0,2-1-10 16,-4-1 21-16,5 3-22 0,1-4 4 15,3 1 12-15,-4 2 10 0,2-3-2 16,-5 2-7-16,3-2 17 0,-2 0-3 0,-1 1 6 15,4 1-18-15,-1-2 7 0,1 2-2 0,-3 3 5 16,2-4-8-16,-2 4 47 0,1 0-37 16,5 1 3-16,13 0 8 0,2 0 8 0,2 0 2 15,0 2-3-15,1 0-20 0,0 1-7 0,2-2 12 16,3 3 7-16,3-4-6 0,2 2-14 0,1 2 26 16,12-3-16-16,4 2 19 0,7 0-26 15,-6-1 7-15,7 1-9 0,0-1 9 0,0 1 8 16,2 0-15-16,0-1 5 0,-1 4 0 15,3-2-10-15,-1-2 13 0,2 2-14 0,-2-1 19 16,4 2-11-16,-1 0 6 0,1-4 7 16,1 4-23-16,2-3 11 0,0 0 10 0,0 1 2 15,3-2-2-15,-3 3-6 0,6-4 21 0,-4 2-2 16,3-1-9-16,0 2-27 0,1-2 10 16,0 2 2-16,1 0 8 0,1 0-10 15,0 2 26-15,0 2-16 0,0-1-5 0,0 4 13 0,-1 3 5 16,4-1 5-16,-1 1-10 0,2 1-1 15,-3 5 11-15,2 0 13 0,-1 6-23 0,0 0 7 16,1 1 14-16,0 2 4 0,-4 10-10 0,3 1 8 16,-1 2 0-16,0-3-18 0,-3 2 13 15,2 2-24-15,0-2 24 0,2 3-13 0,-1-2 28 16,1-1-26-16,-2 1-4 0,3-3 4 16,-2-7-4-16,2-3 7 0,0 1 10 0,-1-4 16 15,0 2-31-15,1-3 28 16,-1 1-18-16,1-5-18 0,-1 1 13 0,0-2-13 0,1-5 18 15,0 0-17-15,2-1 17 0,-1-3-18 0,1-1 11 16,-1 1-4-16,3-3-11 0,0-2 37 0,3 0-28 16,0-3 19-16,5-1-11 0,1 1-16 0,1-2 11 15,8 0 3-15,1-2 7 16,5 1-15-16,5-1-16 0,2-1-17 0,1 1-8 0,11-2-42 16,0 2-42-16,-7 1-29 0,-7-1-28 0,2 0-51 15,-2 2-18-15,1 0-51 0,-8 0-70 0,2 0-135 16,0 2-358-16,-2 1-116 15,-3-2 96-15,0 0 122 0,-1-1 41 0,-2 4 76 16,0-4 106-16</inkml:trace>
</inkml:ink>
</file>

<file path=ppt/ink/ink9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5:10.250"/>
    </inkml:context>
    <inkml:brush xml:id="br0">
      <inkml:brushProperty name="width" value="0.05292" units="cm"/>
      <inkml:brushProperty name="height" value="0.05292" units="cm"/>
      <inkml:brushProperty name="color" value="#FF0000"/>
    </inkml:brush>
  </inkml:definitions>
  <inkml:trace contextRef="#ctx0" brushRef="#br0">20121 8638 1167 0,'-8'10'422'0,"-6"5"-33"0,-7 13-13 16,-12 8-15-16,-7 6-54 0,-4 5-17 15,-8 4-16-15,-14 12-26 0,-3 1-20 0,2-2-34 16,-2 1-9-16,2 3-34 0,1-3 5 0,1 0-49 16,1 0-30-16,15-13-33 0,4-5-27 0,6-2-37 15,1-5-24-15,12-7-35 16,3-3-49-16,4-2-133 0,5-8-18 0,4-3-31 0,-1-4-158 16,8-5-379-16,6-2 115 0,0-1 15 0,7-4 138 15</inkml:trace>
  <inkml:trace contextRef="#ctx0" brushRef="#br0" timeOffset="255.62">20486 8632 1144 0,'-22'23'391'0,"-4"4"-14"0,-10 14-22 0,-8 5-78 0,-12 17-14 0,-6 6-17 0,-4 3-21 0,-9 1-10 16,-1 5-23 0,-9 4-17-16,3 3-9 0,2-2-25 0,1-2-6 0,3-1-19 0,1-3-1 15,3 2-23-15,3-8-28 0,7-2-44 16,15-17-7-16,2 0-26 0,3-5-23 0,5-1-33 16,6-5-25-16,-1-3-57 0,12-8-110 0,7-11-100 15,1 1-479-15,2-2 57 0,2-6 61 0,0-1 54 16,5-6 97-16</inkml:trace>
</inkml:ink>
</file>

<file path=ppt/ink/ink9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5:30.205"/>
    </inkml:context>
    <inkml:brush xml:id="br0">
      <inkml:brushProperty name="width" value="0.05292" units="cm"/>
      <inkml:brushProperty name="height" value="0.05292" units="cm"/>
      <inkml:brushProperty name="color" value="#FF0000"/>
    </inkml:brush>
  </inkml:definitions>
  <inkml:trace contextRef="#ctx0" brushRef="#br0">9421 6135 1282 0,'2'-3'530'0,"-2"3"-57"0,0 0-30 16,0 0-18-16,-5 13-21 0,0-6-55 0,-3 10-17 15,0 1-40-15,-4 13-18 0,-1 0-36 16,0 2-31-16,0 4-17 0,-2 1-37 0,-3 1-25 15,-2 10-41-15,4-11-69 0,1-1-15 0,-3 1-82 16,5-1-29-16,-2-6-15 0,5-5-53 16,2-4-129-16,5-7-151 0,-2 2-38 0,2-6-412 15,3-2 67-15,3-4 130 0,0-2 28 0,1-1 59 16</inkml:trace>
  <inkml:trace contextRef="#ctx0" brushRef="#br0" timeOffset="197.56">9628 6142 1075 0,'3'-7'404'16,"-3"4"-23"-16,0 3-45 0,0 0-19 0,-10 13-25 15,2 0-41-15,0 5-8 0,-7 12-10 16,-2 2-39-16,0 5-27 0,-5 8 17 0,-4 5-46 16,3-1-48-16,0 0-29 0,-5-2-33 0,5 1-40 15,-1 0-34-15,6-13-39 0,1 2-45 0,-1-3-134 16,-3-1-117-16,6-2-467 15,4-7 109-15,1-4 42 0,0-1 45 0</inkml:trace>
  <inkml:trace contextRef="#ctx0" brushRef="#br0" timeOffset="515.54">9018 6606 1351 0,'-2'13'417'16,"-1"1"-38"-16,-2 5-36 0,2 3-31 0,3-1-30 15,-2 5-31-15,2 2-18 0,0-2-18 16,2 0 61-16,4-3-38 0,-1-2-25 0,3-2-42 16,2-1 6-16,5-1-26 0,3-5-28 15,2-4-21-15,1-2-30 0,3-4-26 0,3-2 2 16,4-2-42-16,11-4-9 0,-1-4-5 15,-3-4-17-15,-3 0-24 0,2-4-15 0,-5-1-15 16,-3-1-8-16,-4-3-21 16,-1-3-12-16,-1 2-18 0,-3 0-29 0,-4 4-53 0,-4 2-26 15,-3-1-30 1,0 5 23-16,-6-3-21 0,-3 3-184 0,0 0-292 0,-2-2 35 0,-6 3 65 0,-3 1 72 16</inkml:trace>
  <inkml:trace contextRef="#ctx0" brushRef="#br0" timeOffset="1611.21">6377 2573 895 0,'0'0'313'0,"0"0"45"0,0 0 0 16,26-3-76-16,-7 3-11 0,6 0-20 0,11 0-5 16,15 0-44-16,3 0-23 0,5 1-17 0,15 3 19 15,6-2-127-15,2 3-3 0,5-3-12 16,-5 3 7-16,0-2-21 0,-3 0-4 15,-5-1-6-15,-2 2-25 0,-13-2-18 16,0-2-21-16,0 0-25 0,-5 1-41 0,0-1-75 16,-3 0-35-16,-4 2-62 0,-12-1-166 0,-6 0-287 15,-7 0 42-15,-4-1 78 0</inkml:trace>
  <inkml:trace contextRef="#ctx0" brushRef="#br0" timeOffset="2038.43">6557 2683 1016 0,'23'-1'332'0,"3"0"-12"15,2 1-64-15,-3 1-18 0,9-2 3 0,1 1-31 16,14 0-13-16,0 1-97 0,2 1-13 0,0-2 2 15,1 4-1-15,0-1-14 0,-4-3 8 16,0 3-18-16,-9-2 20 0,-5 1-35 0,-3 1 12 16,-1 0-15-16,-5-2 13 0,-1 1-13 15,-4-1-5-15,-2 0-8 0,-3 1 6 0,-2-2-1 16,-2 0 21-16,-1 1-13 0,0 1 0 0,0-2 18 16,-2 0-15-16,0 0 15 0,-8 0-8 15,10 1 3-15,-10-1-3 16,8 0-12-16,-8 0 10 0,0 0 5 0,7 0-29 0,-7 0 11 0,0 0 0 15,0 0-10-15,6-1 7 0,-6 1 1 16,0 0-27-16,0 0 27 0,0 0-29 0,0 0 8 16,2-5-21-16,-2 5-12 0,0 0-34 15,0 0-9-15,0 0-29 0,3-5-47 16,-3 2-50-16,2-2-85 0,3-1-53 16,1-2-65-16,4-1-442 0,0-1 51 0,3-2 120 0,3-2 62 15</inkml:trace>
  <inkml:trace contextRef="#ctx0" brushRef="#br0" timeOffset="4177.78">2134 3270 1026 0,'28'2'310'0,"-9"-2"2"0,4 0-23 16,8 0-28-16,17 3-12 0,8-2-34 0,3 1-18 15,16 1-26-15,-1-1-12 0,5-1-11 16,3 3-22-16,1-3-8 0,-6 0-16 0,7 3-33 16,-4-4 5-16,-1 0-28 0,1 1-12 15,-6 0-29-15,-12-1-21 0,-2 1-19 0,-2-1-9 16,1 0-33-16,-3-2-48 0,-4 3-57 0,-1-3-33 16,-2 2-28-16,-12-3-62 0,-3 3-455 15,-3-2 46-15,-3 2 97 0,-7-1 41 0</inkml:trace>
  <inkml:trace contextRef="#ctx0" brushRef="#br0" timeOffset="4690.04">2570 3433 918 0,'52'-2'277'0,"4"-4"-13"15,18 3-37-15,1 1-1 16,4-1-27-16,0 1-27 0,3 0-29 0,-2 1 11 16,-1-2-16-16,-4 3-25 0,-16-1 12 0,0 0-30 0,-5-1 4 15,-3-1-19-15,-5 3-14 16,-8-1 14-16,-7 0-16 0,-5 1-3 0,-3 0-15 15,0 0-15-15,-5 0 10 0,-3 0 0 0,-2 0-3 16,0 0 3-16,-2 0 18 0,-1 1 5 16,0-1-2-16,-3 0 9 0,1 1-32 0,-3-1 12 15,-5 0 5-15,11-1-2 0,-11 1-6 0,5-1 6 16,-5 1-15-16,0 0 12 0,7 0-23 16,-7 0 0-1,0 0 34-15,0 0-42 0,0 0 11 0,0 0-16 0,8 0 8 0,-8 0-15 0,0 0 10 16,0 0-3-16,0 0-2 15,0 0 0-15,0 0-6 0,0 0-2 0,5-2 6 16,-5 2 2-16,0 0-11 0,0 0 13 0,0 0-12 16,0 0 20-16,0 0-15 0,0 0 7 0,0 0 3 15,0 0-13-15,0 0-5 0,0 0-20 16,0 0 17-16,0 0-12 0,0 0-19 0,0 0-35 16,0 0 0-16,0 0-46 0,0 0 20 0,0 0-40 15,0 0-32-15,0 0-22 0,0 0-77 16,0 0-57-16,8-1-268 0,-8 1-177 0,0 0 67 15,10 1 84-15,-10-1 71 0</inkml:trace>
  <inkml:trace contextRef="#ctx0" brushRef="#br0" timeOffset="5577.94">7849 5620 1351 0,'0'0'440'0,"0"0"-40"16,-7 13-42-16,1-3-36 0,1-1-89 0,-5 4-5 15,-3 4-33-15,2 1-24 0,-1 1-2 0,-1-1-13 16,-5 8-5-16,6-5-18 0,1-3-17 15,1 1-19-15,2-3-2 0,0-2 68 16,0 1-14-16,4-4-11 0,1 2-23 0,0-2-10 16,1 0 28-16,2-3-58 0,0 1 1 0,2 0-4 15,1-3 10-15,2-1-100 16,-2-2 5-16,4 2 0 0,1-3 6 0,0 1-16 0,2-3 2 16,1-1-27-16,-1-1-21 0,3 1-31 31,2-1-49-31,0-3-12 0,-2 2-36 0,5-1-95 0,0-2-105 0,-3-1-10 15,3 2-458-15,-2-1 84 0,2-2 72 0,-3-2 54 0,-2 2 69 0</inkml:trace>
  <inkml:trace contextRef="#ctx0" brushRef="#br0" timeOffset="5761.78">8093 5724 1133 0,'0'-5'374'0,"0"5"41"15,0 0-24-15,0 0 1 0,0 0-51 0,0 0 2 0,0 0-8 16,-10 8-128-16,7 1-20 0,0-1-13 0,-1-1-13 15,-2 5-7-15,3-1-16 0,-2 1-10 16,0 1-23-16,-3 1-18 0,4-1-43 16,-2 3-29-16,2-3-59 0,0 0-35 0,2 0-33 15,-3-1-37-15,2-2-122 0,1 0-147 0,2 1-55 16,0-4-374-16,2 0 56 0,1-1 97 0,0-4 67 16,-1 2 102-16</inkml:trace>
  <inkml:trace contextRef="#ctx0" brushRef="#br0" timeOffset="5977.68">8228 5649 1377 0,'3'-3'440'0,"-3"3"-38"0,0 0-3 0,0 0-46 0,0 0-20 0,-5 13-28 16,3-3-44-16,1 2-26 0,-1 1-17 0,2 1-13 15,-3 3-26-15,-1 1-8 0,1-2-43 16,0 4-28-16,1-3-69 0,1 2-54 0,-1-3-39 15,0-2-132-15,2 3-83 0,-3-4-112 16,2-1-540-16,1 2 95 0,0-2 76 0,-2-5 80 16,2 4 58-16</inkml:trace>
  <inkml:trace contextRef="#ctx0" brushRef="#br0" timeOffset="6440.96">8003 5845 1095 0,'8'0'305'0,"5"-6"-42"16,-1 5-48-16,6-6-28 0,1 2-72 0,1 0-28 0,3-3-58 15,0 1-42-15,5-3-61 0,-2 2-39 16,-3-3-64-16,0 4 8 0,0-6 64 0,-2 2 21 15,-3 1 61-15,-3 1 43 0,0 3 21 16,-7-2 59-16,-1 3 56 16,-1-1 26-16,-2 1 0 0,-3 2-54 0,-1-1 5 0,0 4 77 15,0 0 5-15,-3-5 7 0,3 5-24 16,-8 0 17-16,8 0-41 0,0 0-18 0,-7 5 8 16,4-1-3-16,1 2-10 0,0 0-8 0,2 2-20 15,0 3-64-15,2 1-10 0,0 2-3 0,1-1 30 16,0 3 4-16,-1 0 4 0,3 1 54 15,-2 1 1-15,1 1-73 0,-1-3 3 0,0 0-7 16,-3-2 2-16,0 2-18 0,0-2 2 0,-3 1 11 16,0 0-2-16,-1-2-19 15,-2-1-15-15,-1 2-2 0,0-4 17 0,-1 3-48 0,0-6-3 16,-2 2-33-16,1-1-21 0,2-4-61 0,-3 2-33 16,3-2-72-16,1-3-110 0,-4 1-115 0,7-1-440 15,-2-1 40-15,5 0 75 0,0 0 97 16,-7-4 89-16,4 1 116 15</inkml:trace>
  <inkml:trace contextRef="#ctx0" brushRef="#br0" timeOffset="6855.79">13067 5855 1290 0,'-3'18'440'0,"-2"-1"33"0,2 1-43 0,-1 1-128 16,-4 5-20-16,0 1-36 0,0-1-21 0,-2 8-25 15,-1 0-54-15,-1-1-31 0,4-5-49 0,-2-2-48 16,2-6-28-16,3 1-69 0,0-5-60 16,0 0-91-16,2-4-131 0,-2 3-463 0,3-7 61 15,-1 1 72-15,3-1 87 0</inkml:trace>
  <inkml:trace contextRef="#ctx0" brushRef="#br0" timeOffset="7193.56">13121 5827 1021 0,'12'-8'366'0,"-1"1"59"0,-3 3-44 0,-1 3-12 0,1 2-34 0,-1 0-48 16,-4 2-13-16,2 4-11 0,-5 0-55 16,0 1-70-16,-5 3-13 0,0 6-25 0,-8 1-15 0,0 1 86 15,-5 7-40-15,-2-2-11 0,-1-2 16 16,6-3-31-16,-1-1-13 0,6-5-13 0,-2 0-2 15,3-1-26-15,2-1 0 0,-1 2 6 16,3-7-11-16,0 6-3 0,2-6-5 0,1 1-20 16,2-1 13-16,0-1 2 0,2-2-15 15,1 2 21-15,2-4-32 0,-2 3-45 0,6-4 2 16,-1 0 3-16,1-4-39 0,3 3-28 0,1-2-17 16,2-3-39-16,1 2-47 0,-1-3-73 15,3-2-77-15,0-6-16 16,0 7-509-16,0-4 74 0,0 0 93 0,0 0 38 0,-3-2 61 0</inkml:trace>
  <inkml:trace contextRef="#ctx0" brushRef="#br0" timeOffset="7366.33">13334 5886 775 0,'7'-13'333'0,"-2"3"25"0,-3 3-84 0,2 1 13 0,-2 1-6 15,-2 2 52-15,0 0-3 0,0 3-35 16,0 0-1-16,0 0-30 0,0 0 20 0,0 0-120 16,-8 12 7-16,3-5-28 0,2 4 8 0,-1 0-40 15,-2 1 68-15,3 1 5 0,-1 0-48 16,-4 2-42-16,2-2-22 0,2 3-59 0,1-2-49 15,-2-1-41-15,2-1-64 0,1 0-97 16,-3 0-263-16,7-5-418 0,1-1 41 0,0 0 120 16,1 0 47-16,2-5 101 0,-1-1 29 15</inkml:trace>
  <inkml:trace contextRef="#ctx0" brushRef="#br0" timeOffset="7538.29">13490 5894 790 0,'5'-13'349'0,"0"1"78"0,-2 2-33 0,1 3-15 16,-3 2-21-16,1 1-91 0,1 0 1 15,-3 4-32-15,0 0-29 0,0 0 6 16,0 0-42-16,0 0-2 0,-3 17-28 0,0-9-8 16,1 4-18-16,-3 2 8 0,2 1-18 0,-1 0-38 15,-2 3-14-15,3-4-45 0,-4 4-49 16,2 0-49-16,0-4-55 0,0 3-91 0,-1-2-145 16,2 0-267-16,0-4-209 0,0 1 145 15,1-1 16-15,-2 0 56 16</inkml:trace>
  <inkml:trace contextRef="#ctx0" brushRef="#br0" timeOffset="7907.8">13318 6027 1016 0,'18'-4'355'0,"2"0"-52"0,-1-3-19 0,-1 1-10 15,7 1-34-15,1-3-50 0,-1 2-11 0,1-3-102 16,0 1-13-16,-1 0-8 0,1-3 21 0,-5 3-24 16,-4-2 4-16,-4 3 4 15,-3 1-40-15,-2-2 35 0,-1 1-15 0,-1 2-3 0,-4-1 29 16,0 2-21-16,-2 0 10 0,0 4-2 16,-4-4 23-16,4 4-13 0,-3-2-8 0,3 2 0 15,0 0 8-15,0 0 3 0,-7 8-1 16,7-2 1-16,0 1 2 0,2 1 95 0,-2 1 7 15,2 2 14-15,2-1-6 0,0 2-61 0,-4 0-31 16,2 0 25 0,-4-2-30-16,2 2 10 0,-2 2-2 0,-4-2-3 0,-1 2-15 0,-3 0-57 15,-4-1-12-15,-3 2-78 0,-4-1-94 0,1 0-158 16,-3-3-654-16,0-1 65 0,0 0 100 16,-1-3 78-1,-1-2 86-15,1-4 94 0</inkml:trace>
</inkml:ink>
</file>

<file path=ppt/ink/ink9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433.37708" units="1/cm"/>
          <inkml:channelProperty channel="Y" name="resolution" value="2150.06567" units="1/cm"/>
          <inkml:channelProperty channel="F" name="resolution" value="0" units="1/dev"/>
          <inkml:channelProperty channel="T" name="resolution" value="1" units="1/dev"/>
        </inkml:channelProperties>
      </inkml:inkSource>
      <inkml:timestamp xml:id="ts0" timeString="2023-05-05T16:15:43.100"/>
    </inkml:context>
    <inkml:brush xml:id="br0">
      <inkml:brushProperty name="width" value="0.05292" units="cm"/>
      <inkml:brushProperty name="height" value="0.05292" units="cm"/>
      <inkml:brushProperty name="color" value="#FF0000"/>
    </inkml:brush>
  </inkml:definitions>
  <inkml:trace contextRef="#ctx0" brushRef="#br0">9473 4963 1215 0,'53'1'338'0,"26"4"-10"0,9-5-39 15,12 2-28-15,7-2-33 0,32 1-23 16,7 1 0-16,-3-2-31 0,-2-3-23 0,1 1-21 0,-4-1-4 16,-5 0-21-16,-4-2 2 0,-29 3-30 15,0-3-29-15,-4 1-50 0,0 1-8 0,-6-1-77 16,-6 2 15-16,-5 1-187 0,-20 1-60 16,0 1-475-16,-10-1 39 0,-13 1 120 0,-10 0 59 15</inkml:trace>
  <inkml:trace contextRef="#ctx0" brushRef="#br0" timeOffset="359.89">9131 5225 1021 0,'33'-4'376'0,"-2"3"-35"0,18-1-47 15,10-3-25-15,18 1-8 0,10 0-46 16,8-2 13-16,8 1-44 0,1 0-8 16,27 0-4-16,0-1-39 0,5 2-18 0,-8-2 6 15,-23 1-19-15,23-2-20 0,-28 3-33 0,-2 2-3 16,-3-2-44-16,-3-2-40 0,-2 3-116 0,-3 4 29 16,-5 1-52-16,0 1-104 0,-3-1 19 0,1 2-11 15,0-3 40-15,-1 2-5 0,8 0 15 16,3-2-54-16,5 2 27 0,2-4-35 15,6 1 17-15,5 0 60 0,30-1 70 0,0-1 72 0,3 2 48 16,7-3-36-16,4 2 36 0,0-1-46 16,1 1 33-16,11-7-66 0,-5 5-205 15</inkml:trace>
  <inkml:trace contextRef="#ctx0" brushRef="#br0" timeOffset="829.25">12172 6940 1121 0,'18'0'414'0,"5"0"-25"0,23-3-33 0,13 2-36 16,26-5-15-16,9 1-36 0,6-1-6 0,31-2-45 15,8-2-24-15,1 2-9 16,-1-4-45-16,-3 0-27 0,0-1-31 0,-2 0-18 15,-7 0-54-15,-9-3-18 0,-23 4-66 0,-5 3-128 0,-16-2-146 16,4 2-540-16,-5 0 89 0,-22 3 126 16,-6 0 30-16,-15 4 65 0</inkml:trace>
  <inkml:trace contextRef="#ctx0" brushRef="#br0" timeOffset="1041.76">12754 7142 1369 0,'39'-3'427'0,"14"2"-53"0,22-4-77 0,12 2-38 0,8-4-60 16,2-2-45-16,-2 1-44 0,23-8 8 16,-24 4-21-16,2-2-23 0,18-5-23 15,-24 5-46-15,-2-4-61 0,-1 1-85 0,-2-2-150 0,-6 1-12 16,6-1-436-16,-3 0 7 15,-3-1 115-15,-5 1 56 0</inkml:trace>
  <inkml:trace contextRef="#ctx0" brushRef="#br0" timeOffset="1761.67">17256 4234 975 0,'2'-5'350'0,"1"2"-25"16,0 1-45-16,-3 2-27 0,5-2-23 15,-5 2-7-15,0 0-13 0,0 0 7 0,-1 11 62 16,-3-4-10-16,-2 3-44 0,-1 4-25 0,-3 0-18 16,-1 4-16-16,-2 1-48 0,1 0 28 15,1-1-23-15,-1 2-5 0,-1-2-31 0,5 1-16 16,0-3 9-16,0-1-6 0,1-1-13 0,2 1 8 15,0-3-12-15,5-3-4 0,0 0-1 16,0 0 6-16,5-2-11 0,0 0 11 0,3-2-17 16,2 0-20-16,3-1-6 0,2-3-12 15,-2 2-26 1,3-3-26-16,1 0-30 0,-1-2-21 0,-1 1-41 0,3-3-61 0,0 2-98 16,2-3-86-16,-1 0-543 0,-1-2 105 0,2-1 17 15,0-3 129-15,-1-1 28 0,-2 0 94 0</inkml:trace>
  <inkml:trace contextRef="#ctx0" brushRef="#br0" timeOffset="1956.31">17584 4259 929 0,'2'-6'312'0,"-1"3"80"15,-1-2-14-15,0 5-60 0,0-5-21 0,0 5 7 0,0 0-35 16,0 0-36-16,0 0-18 0,0 0-95 16,0 0 1-16,-1 17-6 0,1-10-20 15,-2 2 7-15,0 3-20 0,-1 0-8 0,-2 3-12 16,3-1-47-16,-1 4-30 0,-2 0-19 0,2-3-66 15,3 2-61-15,-3 1-64 0,1-4-123 16,0-1-77-16,2 0-389 0,2 0 107 0,3-3 60 16,0-1 58-16</inkml:trace>
  <inkml:trace contextRef="#ctx0" brushRef="#br0" timeOffset="2153.48">17792 4283 1082 0,'0'-8'323'0,"2"2"-26"0,-1 1-6 0,-1 4-58 0,0 1-12 0,0 0-4 0,0 0 21 0,0 0-5 16,0 0-36-16,-3 12-7 0,0-6-14 0,3 3-58 15,-2 1-62-15,2-1-35 0,-3 3-54 0,3 1-126 16,-2-3-151-16,-1 4-512 16,3-1 67-16,0 0 77 0,-3-1 33 0</inkml:trace>
  <inkml:trace contextRef="#ctx0" brushRef="#br0" timeOffset="2485.07">17661 4369 849 0,'21'-11'231'0,"-4"3"-27"0,4 1-6 0,0-2-24 0,-1 0-18 0,3 2-23 0,3-3-3 0,-6 2-20 0,4-2-20 16,-6 3 0-16,-1 0-6 0,-3 0-10 16,-2 2-5-16,-4-2-7 0,-1 3 12 0,0-2-5 15,-6 3-7-15,2-1 7 0,-3 1-3 0,0 3 32 16,0 0-32-16,-4-5-7 0,4 5-8 16,0 0 11-16,0 0 12 0,0 0-23 0,-12 8 5 15,12-2-2 1,-2-1-10-16,2 1-1 0,0 1 11 0,0 1 18 0,0 1 50 0,0 1 17 15,0-1-24-15,0 2-20 16,-3-1 17-16,0 3-25 0,-1-2-13 0,1 0-4 0,-2 0-9 16,-1 1-46-16,-4-1-20 0,3 2-23 15,-3-2-64-15,-1 2-77 0,6-2-159 0,-3-3-555 0,1 3 72 16,3-3 69-16,-3 2 94 0,2-2 87 16</inkml:trace>
  <inkml:trace contextRef="#ctx0" brushRef="#br0" timeOffset="2906.83">18661 5555 893 0,'0'16'381'0,"-3"-5"-17"0,-1 1-49 15,3 6-39-15,-4 0-2 0,0 4-34 0,0 1-22 0,2 4-34 16,-5 8-40-16,1 2-47 16,0-2-61-16,-2 1-80 0,4-4-94 0,0-4-133 15,0-2-489-15,0 0 33 0,3-6 102 0,-1 0 44 16</inkml:trace>
  <inkml:trace contextRef="#ctx0" brushRef="#br0" timeOffset="3325.97">18741 5662 1046 0,'5'-5'338'0,"0"6"-84"16,-5-1-24-16,0 0-12 0,0 13-29 15,-5-2-23-15,-3 1 6 0,0 2-21 16,-5 5-18-16,-7 7-5 0,-1 2-15 0,1-1-13 16,5-5-26-16,1-5-3 0,0 0 1 0,4 1 13 15,1-4-27-15,1 0 81 0,1-4-32 16,2 3-7-16,3-5-18 0,1 0-3 0,1-2-20 16,1-2 3-16,3 1-22 0,2-2-19 15,-1-2-16-15,3-1-25 0,2-3-39 0,2 0-3 16,1-1 3-16,2-3-10 0,1 0-10 0,-1 0 7 15,1-4 21-15,2-2-15 0,1 1 27 16,-3-5 19-16,3 2-1 0,-4 1 24 0,3-2 40 16,-5 5 16-16,-3 1 26 0,0-1 17 15,1 3 0-15,-4 0 8 0,1 1-2 0,-3 2-11 16,-2 3-7-16,1 1 2 0,-4 1 8 16,0 0-16-16,4 10-7 0,-5-5 8 15,-2 4-9-15,1-1-24 0,0 5-9 0,-4-1-15 0,4 2-28 16,-3 2-43-16,-1-2-42 0,2 4-84 0,-2 0-92 15,4-6-120-15,-1 1-533 16,3-5 95-16,0 3 102 0,3-5 49 16,1 0 61-16</inkml:trace>
  <inkml:trace contextRef="#ctx0" brushRef="#br0" timeOffset="3511.95">19102 5697 1149 0,'3'-9'322'16,"-1"2"-20"-16,3 2-38 0,-4 4-18 0,-1 1-3 15,0 0-8-15,0 0-30 0,2 10-13 0,-4-2-25 16,-2 1-14-16,0 3-27 0,-2 4-29 16,1-1-38-16,-2 2-44 0,-1-2-58 0,1 6-83 15,-1 0-120-15,-2-1-209 0,2 2-247 0,0-2 6 16,0-1 51-16,3-5 115 0</inkml:trace>
  <inkml:trace contextRef="#ctx0" brushRef="#br0" timeOffset="3801.01">18976 5914 816 0,'8'-8'292'0,"4"-2"-18"0,-3 1-39 16,3 2-15-16,1-4-35 0,2 3-4 16,2-6-17-16,0 2-15 0,3-2-24 0,-2 1-10 15,0 1-25-15,-2-1 12 0,-3 2-7 0,-3 2 7 16,0 1 1-16,-2-1 2 0,-1 3-5 15,1 2-6-15,-2 0 19 0,-2-3-18 16,-1 5-26-16,2-2 13 0,0 4 2 0,-5 0-15 0,0 0 0 16,10 5 3-16,-5-2-21 15,-2 4 23-15,2 1-17 0,-2 1-6 0,2 0 0 16,-2 1-7-16,1 3-11 0,0 0 87 0,-2-1-12 16,-2 1-16-1,0 1-26-15,-2 1-61 0,-2 1-81 0,-2 1-185 0,-5 1-699 0,-3 1 95 0,0-1 132 16,0-4 71-16,2-3 16 15,1 1 81-15</inkml:trace>
  <inkml:trace contextRef="#ctx0" brushRef="#br0" timeOffset="3914.66">19462 5890 1482 0,'-9'-3'368'16,"4"2"-107"-16,0-2-174 0,-1 2-483 0,-1-4-308 15,4 2 97-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5/12/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6</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20</a:t>
            </a:fld>
            <a:endParaRPr lang="en-US"/>
          </a:p>
        </p:txBody>
      </p:sp>
    </p:spTree>
    <p:extLst>
      <p:ext uri="{BB962C8B-B14F-4D97-AF65-F5344CB8AC3E}">
        <p14:creationId xmlns:p14="http://schemas.microsoft.com/office/powerpoint/2010/main" val="16525461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5/12/2023</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5/12/2023</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scherlund.blogspot.com/2018/01/ai-and-machine-learning-give-new.html" TargetMode="External"/><Relationship Id="rId3" Type="http://schemas.openxmlformats.org/officeDocument/2006/relationships/slideLayout" Target="../slideLayouts/slideLayout9.xml"/><Relationship Id="rId7" Type="http://schemas.openxmlformats.org/officeDocument/2006/relationships/image" Target="../media/image2.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customXml" Target="../ink/ink1.xml"/></Relationships>
</file>

<file path=ppt/slides/_rels/slide10.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0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3.png"/><Relationship Id="rId1" Type="http://schemas.openxmlformats.org/officeDocument/2006/relationships/slideLayout" Target="../slideLayouts/slideLayout5.xml"/><Relationship Id="rId5" Type="http://schemas.openxmlformats.org/officeDocument/2006/relationships/image" Target="../media/image156.png"/><Relationship Id="rId4" Type="http://schemas.openxmlformats.org/officeDocument/2006/relationships/customXml" Target="../ink/ink112.xml"/></Relationships>
</file>

<file path=ppt/slides/_rels/slide10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customXml" Target="../ink/ink113.xml"/><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8" Type="http://schemas.openxmlformats.org/officeDocument/2006/relationships/customXml" Target="../ink/ink115.xml"/><Relationship Id="rId3" Type="http://schemas.openxmlformats.org/officeDocument/2006/relationships/image" Target="../media/image159.png"/><Relationship Id="rId7" Type="http://schemas.openxmlformats.org/officeDocument/2006/relationships/image" Target="../media/image1800.png"/><Relationship Id="rId2" Type="http://schemas.openxmlformats.org/officeDocument/2006/relationships/image" Target="../media/image158.png"/><Relationship Id="rId1" Type="http://schemas.openxmlformats.org/officeDocument/2006/relationships/slideLayout" Target="../slideLayouts/slideLayout5.xml"/><Relationship Id="rId6" Type="http://schemas.openxmlformats.org/officeDocument/2006/relationships/customXml" Target="../ink/ink114.xml"/><Relationship Id="rId11" Type="http://schemas.openxmlformats.org/officeDocument/2006/relationships/image" Target="../media/image161.png"/><Relationship Id="rId5" Type="http://schemas.openxmlformats.org/officeDocument/2006/relationships/hyperlink" Target="https://www.mathsisfun.com/algebra/sigma-notation.html" TargetMode="External"/><Relationship Id="rId10" Type="http://schemas.openxmlformats.org/officeDocument/2006/relationships/customXml" Target="../ink/ink116.xml"/><Relationship Id="rId4" Type="http://schemas.openxmlformats.org/officeDocument/2006/relationships/image" Target="../media/image160.png"/><Relationship Id="rId9" Type="http://schemas.openxmlformats.org/officeDocument/2006/relationships/image" Target="../media/image1810.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162.pn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ustomXml" Target="../ink/ink12.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168.jpe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3" Type="http://schemas.openxmlformats.org/officeDocument/2006/relationships/image" Target="../media/image1870.png"/><Relationship Id="rId7" Type="http://schemas.openxmlformats.org/officeDocument/2006/relationships/image" Target="../media/image189.png"/><Relationship Id="rId2" Type="http://schemas.openxmlformats.org/officeDocument/2006/relationships/customXml" Target="../ink/ink117.xml"/><Relationship Id="rId1" Type="http://schemas.openxmlformats.org/officeDocument/2006/relationships/slideLayout" Target="../slideLayouts/slideLayout5.xml"/><Relationship Id="rId6" Type="http://schemas.openxmlformats.org/officeDocument/2006/relationships/customXml" Target="../ink/ink119.xml"/><Relationship Id="rId5" Type="http://schemas.openxmlformats.org/officeDocument/2006/relationships/image" Target="../media/image188.png"/><Relationship Id="rId4" Type="http://schemas.openxmlformats.org/officeDocument/2006/relationships/customXml" Target="../ink/ink118.xml"/></Relationships>
</file>

<file path=ppt/slides/_rels/slide117.xml.rels><?xml version="1.0" encoding="UTF-8" standalone="yes"?>
<Relationships xmlns="http://schemas.openxmlformats.org/package/2006/relationships"><Relationship Id="rId26" Type="http://schemas.openxmlformats.org/officeDocument/2006/relationships/image" Target="../media/image202.png"/><Relationship Id="rId21" Type="http://schemas.openxmlformats.org/officeDocument/2006/relationships/customXml" Target="../ink/ink129.xml"/><Relationship Id="rId42" Type="http://schemas.openxmlformats.org/officeDocument/2006/relationships/image" Target="../media/image210.png"/><Relationship Id="rId47" Type="http://schemas.openxmlformats.org/officeDocument/2006/relationships/customXml" Target="../ink/ink142.xml"/><Relationship Id="rId63" Type="http://schemas.openxmlformats.org/officeDocument/2006/relationships/image" Target="../media/image220.png"/><Relationship Id="rId68" Type="http://schemas.openxmlformats.org/officeDocument/2006/relationships/customXml" Target="../ink/ink153.xml"/><Relationship Id="rId84" Type="http://schemas.openxmlformats.org/officeDocument/2006/relationships/customXml" Target="../ink/ink161.xml"/><Relationship Id="rId89" Type="http://schemas.openxmlformats.org/officeDocument/2006/relationships/image" Target="../media/image233.png"/><Relationship Id="rId112" Type="http://schemas.openxmlformats.org/officeDocument/2006/relationships/customXml" Target="../ink/ink175.xml"/><Relationship Id="rId16" Type="http://schemas.openxmlformats.org/officeDocument/2006/relationships/image" Target="../media/image197.png"/><Relationship Id="rId107" Type="http://schemas.openxmlformats.org/officeDocument/2006/relationships/image" Target="../media/image242.png"/><Relationship Id="rId11" Type="http://schemas.openxmlformats.org/officeDocument/2006/relationships/customXml" Target="../ink/ink124.xml"/><Relationship Id="rId32" Type="http://schemas.openxmlformats.org/officeDocument/2006/relationships/image" Target="../media/image205.png"/><Relationship Id="rId37" Type="http://schemas.openxmlformats.org/officeDocument/2006/relationships/customXml" Target="../ink/ink137.xml"/><Relationship Id="rId53" Type="http://schemas.openxmlformats.org/officeDocument/2006/relationships/customXml" Target="../ink/ink145.xml"/><Relationship Id="rId58" Type="http://schemas.openxmlformats.org/officeDocument/2006/relationships/customXml" Target="../ink/ink148.xml"/><Relationship Id="rId74" Type="http://schemas.openxmlformats.org/officeDocument/2006/relationships/customXml" Target="../ink/ink156.xml"/><Relationship Id="rId79" Type="http://schemas.openxmlformats.org/officeDocument/2006/relationships/image" Target="../media/image228.png"/><Relationship Id="rId102" Type="http://schemas.openxmlformats.org/officeDocument/2006/relationships/customXml" Target="../ink/ink170.xml"/><Relationship Id="rId5" Type="http://schemas.openxmlformats.org/officeDocument/2006/relationships/customXml" Target="../ink/ink121.xml"/><Relationship Id="rId90" Type="http://schemas.openxmlformats.org/officeDocument/2006/relationships/customXml" Target="../ink/ink164.xml"/><Relationship Id="rId95" Type="http://schemas.openxmlformats.org/officeDocument/2006/relationships/image" Target="../media/image236.png"/><Relationship Id="rId22" Type="http://schemas.openxmlformats.org/officeDocument/2006/relationships/image" Target="../media/image200.png"/><Relationship Id="rId27" Type="http://schemas.openxmlformats.org/officeDocument/2006/relationships/customXml" Target="../ink/ink132.xml"/><Relationship Id="rId43" Type="http://schemas.openxmlformats.org/officeDocument/2006/relationships/customXml" Target="../ink/ink140.xml"/><Relationship Id="rId48" Type="http://schemas.openxmlformats.org/officeDocument/2006/relationships/image" Target="../media/image213.png"/><Relationship Id="rId64" Type="http://schemas.openxmlformats.org/officeDocument/2006/relationships/customXml" Target="../ink/ink151.xml"/><Relationship Id="rId69" Type="http://schemas.openxmlformats.org/officeDocument/2006/relationships/image" Target="../media/image223.png"/><Relationship Id="rId113" Type="http://schemas.openxmlformats.org/officeDocument/2006/relationships/image" Target="../media/image245.png"/><Relationship Id="rId80" Type="http://schemas.openxmlformats.org/officeDocument/2006/relationships/customXml" Target="../ink/ink159.xml"/><Relationship Id="rId85" Type="http://schemas.openxmlformats.org/officeDocument/2006/relationships/image" Target="../media/image231.png"/><Relationship Id="rId12" Type="http://schemas.openxmlformats.org/officeDocument/2006/relationships/image" Target="../media/image195.png"/><Relationship Id="rId17" Type="http://schemas.openxmlformats.org/officeDocument/2006/relationships/customXml" Target="../ink/ink127.xml"/><Relationship Id="rId33" Type="http://schemas.openxmlformats.org/officeDocument/2006/relationships/customXml" Target="../ink/ink135.xml"/><Relationship Id="rId38" Type="http://schemas.openxmlformats.org/officeDocument/2006/relationships/image" Target="../media/image208.png"/><Relationship Id="rId59" Type="http://schemas.openxmlformats.org/officeDocument/2006/relationships/image" Target="../media/image218.png"/><Relationship Id="rId103" Type="http://schemas.openxmlformats.org/officeDocument/2006/relationships/image" Target="../media/image240.png"/><Relationship Id="rId108" Type="http://schemas.openxmlformats.org/officeDocument/2006/relationships/customXml" Target="../ink/ink173.xml"/><Relationship Id="rId54" Type="http://schemas.openxmlformats.org/officeDocument/2006/relationships/customXml" Target="../ink/ink146.xml"/><Relationship Id="rId70" Type="http://schemas.openxmlformats.org/officeDocument/2006/relationships/customXml" Target="../ink/ink154.xml"/><Relationship Id="rId75" Type="http://schemas.openxmlformats.org/officeDocument/2006/relationships/image" Target="../media/image226.png"/><Relationship Id="rId91" Type="http://schemas.openxmlformats.org/officeDocument/2006/relationships/image" Target="../media/image234.png"/><Relationship Id="rId96" Type="http://schemas.openxmlformats.org/officeDocument/2006/relationships/customXml" Target="../ink/ink167.xml"/><Relationship Id="rId1" Type="http://schemas.openxmlformats.org/officeDocument/2006/relationships/slideLayout" Target="../slideLayouts/slideLayout5.xml"/><Relationship Id="rId6" Type="http://schemas.openxmlformats.org/officeDocument/2006/relationships/image" Target="../media/image192.png"/><Relationship Id="rId15" Type="http://schemas.openxmlformats.org/officeDocument/2006/relationships/customXml" Target="../ink/ink126.xml"/><Relationship Id="rId23" Type="http://schemas.openxmlformats.org/officeDocument/2006/relationships/customXml" Target="../ink/ink130.xml"/><Relationship Id="rId28" Type="http://schemas.openxmlformats.org/officeDocument/2006/relationships/image" Target="../media/image203.png"/><Relationship Id="rId36" Type="http://schemas.openxmlformats.org/officeDocument/2006/relationships/image" Target="../media/image207.png"/><Relationship Id="rId49" Type="http://schemas.openxmlformats.org/officeDocument/2006/relationships/customXml" Target="../ink/ink143.xml"/><Relationship Id="rId57" Type="http://schemas.openxmlformats.org/officeDocument/2006/relationships/image" Target="../media/image217.png"/><Relationship Id="rId106" Type="http://schemas.openxmlformats.org/officeDocument/2006/relationships/customXml" Target="../ink/ink172.xml"/><Relationship Id="rId114" Type="http://schemas.openxmlformats.org/officeDocument/2006/relationships/customXml" Target="../ink/ink176.xml"/><Relationship Id="rId10" Type="http://schemas.openxmlformats.org/officeDocument/2006/relationships/image" Target="../media/image194.png"/><Relationship Id="rId31" Type="http://schemas.openxmlformats.org/officeDocument/2006/relationships/customXml" Target="../ink/ink134.xml"/><Relationship Id="rId44" Type="http://schemas.openxmlformats.org/officeDocument/2006/relationships/image" Target="../media/image211.png"/><Relationship Id="rId52" Type="http://schemas.openxmlformats.org/officeDocument/2006/relationships/image" Target="../media/image215.png"/><Relationship Id="rId60" Type="http://schemas.openxmlformats.org/officeDocument/2006/relationships/customXml" Target="../ink/ink149.xml"/><Relationship Id="rId65" Type="http://schemas.openxmlformats.org/officeDocument/2006/relationships/image" Target="../media/image221.png"/><Relationship Id="rId73" Type="http://schemas.openxmlformats.org/officeDocument/2006/relationships/image" Target="../media/image225.png"/><Relationship Id="rId78" Type="http://schemas.openxmlformats.org/officeDocument/2006/relationships/customXml" Target="../ink/ink158.xml"/><Relationship Id="rId81" Type="http://schemas.openxmlformats.org/officeDocument/2006/relationships/image" Target="../media/image229.png"/><Relationship Id="rId86" Type="http://schemas.openxmlformats.org/officeDocument/2006/relationships/customXml" Target="../ink/ink162.xml"/><Relationship Id="rId94" Type="http://schemas.openxmlformats.org/officeDocument/2006/relationships/customXml" Target="../ink/ink166.xml"/><Relationship Id="rId99" Type="http://schemas.openxmlformats.org/officeDocument/2006/relationships/image" Target="../media/image238.png"/><Relationship Id="rId101" Type="http://schemas.openxmlformats.org/officeDocument/2006/relationships/image" Target="../media/image239.png"/><Relationship Id="rId4" Type="http://schemas.openxmlformats.org/officeDocument/2006/relationships/image" Target="../media/image191.png"/><Relationship Id="rId9" Type="http://schemas.openxmlformats.org/officeDocument/2006/relationships/customXml" Target="../ink/ink123.xml"/><Relationship Id="rId13" Type="http://schemas.openxmlformats.org/officeDocument/2006/relationships/customXml" Target="../ink/ink125.xml"/><Relationship Id="rId18" Type="http://schemas.openxmlformats.org/officeDocument/2006/relationships/image" Target="../media/image198.png"/><Relationship Id="rId39" Type="http://schemas.openxmlformats.org/officeDocument/2006/relationships/customXml" Target="../ink/ink138.xml"/><Relationship Id="rId109" Type="http://schemas.openxmlformats.org/officeDocument/2006/relationships/image" Target="../media/image243.png"/><Relationship Id="rId34" Type="http://schemas.openxmlformats.org/officeDocument/2006/relationships/image" Target="../media/image206.png"/><Relationship Id="rId50" Type="http://schemas.openxmlformats.org/officeDocument/2006/relationships/image" Target="../media/image214.png"/><Relationship Id="rId55" Type="http://schemas.openxmlformats.org/officeDocument/2006/relationships/image" Target="../media/image216.png"/><Relationship Id="rId76" Type="http://schemas.openxmlformats.org/officeDocument/2006/relationships/customXml" Target="../ink/ink157.xml"/><Relationship Id="rId97" Type="http://schemas.openxmlformats.org/officeDocument/2006/relationships/image" Target="../media/image237.png"/><Relationship Id="rId104" Type="http://schemas.openxmlformats.org/officeDocument/2006/relationships/customXml" Target="../ink/ink171.xml"/><Relationship Id="rId7" Type="http://schemas.openxmlformats.org/officeDocument/2006/relationships/customXml" Target="../ink/ink122.xml"/><Relationship Id="rId71" Type="http://schemas.openxmlformats.org/officeDocument/2006/relationships/image" Target="../media/image224.png"/><Relationship Id="rId92" Type="http://schemas.openxmlformats.org/officeDocument/2006/relationships/customXml" Target="../ink/ink165.xml"/><Relationship Id="rId2" Type="http://schemas.openxmlformats.org/officeDocument/2006/relationships/image" Target="../media/image169.png"/><Relationship Id="rId29" Type="http://schemas.openxmlformats.org/officeDocument/2006/relationships/customXml" Target="../ink/ink133.xml"/><Relationship Id="rId24" Type="http://schemas.openxmlformats.org/officeDocument/2006/relationships/image" Target="../media/image201.png"/><Relationship Id="rId40" Type="http://schemas.openxmlformats.org/officeDocument/2006/relationships/image" Target="../media/image209.png"/><Relationship Id="rId45" Type="http://schemas.openxmlformats.org/officeDocument/2006/relationships/customXml" Target="../ink/ink141.xml"/><Relationship Id="rId66" Type="http://schemas.openxmlformats.org/officeDocument/2006/relationships/customXml" Target="../ink/ink152.xml"/><Relationship Id="rId87" Type="http://schemas.openxmlformats.org/officeDocument/2006/relationships/image" Target="../media/image232.png"/><Relationship Id="rId110" Type="http://schemas.openxmlformats.org/officeDocument/2006/relationships/customXml" Target="../ink/ink174.xml"/><Relationship Id="rId115" Type="http://schemas.openxmlformats.org/officeDocument/2006/relationships/image" Target="../media/image246.png"/><Relationship Id="rId61" Type="http://schemas.openxmlformats.org/officeDocument/2006/relationships/image" Target="../media/image219.png"/><Relationship Id="rId82" Type="http://schemas.openxmlformats.org/officeDocument/2006/relationships/customXml" Target="../ink/ink160.xml"/><Relationship Id="rId19" Type="http://schemas.openxmlformats.org/officeDocument/2006/relationships/customXml" Target="../ink/ink128.xml"/><Relationship Id="rId14" Type="http://schemas.openxmlformats.org/officeDocument/2006/relationships/image" Target="../media/image196.png"/><Relationship Id="rId30" Type="http://schemas.openxmlformats.org/officeDocument/2006/relationships/image" Target="../media/image204.png"/><Relationship Id="rId35" Type="http://schemas.openxmlformats.org/officeDocument/2006/relationships/customXml" Target="../ink/ink136.xml"/><Relationship Id="rId56" Type="http://schemas.openxmlformats.org/officeDocument/2006/relationships/customXml" Target="../ink/ink147.xml"/><Relationship Id="rId77" Type="http://schemas.openxmlformats.org/officeDocument/2006/relationships/image" Target="../media/image227.png"/><Relationship Id="rId100" Type="http://schemas.openxmlformats.org/officeDocument/2006/relationships/customXml" Target="../ink/ink169.xml"/><Relationship Id="rId105" Type="http://schemas.openxmlformats.org/officeDocument/2006/relationships/image" Target="../media/image241.png"/><Relationship Id="rId8" Type="http://schemas.openxmlformats.org/officeDocument/2006/relationships/image" Target="../media/image193.png"/><Relationship Id="rId51" Type="http://schemas.openxmlformats.org/officeDocument/2006/relationships/customXml" Target="../ink/ink144.xml"/><Relationship Id="rId72" Type="http://schemas.openxmlformats.org/officeDocument/2006/relationships/customXml" Target="../ink/ink155.xml"/><Relationship Id="rId93" Type="http://schemas.openxmlformats.org/officeDocument/2006/relationships/image" Target="../media/image235.png"/><Relationship Id="rId98" Type="http://schemas.openxmlformats.org/officeDocument/2006/relationships/customXml" Target="../ink/ink168.xml"/><Relationship Id="rId3" Type="http://schemas.openxmlformats.org/officeDocument/2006/relationships/customXml" Target="../ink/ink120.xml"/><Relationship Id="rId25" Type="http://schemas.openxmlformats.org/officeDocument/2006/relationships/customXml" Target="../ink/ink131.xml"/><Relationship Id="rId46" Type="http://schemas.openxmlformats.org/officeDocument/2006/relationships/image" Target="../media/image212.png"/><Relationship Id="rId67" Type="http://schemas.openxmlformats.org/officeDocument/2006/relationships/image" Target="../media/image222.png"/><Relationship Id="rId20" Type="http://schemas.openxmlformats.org/officeDocument/2006/relationships/image" Target="../media/image199.png"/><Relationship Id="rId41" Type="http://schemas.openxmlformats.org/officeDocument/2006/relationships/customXml" Target="../ink/ink139.xml"/><Relationship Id="rId62" Type="http://schemas.openxmlformats.org/officeDocument/2006/relationships/customXml" Target="../ink/ink150.xml"/><Relationship Id="rId83" Type="http://schemas.openxmlformats.org/officeDocument/2006/relationships/image" Target="../media/image230.png"/><Relationship Id="rId88" Type="http://schemas.openxmlformats.org/officeDocument/2006/relationships/customXml" Target="../ink/ink163.xml"/><Relationship Id="rId111" Type="http://schemas.openxmlformats.org/officeDocument/2006/relationships/image" Target="../media/image244.png"/></Relationships>
</file>

<file path=ppt/slides/_rels/slide118.xml.rels><?xml version="1.0" encoding="UTF-8" standalone="yes"?>
<Relationships xmlns="http://schemas.openxmlformats.org/package/2006/relationships"><Relationship Id="rId13" Type="http://schemas.openxmlformats.org/officeDocument/2006/relationships/customXml" Target="../ink/ink182.xml"/><Relationship Id="rId18" Type="http://schemas.openxmlformats.org/officeDocument/2006/relationships/image" Target="../media/image251.png"/><Relationship Id="rId26" Type="http://schemas.openxmlformats.org/officeDocument/2006/relationships/image" Target="../media/image255.png"/><Relationship Id="rId3" Type="http://schemas.openxmlformats.org/officeDocument/2006/relationships/image" Target="../media/image1870.png"/><Relationship Id="rId21" Type="http://schemas.openxmlformats.org/officeDocument/2006/relationships/customXml" Target="../ink/ink186.xml"/><Relationship Id="rId34" Type="http://schemas.openxmlformats.org/officeDocument/2006/relationships/image" Target="../media/image259.png"/><Relationship Id="rId7" Type="http://schemas.openxmlformats.org/officeDocument/2006/relationships/image" Target="../media/image189.png"/><Relationship Id="rId12" Type="http://schemas.openxmlformats.org/officeDocument/2006/relationships/image" Target="../media/image248.png"/><Relationship Id="rId17" Type="http://schemas.openxmlformats.org/officeDocument/2006/relationships/customXml" Target="../ink/ink184.xml"/><Relationship Id="rId25" Type="http://schemas.openxmlformats.org/officeDocument/2006/relationships/customXml" Target="../ink/ink188.xml"/><Relationship Id="rId33" Type="http://schemas.openxmlformats.org/officeDocument/2006/relationships/customXml" Target="../ink/ink192.xml"/><Relationship Id="rId2" Type="http://schemas.openxmlformats.org/officeDocument/2006/relationships/customXml" Target="../ink/ink177.xml"/><Relationship Id="rId16" Type="http://schemas.openxmlformats.org/officeDocument/2006/relationships/image" Target="../media/image250.png"/><Relationship Id="rId20" Type="http://schemas.openxmlformats.org/officeDocument/2006/relationships/image" Target="../media/image252.png"/><Relationship Id="rId29" Type="http://schemas.openxmlformats.org/officeDocument/2006/relationships/customXml" Target="../ink/ink190.xml"/><Relationship Id="rId1" Type="http://schemas.openxmlformats.org/officeDocument/2006/relationships/slideLayout" Target="../slideLayouts/slideLayout5.xml"/><Relationship Id="rId6" Type="http://schemas.openxmlformats.org/officeDocument/2006/relationships/customXml" Target="../ink/ink179.xml"/><Relationship Id="rId11" Type="http://schemas.openxmlformats.org/officeDocument/2006/relationships/customXml" Target="../ink/ink181.xml"/><Relationship Id="rId24" Type="http://schemas.openxmlformats.org/officeDocument/2006/relationships/image" Target="../media/image254.png"/><Relationship Id="rId32" Type="http://schemas.openxmlformats.org/officeDocument/2006/relationships/image" Target="../media/image258.png"/><Relationship Id="rId5" Type="http://schemas.openxmlformats.org/officeDocument/2006/relationships/image" Target="../media/image188.png"/><Relationship Id="rId15" Type="http://schemas.openxmlformats.org/officeDocument/2006/relationships/customXml" Target="../ink/ink183.xml"/><Relationship Id="rId23" Type="http://schemas.openxmlformats.org/officeDocument/2006/relationships/customXml" Target="../ink/ink187.xml"/><Relationship Id="rId28" Type="http://schemas.openxmlformats.org/officeDocument/2006/relationships/image" Target="../media/image256.png"/><Relationship Id="rId36" Type="http://schemas.openxmlformats.org/officeDocument/2006/relationships/image" Target="../media/image203.png"/><Relationship Id="rId10" Type="http://schemas.openxmlformats.org/officeDocument/2006/relationships/image" Target="../media/image247.png"/><Relationship Id="rId19" Type="http://schemas.openxmlformats.org/officeDocument/2006/relationships/customXml" Target="../ink/ink185.xml"/><Relationship Id="rId31" Type="http://schemas.openxmlformats.org/officeDocument/2006/relationships/customXml" Target="../ink/ink191.xml"/><Relationship Id="rId4" Type="http://schemas.openxmlformats.org/officeDocument/2006/relationships/customXml" Target="../ink/ink178.xml"/><Relationship Id="rId9" Type="http://schemas.openxmlformats.org/officeDocument/2006/relationships/customXml" Target="../ink/ink180.xml"/><Relationship Id="rId14" Type="http://schemas.openxmlformats.org/officeDocument/2006/relationships/image" Target="../media/image249.png"/><Relationship Id="rId22" Type="http://schemas.openxmlformats.org/officeDocument/2006/relationships/image" Target="../media/image253.png"/><Relationship Id="rId27" Type="http://schemas.openxmlformats.org/officeDocument/2006/relationships/customXml" Target="../ink/ink189.xml"/><Relationship Id="rId30" Type="http://schemas.openxmlformats.org/officeDocument/2006/relationships/image" Target="../media/image257.png"/><Relationship Id="rId35" Type="http://schemas.openxmlformats.org/officeDocument/2006/relationships/customXml" Target="../ink/ink193.xml"/><Relationship Id="rId8" Type="http://schemas.openxmlformats.org/officeDocument/2006/relationships/image" Target="../media/image169.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www.collectedny.org/careerposts/assessing-job-offers/" TargetMode="External"/><Relationship Id="rId7" Type="http://schemas.openxmlformats.org/officeDocument/2006/relationships/customXml" Target="../ink/ink13.xml"/><Relationship Id="rId2" Type="http://schemas.openxmlformats.org/officeDocument/2006/relationships/image" Target="../media/image18.jp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hyperlink" Target="https://www.pexels.com/photo/university-entrance-arch-247823/" TargetMode="External"/><Relationship Id="rId10" Type="http://schemas.openxmlformats.org/officeDocument/2006/relationships/image" Target="../media/image23.png"/><Relationship Id="rId4" Type="http://schemas.openxmlformats.org/officeDocument/2006/relationships/image" Target="../media/image19.jpeg"/><Relationship Id="rId9" Type="http://schemas.openxmlformats.org/officeDocument/2006/relationships/customXml" Target="../ink/ink14.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71.png"/><Relationship Id="rId5" Type="http://schemas.openxmlformats.org/officeDocument/2006/relationships/customXml" Target="../ink/ink194.xml"/><Relationship Id="rId4" Type="http://schemas.openxmlformats.org/officeDocument/2006/relationships/hyperlink" Target="https://www.flickr.com/photos/icma/3635981474" TargetMode="External"/></Relationships>
</file>

<file path=ppt/slides/_rels/slide121.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72.jpeg"/><Relationship Id="rId1" Type="http://schemas.openxmlformats.org/officeDocument/2006/relationships/slideLayout" Target="../slideLayouts/slideLayout5.xml"/><Relationship Id="rId6" Type="http://schemas.openxmlformats.org/officeDocument/2006/relationships/image" Target="../media/image174.png"/><Relationship Id="rId5" Type="http://schemas.openxmlformats.org/officeDocument/2006/relationships/customXml" Target="../ink/ink195.xml"/><Relationship Id="rId4" Type="http://schemas.openxmlformats.org/officeDocument/2006/relationships/image" Target="../media/image173.png"/></Relationships>
</file>

<file path=ppt/slides/_rels/slide122.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7" Type="http://schemas.openxmlformats.org/officeDocument/2006/relationships/image" Target="../media/image177.png"/><Relationship Id="rId2" Type="http://schemas.openxmlformats.org/officeDocument/2006/relationships/image" Target="../media/image175.jpeg"/><Relationship Id="rId1" Type="http://schemas.openxmlformats.org/officeDocument/2006/relationships/slideLayout" Target="../slideLayouts/slideLayout5.xml"/><Relationship Id="rId6" Type="http://schemas.openxmlformats.org/officeDocument/2006/relationships/customXml" Target="../ink/ink196.xml"/><Relationship Id="rId5" Type="http://schemas.openxmlformats.org/officeDocument/2006/relationships/hyperlink" Target="http://www.flickr.com/photos/axis/20393969/" TargetMode="External"/><Relationship Id="rId4" Type="http://schemas.openxmlformats.org/officeDocument/2006/relationships/image" Target="../media/image176.jpg"/></Relationships>
</file>

<file path=ppt/slides/_rels/slide123.xml.rels><?xml version="1.0" encoding="UTF-8" standalone="yes"?>
<Relationships xmlns="http://schemas.openxmlformats.org/package/2006/relationships"><Relationship Id="rId3" Type="http://schemas.openxmlformats.org/officeDocument/2006/relationships/customXml" Target="../ink/ink197.xml"/><Relationship Id="rId2" Type="http://schemas.openxmlformats.org/officeDocument/2006/relationships/image" Target="../media/image178.png"/><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12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72.jpeg"/><Relationship Id="rId1" Type="http://schemas.openxmlformats.org/officeDocument/2006/relationships/slideLayout" Target="../slideLayouts/slideLayout5.xml"/><Relationship Id="rId5" Type="http://schemas.openxmlformats.org/officeDocument/2006/relationships/image" Target="../media/image180.png"/><Relationship Id="rId4" Type="http://schemas.openxmlformats.org/officeDocument/2006/relationships/customXml" Target="../ink/ink198.xml"/></Relationships>
</file>

<file path=ppt/slides/_rels/slide125.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172.jpeg"/><Relationship Id="rId1" Type="http://schemas.openxmlformats.org/officeDocument/2006/relationships/slideLayout" Target="../slideLayouts/slideLayout5.xml"/><Relationship Id="rId5" Type="http://schemas.openxmlformats.org/officeDocument/2006/relationships/image" Target="../media/image181.png"/><Relationship Id="rId4" Type="http://schemas.openxmlformats.org/officeDocument/2006/relationships/customXml" Target="../ink/ink199.xml"/></Relationships>
</file>

<file path=ppt/slides/_rels/slide126.xml.rels><?xml version="1.0" encoding="UTF-8" standalone="yes"?>
<Relationships xmlns="http://schemas.openxmlformats.org/package/2006/relationships"><Relationship Id="rId3" Type="http://schemas.openxmlformats.org/officeDocument/2006/relationships/customXml" Target="../ink/ink200.xml"/><Relationship Id="rId2" Type="http://schemas.openxmlformats.org/officeDocument/2006/relationships/image" Target="../media/image182.png"/><Relationship Id="rId1" Type="http://schemas.openxmlformats.org/officeDocument/2006/relationships/slideLayout" Target="../slideLayouts/slideLayout5.xml"/><Relationship Id="rId4" Type="http://schemas.openxmlformats.org/officeDocument/2006/relationships/image" Target="../media/image183.png"/></Relationships>
</file>

<file path=ppt/slides/_rels/slide127.xml.rels><?xml version="1.0" encoding="UTF-8" standalone="yes"?>
<Relationships xmlns="http://schemas.openxmlformats.org/package/2006/relationships"><Relationship Id="rId3" Type="http://schemas.openxmlformats.org/officeDocument/2006/relationships/customXml" Target="../ink/ink201.xml"/><Relationship Id="rId2" Type="http://schemas.openxmlformats.org/officeDocument/2006/relationships/image" Target="../media/image184.png"/><Relationship Id="rId1" Type="http://schemas.openxmlformats.org/officeDocument/2006/relationships/slideLayout" Target="../slideLayouts/slideLayout5.xml"/><Relationship Id="rId4" Type="http://schemas.openxmlformats.org/officeDocument/2006/relationships/image" Target="../media/image185.png"/></Relationships>
</file>

<file path=ppt/slides/_rels/slide12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customXml" Target="../ink/ink202.xml"/><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7.png"/><Relationship Id="rId1" Type="http://schemas.openxmlformats.org/officeDocument/2006/relationships/slideLayout" Target="../slideLayouts/slideLayout5.xml"/><Relationship Id="rId5" Type="http://schemas.openxmlformats.org/officeDocument/2006/relationships/image" Target="../media/image260.png"/><Relationship Id="rId4" Type="http://schemas.openxmlformats.org/officeDocument/2006/relationships/customXml" Target="../ink/ink203.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ustomXml" Target="../ink/ink15.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customXml" Target="../ink/ink204.xml"/><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62.jpeg"/><Relationship Id="rId1" Type="http://schemas.openxmlformats.org/officeDocument/2006/relationships/slideLayout" Target="../slideLayouts/slideLayout5.xml"/><Relationship Id="rId6" Type="http://schemas.openxmlformats.org/officeDocument/2006/relationships/image" Target="../media/image264.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63.jpeg"/></Relationships>
</file>

<file path=ppt/slides/_rels/slide132.xml.rels><?xml version="1.0" encoding="UTF-8" standalone="yes"?>
<Relationships xmlns="http://schemas.openxmlformats.org/package/2006/relationships"><Relationship Id="rId3" Type="http://schemas.openxmlformats.org/officeDocument/2006/relationships/customXml" Target="../ink/ink205.xml"/><Relationship Id="rId2" Type="http://schemas.openxmlformats.org/officeDocument/2006/relationships/image" Target="../media/image265.png"/><Relationship Id="rId1" Type="http://schemas.openxmlformats.org/officeDocument/2006/relationships/slideLayout" Target="../slideLayouts/slideLayout5.xml"/><Relationship Id="rId4" Type="http://schemas.openxmlformats.org/officeDocument/2006/relationships/image" Target="../media/image266.pn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customXml" Target="../ink/ink206.xml"/><Relationship Id="rId2" Type="http://schemas.openxmlformats.org/officeDocument/2006/relationships/image" Target="../media/image267.png"/><Relationship Id="rId1" Type="http://schemas.openxmlformats.org/officeDocument/2006/relationships/slideLayout" Target="../slideLayouts/slideLayout5.xml"/><Relationship Id="rId4" Type="http://schemas.openxmlformats.org/officeDocument/2006/relationships/image" Target="../media/image268.png"/></Relationships>
</file>

<file path=ppt/slides/_rels/slide135.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customXml" Target="../ink/ink207.xml"/><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3" Type="http://schemas.openxmlformats.org/officeDocument/2006/relationships/customXml" Target="../ink/ink208.xml"/><Relationship Id="rId2" Type="http://schemas.openxmlformats.org/officeDocument/2006/relationships/image" Target="../media/image270.png"/><Relationship Id="rId1" Type="http://schemas.openxmlformats.org/officeDocument/2006/relationships/slideLayout" Target="../slideLayouts/slideLayout5.xml"/><Relationship Id="rId4" Type="http://schemas.openxmlformats.org/officeDocument/2006/relationships/image" Target="../media/image271.png"/></Relationships>
</file>

<file path=ppt/slides/_rels/slide137.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customXml" Target="../ink/ink209.xml"/><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customXml" Target="../ink/ink210.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image" Target="../media/image274.png"/><Relationship Id="rId1" Type="http://schemas.openxmlformats.org/officeDocument/2006/relationships/slideLayout" Target="../slideLayouts/slideLayout5.xml"/><Relationship Id="rId5" Type="http://schemas.openxmlformats.org/officeDocument/2006/relationships/image" Target="../media/image276.png"/><Relationship Id="rId4" Type="http://schemas.openxmlformats.org/officeDocument/2006/relationships/customXml" Target="../ink/ink2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ustomXml" Target="../ink/ink16.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customXml" Target="../ink/ink17.xml"/><Relationship Id="rId2" Type="http://schemas.openxmlformats.org/officeDocument/2006/relationships/image" Target="../media/image27.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customXml" Target="../ink/ink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customXml" Target="../ink/ink18.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customXml" Target="../ink/ink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ustomXml" Target="../ink/ink20.xml"/><Relationship Id="rId2" Type="http://schemas.openxmlformats.org/officeDocument/2006/relationships/image" Target="../media/image33.png"/><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customXml" Target="../ink/ink21.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customXml" Target="../ink/ink22.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customXml" Target="../ink/ink23.xml"/><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customXml" Target="../ink/ink24.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customXml" Target="../ink/ink2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hyperlink" Target="https://www.actuaries.digital/2018/10/31/what-makes-a-good-data-scientist-actuaries-podcast/" TargetMode="External"/><Relationship Id="rId5" Type="http://schemas.openxmlformats.org/officeDocument/2006/relationships/image" Target="../media/image44.jpg"/><Relationship Id="rId4" Type="http://schemas.openxmlformats.org/officeDocument/2006/relationships/notesSlide" Target="../notesSlides/notesSlide4.xml"/></Relationships>
</file>

<file path=ppt/slides/_rels/slide29.xml.rels><?xml version="1.0" encoding="UTF-8" standalone="yes"?>
<Relationships xmlns="http://schemas.openxmlformats.org/package/2006/relationships"><Relationship Id="rId8" Type="http://schemas.openxmlformats.org/officeDocument/2006/relationships/hyperlink" Target="https://www.actuaries.digital/2020/08/06/a-data-scientists-guide-to-data-architecture/" TargetMode="External"/><Relationship Id="rId3" Type="http://schemas.openxmlformats.org/officeDocument/2006/relationships/slideLayout" Target="../slideLayouts/slideLayout9.xml"/><Relationship Id="rId7" Type="http://schemas.openxmlformats.org/officeDocument/2006/relationships/image" Target="../media/image45.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1.pn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12" Type="http://schemas.openxmlformats.org/officeDocument/2006/relationships/customXml" Target="../ink/ink3.xml"/><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7.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9.jpeg"/><Relationship Id="rId4" Type="http://schemas.openxmlformats.org/officeDocument/2006/relationships/image" Target="../media/image6.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customXml" Target="../ink/ink2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47.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7.xml"/></Relationships>
</file>

<file path=ppt/slides/_rels/slide34.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8.jpeg"/><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customXml" Target="../ink/ink28.xml"/></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customXml" Target="../ink/ink29.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8.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30.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31.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customXml" Target="../ink/ink3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49.jpeg"/><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customXml" Target="../ink/ink3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ustomXml" Target="../ink/ink4.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customXml" Target="../ink/ink5.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customXml" Target="../ink/ink34.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6" Type="http://schemas.openxmlformats.org/officeDocument/2006/relationships/image" Target="../media/image420.png"/><Relationship Id="rId21" Type="http://schemas.openxmlformats.org/officeDocument/2006/relationships/customXml" Target="../ink/ink44.xml"/><Relationship Id="rId42" Type="http://schemas.openxmlformats.org/officeDocument/2006/relationships/image" Target="../media/image500.png"/><Relationship Id="rId47" Type="http://schemas.openxmlformats.org/officeDocument/2006/relationships/customXml" Target="../ink/ink57.xml"/><Relationship Id="rId63" Type="http://schemas.openxmlformats.org/officeDocument/2006/relationships/customXml" Target="../ink/ink6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39.xml"/><Relationship Id="rId24" Type="http://schemas.openxmlformats.org/officeDocument/2006/relationships/image" Target="../media/image410.png"/><Relationship Id="rId32" Type="http://schemas.openxmlformats.org/officeDocument/2006/relationships/image" Target="../media/image450.png"/><Relationship Id="rId37" Type="http://schemas.openxmlformats.org/officeDocument/2006/relationships/customXml" Target="../ink/ink52.xml"/><Relationship Id="rId40" Type="http://schemas.openxmlformats.org/officeDocument/2006/relationships/image" Target="../media/image49.png"/><Relationship Id="rId45" Type="http://schemas.openxmlformats.org/officeDocument/2006/relationships/customXml" Target="../ink/ink56.xml"/><Relationship Id="rId53" Type="http://schemas.openxmlformats.org/officeDocument/2006/relationships/customXml" Target="../ink/ink60.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36.xml"/><Relationship Id="rId61" Type="http://schemas.openxmlformats.org/officeDocument/2006/relationships/customXml" Target="../ink/ink64.xml"/><Relationship Id="rId19" Type="http://schemas.openxmlformats.org/officeDocument/2006/relationships/customXml" Target="../ink/ink43.xml"/><Relationship Id="rId14" Type="http://schemas.openxmlformats.org/officeDocument/2006/relationships/image" Target="../media/image367.png"/><Relationship Id="rId22" Type="http://schemas.openxmlformats.org/officeDocument/2006/relationships/image" Target="../media/image400.png"/><Relationship Id="rId27" Type="http://schemas.openxmlformats.org/officeDocument/2006/relationships/customXml" Target="../ink/ink47.xml"/><Relationship Id="rId30" Type="http://schemas.openxmlformats.org/officeDocument/2006/relationships/image" Target="../media/image440.png"/><Relationship Id="rId35" Type="http://schemas.openxmlformats.org/officeDocument/2006/relationships/customXml" Target="../ink/ink51.xml"/><Relationship Id="rId43" Type="http://schemas.openxmlformats.org/officeDocument/2006/relationships/customXml" Target="../ink/ink55.xml"/><Relationship Id="rId48" Type="http://schemas.openxmlformats.org/officeDocument/2006/relationships/image" Target="../media/image530.png"/><Relationship Id="rId56" Type="http://schemas.openxmlformats.org/officeDocument/2006/relationships/image" Target="../media/image570.png"/><Relationship Id="rId64" Type="http://schemas.openxmlformats.org/officeDocument/2006/relationships/image" Target="../media/image610.png"/><Relationship Id="rId69" Type="http://schemas.openxmlformats.org/officeDocument/2006/relationships/customXml" Target="../ink/ink68.xml"/><Relationship Id="rId77" Type="http://schemas.openxmlformats.org/officeDocument/2006/relationships/customXml" Target="../ink/ink72.xml"/><Relationship Id="rId8" Type="http://schemas.openxmlformats.org/officeDocument/2006/relationships/image" Target="../media/image330.png"/><Relationship Id="rId51" Type="http://schemas.openxmlformats.org/officeDocument/2006/relationships/customXml" Target="../ink/ink59.xml"/><Relationship Id="rId72" Type="http://schemas.openxmlformats.org/officeDocument/2006/relationships/image" Target="../media/image65.png"/><Relationship Id="rId3" Type="http://schemas.openxmlformats.org/officeDocument/2006/relationships/customXml" Target="../ink/ink35.xml"/><Relationship Id="rId12" Type="http://schemas.openxmlformats.org/officeDocument/2006/relationships/image" Target="../media/image350.png"/><Relationship Id="rId17" Type="http://schemas.openxmlformats.org/officeDocument/2006/relationships/customXml" Target="../ink/ink42.xml"/><Relationship Id="rId25" Type="http://schemas.openxmlformats.org/officeDocument/2006/relationships/customXml" Target="../ink/ink46.xml"/><Relationship Id="rId33" Type="http://schemas.openxmlformats.org/officeDocument/2006/relationships/customXml" Target="../ink/ink50.xml"/><Relationship Id="rId38" Type="http://schemas.openxmlformats.org/officeDocument/2006/relationships/image" Target="../media/image480.png"/><Relationship Id="rId46" Type="http://schemas.openxmlformats.org/officeDocument/2006/relationships/image" Target="../media/image52.png"/><Relationship Id="rId59" Type="http://schemas.openxmlformats.org/officeDocument/2006/relationships/customXml" Target="../ink/ink63.xml"/><Relationship Id="rId67" Type="http://schemas.openxmlformats.org/officeDocument/2006/relationships/customXml" Target="../ink/ink67.xml"/><Relationship Id="rId20" Type="http://schemas.openxmlformats.org/officeDocument/2006/relationships/image" Target="../media/image390.png"/><Relationship Id="rId41" Type="http://schemas.openxmlformats.org/officeDocument/2006/relationships/customXml" Target="../ink/ink54.xml"/><Relationship Id="rId54" Type="http://schemas.openxmlformats.org/officeDocument/2006/relationships/image" Target="../media/image560.png"/><Relationship Id="rId62" Type="http://schemas.openxmlformats.org/officeDocument/2006/relationships/image" Target="../media/image600.png"/><Relationship Id="rId70" Type="http://schemas.openxmlformats.org/officeDocument/2006/relationships/image" Target="../media/image64.png"/><Relationship Id="rId75" Type="http://schemas.openxmlformats.org/officeDocument/2006/relationships/customXml" Target="../ink/ink7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41.xml"/><Relationship Id="rId23" Type="http://schemas.openxmlformats.org/officeDocument/2006/relationships/customXml" Target="../ink/ink4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58.xml"/><Relationship Id="rId57" Type="http://schemas.openxmlformats.org/officeDocument/2006/relationships/customXml" Target="../ink/ink62.xml"/><Relationship Id="rId10" Type="http://schemas.openxmlformats.org/officeDocument/2006/relationships/image" Target="../media/image3410.png"/><Relationship Id="rId31" Type="http://schemas.openxmlformats.org/officeDocument/2006/relationships/customXml" Target="../ink/ink4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590.png"/><Relationship Id="rId65" Type="http://schemas.openxmlformats.org/officeDocument/2006/relationships/customXml" Target="../ink/ink66.xml"/><Relationship Id="rId73" Type="http://schemas.openxmlformats.org/officeDocument/2006/relationships/customXml" Target="../ink/ink7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38.xml"/><Relationship Id="rId13" Type="http://schemas.openxmlformats.org/officeDocument/2006/relationships/customXml" Target="../ink/ink40.xml"/><Relationship Id="rId18" Type="http://schemas.openxmlformats.org/officeDocument/2006/relationships/image" Target="../media/image380.png"/><Relationship Id="rId39" Type="http://schemas.openxmlformats.org/officeDocument/2006/relationships/customXml" Target="../ink/ink53.xml"/><Relationship Id="rId34" Type="http://schemas.openxmlformats.org/officeDocument/2006/relationships/image" Target="../media/image46.png"/><Relationship Id="rId50" Type="http://schemas.openxmlformats.org/officeDocument/2006/relationships/image" Target="../media/image540.png"/><Relationship Id="rId55" Type="http://schemas.openxmlformats.org/officeDocument/2006/relationships/customXml" Target="../ink/ink61.xml"/><Relationship Id="rId76" Type="http://schemas.openxmlformats.org/officeDocument/2006/relationships/image" Target="../media/image67.png"/><Relationship Id="rId7" Type="http://schemas.openxmlformats.org/officeDocument/2006/relationships/customXml" Target="../ink/ink37.xml"/><Relationship Id="rId71" Type="http://schemas.openxmlformats.org/officeDocument/2006/relationships/customXml" Target="../ink/ink69.xml"/><Relationship Id="rId2" Type="http://schemas.openxmlformats.org/officeDocument/2006/relationships/image" Target="../media/image50.png"/><Relationship Id="rId29" Type="http://schemas.openxmlformats.org/officeDocument/2006/relationships/customXml" Target="../ink/ink48.xml"/></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customXml" Target="../ink/ink73.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ustomXml" Target="../ink/ink74.xml"/><Relationship Id="rId2" Type="http://schemas.openxmlformats.org/officeDocument/2006/relationships/image" Target="../media/image61.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1.png"/><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customXml" Target="../ink/ink75.xml"/></Relationships>
</file>

<file path=ppt/slides/_rels/slide45.xml.rels><?xml version="1.0" encoding="UTF-8" standalone="yes"?>
<Relationships xmlns="http://schemas.openxmlformats.org/package/2006/relationships"><Relationship Id="rId3" Type="http://schemas.openxmlformats.org/officeDocument/2006/relationships/customXml" Target="../ink/ink76.xml"/><Relationship Id="rId2" Type="http://schemas.openxmlformats.org/officeDocument/2006/relationships/image" Target="../media/image73.png"/><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5" Type="http://schemas.openxmlformats.org/officeDocument/2006/relationships/image" Target="../media/image76.png"/><Relationship Id="rId4" Type="http://schemas.openxmlformats.org/officeDocument/2006/relationships/customXml" Target="../ink/ink77.xml"/></Relationships>
</file>

<file path=ppt/slides/_rels/slide4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3.xml"/><Relationship Id="rId6" Type="http://schemas.openxmlformats.org/officeDocument/2006/relationships/image" Target="../media/image79.png"/><Relationship Id="rId5" Type="http://schemas.openxmlformats.org/officeDocument/2006/relationships/customXml" Target="../ink/ink78.xml"/><Relationship Id="rId4" Type="http://schemas.openxmlformats.org/officeDocument/2006/relationships/hyperlink" Target="http://intersection4learning.blogspot.com/2012/01/wonder-wednesday-most-important.html"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79.jpeg"/><Relationship Id="rId1" Type="http://schemas.openxmlformats.org/officeDocument/2006/relationships/slideLayout" Target="../slideLayouts/slideLayout3.xml"/><Relationship Id="rId5" Type="http://schemas.openxmlformats.org/officeDocument/2006/relationships/image" Target="../media/image81.png"/><Relationship Id="rId4" Type="http://schemas.openxmlformats.org/officeDocument/2006/relationships/customXml" Target="../ink/ink79.xml"/></Relationships>
</file>

<file path=ppt/slides/_rels/slide49.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80.jpeg"/><Relationship Id="rId1" Type="http://schemas.openxmlformats.org/officeDocument/2006/relationships/slideLayout" Target="../slideLayouts/slideLayout3.xml"/><Relationship Id="rId5" Type="http://schemas.openxmlformats.org/officeDocument/2006/relationships/image" Target="../media/image83.png"/><Relationship Id="rId4" Type="http://schemas.openxmlformats.org/officeDocument/2006/relationships/customXml" Target="../ink/ink8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ustomXml" Target="../ink/ink6.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customXml" Target="../ink/ink7.xml"/></Relationships>
</file>

<file path=ppt/slides/_rels/slide50.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81.jpeg"/><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customXml" Target="../ink/ink81.xml"/><Relationship Id="rId4" Type="http://schemas.openxmlformats.org/officeDocument/2006/relationships/image" Target="../media/image8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hyperlink" Target="https://www.actuaries.digital/2020/08/06/a-data-scientists-guide-to-data-architecture/" TargetMode="External"/><Relationship Id="rId3" Type="http://schemas.openxmlformats.org/officeDocument/2006/relationships/slideLayout" Target="../slideLayouts/slideLayout9.xml"/><Relationship Id="rId7" Type="http://schemas.openxmlformats.org/officeDocument/2006/relationships/image" Target="../media/image45.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55.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89.png"/><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6" Type="http://schemas.openxmlformats.org/officeDocument/2006/relationships/customXml" Target="../ink/ink8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87.png"/><Relationship Id="rId1" Type="http://schemas.openxmlformats.org/officeDocument/2006/relationships/slideLayout" Target="../slideLayouts/slideLayout9.xml"/><Relationship Id="rId6" Type="http://schemas.openxmlformats.org/officeDocument/2006/relationships/image" Target="../media/image91.png"/><Relationship Id="rId5" Type="http://schemas.openxmlformats.org/officeDocument/2006/relationships/customXml" Target="../ink/ink83.xml"/><Relationship Id="rId4" Type="http://schemas.openxmlformats.org/officeDocument/2006/relationships/hyperlink" Target="https://www.scribbr.com/statistics/normal-distribution/" TargetMode="External"/></Relationships>
</file>

<file path=ppt/slides/_rels/slide57.xml.rels><?xml version="1.0" encoding="UTF-8" standalone="yes"?>
<Relationships xmlns="http://schemas.openxmlformats.org/package/2006/relationships"><Relationship Id="rId3" Type="http://schemas.openxmlformats.org/officeDocument/2006/relationships/customXml" Target="../ink/ink84.xm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4" Type="http://schemas.openxmlformats.org/officeDocument/2006/relationships/image" Target="../media/image92.png"/></Relationships>
</file>

<file path=ppt/slides/_rels/slide58.xml.rels><?xml version="1.0" encoding="UTF-8" standalone="yes"?>
<Relationships xmlns="http://schemas.openxmlformats.org/package/2006/relationships"><Relationship Id="rId3" Type="http://schemas.openxmlformats.org/officeDocument/2006/relationships/customXml" Target="../ink/ink8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 Id="rId4" Type="http://schemas.openxmlformats.org/officeDocument/2006/relationships/image" Target="../media/image93.png"/></Relationships>
</file>

<file path=ppt/slides/_rels/slide59.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88.jpg"/><Relationship Id="rId1" Type="http://schemas.openxmlformats.org/officeDocument/2006/relationships/slideLayout" Target="../slideLayouts/slideLayout9.xml"/><Relationship Id="rId5" Type="http://schemas.openxmlformats.org/officeDocument/2006/relationships/image" Target="../media/image95.png"/><Relationship Id="rId4" Type="http://schemas.openxmlformats.org/officeDocument/2006/relationships/customXml" Target="../ink/ink86.xml"/></Relationships>
</file>

<file path=ppt/slides/_rels/slide6.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customXml" Target="../ink/ink87.xml"/><Relationship Id="rId2" Type="http://schemas.openxmlformats.org/officeDocument/2006/relationships/image" Target="../media/image90.png"/><Relationship Id="rId1" Type="http://schemas.openxmlformats.org/officeDocument/2006/relationships/slideLayout" Target="../slideLayouts/slideLayout9.xml"/><Relationship Id="rId4" Type="http://schemas.openxmlformats.org/officeDocument/2006/relationships/image" Target="../media/image97.png"/></Relationships>
</file>

<file path=ppt/slides/_rels/slide6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 Id="rId5" Type="http://schemas.openxmlformats.org/officeDocument/2006/relationships/image" Target="../media/image98.png"/><Relationship Id="rId4" Type="http://schemas.openxmlformats.org/officeDocument/2006/relationships/customXml" Target="../ink/ink88.xml"/></Relationships>
</file>

<file path=ppt/slides/_rels/slide6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customXml" Target="../ink/ink89.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customXml" Target="../ink/ink90.xml"/><Relationship Id="rId2" Type="http://schemas.openxmlformats.org/officeDocument/2006/relationships/image" Target="../media/image101.png"/><Relationship Id="rId1" Type="http://schemas.openxmlformats.org/officeDocument/2006/relationships/slideLayout" Target="../slideLayouts/slideLayout9.xml"/><Relationship Id="rId4" Type="http://schemas.openxmlformats.org/officeDocument/2006/relationships/image" Target="../media/image102.png"/></Relationships>
</file>

<file path=ppt/slides/_rels/slide6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customXml" Target="../ink/ink91.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ustomXml" Target="../ink/ink92.xm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4" Type="http://schemas.openxmlformats.org/officeDocument/2006/relationships/image" Target="../media/image105.png"/></Relationships>
</file>

<file path=ppt/slides/_rels/slide7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9.xml"/><Relationship Id="rId5" Type="http://schemas.openxmlformats.org/officeDocument/2006/relationships/image" Target="../media/image108.png"/><Relationship Id="rId4" Type="http://schemas.openxmlformats.org/officeDocument/2006/relationships/customXml" Target="../ink/ink93.xml"/></Relationships>
</file>

<file path=ppt/slides/_rels/slide7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customXml" Target="../ink/ink94.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6" Type="http://schemas.openxmlformats.org/officeDocument/2006/relationships/image" Target="../media/image111.png"/><Relationship Id="rId5" Type="http://schemas.openxmlformats.org/officeDocument/2006/relationships/customXml" Target="../ink/ink95.xml"/><Relationship Id="rId4" Type="http://schemas.openxmlformats.org/officeDocument/2006/relationships/image" Target="../media/image110.png"/></Relationships>
</file>

<file path=ppt/slides/_rels/slide74.xml.rels><?xml version="1.0" encoding="UTF-8" standalone="yes"?>
<Relationships xmlns="http://schemas.openxmlformats.org/package/2006/relationships"><Relationship Id="rId3" Type="http://schemas.openxmlformats.org/officeDocument/2006/relationships/customXml" Target="../ink/ink96.xml"/><Relationship Id="rId2" Type="http://schemas.openxmlformats.org/officeDocument/2006/relationships/image" Target="../media/image112.png"/><Relationship Id="rId1" Type="http://schemas.openxmlformats.org/officeDocument/2006/relationships/slideLayout" Target="../slideLayouts/slideLayout9.xml"/><Relationship Id="rId4" Type="http://schemas.openxmlformats.org/officeDocument/2006/relationships/image" Target="../media/image113.png"/></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9.xml"/><Relationship Id="rId5" Type="http://schemas.openxmlformats.org/officeDocument/2006/relationships/image" Target="../media/image116.png"/><Relationship Id="rId4" Type="http://schemas.openxmlformats.org/officeDocument/2006/relationships/customXml" Target="../ink/ink97.xml"/></Relationships>
</file>

<file path=ppt/slides/_rels/slide76.xml.rels><?xml version="1.0" encoding="UTF-8" standalone="yes"?>
<Relationships xmlns="http://schemas.openxmlformats.org/package/2006/relationships"><Relationship Id="rId3" Type="http://schemas.openxmlformats.org/officeDocument/2006/relationships/customXml" Target="../ink/ink98.xml"/><Relationship Id="rId2" Type="http://schemas.openxmlformats.org/officeDocument/2006/relationships/image" Target="../media/image117.png"/><Relationship Id="rId1" Type="http://schemas.openxmlformats.org/officeDocument/2006/relationships/slideLayout" Target="../slideLayouts/slideLayout9.xml"/><Relationship Id="rId4" Type="http://schemas.openxmlformats.org/officeDocument/2006/relationships/image" Target="../media/image118.png"/></Relationships>
</file>

<file path=ppt/slides/_rels/slide77.xml.rels><?xml version="1.0" encoding="UTF-8" standalone="yes"?>
<Relationships xmlns="http://schemas.openxmlformats.org/package/2006/relationships"><Relationship Id="rId3" Type="http://schemas.openxmlformats.org/officeDocument/2006/relationships/customXml" Target="../ink/ink99.xml"/><Relationship Id="rId2" Type="http://schemas.openxmlformats.org/officeDocument/2006/relationships/image" Target="../media/image114.png"/><Relationship Id="rId1" Type="http://schemas.openxmlformats.org/officeDocument/2006/relationships/slideLayout" Target="../slideLayouts/slideLayout9.xml"/><Relationship Id="rId4" Type="http://schemas.openxmlformats.org/officeDocument/2006/relationships/image" Target="../media/image119.png"/></Relationships>
</file>

<file path=ppt/slides/_rels/slide78.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5" Type="http://schemas.openxmlformats.org/officeDocument/2006/relationships/image" Target="../media/image120.png"/><Relationship Id="rId4" Type="http://schemas.openxmlformats.org/officeDocument/2006/relationships/customXml" Target="../ink/ink100.xml"/></Relationships>
</file>

<file path=ppt/slides/_rels/slide79.xml.rels><?xml version="1.0" encoding="UTF-8" standalone="yes"?>
<Relationships xmlns="http://schemas.openxmlformats.org/package/2006/relationships"><Relationship Id="rId3" Type="http://schemas.openxmlformats.org/officeDocument/2006/relationships/customXml" Target="../ink/ink101.xml"/><Relationship Id="rId2" Type="http://schemas.openxmlformats.org/officeDocument/2006/relationships/image" Target="../media/image121.png"/><Relationship Id="rId1" Type="http://schemas.openxmlformats.org/officeDocument/2006/relationships/slideLayout" Target="../slideLayouts/slideLayout9.xml"/><Relationship Id="rId4" Type="http://schemas.openxmlformats.org/officeDocument/2006/relationships/image" Target="../media/image122.png"/></Relationships>
</file>

<file path=ppt/slides/_rels/slide8.xml.rels><?xml version="1.0" encoding="UTF-8" standalone="yes"?>
<Relationships xmlns="http://schemas.openxmlformats.org/package/2006/relationships"><Relationship Id="rId3" Type="http://schemas.openxmlformats.org/officeDocument/2006/relationships/customXml" Target="../ink/ink9.xml"/><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customXml" Target="../ink/ink102.xml"/><Relationship Id="rId2" Type="http://schemas.openxmlformats.org/officeDocument/2006/relationships/image" Target="../media/image123.png"/><Relationship Id="rId1" Type="http://schemas.openxmlformats.org/officeDocument/2006/relationships/slideLayout" Target="../slideLayouts/slideLayout9.xml"/><Relationship Id="rId4" Type="http://schemas.openxmlformats.org/officeDocument/2006/relationships/image" Target="../media/image124.png"/></Relationships>
</file>

<file path=ppt/slides/_rels/slide8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7" Type="http://schemas.openxmlformats.org/officeDocument/2006/relationships/image" Target="../media/image131.png"/><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6" Type="http://schemas.openxmlformats.org/officeDocument/2006/relationships/customXml" Target="../ink/ink103.xml"/><Relationship Id="rId5" Type="http://schemas.openxmlformats.org/officeDocument/2006/relationships/image" Target="../media/image130.png"/><Relationship Id="rId4" Type="http://schemas.openxmlformats.org/officeDocument/2006/relationships/image" Target="../media/image129.png"/></Relationships>
</file>

<file path=ppt/slides/_rels/slide86.xml.rels><?xml version="1.0" encoding="UTF-8" standalone="yes"?>
<Relationships xmlns="http://schemas.openxmlformats.org/package/2006/relationships"><Relationship Id="rId3" Type="http://schemas.openxmlformats.org/officeDocument/2006/relationships/customXml" Target="../ink/ink104.xml"/><Relationship Id="rId2" Type="http://schemas.openxmlformats.org/officeDocument/2006/relationships/image" Target="../media/image132.png"/><Relationship Id="rId1" Type="http://schemas.openxmlformats.org/officeDocument/2006/relationships/slideLayout" Target="../slideLayouts/slideLayout9.xml"/><Relationship Id="rId4" Type="http://schemas.openxmlformats.org/officeDocument/2006/relationships/image" Target="../media/image133.png"/></Relationships>
</file>

<file path=ppt/slides/_rels/slide87.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customXml" Target="../ink/ink105.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emf"/><Relationship Id="rId1" Type="http://schemas.openxmlformats.org/officeDocument/2006/relationships/slideLayout" Target="../slideLayouts/slideLayout9.xml"/><Relationship Id="rId4" Type="http://schemas.openxmlformats.org/officeDocument/2006/relationships/image" Target="../media/image13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ustomXml" Target="../ink/ink10.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6" Type="http://schemas.openxmlformats.org/officeDocument/2006/relationships/image" Target="../media/image143.png"/><Relationship Id="rId5" Type="http://schemas.openxmlformats.org/officeDocument/2006/relationships/customXml" Target="../ink/ink106.xml"/><Relationship Id="rId4" Type="http://schemas.openxmlformats.org/officeDocument/2006/relationships/image" Target="../media/image141.png"/></Relationships>
</file>

<file path=ppt/slides/_rels/slide9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image" Target="../media/image143.emf"/><Relationship Id="rId7" Type="http://schemas.openxmlformats.org/officeDocument/2006/relationships/image" Target="../media/image146.png"/><Relationship Id="rId2" Type="http://schemas.openxmlformats.org/officeDocument/2006/relationships/image" Target="../media/image142.png"/><Relationship Id="rId1" Type="http://schemas.openxmlformats.org/officeDocument/2006/relationships/slideLayout" Target="../slideLayouts/slideLayout5.xml"/><Relationship Id="rId6" Type="http://schemas.openxmlformats.org/officeDocument/2006/relationships/customXml" Target="../ink/ink107.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96.xml.rels><?xml version="1.0" encoding="UTF-8" standalone="yes"?>
<Relationships xmlns="http://schemas.openxmlformats.org/package/2006/relationships"><Relationship Id="rId3" Type="http://schemas.openxmlformats.org/officeDocument/2006/relationships/customXml" Target="../ink/ink108.xml"/><Relationship Id="rId2" Type="http://schemas.openxmlformats.org/officeDocument/2006/relationships/image" Target="../media/image144.png"/><Relationship Id="rId1" Type="http://schemas.openxmlformats.org/officeDocument/2006/relationships/slideLayout" Target="../slideLayouts/slideLayout5.xml"/><Relationship Id="rId4" Type="http://schemas.openxmlformats.org/officeDocument/2006/relationships/image" Target="../media/image148.png"/></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5.png"/><Relationship Id="rId1" Type="http://schemas.openxmlformats.org/officeDocument/2006/relationships/slideLayout" Target="../slideLayouts/slideLayout5.xml"/><Relationship Id="rId6" Type="http://schemas.openxmlformats.org/officeDocument/2006/relationships/image" Target="../media/image152.png"/><Relationship Id="rId5" Type="http://schemas.openxmlformats.org/officeDocument/2006/relationships/customXml" Target="../ink/ink109.xml"/><Relationship Id="rId4" Type="http://schemas.openxmlformats.org/officeDocument/2006/relationships/image" Target="../media/image149.png"/></Relationships>
</file>

<file path=ppt/slides/_rels/slide98.xml.rels><?xml version="1.0" encoding="UTF-8" standalone="yes"?>
<Relationships xmlns="http://schemas.openxmlformats.org/package/2006/relationships"><Relationship Id="rId3" Type="http://schemas.openxmlformats.org/officeDocument/2006/relationships/customXml" Target="../ink/ink110.xml"/><Relationship Id="rId2" Type="http://schemas.openxmlformats.org/officeDocument/2006/relationships/image" Target="../media/image150.png"/><Relationship Id="rId1" Type="http://schemas.openxmlformats.org/officeDocument/2006/relationships/slideLayout" Target="../slideLayouts/slideLayout5.xml"/><Relationship Id="rId4" Type="http://schemas.openxmlformats.org/officeDocument/2006/relationships/image" Target="../media/image154.png"/></Relationships>
</file>

<file path=ppt/slides/_rels/slide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6" Type="http://schemas.openxmlformats.org/officeDocument/2006/relationships/image" Target="../media/image151.png"/><Relationship Id="rId5" Type="http://schemas.openxmlformats.org/officeDocument/2006/relationships/customXml" Target="../ink/ink111.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5" imgW="529" imgH="530" progId="TCLayout.ActiveDocument.1">
                  <p:embed/>
                </p:oleObj>
              </mc:Choice>
              <mc:Fallback>
                <p:oleObj name="think-cell Slide" r:id="rId5"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2"/>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181610" y="-1"/>
            <a:ext cx="5962389" cy="5143500"/>
          </a:xfrm>
          <a:prstGeom prst="rect">
            <a:avLst/>
          </a:prstGeom>
        </p:spPr>
      </p:pic>
      <mc:AlternateContent xmlns:mc="http://schemas.openxmlformats.org/markup-compatibility/2006" xmlns:p14="http://schemas.microsoft.com/office/powerpoint/2010/main">
        <mc:Choice Requires="p14">
          <p:contentPart p14:bwMode="auto" r:id="rId9">
            <p14:nvContentPartPr>
              <p14:cNvPr id="2" name="Ink 1">
                <a:extLst>
                  <a:ext uri="{FF2B5EF4-FFF2-40B4-BE49-F238E27FC236}">
                    <a16:creationId xmlns:a16="http://schemas.microsoft.com/office/drawing/2014/main" id="{8612B408-DB36-A37B-1CD3-E16BA6B2F1B3}"/>
                  </a:ext>
                </a:extLst>
              </p14:cNvPr>
              <p14:cNvContentPartPr/>
              <p14:nvPr/>
            </p14:nvContentPartPr>
            <p14:xfrm>
              <a:off x="129600" y="70920"/>
              <a:ext cx="2925360" cy="5071680"/>
            </p14:xfrm>
          </p:contentPart>
        </mc:Choice>
        <mc:Fallback xmlns="">
          <p:pic>
            <p:nvPicPr>
              <p:cNvPr id="2" name="Ink 1">
                <a:extLst>
                  <a:ext uri="{FF2B5EF4-FFF2-40B4-BE49-F238E27FC236}">
                    <a16:creationId xmlns:a16="http://schemas.microsoft.com/office/drawing/2014/main" id="{8612B408-DB36-A37B-1CD3-E16BA6B2F1B3}"/>
                  </a:ext>
                </a:extLst>
              </p:cNvPr>
              <p:cNvPicPr/>
              <p:nvPr/>
            </p:nvPicPr>
            <p:blipFill>
              <a:blip r:embed="rId10"/>
              <a:stretch>
                <a:fillRect/>
              </a:stretch>
            </p:blipFill>
            <p:spPr>
              <a:xfrm>
                <a:off x="120240" y="61560"/>
                <a:ext cx="2944080" cy="5090400"/>
              </a:xfrm>
              <a:prstGeom prst="rect">
                <a:avLst/>
              </a:prstGeom>
            </p:spPr>
          </p:pic>
        </mc:Fallback>
      </mc:AlternateContent>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68B5B955-AA52-88AD-FD5D-9EA89A1A4B8B}"/>
                  </a:ext>
                </a:extLst>
              </p14:cNvPr>
              <p14:cNvContentPartPr/>
              <p14:nvPr/>
            </p14:nvContentPartPr>
            <p14:xfrm>
              <a:off x="431280" y="1384560"/>
              <a:ext cx="7900560" cy="3056040"/>
            </p14:xfrm>
          </p:contentPart>
        </mc:Choice>
        <mc:Fallback xmlns="">
          <p:pic>
            <p:nvPicPr>
              <p:cNvPr id="3" name="Ink 2">
                <a:extLst>
                  <a:ext uri="{FF2B5EF4-FFF2-40B4-BE49-F238E27FC236}">
                    <a16:creationId xmlns:a16="http://schemas.microsoft.com/office/drawing/2014/main" id="{68B5B955-AA52-88AD-FD5D-9EA89A1A4B8B}"/>
                  </a:ext>
                </a:extLst>
              </p:cNvPr>
              <p:cNvPicPr/>
              <p:nvPr/>
            </p:nvPicPr>
            <p:blipFill>
              <a:blip r:embed="rId4"/>
              <a:stretch>
                <a:fillRect/>
              </a:stretch>
            </p:blipFill>
            <p:spPr>
              <a:xfrm>
                <a:off x="421920" y="1375200"/>
                <a:ext cx="7919280" cy="3074760"/>
              </a:xfrm>
              <a:prstGeom prst="rect">
                <a:avLst/>
              </a:prstGeom>
            </p:spPr>
          </p:pic>
        </mc:Fallback>
      </mc:AlternateContent>
    </p:spTree>
    <p:extLst>
      <p:ext uri="{BB962C8B-B14F-4D97-AF65-F5344CB8AC3E}">
        <p14:creationId xmlns:p14="http://schemas.microsoft.com/office/powerpoint/2010/main" val="347885641"/>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B8EF-840C-4BAE-90C8-55442E57D1C8}"/>
              </a:ext>
            </a:extLst>
          </p:cNvPr>
          <p:cNvSpPr>
            <a:spLocks noGrp="1"/>
          </p:cNvSpPr>
          <p:nvPr>
            <p:ph type="title"/>
          </p:nvPr>
        </p:nvSpPr>
        <p:spPr>
          <a:xfrm>
            <a:off x="0" y="0"/>
            <a:ext cx="6351115" cy="640080"/>
          </a:xfrm>
        </p:spPr>
        <p:txBody>
          <a:bodyPr/>
          <a:lstStyle/>
          <a:p>
            <a:r>
              <a:rPr lang="en-US" dirty="0"/>
              <a:t>Correlation Coefficient</a:t>
            </a:r>
          </a:p>
        </p:txBody>
      </p:sp>
      <p:sp>
        <p:nvSpPr>
          <p:cNvPr id="3" name="Content Placeholder 2">
            <a:extLst>
              <a:ext uri="{FF2B5EF4-FFF2-40B4-BE49-F238E27FC236}">
                <a16:creationId xmlns:a16="http://schemas.microsoft.com/office/drawing/2014/main" id="{B7B7A0F1-C568-44EF-9828-F9D786C4428B}"/>
              </a:ext>
            </a:extLst>
          </p:cNvPr>
          <p:cNvSpPr>
            <a:spLocks noGrp="1"/>
          </p:cNvSpPr>
          <p:nvPr>
            <p:ph sz="half" idx="13"/>
          </p:nvPr>
        </p:nvSpPr>
        <p:spPr>
          <a:xfrm>
            <a:off x="148677" y="721748"/>
            <a:ext cx="8653296" cy="702203"/>
          </a:xfrm>
        </p:spPr>
        <p:txBody>
          <a:bodyPr/>
          <a:lstStyle/>
          <a:p>
            <a:r>
              <a:rPr lang="en-US" dirty="0"/>
              <a:t>Example : </a:t>
            </a:r>
            <a:r>
              <a:rPr lang="en-US" b="0" i="0" dirty="0">
                <a:solidFill>
                  <a:srgbClr val="333333"/>
                </a:solidFill>
                <a:effectLst/>
                <a:latin typeface="Verdana" panose="020B0604030504040204" pitchFamily="34" charset="0"/>
              </a:rPr>
              <a:t>The local ice cream shop keeps track of how much ice cream they sell versus the temperature on that day. Here are their figures for the last 12 days:</a:t>
            </a:r>
            <a:endParaRPr lang="en-US" dirty="0"/>
          </a:p>
        </p:txBody>
      </p:sp>
      <p:pic>
        <p:nvPicPr>
          <p:cNvPr id="5" name="Picture 4">
            <a:extLst>
              <a:ext uri="{FF2B5EF4-FFF2-40B4-BE49-F238E27FC236}">
                <a16:creationId xmlns:a16="http://schemas.microsoft.com/office/drawing/2014/main" id="{DF8B8053-EEE2-484B-9C06-F51E9A642AB2}"/>
              </a:ext>
            </a:extLst>
          </p:cNvPr>
          <p:cNvPicPr>
            <a:picLocks noChangeAspect="1"/>
          </p:cNvPicPr>
          <p:nvPr/>
        </p:nvPicPr>
        <p:blipFill>
          <a:blip r:embed="rId2"/>
          <a:stretch>
            <a:fillRect/>
          </a:stretch>
        </p:blipFill>
        <p:spPr>
          <a:xfrm>
            <a:off x="391838" y="1221527"/>
            <a:ext cx="2143273" cy="3496184"/>
          </a:xfrm>
          <a:prstGeom prst="rect">
            <a:avLst/>
          </a:prstGeom>
        </p:spPr>
      </p:pic>
      <p:pic>
        <p:nvPicPr>
          <p:cNvPr id="7" name="Picture 6">
            <a:extLst>
              <a:ext uri="{FF2B5EF4-FFF2-40B4-BE49-F238E27FC236}">
                <a16:creationId xmlns:a16="http://schemas.microsoft.com/office/drawing/2014/main" id="{C2E1B80F-16F7-431C-B42B-8214EB3EBA3F}"/>
              </a:ext>
            </a:extLst>
          </p:cNvPr>
          <p:cNvPicPr>
            <a:picLocks noChangeAspect="1"/>
          </p:cNvPicPr>
          <p:nvPr/>
        </p:nvPicPr>
        <p:blipFill>
          <a:blip r:embed="rId3"/>
          <a:stretch>
            <a:fillRect/>
          </a:stretch>
        </p:blipFill>
        <p:spPr>
          <a:xfrm>
            <a:off x="2903742" y="1222552"/>
            <a:ext cx="4309626" cy="2698395"/>
          </a:xfrm>
          <a:prstGeom prst="rect">
            <a:avLst/>
          </a:prstGeom>
        </p:spPr>
      </p:pic>
      <p:sp>
        <p:nvSpPr>
          <p:cNvPr id="8" name="TextBox 7">
            <a:extLst>
              <a:ext uri="{FF2B5EF4-FFF2-40B4-BE49-F238E27FC236}">
                <a16:creationId xmlns:a16="http://schemas.microsoft.com/office/drawing/2014/main" id="{60692318-97B5-4EC0-A349-E0BBCA75341A}"/>
              </a:ext>
            </a:extLst>
          </p:cNvPr>
          <p:cNvSpPr txBox="1"/>
          <p:nvPr/>
        </p:nvSpPr>
        <p:spPr>
          <a:xfrm>
            <a:off x="2778273" y="3978687"/>
            <a:ext cx="6205184" cy="984885"/>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We can easily see that warmer weather and higher sales go together. The relationship is good but not perfect.</a:t>
            </a:r>
          </a:p>
          <a:p>
            <a:pPr algn="l"/>
            <a:endParaRPr lang="en-US" sz="1100" b="0" i="0" dirty="0">
              <a:solidFill>
                <a:srgbClr val="333333"/>
              </a:solidFill>
              <a:effectLst/>
              <a:latin typeface="Verdana" panose="020B0604030504040204" pitchFamily="34" charset="0"/>
            </a:endParaRPr>
          </a:p>
          <a:p>
            <a:pPr marL="171450" indent="-171450" algn="ctr">
              <a:buFont typeface="Arial" panose="020B0604020202020204" pitchFamily="34" charset="0"/>
              <a:buChar char="•"/>
            </a:pPr>
            <a:r>
              <a:rPr lang="en-US" sz="1100" b="0" i="0" dirty="0">
                <a:effectLst/>
                <a:latin typeface="Verdana" panose="020B0604030504040204" pitchFamily="34" charset="0"/>
              </a:rPr>
              <a:t>In fact, the correlation is </a:t>
            </a:r>
            <a:r>
              <a:rPr lang="en-US" sz="1100" b="1" i="0" dirty="0">
                <a:effectLst/>
                <a:latin typeface="Verdana" panose="020B0604030504040204" pitchFamily="34" charset="0"/>
              </a:rPr>
              <a:t>0.9575</a:t>
            </a:r>
            <a:r>
              <a:rPr lang="en-US" sz="1100" b="0" i="0" dirty="0">
                <a:effectLst/>
                <a:latin typeface="Verdana" panose="020B0604030504040204" pitchFamily="34" charset="0"/>
              </a:rPr>
              <a:t> ... see at the end how I calculated it.</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3EB5545B-320F-60F8-7724-B24566056FE5}"/>
                  </a:ext>
                </a:extLst>
              </p14:cNvPr>
              <p14:cNvContentPartPr/>
              <p14:nvPr/>
            </p14:nvContentPartPr>
            <p14:xfrm>
              <a:off x="209880" y="1593360"/>
              <a:ext cx="6798240" cy="3227400"/>
            </p14:xfrm>
          </p:contentPart>
        </mc:Choice>
        <mc:Fallback>
          <p:pic>
            <p:nvPicPr>
              <p:cNvPr id="4" name="Ink 3">
                <a:extLst>
                  <a:ext uri="{FF2B5EF4-FFF2-40B4-BE49-F238E27FC236}">
                    <a16:creationId xmlns:a16="http://schemas.microsoft.com/office/drawing/2014/main" id="{3EB5545B-320F-60F8-7724-B24566056FE5}"/>
                  </a:ext>
                </a:extLst>
              </p:cNvPr>
              <p:cNvPicPr/>
              <p:nvPr/>
            </p:nvPicPr>
            <p:blipFill>
              <a:blip r:embed="rId5"/>
              <a:stretch>
                <a:fillRect/>
              </a:stretch>
            </p:blipFill>
            <p:spPr>
              <a:xfrm>
                <a:off x="200520" y="1584000"/>
                <a:ext cx="6816960" cy="3246120"/>
              </a:xfrm>
              <a:prstGeom prst="rect">
                <a:avLst/>
              </a:prstGeom>
            </p:spPr>
          </p:pic>
        </mc:Fallback>
      </mc:AlternateContent>
    </p:spTree>
    <p:extLst>
      <p:ext uri="{BB962C8B-B14F-4D97-AF65-F5344CB8AC3E}">
        <p14:creationId xmlns:p14="http://schemas.microsoft.com/office/powerpoint/2010/main" val="2423241985"/>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80D5B-B294-429F-9320-B63C141F7AB4}"/>
              </a:ext>
            </a:extLst>
          </p:cNvPr>
          <p:cNvSpPr>
            <a:spLocks noGrp="1"/>
          </p:cNvSpPr>
          <p:nvPr>
            <p:ph type="title"/>
          </p:nvPr>
        </p:nvSpPr>
        <p:spPr>
          <a:xfrm>
            <a:off x="0" y="0"/>
            <a:ext cx="8334302" cy="640080"/>
          </a:xfrm>
        </p:spPr>
        <p:txBody>
          <a:bodyPr/>
          <a:lstStyle/>
          <a:p>
            <a:r>
              <a:rPr lang="en-US" dirty="0"/>
              <a:t>Correlation Coefficient – Example continued…</a:t>
            </a:r>
          </a:p>
        </p:txBody>
      </p:sp>
      <p:sp>
        <p:nvSpPr>
          <p:cNvPr id="3" name="Content Placeholder 2">
            <a:extLst>
              <a:ext uri="{FF2B5EF4-FFF2-40B4-BE49-F238E27FC236}">
                <a16:creationId xmlns:a16="http://schemas.microsoft.com/office/drawing/2014/main" id="{A0AC2659-E94F-4E8E-9838-EA609CEBEF3B}"/>
              </a:ext>
            </a:extLst>
          </p:cNvPr>
          <p:cNvSpPr>
            <a:spLocks noGrp="1"/>
          </p:cNvSpPr>
          <p:nvPr>
            <p:ph sz="half" idx="13"/>
          </p:nvPr>
        </p:nvSpPr>
        <p:spPr>
          <a:xfrm>
            <a:off x="78875" y="640080"/>
            <a:ext cx="8681217" cy="3200400"/>
          </a:xfrm>
        </p:spPr>
        <p:txBody>
          <a:bodyPr/>
          <a:lstStyle/>
          <a:p>
            <a:pPr algn="l"/>
            <a:r>
              <a:rPr lang="en-US" b="0" i="0" dirty="0">
                <a:solidFill>
                  <a:srgbClr val="333333"/>
                </a:solidFill>
                <a:effectLst/>
                <a:latin typeface="Verdana" panose="020B0604030504040204" pitchFamily="34" charset="0"/>
              </a:rPr>
              <a:t>How did I calculate the value </a:t>
            </a:r>
            <a:r>
              <a:rPr lang="en-US" b="1" i="0" dirty="0">
                <a:solidFill>
                  <a:srgbClr val="333333"/>
                </a:solidFill>
                <a:effectLst/>
                <a:latin typeface="Verdana" panose="020B0604030504040204" pitchFamily="34" charset="0"/>
              </a:rPr>
              <a:t>0.9575</a:t>
            </a:r>
            <a:r>
              <a:rPr lang="en-US" b="0" i="0" dirty="0">
                <a:solidFill>
                  <a:srgbClr val="333333"/>
                </a:solidFill>
                <a:effectLst/>
                <a:latin typeface="Verdana" panose="020B0604030504040204" pitchFamily="34" charset="0"/>
              </a:rPr>
              <a:t> from th</a:t>
            </a:r>
            <a:r>
              <a:rPr lang="en-US" dirty="0">
                <a:solidFill>
                  <a:srgbClr val="333333"/>
                </a:solidFill>
                <a:latin typeface="Verdana" panose="020B0604030504040204" pitchFamily="34" charset="0"/>
              </a:rPr>
              <a:t>e previous slide</a:t>
            </a:r>
            <a:r>
              <a:rPr lang="en-US" b="0" i="0" dirty="0">
                <a:solidFill>
                  <a:srgbClr val="333333"/>
                </a:solidFill>
                <a:effectLst/>
                <a:latin typeface="Verdana" panose="020B0604030504040204" pitchFamily="34" charset="0"/>
              </a:rPr>
              <a:t>?</a:t>
            </a:r>
            <a:r>
              <a:rPr lang="en-US" sz="1050" b="0" i="1" dirty="0">
                <a:solidFill>
                  <a:srgbClr val="333333"/>
                </a:solidFill>
                <a:effectLst/>
                <a:latin typeface="Verdana" panose="020B0604030504040204" pitchFamily="34" charset="0"/>
              </a:rPr>
              <a:t>(use "Pearson's Correlation“)</a:t>
            </a:r>
          </a:p>
          <a:p>
            <a:endParaRPr lang="en-US" dirty="0"/>
          </a:p>
        </p:txBody>
      </p:sp>
      <p:sp>
        <p:nvSpPr>
          <p:cNvPr id="4" name="TextBox 3">
            <a:extLst>
              <a:ext uri="{FF2B5EF4-FFF2-40B4-BE49-F238E27FC236}">
                <a16:creationId xmlns:a16="http://schemas.microsoft.com/office/drawing/2014/main" id="{0D783420-2663-4385-A858-59BE937321E4}"/>
              </a:ext>
            </a:extLst>
          </p:cNvPr>
          <p:cNvSpPr txBox="1"/>
          <p:nvPr/>
        </p:nvSpPr>
        <p:spPr>
          <a:xfrm>
            <a:off x="139601" y="1137766"/>
            <a:ext cx="8925523" cy="2523768"/>
          </a:xfrm>
          <a:prstGeom prst="rect">
            <a:avLst/>
          </a:prstGeom>
          <a:noFill/>
        </p:spPr>
        <p:txBody>
          <a:bodyPr wrap="square" rtlCol="0">
            <a:spAutoFit/>
          </a:bodyPr>
          <a:lstStyle/>
          <a:p>
            <a:pPr algn="l"/>
            <a:r>
              <a:rPr lang="en-US" sz="1200" dirty="0">
                <a:solidFill>
                  <a:srgbClr val="333333"/>
                </a:solidFill>
                <a:latin typeface="Verdana" panose="020B0604030504040204" pitchFamily="34" charset="0"/>
                <a:cs typeface="Arial" panose="020B0604020202020204" pitchFamily="34" charset="0"/>
              </a:rPr>
              <a:t>Let us call the two sets of data "x" and "y" (in our case Temperature is x and Ice Cream Sales is y):</a:t>
            </a:r>
          </a:p>
          <a:p>
            <a:pPr algn="l"/>
            <a:endParaRPr lang="en-US" sz="1200" dirty="0">
              <a:solidFill>
                <a:srgbClr val="333333"/>
              </a:solidFill>
              <a:latin typeface="Verdana" panose="020B0604030504040204" pitchFamily="34" charset="0"/>
              <a:cs typeface="Arial" panose="020B0604020202020204" pitchFamily="34" charset="0"/>
            </a:endParaRPr>
          </a:p>
          <a:p>
            <a:pPr algn="l">
              <a:buFont typeface="Arial" panose="020B0604020202020204" pitchFamily="34" charset="0"/>
              <a:buChar char="•"/>
            </a:pPr>
            <a:r>
              <a:rPr lang="en-US" sz="1200" dirty="0">
                <a:solidFill>
                  <a:srgbClr val="333333"/>
                </a:solidFill>
                <a:latin typeface="Verdana" panose="020B0604030504040204" pitchFamily="34" charset="0"/>
                <a:cs typeface="Arial" panose="020B0604020202020204" pitchFamily="34" charset="0"/>
              </a:rPr>
              <a:t>Step 1: Find the mean of x, and the mean of y</a:t>
            </a:r>
          </a:p>
          <a:p>
            <a:pPr algn="l"/>
            <a:endParaRPr lang="en-US" sz="1200" dirty="0">
              <a:solidFill>
                <a:srgbClr val="333333"/>
              </a:solidFill>
              <a:latin typeface="Verdana" panose="020B0604030504040204" pitchFamily="34" charset="0"/>
              <a:cs typeface="Arial" panose="020B0604020202020204" pitchFamily="34" charset="0"/>
            </a:endParaRPr>
          </a:p>
          <a:p>
            <a:pPr algn="l">
              <a:buFont typeface="Arial" panose="020B0604020202020204" pitchFamily="34" charset="0"/>
              <a:buChar char="•"/>
            </a:pPr>
            <a:r>
              <a:rPr lang="en-US" sz="1200" dirty="0">
                <a:solidFill>
                  <a:srgbClr val="333333"/>
                </a:solidFill>
                <a:latin typeface="Verdana" panose="020B0604030504040204" pitchFamily="34" charset="0"/>
                <a:cs typeface="Arial" panose="020B0604020202020204" pitchFamily="34" charset="0"/>
              </a:rPr>
              <a:t>Step 2: Subtract the mean of x from every x value (call them "a"), and subtract the mean of y from every y value (call them "b")</a:t>
            </a:r>
          </a:p>
          <a:p>
            <a:pPr algn="l"/>
            <a:endParaRPr lang="en-US" sz="1200" dirty="0">
              <a:solidFill>
                <a:srgbClr val="333333"/>
              </a:solidFill>
              <a:latin typeface="Verdana" panose="020B0604030504040204" pitchFamily="34" charset="0"/>
              <a:cs typeface="Arial" panose="020B0604020202020204" pitchFamily="34" charset="0"/>
            </a:endParaRPr>
          </a:p>
          <a:p>
            <a:pPr algn="l">
              <a:buFont typeface="Arial" panose="020B0604020202020204" pitchFamily="34" charset="0"/>
              <a:buChar char="•"/>
            </a:pPr>
            <a:r>
              <a:rPr lang="en-US" sz="1200" dirty="0">
                <a:solidFill>
                  <a:srgbClr val="333333"/>
                </a:solidFill>
                <a:latin typeface="Verdana" panose="020B0604030504040204" pitchFamily="34" charset="0"/>
                <a:cs typeface="Arial" panose="020B0604020202020204" pitchFamily="34" charset="0"/>
              </a:rPr>
              <a:t>Step 3: Calculate: ab, a2 and b2 for every value</a:t>
            </a:r>
          </a:p>
          <a:p>
            <a:pPr algn="l"/>
            <a:endParaRPr lang="en-US" sz="1200" dirty="0">
              <a:solidFill>
                <a:srgbClr val="333333"/>
              </a:solidFill>
              <a:latin typeface="Verdana" panose="020B0604030504040204" pitchFamily="34" charset="0"/>
              <a:cs typeface="Arial" panose="020B0604020202020204" pitchFamily="34" charset="0"/>
            </a:endParaRPr>
          </a:p>
          <a:p>
            <a:pPr algn="l">
              <a:buFont typeface="Arial" panose="020B0604020202020204" pitchFamily="34" charset="0"/>
              <a:buChar char="•"/>
            </a:pPr>
            <a:r>
              <a:rPr lang="en-US" sz="1200" dirty="0">
                <a:solidFill>
                  <a:srgbClr val="333333"/>
                </a:solidFill>
                <a:latin typeface="Verdana" panose="020B0604030504040204" pitchFamily="34" charset="0"/>
                <a:cs typeface="Arial" panose="020B0604020202020204" pitchFamily="34" charset="0"/>
              </a:rPr>
              <a:t>Step 4: Sum up ab, sum up a2 and sum up b2</a:t>
            </a:r>
          </a:p>
          <a:p>
            <a:pPr algn="l"/>
            <a:endParaRPr lang="en-US" sz="1200" dirty="0">
              <a:solidFill>
                <a:srgbClr val="333333"/>
              </a:solidFill>
              <a:latin typeface="Verdana" panose="020B0604030504040204" pitchFamily="34" charset="0"/>
              <a:cs typeface="Arial" panose="020B0604020202020204" pitchFamily="34" charset="0"/>
            </a:endParaRPr>
          </a:p>
          <a:p>
            <a:pPr algn="l">
              <a:buFont typeface="Arial" panose="020B0604020202020204" pitchFamily="34" charset="0"/>
              <a:buChar char="•"/>
            </a:pPr>
            <a:r>
              <a:rPr lang="en-US" sz="1200" dirty="0">
                <a:solidFill>
                  <a:srgbClr val="333333"/>
                </a:solidFill>
                <a:latin typeface="Verdana" panose="020B0604030504040204" pitchFamily="34" charset="0"/>
                <a:cs typeface="Arial" panose="020B0604020202020204" pitchFamily="34" charset="0"/>
              </a:rPr>
              <a:t>Step 5: Divide the sum of ab by the square root of [(sum of a2) × (sum of b2)]</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73A0E004-D14D-3778-F268-75E838E52247}"/>
                  </a:ext>
                </a:extLst>
              </p14:cNvPr>
              <p14:cNvContentPartPr/>
              <p14:nvPr/>
            </p14:nvContentPartPr>
            <p14:xfrm>
              <a:off x="109440" y="867960"/>
              <a:ext cx="6947640" cy="2992680"/>
            </p14:xfrm>
          </p:contentPart>
        </mc:Choice>
        <mc:Fallback>
          <p:pic>
            <p:nvPicPr>
              <p:cNvPr id="5" name="Ink 4">
                <a:extLst>
                  <a:ext uri="{FF2B5EF4-FFF2-40B4-BE49-F238E27FC236}">
                    <a16:creationId xmlns:a16="http://schemas.microsoft.com/office/drawing/2014/main" id="{73A0E004-D14D-3778-F268-75E838E52247}"/>
                  </a:ext>
                </a:extLst>
              </p:cNvPr>
              <p:cNvPicPr/>
              <p:nvPr/>
            </p:nvPicPr>
            <p:blipFill>
              <a:blip r:embed="rId3"/>
              <a:stretch>
                <a:fillRect/>
              </a:stretch>
            </p:blipFill>
            <p:spPr>
              <a:xfrm>
                <a:off x="100080" y="858600"/>
                <a:ext cx="6966360" cy="3011400"/>
              </a:xfrm>
              <a:prstGeom prst="rect">
                <a:avLst/>
              </a:prstGeom>
            </p:spPr>
          </p:pic>
        </mc:Fallback>
      </mc:AlternateContent>
    </p:spTree>
    <p:extLst>
      <p:ext uri="{BB962C8B-B14F-4D97-AF65-F5344CB8AC3E}">
        <p14:creationId xmlns:p14="http://schemas.microsoft.com/office/powerpoint/2010/main" val="1421560451"/>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0261828-BF6A-46CD-AB3D-4468E53DAFB7}"/>
              </a:ext>
            </a:extLst>
          </p:cNvPr>
          <p:cNvPicPr>
            <a:picLocks noGrp="1" noChangeAspect="1"/>
          </p:cNvPicPr>
          <p:nvPr>
            <p:ph sz="half" idx="13"/>
          </p:nvPr>
        </p:nvPicPr>
        <p:blipFill>
          <a:blip r:embed="rId2"/>
          <a:stretch>
            <a:fillRect/>
          </a:stretch>
        </p:blipFill>
        <p:spPr>
          <a:xfrm>
            <a:off x="407260" y="493495"/>
            <a:ext cx="5141961" cy="3442139"/>
          </a:xfrm>
        </p:spPr>
      </p:pic>
      <p:sp>
        <p:nvSpPr>
          <p:cNvPr id="6" name="Title 1">
            <a:extLst>
              <a:ext uri="{FF2B5EF4-FFF2-40B4-BE49-F238E27FC236}">
                <a16:creationId xmlns:a16="http://schemas.microsoft.com/office/drawing/2014/main" id="{ADC98090-47F5-47C6-BF28-167747240F5A}"/>
              </a:ext>
            </a:extLst>
          </p:cNvPr>
          <p:cNvSpPr>
            <a:spLocks noGrp="1"/>
          </p:cNvSpPr>
          <p:nvPr>
            <p:ph type="title"/>
          </p:nvPr>
        </p:nvSpPr>
        <p:spPr>
          <a:xfrm>
            <a:off x="0" y="0"/>
            <a:ext cx="8334302" cy="640080"/>
          </a:xfrm>
        </p:spPr>
        <p:txBody>
          <a:bodyPr/>
          <a:lstStyle/>
          <a:p>
            <a:r>
              <a:rPr lang="en-US" dirty="0"/>
              <a:t>Correlation Coefficient – Example continued…</a:t>
            </a:r>
          </a:p>
        </p:txBody>
      </p:sp>
      <p:pic>
        <p:nvPicPr>
          <p:cNvPr id="8" name="Picture 7">
            <a:extLst>
              <a:ext uri="{FF2B5EF4-FFF2-40B4-BE49-F238E27FC236}">
                <a16:creationId xmlns:a16="http://schemas.microsoft.com/office/drawing/2014/main" id="{8E214DCF-FE2C-496C-9D31-20A6720C667A}"/>
              </a:ext>
            </a:extLst>
          </p:cNvPr>
          <p:cNvPicPr>
            <a:picLocks noChangeAspect="1"/>
          </p:cNvPicPr>
          <p:nvPr/>
        </p:nvPicPr>
        <p:blipFill>
          <a:blip r:embed="rId3"/>
          <a:stretch>
            <a:fillRect/>
          </a:stretch>
        </p:blipFill>
        <p:spPr>
          <a:xfrm>
            <a:off x="1788774" y="4118747"/>
            <a:ext cx="3195055" cy="735830"/>
          </a:xfrm>
          <a:prstGeom prst="rect">
            <a:avLst/>
          </a:prstGeom>
        </p:spPr>
      </p:pic>
      <p:pic>
        <p:nvPicPr>
          <p:cNvPr id="10" name="Picture 9">
            <a:extLst>
              <a:ext uri="{FF2B5EF4-FFF2-40B4-BE49-F238E27FC236}">
                <a16:creationId xmlns:a16="http://schemas.microsoft.com/office/drawing/2014/main" id="{D22D9E36-3EBE-4D7D-B6C3-8FD977BE2AE2}"/>
              </a:ext>
            </a:extLst>
          </p:cNvPr>
          <p:cNvPicPr>
            <a:picLocks noChangeAspect="1"/>
          </p:cNvPicPr>
          <p:nvPr/>
        </p:nvPicPr>
        <p:blipFill>
          <a:blip r:embed="rId4"/>
          <a:stretch>
            <a:fillRect/>
          </a:stretch>
        </p:blipFill>
        <p:spPr>
          <a:xfrm>
            <a:off x="5846191" y="1085376"/>
            <a:ext cx="2596485" cy="987729"/>
          </a:xfrm>
          <a:prstGeom prst="rect">
            <a:avLst/>
          </a:prstGeom>
        </p:spPr>
      </p:pic>
      <p:sp>
        <p:nvSpPr>
          <p:cNvPr id="18" name="TextBox 17">
            <a:extLst>
              <a:ext uri="{FF2B5EF4-FFF2-40B4-BE49-F238E27FC236}">
                <a16:creationId xmlns:a16="http://schemas.microsoft.com/office/drawing/2014/main" id="{065ED696-2F54-409C-B474-07A557E882E5}"/>
              </a:ext>
            </a:extLst>
          </p:cNvPr>
          <p:cNvSpPr txBox="1"/>
          <p:nvPr/>
        </p:nvSpPr>
        <p:spPr>
          <a:xfrm>
            <a:off x="5549221" y="2408153"/>
            <a:ext cx="3350474" cy="146193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100" b="1" i="0" dirty="0">
                <a:solidFill>
                  <a:srgbClr val="333333"/>
                </a:solidFill>
                <a:effectLst/>
                <a:latin typeface="times new roman" panose="02020603050405020304" pitchFamily="18" charset="0"/>
              </a:rPr>
              <a:t>Σ</a:t>
            </a:r>
            <a:r>
              <a:rPr lang="en-US" sz="1100" b="0" i="0" dirty="0">
                <a:solidFill>
                  <a:srgbClr val="333333"/>
                </a:solidFill>
                <a:effectLst/>
                <a:latin typeface="Verdana" panose="020B0604030504040204" pitchFamily="34" charset="0"/>
              </a:rPr>
              <a:t> is </a:t>
            </a:r>
            <a:r>
              <a:rPr lang="en-US" sz="1100" b="0" i="0" dirty="0">
                <a:solidFill>
                  <a:srgbClr val="333333"/>
                </a:solidFill>
                <a:effectLst/>
                <a:latin typeface="Verdana" panose="020B0604030504040204" pitchFamily="34" charset="0"/>
                <a:hlinkClick r:id="rId5"/>
              </a:rPr>
              <a:t>Sigma</a:t>
            </a:r>
            <a:r>
              <a:rPr lang="en-US" sz="1100" b="0" i="0" dirty="0">
                <a:solidFill>
                  <a:srgbClr val="333333"/>
                </a:solidFill>
                <a:effectLst/>
                <a:latin typeface="Verdana" panose="020B0604030504040204" pitchFamily="34" charset="0"/>
              </a:rPr>
              <a:t>, the symbol for "sum up“</a:t>
            </a:r>
          </a:p>
          <a:p>
            <a:pPr marL="171450" indent="-171450">
              <a:spcBef>
                <a:spcPts val="0"/>
              </a:spcBef>
              <a:spcAft>
                <a:spcPts val="0"/>
              </a:spcAft>
              <a:buClr>
                <a:schemeClr val="bg1"/>
              </a:buClr>
              <a:buFont typeface="Arial" panose="020B0604020202020204" pitchFamily="34" charset="0"/>
              <a:buChar char="•"/>
            </a:pPr>
            <a:r>
              <a:rPr lang="en-US" sz="1100" b="0" i="0" dirty="0">
                <a:solidFill>
                  <a:srgbClr val="003780"/>
                </a:solidFill>
                <a:effectLst/>
                <a:latin typeface="Verdana" panose="020B0604030504040204" pitchFamily="34" charset="0"/>
              </a:rPr>
              <a:t>            is each x-value minus the mean of x (called "a" above)</a:t>
            </a:r>
            <a:endParaRPr lang="en-US" sz="1400" dirty="0">
              <a:solidFill>
                <a:schemeClr val="bg2"/>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00" b="0" i="0" dirty="0">
                <a:solidFill>
                  <a:srgbClr val="003780"/>
                </a:solidFill>
                <a:effectLst/>
                <a:latin typeface="Verdana" panose="020B0604030504040204" pitchFamily="34" charset="0"/>
              </a:rPr>
              <a:t>             is each y-value minus the mean of y (called "b" above)</a:t>
            </a:r>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20" name="TextBox 19">
            <a:extLst>
              <a:ext uri="{FF2B5EF4-FFF2-40B4-BE49-F238E27FC236}">
                <a16:creationId xmlns:a16="http://schemas.microsoft.com/office/drawing/2014/main" id="{D73C2C63-3831-452E-842D-52FD8CF68AC3}"/>
              </a:ext>
            </a:extLst>
          </p:cNvPr>
          <p:cNvSpPr txBox="1"/>
          <p:nvPr/>
        </p:nvSpPr>
        <p:spPr>
          <a:xfrm>
            <a:off x="5956481" y="2639509"/>
            <a:ext cx="3057307" cy="307777"/>
          </a:xfrm>
          <a:prstGeom prst="rect">
            <a:avLst/>
          </a:prstGeom>
          <a:noFill/>
        </p:spPr>
        <p:txBody>
          <a:bodyPr wrap="square" rtlCol="0">
            <a:spAutoFit/>
          </a:bodyPr>
          <a:lstStyle/>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6">
            <p14:nvContentPartPr>
              <p14:cNvPr id="22" name="Ink 21">
                <a:extLst>
                  <a:ext uri="{FF2B5EF4-FFF2-40B4-BE49-F238E27FC236}">
                    <a16:creationId xmlns:a16="http://schemas.microsoft.com/office/drawing/2014/main" id="{9237E6D6-A3B6-4516-BA18-D27C8157B1C5}"/>
                  </a:ext>
                </a:extLst>
              </p14:cNvPr>
              <p14:cNvContentPartPr/>
              <p14:nvPr/>
            </p14:nvContentPartPr>
            <p14:xfrm>
              <a:off x="5757840" y="2638440"/>
              <a:ext cx="586080" cy="476640"/>
            </p14:xfrm>
          </p:contentPart>
        </mc:Choice>
        <mc:Fallback xmlns="">
          <p:pic>
            <p:nvPicPr>
              <p:cNvPr id="22" name="Ink 21">
                <a:extLst>
                  <a:ext uri="{FF2B5EF4-FFF2-40B4-BE49-F238E27FC236}">
                    <a16:creationId xmlns:a16="http://schemas.microsoft.com/office/drawing/2014/main" id="{9237E6D6-A3B6-4516-BA18-D27C8157B1C5}"/>
                  </a:ext>
                </a:extLst>
              </p:cNvPr>
              <p:cNvPicPr/>
              <p:nvPr/>
            </p:nvPicPr>
            <p:blipFill>
              <a:blip r:embed="rId7"/>
              <a:stretch>
                <a:fillRect/>
              </a:stretch>
            </p:blipFill>
            <p:spPr>
              <a:xfrm>
                <a:off x="5748480" y="2629080"/>
                <a:ext cx="604800" cy="4953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3" name="Ink 22">
                <a:extLst>
                  <a:ext uri="{FF2B5EF4-FFF2-40B4-BE49-F238E27FC236}">
                    <a16:creationId xmlns:a16="http://schemas.microsoft.com/office/drawing/2014/main" id="{5C0CA491-86A5-4D27-8A7C-0F2CD1544BD3}"/>
                  </a:ext>
                </a:extLst>
              </p14:cNvPr>
              <p14:cNvContentPartPr/>
              <p14:nvPr/>
            </p14:nvContentPartPr>
            <p14:xfrm>
              <a:off x="5960817" y="3029095"/>
              <a:ext cx="360" cy="360"/>
            </p14:xfrm>
          </p:contentPart>
        </mc:Choice>
        <mc:Fallback xmlns="">
          <p:pic>
            <p:nvPicPr>
              <p:cNvPr id="23" name="Ink 22">
                <a:extLst>
                  <a:ext uri="{FF2B5EF4-FFF2-40B4-BE49-F238E27FC236}">
                    <a16:creationId xmlns:a16="http://schemas.microsoft.com/office/drawing/2014/main" id="{5C0CA491-86A5-4D27-8A7C-0F2CD1544BD3}"/>
                  </a:ext>
                </a:extLst>
              </p:cNvPr>
              <p:cNvPicPr/>
              <p:nvPr/>
            </p:nvPicPr>
            <p:blipFill>
              <a:blip r:embed="rId9"/>
              <a:stretch>
                <a:fillRect/>
              </a:stretch>
            </p:blipFill>
            <p:spPr>
              <a:xfrm>
                <a:off x="5951817" y="3020095"/>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B32D98B6-5F8D-BE4B-1C5F-70D62CD2D407}"/>
                  </a:ext>
                </a:extLst>
              </p14:cNvPr>
              <p14:cNvContentPartPr/>
              <p14:nvPr/>
            </p14:nvContentPartPr>
            <p14:xfrm>
              <a:off x="65880" y="680040"/>
              <a:ext cx="8660880" cy="4460760"/>
            </p14:xfrm>
          </p:contentPart>
        </mc:Choice>
        <mc:Fallback>
          <p:pic>
            <p:nvPicPr>
              <p:cNvPr id="2" name="Ink 1">
                <a:extLst>
                  <a:ext uri="{FF2B5EF4-FFF2-40B4-BE49-F238E27FC236}">
                    <a16:creationId xmlns:a16="http://schemas.microsoft.com/office/drawing/2014/main" id="{B32D98B6-5F8D-BE4B-1C5F-70D62CD2D407}"/>
                  </a:ext>
                </a:extLst>
              </p:cNvPr>
              <p:cNvPicPr/>
              <p:nvPr/>
            </p:nvPicPr>
            <p:blipFill>
              <a:blip r:embed="rId11"/>
              <a:stretch>
                <a:fillRect/>
              </a:stretch>
            </p:blipFill>
            <p:spPr>
              <a:xfrm>
                <a:off x="56520" y="670680"/>
                <a:ext cx="8679600" cy="4479480"/>
              </a:xfrm>
              <a:prstGeom prst="rect">
                <a:avLst/>
              </a:prstGeom>
            </p:spPr>
          </p:pic>
        </mc:Fallback>
      </mc:AlternateContent>
    </p:spTree>
    <p:extLst>
      <p:ext uri="{BB962C8B-B14F-4D97-AF65-F5344CB8AC3E}">
        <p14:creationId xmlns:p14="http://schemas.microsoft.com/office/powerpoint/2010/main" val="1942043578"/>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p:spTree>
    <p:extLst>
      <p:ext uri="{BB962C8B-B14F-4D97-AF65-F5344CB8AC3E}">
        <p14:creationId xmlns:p14="http://schemas.microsoft.com/office/powerpoint/2010/main" val="633646377"/>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p:spTree>
    <p:extLst>
      <p:ext uri="{BB962C8B-B14F-4D97-AF65-F5344CB8AC3E}">
        <p14:creationId xmlns:p14="http://schemas.microsoft.com/office/powerpoint/2010/main" val="2357723908"/>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p:spTree>
    <p:extLst>
      <p:ext uri="{BB962C8B-B14F-4D97-AF65-F5344CB8AC3E}">
        <p14:creationId xmlns:p14="http://schemas.microsoft.com/office/powerpoint/2010/main" val="2555396937"/>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14B002C2-8EED-6412-B17E-A7E731041BE3}"/>
                  </a:ext>
                </a:extLst>
              </p14:cNvPr>
              <p14:cNvContentPartPr/>
              <p14:nvPr/>
            </p14:nvContentPartPr>
            <p14:xfrm>
              <a:off x="1123560" y="355320"/>
              <a:ext cx="7701840" cy="3930840"/>
            </p14:xfrm>
          </p:contentPart>
        </mc:Choice>
        <mc:Fallback xmlns="">
          <p:pic>
            <p:nvPicPr>
              <p:cNvPr id="4" name="Ink 3">
                <a:extLst>
                  <a:ext uri="{FF2B5EF4-FFF2-40B4-BE49-F238E27FC236}">
                    <a16:creationId xmlns:a16="http://schemas.microsoft.com/office/drawing/2014/main" id="{14B002C2-8EED-6412-B17E-A7E731041BE3}"/>
                  </a:ext>
                </a:extLst>
              </p:cNvPr>
              <p:cNvPicPr/>
              <p:nvPr/>
            </p:nvPicPr>
            <p:blipFill>
              <a:blip r:embed="rId3"/>
              <a:stretch>
                <a:fillRect/>
              </a:stretch>
            </p:blipFill>
            <p:spPr>
              <a:xfrm>
                <a:off x="1114200" y="345960"/>
                <a:ext cx="7720560" cy="3949560"/>
              </a:xfrm>
              <a:prstGeom prst="rect">
                <a:avLst/>
              </a:prstGeom>
            </p:spPr>
          </p:pic>
        </mc:Fallback>
      </mc:AlternateContent>
    </p:spTree>
    <p:extLst>
      <p:ext uri="{BB962C8B-B14F-4D97-AF65-F5344CB8AC3E}">
        <p14:creationId xmlns:p14="http://schemas.microsoft.com/office/powerpoint/2010/main" val="2425927352"/>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p:spTree>
    <p:extLst>
      <p:ext uri="{BB962C8B-B14F-4D97-AF65-F5344CB8AC3E}">
        <p14:creationId xmlns:p14="http://schemas.microsoft.com/office/powerpoint/2010/main" val="3302442963"/>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p:spTree>
    <p:extLst>
      <p:ext uri="{BB962C8B-B14F-4D97-AF65-F5344CB8AC3E}">
        <p14:creationId xmlns:p14="http://schemas.microsoft.com/office/powerpoint/2010/main" val="3664753248"/>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p:spTree>
    <p:extLst>
      <p:ext uri="{BB962C8B-B14F-4D97-AF65-F5344CB8AC3E}">
        <p14:creationId xmlns:p14="http://schemas.microsoft.com/office/powerpoint/2010/main" val="2343888370"/>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p:spTree>
    <p:extLst>
      <p:ext uri="{BB962C8B-B14F-4D97-AF65-F5344CB8AC3E}">
        <p14:creationId xmlns:p14="http://schemas.microsoft.com/office/powerpoint/2010/main" val="110353803"/>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p:spTree>
    <p:extLst>
      <p:ext uri="{BB962C8B-B14F-4D97-AF65-F5344CB8AC3E}">
        <p14:creationId xmlns:p14="http://schemas.microsoft.com/office/powerpoint/2010/main" val="4038918390"/>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297936" y="1221527"/>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p:spTree>
    <p:extLst>
      <p:ext uri="{BB962C8B-B14F-4D97-AF65-F5344CB8AC3E}">
        <p14:creationId xmlns:p14="http://schemas.microsoft.com/office/powerpoint/2010/main" val="835954562"/>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xmlns="">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xmlns="">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xmlns="">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p:spTree>
    <p:extLst>
      <p:ext uri="{BB962C8B-B14F-4D97-AF65-F5344CB8AC3E}">
        <p14:creationId xmlns:p14="http://schemas.microsoft.com/office/powerpoint/2010/main" val="3240609061"/>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xmlns="">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xmlns="">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xmlns="">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xmlns="">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xmlns="">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xmlns="">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xmlns="">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xmlns="">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xmlns="">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xmlns="">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xmlns="">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xmlns="">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xmlns="">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xmlns="">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xmlns="">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xmlns="">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xmlns="">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xmlns:p14="http://schemas.microsoft.com/office/powerpoint/2010/main">
          <mc:Choice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xmlns="">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xmlns="">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xmlns:p14="http://schemas.microsoft.com/office/powerpoint/2010/main">
          <mc:Choice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xmlns="">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xmlns="">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xmlns="">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xmlns="">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xmlns="">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xmlns="">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xmlns="">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xmlns="">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xmlns="">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xmlns:p14="http://schemas.microsoft.com/office/powerpoint/2010/main">
          <mc:Choice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xmlns="">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xmlns="">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xmlns="">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xmlns="">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xmlns="">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xmlns="">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xmlns="">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xmlns="">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xmlns:p14="http://schemas.microsoft.com/office/powerpoint/2010/main">
          <mc:Choice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xmlns="">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xmlns="">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xmlns="">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xmlns="">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xmlns="">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xmlns="">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xmlns="">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xmlns="">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xmlns="">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xmlns="">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xmlns="">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xmlns="">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xmlns="">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xmlns:p14="http://schemas.microsoft.com/office/powerpoint/2010/main">
          <mc:Choice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xmlns="">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xmlns="">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xmlns="">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xmlns="">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xmlns="">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xmlns="">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xmlns="">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xmlns="">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p:spTree>
    <p:extLst>
      <p:ext uri="{BB962C8B-B14F-4D97-AF65-F5344CB8AC3E}">
        <p14:creationId xmlns:p14="http://schemas.microsoft.com/office/powerpoint/2010/main" val="30657556"/>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xmlns="">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xmlns="">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xmlns="">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xmlns="">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xmlns="">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xmlns="">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xmlns="">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xmlns="">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xmlns="">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xmlns="">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xmlns="">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xmlns="">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xmlns:p14="http://schemas.microsoft.com/office/powerpoint/2010/main">
          <mc:Choice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xmlns="">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xmlns="">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xmlns="">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xmlns="">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xmlns="">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3200400"/>
          </a:xfrm>
        </p:spPr>
        <p:txBody>
          <a:bodyPr/>
          <a:lstStyle/>
          <a:p>
            <a:r>
              <a:rPr lang="en-US" dirty="0"/>
              <a:t>They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823658" y="2645478"/>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p:spTree>
    <p:extLst>
      <p:ext uri="{BB962C8B-B14F-4D97-AF65-F5344CB8AC3E}">
        <p14:creationId xmlns:p14="http://schemas.microsoft.com/office/powerpoint/2010/main" val="4272512511"/>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mc:AlternateContent xmlns:mc="http://schemas.openxmlformats.org/markup-compatibility/2006" xmlns:p14="http://schemas.microsoft.com/office/powerpoint/2010/main">
        <mc:Choice Requires="p14">
          <p:contentPart p14:bwMode="auto" r:id="rId7">
            <p14:nvContentPartPr>
              <p14:cNvPr id="4" name="Ink 3">
                <a:extLst>
                  <a:ext uri="{FF2B5EF4-FFF2-40B4-BE49-F238E27FC236}">
                    <a16:creationId xmlns:a16="http://schemas.microsoft.com/office/drawing/2014/main" id="{E2AE34FF-2749-3ACF-6D01-DF9CF257B63C}"/>
                  </a:ext>
                </a:extLst>
              </p14:cNvPr>
              <p14:cNvContentPartPr/>
              <p14:nvPr/>
            </p14:nvContentPartPr>
            <p14:xfrm>
              <a:off x="417600" y="594360"/>
              <a:ext cx="3148920" cy="925560"/>
            </p14:xfrm>
          </p:contentPart>
        </mc:Choice>
        <mc:Fallback xmlns="">
          <p:pic>
            <p:nvPicPr>
              <p:cNvPr id="4" name="Ink 3">
                <a:extLst>
                  <a:ext uri="{FF2B5EF4-FFF2-40B4-BE49-F238E27FC236}">
                    <a16:creationId xmlns:a16="http://schemas.microsoft.com/office/drawing/2014/main" id="{E2AE34FF-2749-3ACF-6D01-DF9CF257B63C}"/>
                  </a:ext>
                </a:extLst>
              </p:cNvPr>
              <p:cNvPicPr/>
              <p:nvPr/>
            </p:nvPicPr>
            <p:blipFill>
              <a:blip r:embed="rId8"/>
              <a:stretch>
                <a:fillRect/>
              </a:stretch>
            </p:blipFill>
            <p:spPr>
              <a:xfrm>
                <a:off x="408240" y="585000"/>
                <a:ext cx="3167640" cy="9442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6" name="Ink 5">
                <a:extLst>
                  <a:ext uri="{FF2B5EF4-FFF2-40B4-BE49-F238E27FC236}">
                    <a16:creationId xmlns:a16="http://schemas.microsoft.com/office/drawing/2014/main" id="{8A4D62C0-5E1E-4620-700A-6017D5FAD12D}"/>
                  </a:ext>
                </a:extLst>
              </p14:cNvPr>
              <p14:cNvContentPartPr/>
              <p14:nvPr/>
            </p14:nvContentPartPr>
            <p14:xfrm>
              <a:off x="2009880" y="574200"/>
              <a:ext cx="6933600" cy="3921480"/>
            </p14:xfrm>
          </p:contentPart>
        </mc:Choice>
        <mc:Fallback xmlns="">
          <p:pic>
            <p:nvPicPr>
              <p:cNvPr id="6" name="Ink 5">
                <a:extLst>
                  <a:ext uri="{FF2B5EF4-FFF2-40B4-BE49-F238E27FC236}">
                    <a16:creationId xmlns:a16="http://schemas.microsoft.com/office/drawing/2014/main" id="{8A4D62C0-5E1E-4620-700A-6017D5FAD12D}"/>
                  </a:ext>
                </a:extLst>
              </p:cNvPr>
              <p:cNvPicPr/>
              <p:nvPr/>
            </p:nvPicPr>
            <p:blipFill>
              <a:blip r:embed="rId10"/>
              <a:stretch>
                <a:fillRect/>
              </a:stretch>
            </p:blipFill>
            <p:spPr>
              <a:xfrm>
                <a:off x="2000520" y="564840"/>
                <a:ext cx="6952320" cy="3940200"/>
              </a:xfrm>
              <a:prstGeom prst="rect">
                <a:avLst/>
              </a:prstGeom>
            </p:spPr>
          </p:pic>
        </mc:Fallback>
      </mc:AlternateContent>
    </p:spTree>
    <p:extLst>
      <p:ext uri="{BB962C8B-B14F-4D97-AF65-F5344CB8AC3E}">
        <p14:creationId xmlns:p14="http://schemas.microsoft.com/office/powerpoint/2010/main" val="1833670930"/>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5EA07FF1-3059-ECF0-7D4C-FEDF283E8F99}"/>
                  </a:ext>
                </a:extLst>
              </p14:cNvPr>
              <p14:cNvContentPartPr/>
              <p14:nvPr/>
            </p14:nvContentPartPr>
            <p14:xfrm>
              <a:off x="3412800" y="2760480"/>
              <a:ext cx="1908000" cy="250560"/>
            </p14:xfrm>
          </p:contentPart>
        </mc:Choice>
        <mc:Fallback>
          <p:pic>
            <p:nvPicPr>
              <p:cNvPr id="4" name="Ink 3">
                <a:extLst>
                  <a:ext uri="{FF2B5EF4-FFF2-40B4-BE49-F238E27FC236}">
                    <a16:creationId xmlns:a16="http://schemas.microsoft.com/office/drawing/2014/main" id="{5EA07FF1-3059-ECF0-7D4C-FEDF283E8F99}"/>
                  </a:ext>
                </a:extLst>
              </p:cNvPr>
              <p:cNvPicPr/>
              <p:nvPr/>
            </p:nvPicPr>
            <p:blipFill>
              <a:blip r:embed="rId6"/>
              <a:stretch>
                <a:fillRect/>
              </a:stretch>
            </p:blipFill>
            <p:spPr>
              <a:xfrm>
                <a:off x="3403440" y="2751120"/>
                <a:ext cx="1926720" cy="269280"/>
              </a:xfrm>
              <a:prstGeom prst="rect">
                <a:avLst/>
              </a:prstGeom>
            </p:spPr>
          </p:pic>
        </mc:Fallback>
      </mc:AlternateContent>
    </p:spTree>
    <p:extLst>
      <p:ext uri="{BB962C8B-B14F-4D97-AF65-F5344CB8AC3E}">
        <p14:creationId xmlns:p14="http://schemas.microsoft.com/office/powerpoint/2010/main" val="1367373909"/>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C9E416DE-A339-EDF6-7EA1-21E8032C0991}"/>
                  </a:ext>
                </a:extLst>
              </p14:cNvPr>
              <p14:cNvContentPartPr/>
              <p14:nvPr/>
            </p14:nvContentPartPr>
            <p14:xfrm>
              <a:off x="4662360" y="1046520"/>
              <a:ext cx="2984400" cy="3537720"/>
            </p14:xfrm>
          </p:contentPart>
        </mc:Choice>
        <mc:Fallback>
          <p:pic>
            <p:nvPicPr>
              <p:cNvPr id="4" name="Ink 3">
                <a:extLst>
                  <a:ext uri="{FF2B5EF4-FFF2-40B4-BE49-F238E27FC236}">
                    <a16:creationId xmlns:a16="http://schemas.microsoft.com/office/drawing/2014/main" id="{C9E416DE-A339-EDF6-7EA1-21E8032C0991}"/>
                  </a:ext>
                </a:extLst>
              </p:cNvPr>
              <p:cNvPicPr/>
              <p:nvPr/>
            </p:nvPicPr>
            <p:blipFill>
              <a:blip r:embed="rId6"/>
              <a:stretch>
                <a:fillRect/>
              </a:stretch>
            </p:blipFill>
            <p:spPr>
              <a:xfrm>
                <a:off x="4653000" y="1037160"/>
                <a:ext cx="3003120" cy="3556440"/>
              </a:xfrm>
              <a:prstGeom prst="rect">
                <a:avLst/>
              </a:prstGeom>
            </p:spPr>
          </p:pic>
        </mc:Fallback>
      </mc:AlternateContent>
    </p:spTree>
    <p:extLst>
      <p:ext uri="{BB962C8B-B14F-4D97-AF65-F5344CB8AC3E}">
        <p14:creationId xmlns:p14="http://schemas.microsoft.com/office/powerpoint/2010/main" val="3091052118"/>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1EF96AE6-14CC-A79D-A0D4-31EF8A249C18}"/>
                  </a:ext>
                </a:extLst>
              </p14:cNvPr>
              <p14:cNvContentPartPr/>
              <p14:nvPr/>
            </p14:nvContentPartPr>
            <p14:xfrm>
              <a:off x="3055320" y="1074960"/>
              <a:ext cx="5933520" cy="3395520"/>
            </p14:xfrm>
          </p:contentPart>
        </mc:Choice>
        <mc:Fallback>
          <p:pic>
            <p:nvPicPr>
              <p:cNvPr id="4" name="Ink 3">
                <a:extLst>
                  <a:ext uri="{FF2B5EF4-FFF2-40B4-BE49-F238E27FC236}">
                    <a16:creationId xmlns:a16="http://schemas.microsoft.com/office/drawing/2014/main" id="{1EF96AE6-14CC-A79D-A0D4-31EF8A249C18}"/>
                  </a:ext>
                </a:extLst>
              </p:cNvPr>
              <p:cNvPicPr/>
              <p:nvPr/>
            </p:nvPicPr>
            <p:blipFill>
              <a:blip r:embed="rId7"/>
              <a:stretch>
                <a:fillRect/>
              </a:stretch>
            </p:blipFill>
            <p:spPr>
              <a:xfrm>
                <a:off x="3045960" y="1065600"/>
                <a:ext cx="5952240" cy="3414240"/>
              </a:xfrm>
              <a:prstGeom prst="rect">
                <a:avLst/>
              </a:prstGeom>
            </p:spPr>
          </p:pic>
        </mc:Fallback>
      </mc:AlternateContent>
    </p:spTree>
    <p:extLst>
      <p:ext uri="{BB962C8B-B14F-4D97-AF65-F5344CB8AC3E}">
        <p14:creationId xmlns:p14="http://schemas.microsoft.com/office/powerpoint/2010/main" val="3429128477"/>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1A1B9AFD-17EB-98CD-2690-21DB6F73C4B8}"/>
                  </a:ext>
                </a:extLst>
              </p14:cNvPr>
              <p14:cNvContentPartPr/>
              <p14:nvPr/>
            </p14:nvContentPartPr>
            <p14:xfrm>
              <a:off x="1253880" y="156960"/>
              <a:ext cx="7553160" cy="4365720"/>
            </p14:xfrm>
          </p:contentPart>
        </mc:Choice>
        <mc:Fallback>
          <p:pic>
            <p:nvPicPr>
              <p:cNvPr id="3" name="Ink 2">
                <a:extLst>
                  <a:ext uri="{FF2B5EF4-FFF2-40B4-BE49-F238E27FC236}">
                    <a16:creationId xmlns:a16="http://schemas.microsoft.com/office/drawing/2014/main" id="{1A1B9AFD-17EB-98CD-2690-21DB6F73C4B8}"/>
                  </a:ext>
                </a:extLst>
              </p:cNvPr>
              <p:cNvPicPr/>
              <p:nvPr/>
            </p:nvPicPr>
            <p:blipFill>
              <a:blip r:embed="rId4"/>
              <a:stretch>
                <a:fillRect/>
              </a:stretch>
            </p:blipFill>
            <p:spPr>
              <a:xfrm>
                <a:off x="1244520" y="147600"/>
                <a:ext cx="7571880" cy="4384440"/>
              </a:xfrm>
              <a:prstGeom prst="rect">
                <a:avLst/>
              </a:prstGeom>
            </p:spPr>
          </p:pic>
        </mc:Fallback>
      </mc:AlternateContent>
    </p:spTree>
    <p:extLst>
      <p:ext uri="{BB962C8B-B14F-4D97-AF65-F5344CB8AC3E}">
        <p14:creationId xmlns:p14="http://schemas.microsoft.com/office/powerpoint/2010/main" val="1473195285"/>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48F3AE8E-D810-006F-7FEA-D2C78E8A1945}"/>
                  </a:ext>
                </a:extLst>
              </p14:cNvPr>
              <p14:cNvContentPartPr/>
              <p14:nvPr/>
            </p14:nvContentPartPr>
            <p14:xfrm>
              <a:off x="6337080" y="1192680"/>
              <a:ext cx="1369440" cy="2750040"/>
            </p14:xfrm>
          </p:contentPart>
        </mc:Choice>
        <mc:Fallback>
          <p:pic>
            <p:nvPicPr>
              <p:cNvPr id="5" name="Ink 4">
                <a:extLst>
                  <a:ext uri="{FF2B5EF4-FFF2-40B4-BE49-F238E27FC236}">
                    <a16:creationId xmlns:a16="http://schemas.microsoft.com/office/drawing/2014/main" id="{48F3AE8E-D810-006F-7FEA-D2C78E8A1945}"/>
                  </a:ext>
                </a:extLst>
              </p:cNvPr>
              <p:cNvPicPr/>
              <p:nvPr/>
            </p:nvPicPr>
            <p:blipFill>
              <a:blip r:embed="rId5"/>
              <a:stretch>
                <a:fillRect/>
              </a:stretch>
            </p:blipFill>
            <p:spPr>
              <a:xfrm>
                <a:off x="6327720" y="1183320"/>
                <a:ext cx="1388160" cy="2768760"/>
              </a:xfrm>
              <a:prstGeom prst="rect">
                <a:avLst/>
              </a:prstGeom>
            </p:spPr>
          </p:pic>
        </mc:Fallback>
      </mc:AlternateContent>
    </p:spTree>
    <p:extLst>
      <p:ext uri="{BB962C8B-B14F-4D97-AF65-F5344CB8AC3E}">
        <p14:creationId xmlns:p14="http://schemas.microsoft.com/office/powerpoint/2010/main" val="1315040994"/>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56DF75FC-953D-774B-BB19-68DD9FAC6C0C}"/>
                  </a:ext>
                </a:extLst>
              </p14:cNvPr>
              <p14:cNvContentPartPr/>
              <p14:nvPr/>
            </p14:nvContentPartPr>
            <p14:xfrm>
              <a:off x="340200" y="1018080"/>
              <a:ext cx="2189520" cy="1068840"/>
            </p14:xfrm>
          </p:contentPart>
        </mc:Choice>
        <mc:Fallback>
          <p:pic>
            <p:nvPicPr>
              <p:cNvPr id="5" name="Ink 4">
                <a:extLst>
                  <a:ext uri="{FF2B5EF4-FFF2-40B4-BE49-F238E27FC236}">
                    <a16:creationId xmlns:a16="http://schemas.microsoft.com/office/drawing/2014/main" id="{56DF75FC-953D-774B-BB19-68DD9FAC6C0C}"/>
                  </a:ext>
                </a:extLst>
              </p:cNvPr>
              <p:cNvPicPr/>
              <p:nvPr/>
            </p:nvPicPr>
            <p:blipFill>
              <a:blip r:embed="rId5"/>
              <a:stretch>
                <a:fillRect/>
              </a:stretch>
            </p:blipFill>
            <p:spPr>
              <a:xfrm>
                <a:off x="330840" y="1008720"/>
                <a:ext cx="2208240" cy="1087560"/>
              </a:xfrm>
              <a:prstGeom prst="rect">
                <a:avLst/>
              </a:prstGeom>
            </p:spPr>
          </p:pic>
        </mc:Fallback>
      </mc:AlternateContent>
    </p:spTree>
    <p:extLst>
      <p:ext uri="{BB962C8B-B14F-4D97-AF65-F5344CB8AC3E}">
        <p14:creationId xmlns:p14="http://schemas.microsoft.com/office/powerpoint/2010/main" val="4073158111"/>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54DCB66-8341-E8A1-5F67-2F07CC911F64}"/>
                  </a:ext>
                </a:extLst>
              </p14:cNvPr>
              <p14:cNvContentPartPr/>
              <p14:nvPr/>
            </p14:nvContentPartPr>
            <p14:xfrm>
              <a:off x="150120" y="682920"/>
              <a:ext cx="3748320" cy="3020040"/>
            </p14:xfrm>
          </p:contentPart>
        </mc:Choice>
        <mc:Fallback>
          <p:pic>
            <p:nvPicPr>
              <p:cNvPr id="4" name="Ink 3">
                <a:extLst>
                  <a:ext uri="{FF2B5EF4-FFF2-40B4-BE49-F238E27FC236}">
                    <a16:creationId xmlns:a16="http://schemas.microsoft.com/office/drawing/2014/main" id="{754DCB66-8341-E8A1-5F67-2F07CC911F64}"/>
                  </a:ext>
                </a:extLst>
              </p:cNvPr>
              <p:cNvPicPr/>
              <p:nvPr/>
            </p:nvPicPr>
            <p:blipFill>
              <a:blip r:embed="rId4"/>
              <a:stretch>
                <a:fillRect/>
              </a:stretch>
            </p:blipFill>
            <p:spPr>
              <a:xfrm>
                <a:off x="140760" y="673560"/>
                <a:ext cx="3767040" cy="3038760"/>
              </a:xfrm>
              <a:prstGeom prst="rect">
                <a:avLst/>
              </a:prstGeom>
            </p:spPr>
          </p:pic>
        </mc:Fallback>
      </mc:AlternateContent>
    </p:spTree>
    <p:extLst>
      <p:ext uri="{BB962C8B-B14F-4D97-AF65-F5344CB8AC3E}">
        <p14:creationId xmlns:p14="http://schemas.microsoft.com/office/powerpoint/2010/main" val="2829562172"/>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F805919B-BE28-BBC4-38D2-861FBE1FBA88}"/>
                  </a:ext>
                </a:extLst>
              </p14:cNvPr>
              <p14:cNvContentPartPr/>
              <p14:nvPr/>
            </p14:nvContentPartPr>
            <p14:xfrm>
              <a:off x="277560" y="523440"/>
              <a:ext cx="8470080" cy="3332880"/>
            </p14:xfrm>
          </p:contentPart>
        </mc:Choice>
        <mc:Fallback>
          <p:pic>
            <p:nvPicPr>
              <p:cNvPr id="4" name="Ink 3">
                <a:extLst>
                  <a:ext uri="{FF2B5EF4-FFF2-40B4-BE49-F238E27FC236}">
                    <a16:creationId xmlns:a16="http://schemas.microsoft.com/office/drawing/2014/main" id="{F805919B-BE28-BBC4-38D2-861FBE1FBA88}"/>
                  </a:ext>
                </a:extLst>
              </p:cNvPr>
              <p:cNvPicPr/>
              <p:nvPr/>
            </p:nvPicPr>
            <p:blipFill>
              <a:blip r:embed="rId4"/>
              <a:stretch>
                <a:fillRect/>
              </a:stretch>
            </p:blipFill>
            <p:spPr>
              <a:xfrm>
                <a:off x="268200" y="514080"/>
                <a:ext cx="8488800" cy="3351600"/>
              </a:xfrm>
              <a:prstGeom prst="rect">
                <a:avLst/>
              </a:prstGeom>
            </p:spPr>
          </p:pic>
        </mc:Fallback>
      </mc:AlternateContent>
    </p:spTree>
    <p:extLst>
      <p:ext uri="{BB962C8B-B14F-4D97-AF65-F5344CB8AC3E}">
        <p14:creationId xmlns:p14="http://schemas.microsoft.com/office/powerpoint/2010/main" val="1035050059"/>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7497E21-9F57-742E-23EC-7F831A7643BB}"/>
                  </a:ext>
                </a:extLst>
              </p14:cNvPr>
              <p14:cNvContentPartPr/>
              <p14:nvPr/>
            </p14:nvContentPartPr>
            <p14:xfrm>
              <a:off x="725760" y="1613880"/>
              <a:ext cx="8134920" cy="1634760"/>
            </p14:xfrm>
          </p:contentPart>
        </mc:Choice>
        <mc:Fallback>
          <p:pic>
            <p:nvPicPr>
              <p:cNvPr id="4" name="Ink 3">
                <a:extLst>
                  <a:ext uri="{FF2B5EF4-FFF2-40B4-BE49-F238E27FC236}">
                    <a16:creationId xmlns:a16="http://schemas.microsoft.com/office/drawing/2014/main" id="{B7497E21-9F57-742E-23EC-7F831A7643BB}"/>
                  </a:ext>
                </a:extLst>
              </p:cNvPr>
              <p:cNvPicPr/>
              <p:nvPr/>
            </p:nvPicPr>
            <p:blipFill>
              <a:blip r:embed="rId3"/>
              <a:stretch>
                <a:fillRect/>
              </a:stretch>
            </p:blipFill>
            <p:spPr>
              <a:xfrm>
                <a:off x="716400" y="1604520"/>
                <a:ext cx="8153640" cy="1653480"/>
              </a:xfrm>
              <a:prstGeom prst="rect">
                <a:avLst/>
              </a:prstGeom>
            </p:spPr>
          </p:pic>
        </mc:Fallback>
      </mc:AlternateContent>
    </p:spTree>
    <p:extLst>
      <p:ext uri="{BB962C8B-B14F-4D97-AF65-F5344CB8AC3E}">
        <p14:creationId xmlns:p14="http://schemas.microsoft.com/office/powerpoint/2010/main" val="3707714688"/>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A77147C4-D034-04A9-7825-B7E829C408B0}"/>
                  </a:ext>
                </a:extLst>
              </p14:cNvPr>
              <p14:cNvContentPartPr/>
              <p14:nvPr/>
            </p14:nvContentPartPr>
            <p14:xfrm>
              <a:off x="658440" y="756360"/>
              <a:ext cx="7809840" cy="4387680"/>
            </p14:xfrm>
          </p:contentPart>
        </mc:Choice>
        <mc:Fallback>
          <p:pic>
            <p:nvPicPr>
              <p:cNvPr id="4" name="Ink 3">
                <a:extLst>
                  <a:ext uri="{FF2B5EF4-FFF2-40B4-BE49-F238E27FC236}">
                    <a16:creationId xmlns:a16="http://schemas.microsoft.com/office/drawing/2014/main" id="{A77147C4-D034-04A9-7825-B7E829C408B0}"/>
                  </a:ext>
                </a:extLst>
              </p:cNvPr>
              <p:cNvPicPr/>
              <p:nvPr/>
            </p:nvPicPr>
            <p:blipFill>
              <a:blip r:embed="rId5"/>
              <a:stretch>
                <a:fillRect/>
              </a:stretch>
            </p:blipFill>
            <p:spPr>
              <a:xfrm>
                <a:off x="649080" y="747000"/>
                <a:ext cx="7828560" cy="4406400"/>
              </a:xfrm>
              <a:prstGeom prst="rect">
                <a:avLst/>
              </a:prstGeom>
            </p:spPr>
          </p:pic>
        </mc:Fallback>
      </mc:AlternateContent>
    </p:spTree>
    <p:extLst>
      <p:ext uri="{BB962C8B-B14F-4D97-AF65-F5344CB8AC3E}">
        <p14:creationId xmlns:p14="http://schemas.microsoft.com/office/powerpoint/2010/main" val="1334183108"/>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F18A4A0B-DF65-2B46-23A5-FE0DC5DA458E}"/>
                  </a:ext>
                </a:extLst>
              </p14:cNvPr>
              <p14:cNvContentPartPr/>
              <p14:nvPr/>
            </p14:nvContentPartPr>
            <p14:xfrm>
              <a:off x="692640" y="405000"/>
              <a:ext cx="7829640" cy="4221360"/>
            </p14:xfrm>
          </p:contentPart>
        </mc:Choice>
        <mc:Fallback xmlns="">
          <p:pic>
            <p:nvPicPr>
              <p:cNvPr id="4" name="Ink 3">
                <a:extLst>
                  <a:ext uri="{FF2B5EF4-FFF2-40B4-BE49-F238E27FC236}">
                    <a16:creationId xmlns:a16="http://schemas.microsoft.com/office/drawing/2014/main" id="{F18A4A0B-DF65-2B46-23A5-FE0DC5DA458E}"/>
                  </a:ext>
                </a:extLst>
              </p:cNvPr>
              <p:cNvPicPr/>
              <p:nvPr/>
            </p:nvPicPr>
            <p:blipFill>
              <a:blip r:embed="rId3"/>
              <a:stretch>
                <a:fillRect/>
              </a:stretch>
            </p:blipFill>
            <p:spPr>
              <a:xfrm>
                <a:off x="683280" y="395640"/>
                <a:ext cx="7848360" cy="4240080"/>
              </a:xfrm>
              <a:prstGeom prst="rect">
                <a:avLst/>
              </a:prstGeom>
            </p:spPr>
          </p:pic>
        </mc:Fallback>
      </mc:AlternateContent>
    </p:spTree>
    <p:extLst>
      <p:ext uri="{BB962C8B-B14F-4D97-AF65-F5344CB8AC3E}">
        <p14:creationId xmlns:p14="http://schemas.microsoft.com/office/powerpoint/2010/main" val="2922280354"/>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16B033A-5BB3-4E3D-31C3-8573654B6E59}"/>
                  </a:ext>
                </a:extLst>
              </p14:cNvPr>
              <p14:cNvContentPartPr/>
              <p14:nvPr/>
            </p14:nvContentPartPr>
            <p14:xfrm>
              <a:off x="1696680" y="1238760"/>
              <a:ext cx="5279040" cy="2180880"/>
            </p14:xfrm>
          </p:contentPart>
        </mc:Choice>
        <mc:Fallback>
          <p:pic>
            <p:nvPicPr>
              <p:cNvPr id="4" name="Ink 3">
                <a:extLst>
                  <a:ext uri="{FF2B5EF4-FFF2-40B4-BE49-F238E27FC236}">
                    <a16:creationId xmlns:a16="http://schemas.microsoft.com/office/drawing/2014/main" id="{816B033A-5BB3-4E3D-31C3-8573654B6E59}"/>
                  </a:ext>
                </a:extLst>
              </p:cNvPr>
              <p:cNvPicPr/>
              <p:nvPr/>
            </p:nvPicPr>
            <p:blipFill>
              <a:blip r:embed="rId3"/>
              <a:stretch>
                <a:fillRect/>
              </a:stretch>
            </p:blipFill>
            <p:spPr>
              <a:xfrm>
                <a:off x="1687320" y="1229400"/>
                <a:ext cx="5297760" cy="2199600"/>
              </a:xfrm>
              <a:prstGeom prst="rect">
                <a:avLst/>
              </a:prstGeom>
            </p:spPr>
          </p:pic>
        </mc:Fallback>
      </mc:AlternateContent>
    </p:spTree>
    <p:extLst>
      <p:ext uri="{BB962C8B-B14F-4D97-AF65-F5344CB8AC3E}">
        <p14:creationId xmlns:p14="http://schemas.microsoft.com/office/powerpoint/2010/main" val="1347032845"/>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p:spTree>
    <p:extLst>
      <p:ext uri="{BB962C8B-B14F-4D97-AF65-F5344CB8AC3E}">
        <p14:creationId xmlns:p14="http://schemas.microsoft.com/office/powerpoint/2010/main" val="2033431723"/>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29EA33A1-B706-BC68-34D4-16623B39CA26}"/>
                  </a:ext>
                </a:extLst>
              </p14:cNvPr>
              <p14:cNvContentPartPr/>
              <p14:nvPr/>
            </p14:nvContentPartPr>
            <p14:xfrm>
              <a:off x="2159280" y="1302840"/>
              <a:ext cx="5470920" cy="2272680"/>
            </p14:xfrm>
          </p:contentPart>
        </mc:Choice>
        <mc:Fallback>
          <p:pic>
            <p:nvPicPr>
              <p:cNvPr id="4" name="Ink 3">
                <a:extLst>
                  <a:ext uri="{FF2B5EF4-FFF2-40B4-BE49-F238E27FC236}">
                    <a16:creationId xmlns:a16="http://schemas.microsoft.com/office/drawing/2014/main" id="{29EA33A1-B706-BC68-34D4-16623B39CA26}"/>
                  </a:ext>
                </a:extLst>
              </p:cNvPr>
              <p:cNvPicPr/>
              <p:nvPr/>
            </p:nvPicPr>
            <p:blipFill>
              <a:blip r:embed="rId4"/>
              <a:stretch>
                <a:fillRect/>
              </a:stretch>
            </p:blipFill>
            <p:spPr>
              <a:xfrm>
                <a:off x="2149920" y="1293480"/>
                <a:ext cx="5489640" cy="2291400"/>
              </a:xfrm>
              <a:prstGeom prst="rect">
                <a:avLst/>
              </a:prstGeom>
            </p:spPr>
          </p:pic>
        </mc:Fallback>
      </mc:AlternateContent>
    </p:spTree>
    <p:extLst>
      <p:ext uri="{BB962C8B-B14F-4D97-AF65-F5344CB8AC3E}">
        <p14:creationId xmlns:p14="http://schemas.microsoft.com/office/powerpoint/2010/main" val="2074760393"/>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p:spTree>
    <p:extLst>
      <p:ext uri="{BB962C8B-B14F-4D97-AF65-F5344CB8AC3E}">
        <p14:creationId xmlns:p14="http://schemas.microsoft.com/office/powerpoint/2010/main" val="2871754504"/>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86578EF4-C6E2-3E6A-D374-84BEF6D56A7A}"/>
                  </a:ext>
                </a:extLst>
              </p14:cNvPr>
              <p14:cNvContentPartPr/>
              <p14:nvPr/>
            </p14:nvContentPartPr>
            <p14:xfrm>
              <a:off x="1062720" y="1434600"/>
              <a:ext cx="6947640" cy="3108240"/>
            </p14:xfrm>
          </p:contentPart>
        </mc:Choice>
        <mc:Fallback>
          <p:pic>
            <p:nvPicPr>
              <p:cNvPr id="3" name="Ink 2">
                <a:extLst>
                  <a:ext uri="{FF2B5EF4-FFF2-40B4-BE49-F238E27FC236}">
                    <a16:creationId xmlns:a16="http://schemas.microsoft.com/office/drawing/2014/main" id="{86578EF4-C6E2-3E6A-D374-84BEF6D56A7A}"/>
                  </a:ext>
                </a:extLst>
              </p:cNvPr>
              <p:cNvPicPr/>
              <p:nvPr/>
            </p:nvPicPr>
            <p:blipFill>
              <a:blip r:embed="rId4"/>
              <a:stretch>
                <a:fillRect/>
              </a:stretch>
            </p:blipFill>
            <p:spPr>
              <a:xfrm>
                <a:off x="1053360" y="1425240"/>
                <a:ext cx="6966360" cy="3126960"/>
              </a:xfrm>
              <a:prstGeom prst="rect">
                <a:avLst/>
              </a:prstGeom>
            </p:spPr>
          </p:pic>
        </mc:Fallback>
      </mc:AlternateContent>
    </p:spTree>
    <p:extLst>
      <p:ext uri="{BB962C8B-B14F-4D97-AF65-F5344CB8AC3E}">
        <p14:creationId xmlns:p14="http://schemas.microsoft.com/office/powerpoint/2010/main" val="2852821484"/>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D028167F-AEB5-A35D-61D8-3BFA726266DE}"/>
                  </a:ext>
                </a:extLst>
              </p14:cNvPr>
              <p14:cNvContentPartPr/>
              <p14:nvPr/>
            </p14:nvContentPartPr>
            <p14:xfrm>
              <a:off x="611280" y="1411920"/>
              <a:ext cx="2480400" cy="2131200"/>
            </p14:xfrm>
          </p:contentPart>
        </mc:Choice>
        <mc:Fallback>
          <p:pic>
            <p:nvPicPr>
              <p:cNvPr id="4" name="Ink 3">
                <a:extLst>
                  <a:ext uri="{FF2B5EF4-FFF2-40B4-BE49-F238E27FC236}">
                    <a16:creationId xmlns:a16="http://schemas.microsoft.com/office/drawing/2014/main" id="{D028167F-AEB5-A35D-61D8-3BFA726266DE}"/>
                  </a:ext>
                </a:extLst>
              </p:cNvPr>
              <p:cNvPicPr/>
              <p:nvPr/>
            </p:nvPicPr>
            <p:blipFill>
              <a:blip r:embed="rId3"/>
              <a:stretch>
                <a:fillRect/>
              </a:stretch>
            </p:blipFill>
            <p:spPr>
              <a:xfrm>
                <a:off x="601920" y="1402560"/>
                <a:ext cx="2499120" cy="2149920"/>
              </a:xfrm>
              <a:prstGeom prst="rect">
                <a:avLst/>
              </a:prstGeom>
            </p:spPr>
          </p:pic>
        </mc:Fallback>
      </mc:AlternateContent>
    </p:spTree>
    <p:extLst>
      <p:ext uri="{BB962C8B-B14F-4D97-AF65-F5344CB8AC3E}">
        <p14:creationId xmlns:p14="http://schemas.microsoft.com/office/powerpoint/2010/main" val="755309856"/>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30AEA09-D3AB-1B84-C176-66F82CEC104C}"/>
                  </a:ext>
                </a:extLst>
              </p14:cNvPr>
              <p14:cNvContentPartPr/>
              <p14:nvPr/>
            </p14:nvContentPartPr>
            <p14:xfrm>
              <a:off x="332640" y="1206000"/>
              <a:ext cx="5468400" cy="3885120"/>
            </p14:xfrm>
          </p:contentPart>
        </mc:Choice>
        <mc:Fallback>
          <p:pic>
            <p:nvPicPr>
              <p:cNvPr id="4" name="Ink 3">
                <a:extLst>
                  <a:ext uri="{FF2B5EF4-FFF2-40B4-BE49-F238E27FC236}">
                    <a16:creationId xmlns:a16="http://schemas.microsoft.com/office/drawing/2014/main" id="{E30AEA09-D3AB-1B84-C176-66F82CEC104C}"/>
                  </a:ext>
                </a:extLst>
              </p:cNvPr>
              <p:cNvPicPr/>
              <p:nvPr/>
            </p:nvPicPr>
            <p:blipFill>
              <a:blip r:embed="rId4"/>
              <a:stretch>
                <a:fillRect/>
              </a:stretch>
            </p:blipFill>
            <p:spPr>
              <a:xfrm>
                <a:off x="323280" y="1196640"/>
                <a:ext cx="5487120" cy="3903840"/>
              </a:xfrm>
              <a:prstGeom prst="rect">
                <a:avLst/>
              </a:prstGeom>
            </p:spPr>
          </p:pic>
        </mc:Fallback>
      </mc:AlternateContent>
    </p:spTree>
    <p:extLst>
      <p:ext uri="{BB962C8B-B14F-4D97-AF65-F5344CB8AC3E}">
        <p14:creationId xmlns:p14="http://schemas.microsoft.com/office/powerpoint/2010/main" val="383622476"/>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A8FE6946-061F-EB35-48A8-307C53EA68A9}"/>
                  </a:ext>
                </a:extLst>
              </p14:cNvPr>
              <p14:cNvContentPartPr/>
              <p14:nvPr/>
            </p14:nvContentPartPr>
            <p14:xfrm>
              <a:off x="2931120" y="993240"/>
              <a:ext cx="4518360" cy="4090320"/>
            </p14:xfrm>
          </p:contentPart>
        </mc:Choice>
        <mc:Fallback>
          <p:pic>
            <p:nvPicPr>
              <p:cNvPr id="6" name="Ink 5">
                <a:extLst>
                  <a:ext uri="{FF2B5EF4-FFF2-40B4-BE49-F238E27FC236}">
                    <a16:creationId xmlns:a16="http://schemas.microsoft.com/office/drawing/2014/main" id="{A8FE6946-061F-EB35-48A8-307C53EA68A9}"/>
                  </a:ext>
                </a:extLst>
              </p:cNvPr>
              <p:cNvPicPr/>
              <p:nvPr/>
            </p:nvPicPr>
            <p:blipFill>
              <a:blip r:embed="rId3"/>
              <a:stretch>
                <a:fillRect/>
              </a:stretch>
            </p:blipFill>
            <p:spPr>
              <a:xfrm>
                <a:off x="2921760" y="983880"/>
                <a:ext cx="4537080" cy="4109040"/>
              </a:xfrm>
              <a:prstGeom prst="rect">
                <a:avLst/>
              </a:prstGeom>
            </p:spPr>
          </p:pic>
        </mc:Fallback>
      </mc:AlternateContent>
    </p:spTree>
    <p:extLst>
      <p:ext uri="{BB962C8B-B14F-4D97-AF65-F5344CB8AC3E}">
        <p14:creationId xmlns:p14="http://schemas.microsoft.com/office/powerpoint/2010/main" val="1511582162"/>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994086DD-A591-825D-F66D-A0ACFE778688}"/>
                  </a:ext>
                </a:extLst>
              </p14:cNvPr>
              <p14:cNvContentPartPr/>
              <p14:nvPr/>
            </p14:nvContentPartPr>
            <p14:xfrm>
              <a:off x="929160" y="410400"/>
              <a:ext cx="7564320" cy="4731840"/>
            </p14:xfrm>
          </p:contentPart>
        </mc:Choice>
        <mc:Fallback>
          <p:pic>
            <p:nvPicPr>
              <p:cNvPr id="3" name="Ink 2">
                <a:extLst>
                  <a:ext uri="{FF2B5EF4-FFF2-40B4-BE49-F238E27FC236}">
                    <a16:creationId xmlns:a16="http://schemas.microsoft.com/office/drawing/2014/main" id="{994086DD-A591-825D-F66D-A0ACFE778688}"/>
                  </a:ext>
                </a:extLst>
              </p:cNvPr>
              <p:cNvPicPr/>
              <p:nvPr/>
            </p:nvPicPr>
            <p:blipFill>
              <a:blip r:embed="rId3"/>
              <a:stretch>
                <a:fillRect/>
              </a:stretch>
            </p:blipFill>
            <p:spPr>
              <a:xfrm>
                <a:off x="919800" y="401040"/>
                <a:ext cx="7583040" cy="4750560"/>
              </a:xfrm>
              <a:prstGeom prst="rect">
                <a:avLst/>
              </a:prstGeom>
            </p:spPr>
          </p:pic>
        </mc:Fallback>
      </mc:AlternateContent>
    </p:spTree>
    <p:extLst>
      <p:ext uri="{BB962C8B-B14F-4D97-AF65-F5344CB8AC3E}">
        <p14:creationId xmlns:p14="http://schemas.microsoft.com/office/powerpoint/2010/main" val="208417209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36E08774-BF8F-E4DD-8E88-40AA50EBB3D7}"/>
                  </a:ext>
                </a:extLst>
              </p14:cNvPr>
              <p14:cNvContentPartPr/>
              <p14:nvPr/>
            </p14:nvContentPartPr>
            <p14:xfrm>
              <a:off x="2547720" y="43560"/>
              <a:ext cx="6302880" cy="4840200"/>
            </p14:xfrm>
          </p:contentPart>
        </mc:Choice>
        <mc:Fallback>
          <p:pic>
            <p:nvPicPr>
              <p:cNvPr id="4" name="Ink 3">
                <a:extLst>
                  <a:ext uri="{FF2B5EF4-FFF2-40B4-BE49-F238E27FC236}">
                    <a16:creationId xmlns:a16="http://schemas.microsoft.com/office/drawing/2014/main" id="{36E08774-BF8F-E4DD-8E88-40AA50EBB3D7}"/>
                  </a:ext>
                </a:extLst>
              </p:cNvPr>
              <p:cNvPicPr/>
              <p:nvPr/>
            </p:nvPicPr>
            <p:blipFill>
              <a:blip r:embed="rId5"/>
              <a:stretch>
                <a:fillRect/>
              </a:stretch>
            </p:blipFill>
            <p:spPr>
              <a:xfrm>
                <a:off x="2538360" y="34200"/>
                <a:ext cx="6321600" cy="4858920"/>
              </a:xfrm>
              <a:prstGeom prst="rect">
                <a:avLst/>
              </a:prstGeom>
            </p:spPr>
          </p:pic>
        </mc:Fallback>
      </mc:AlternateContent>
    </p:spTree>
    <p:extLst>
      <p:ext uri="{BB962C8B-B14F-4D97-AF65-F5344CB8AC3E}">
        <p14:creationId xmlns:p14="http://schemas.microsoft.com/office/powerpoint/2010/main" val="4160957609"/>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AF3C9392-4EA7-E3B4-B6B5-0870592A1D1C}"/>
                  </a:ext>
                </a:extLst>
              </p14:cNvPr>
              <p14:cNvContentPartPr/>
              <p14:nvPr/>
            </p14:nvContentPartPr>
            <p14:xfrm>
              <a:off x="432720" y="2880"/>
              <a:ext cx="8650800" cy="4723560"/>
            </p14:xfrm>
          </p:contentPart>
        </mc:Choice>
        <mc:Fallback xmlns="">
          <p:pic>
            <p:nvPicPr>
              <p:cNvPr id="5" name="Ink 4">
                <a:extLst>
                  <a:ext uri="{FF2B5EF4-FFF2-40B4-BE49-F238E27FC236}">
                    <a16:creationId xmlns:a16="http://schemas.microsoft.com/office/drawing/2014/main" id="{AF3C9392-4EA7-E3B4-B6B5-0870592A1D1C}"/>
                  </a:ext>
                </a:extLst>
              </p:cNvPr>
              <p:cNvPicPr/>
              <p:nvPr/>
            </p:nvPicPr>
            <p:blipFill>
              <a:blip r:embed="rId4"/>
              <a:stretch>
                <a:fillRect/>
              </a:stretch>
            </p:blipFill>
            <p:spPr>
              <a:xfrm>
                <a:off x="423360" y="-6480"/>
                <a:ext cx="8669520" cy="4742280"/>
              </a:xfrm>
              <a:prstGeom prst="rect">
                <a:avLst/>
              </a:prstGeom>
            </p:spPr>
          </p:pic>
        </mc:Fallback>
      </mc:AlternateContent>
    </p:spTree>
    <p:extLst>
      <p:ext uri="{BB962C8B-B14F-4D97-AF65-F5344CB8AC3E}">
        <p14:creationId xmlns:p14="http://schemas.microsoft.com/office/powerpoint/2010/main" val="59286024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2A355885-ECEC-497B-ADAA-E7F78FFF3D51}"/>
                  </a:ext>
                </a:extLst>
              </p14:cNvPr>
              <p14:cNvContentPartPr/>
              <p14:nvPr/>
            </p14:nvContentPartPr>
            <p14:xfrm>
              <a:off x="258120" y="949680"/>
              <a:ext cx="8878320" cy="2491200"/>
            </p14:xfrm>
          </p:contentPart>
        </mc:Choice>
        <mc:Fallback xmlns="">
          <p:pic>
            <p:nvPicPr>
              <p:cNvPr id="7" name="Ink 6">
                <a:extLst>
                  <a:ext uri="{FF2B5EF4-FFF2-40B4-BE49-F238E27FC236}">
                    <a16:creationId xmlns:a16="http://schemas.microsoft.com/office/drawing/2014/main" id="{2A355885-ECEC-497B-ADAA-E7F78FFF3D51}"/>
                  </a:ext>
                </a:extLst>
              </p:cNvPr>
              <p:cNvPicPr/>
              <p:nvPr/>
            </p:nvPicPr>
            <p:blipFill>
              <a:blip r:embed="rId4"/>
              <a:stretch>
                <a:fillRect/>
              </a:stretch>
            </p:blipFill>
            <p:spPr>
              <a:xfrm>
                <a:off x="248760" y="940320"/>
                <a:ext cx="8897040" cy="2509920"/>
              </a:xfrm>
              <a:prstGeom prst="rect">
                <a:avLst/>
              </a:prstGeom>
            </p:spPr>
          </p:pic>
        </mc:Fallback>
      </mc:AlternateContent>
    </p:spTree>
    <p:extLst>
      <p:ext uri="{BB962C8B-B14F-4D97-AF65-F5344CB8AC3E}">
        <p14:creationId xmlns:p14="http://schemas.microsoft.com/office/powerpoint/2010/main" val="999464151"/>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7B87615A-8AFD-90BB-03F8-D6D5B1AFC78E}"/>
                  </a:ext>
                </a:extLst>
              </p14:cNvPr>
              <p14:cNvContentPartPr/>
              <p14:nvPr/>
            </p14:nvContentPartPr>
            <p14:xfrm>
              <a:off x="1444680" y="176400"/>
              <a:ext cx="7630920" cy="3117240"/>
            </p14:xfrm>
          </p:contentPart>
        </mc:Choice>
        <mc:Fallback xmlns="">
          <p:pic>
            <p:nvPicPr>
              <p:cNvPr id="3" name="Ink 2">
                <a:extLst>
                  <a:ext uri="{FF2B5EF4-FFF2-40B4-BE49-F238E27FC236}">
                    <a16:creationId xmlns:a16="http://schemas.microsoft.com/office/drawing/2014/main" id="{7B87615A-8AFD-90BB-03F8-D6D5B1AFC78E}"/>
                  </a:ext>
                </a:extLst>
              </p:cNvPr>
              <p:cNvPicPr/>
              <p:nvPr/>
            </p:nvPicPr>
            <p:blipFill>
              <a:blip r:embed="rId5"/>
              <a:stretch>
                <a:fillRect/>
              </a:stretch>
            </p:blipFill>
            <p:spPr>
              <a:xfrm>
                <a:off x="1435320" y="167040"/>
                <a:ext cx="7649640" cy="3135960"/>
              </a:xfrm>
              <a:prstGeom prst="rect">
                <a:avLst/>
              </a:prstGeom>
            </p:spPr>
          </p:pic>
        </mc:Fallback>
      </mc:AlternateContent>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8548B897-4927-DC44-FC25-EAD5FF038B8C}"/>
                  </a:ext>
                </a:extLst>
              </p14:cNvPr>
              <p14:cNvContentPartPr/>
              <p14:nvPr/>
            </p14:nvContentPartPr>
            <p14:xfrm>
              <a:off x="2715840" y="1080000"/>
              <a:ext cx="5203440" cy="2380680"/>
            </p14:xfrm>
          </p:contentPart>
        </mc:Choice>
        <mc:Fallback xmlns="">
          <p:pic>
            <p:nvPicPr>
              <p:cNvPr id="3" name="Ink 2">
                <a:extLst>
                  <a:ext uri="{FF2B5EF4-FFF2-40B4-BE49-F238E27FC236}">
                    <a16:creationId xmlns:a16="http://schemas.microsoft.com/office/drawing/2014/main" id="{8548B897-4927-DC44-FC25-EAD5FF038B8C}"/>
                  </a:ext>
                </a:extLst>
              </p:cNvPr>
              <p:cNvPicPr/>
              <p:nvPr/>
            </p:nvPicPr>
            <p:blipFill>
              <a:blip r:embed="rId5"/>
              <a:stretch>
                <a:fillRect/>
              </a:stretch>
            </p:blipFill>
            <p:spPr>
              <a:xfrm>
                <a:off x="2706480" y="1070640"/>
                <a:ext cx="5222160" cy="2399400"/>
              </a:xfrm>
              <a:prstGeom prst="rect">
                <a:avLst/>
              </a:prstGeom>
            </p:spPr>
          </p:pic>
        </mc:Fallback>
      </mc:AlternateContent>
    </p:spTree>
    <p:extLst>
      <p:ext uri="{BB962C8B-B14F-4D97-AF65-F5344CB8AC3E}">
        <p14:creationId xmlns:p14="http://schemas.microsoft.com/office/powerpoint/2010/main" val="8897811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837C7366-8BAA-3512-A5D7-908137B9900E}"/>
                  </a:ext>
                </a:extLst>
              </p14:cNvPr>
              <p14:cNvContentPartPr/>
              <p14:nvPr/>
            </p14:nvContentPartPr>
            <p14:xfrm>
              <a:off x="174600" y="594720"/>
              <a:ext cx="8906760" cy="4336560"/>
            </p14:xfrm>
          </p:contentPart>
        </mc:Choice>
        <mc:Fallback xmlns="">
          <p:pic>
            <p:nvPicPr>
              <p:cNvPr id="5" name="Ink 4">
                <a:extLst>
                  <a:ext uri="{FF2B5EF4-FFF2-40B4-BE49-F238E27FC236}">
                    <a16:creationId xmlns:a16="http://schemas.microsoft.com/office/drawing/2014/main" id="{837C7366-8BAA-3512-A5D7-908137B9900E}"/>
                  </a:ext>
                </a:extLst>
              </p:cNvPr>
              <p:cNvPicPr/>
              <p:nvPr/>
            </p:nvPicPr>
            <p:blipFill>
              <a:blip r:embed="rId3"/>
              <a:stretch>
                <a:fillRect/>
              </a:stretch>
            </p:blipFill>
            <p:spPr>
              <a:xfrm>
                <a:off x="165240" y="585360"/>
                <a:ext cx="8925480" cy="4355280"/>
              </a:xfrm>
              <a:prstGeom prst="rect">
                <a:avLst/>
              </a:prstGeom>
            </p:spPr>
          </p:pic>
        </mc:Fallback>
      </mc:AlternateContent>
    </p:spTree>
    <p:extLst>
      <p:ext uri="{BB962C8B-B14F-4D97-AF65-F5344CB8AC3E}">
        <p14:creationId xmlns:p14="http://schemas.microsoft.com/office/powerpoint/2010/main" val="1717064405"/>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EBEA12F6-FDAD-1D5C-849E-98FD03E7D092}"/>
                  </a:ext>
                </a:extLst>
              </p14:cNvPr>
              <p14:cNvContentPartPr/>
              <p14:nvPr/>
            </p14:nvContentPartPr>
            <p14:xfrm>
              <a:off x="4249800" y="0"/>
              <a:ext cx="4812840" cy="5128200"/>
            </p14:xfrm>
          </p:contentPart>
        </mc:Choice>
        <mc:Fallback xmlns="">
          <p:pic>
            <p:nvPicPr>
              <p:cNvPr id="3" name="Ink 2">
                <a:extLst>
                  <a:ext uri="{FF2B5EF4-FFF2-40B4-BE49-F238E27FC236}">
                    <a16:creationId xmlns:a16="http://schemas.microsoft.com/office/drawing/2014/main" id="{EBEA12F6-FDAD-1D5C-849E-98FD03E7D092}"/>
                  </a:ext>
                </a:extLst>
              </p:cNvPr>
              <p:cNvPicPr/>
              <p:nvPr/>
            </p:nvPicPr>
            <p:blipFill>
              <a:blip r:embed="rId4"/>
              <a:stretch>
                <a:fillRect/>
              </a:stretch>
            </p:blipFill>
            <p:spPr>
              <a:xfrm>
                <a:off x="4240440" y="-9360"/>
                <a:ext cx="4831560" cy="5146920"/>
              </a:xfrm>
              <a:prstGeom prst="rect">
                <a:avLst/>
              </a:prstGeom>
            </p:spPr>
          </p:pic>
        </mc:Fallback>
      </mc:AlternateContent>
    </p:spTree>
    <p:extLst>
      <p:ext uri="{BB962C8B-B14F-4D97-AF65-F5344CB8AC3E}">
        <p14:creationId xmlns:p14="http://schemas.microsoft.com/office/powerpoint/2010/main" val="2513017721"/>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4F151DA5-837F-659F-8624-1D60A22781B0}"/>
                  </a:ext>
                </a:extLst>
              </p14:cNvPr>
              <p14:cNvContentPartPr/>
              <p14:nvPr/>
            </p14:nvContentPartPr>
            <p14:xfrm>
              <a:off x="66240" y="0"/>
              <a:ext cx="9026640" cy="5065200"/>
            </p14:xfrm>
          </p:contentPart>
        </mc:Choice>
        <mc:Fallback xmlns="">
          <p:pic>
            <p:nvPicPr>
              <p:cNvPr id="4" name="Ink 3">
                <a:extLst>
                  <a:ext uri="{FF2B5EF4-FFF2-40B4-BE49-F238E27FC236}">
                    <a16:creationId xmlns:a16="http://schemas.microsoft.com/office/drawing/2014/main" id="{4F151DA5-837F-659F-8624-1D60A22781B0}"/>
                  </a:ext>
                </a:extLst>
              </p:cNvPr>
              <p:cNvPicPr/>
              <p:nvPr/>
            </p:nvPicPr>
            <p:blipFill>
              <a:blip r:embed="rId6"/>
              <a:stretch>
                <a:fillRect/>
              </a:stretch>
            </p:blipFill>
            <p:spPr>
              <a:xfrm>
                <a:off x="56880" y="-9360"/>
                <a:ext cx="9045360" cy="5083920"/>
              </a:xfrm>
              <a:prstGeom prst="rect">
                <a:avLst/>
              </a:prstGeom>
            </p:spPr>
          </p:pic>
        </mc:Fallback>
      </mc:AlternateContent>
    </p:spTree>
    <p:extLst>
      <p:ext uri="{BB962C8B-B14F-4D97-AF65-F5344CB8AC3E}">
        <p14:creationId xmlns:p14="http://schemas.microsoft.com/office/powerpoint/2010/main" val="4213451115"/>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ACD89BAB-E457-E890-EB1D-D1A101887399}"/>
                  </a:ext>
                </a:extLst>
              </p14:cNvPr>
              <p14:cNvContentPartPr/>
              <p14:nvPr/>
            </p14:nvContentPartPr>
            <p14:xfrm>
              <a:off x="941040" y="1440"/>
              <a:ext cx="8152920" cy="4898880"/>
            </p14:xfrm>
          </p:contentPart>
        </mc:Choice>
        <mc:Fallback xmlns="">
          <p:pic>
            <p:nvPicPr>
              <p:cNvPr id="3" name="Ink 2">
                <a:extLst>
                  <a:ext uri="{FF2B5EF4-FFF2-40B4-BE49-F238E27FC236}">
                    <a16:creationId xmlns:a16="http://schemas.microsoft.com/office/drawing/2014/main" id="{ACD89BAB-E457-E890-EB1D-D1A101887399}"/>
                  </a:ext>
                </a:extLst>
              </p:cNvPr>
              <p:cNvPicPr/>
              <p:nvPr/>
            </p:nvPicPr>
            <p:blipFill>
              <a:blip r:embed="rId3"/>
              <a:stretch>
                <a:fillRect/>
              </a:stretch>
            </p:blipFill>
            <p:spPr>
              <a:xfrm>
                <a:off x="931680" y="-7920"/>
                <a:ext cx="8171640" cy="4917600"/>
              </a:xfrm>
              <a:prstGeom prst="rect">
                <a:avLst/>
              </a:prstGeom>
            </p:spPr>
          </p:pic>
        </mc:Fallback>
      </mc:AlternateContent>
    </p:spTree>
    <p:extLst>
      <p:ext uri="{BB962C8B-B14F-4D97-AF65-F5344CB8AC3E}">
        <p14:creationId xmlns:p14="http://schemas.microsoft.com/office/powerpoint/2010/main" val="1552759896"/>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39320FA-EF47-5271-946B-6BDF09D78B56}"/>
                  </a:ext>
                </a:extLst>
              </p14:cNvPr>
              <p14:cNvContentPartPr/>
              <p14:nvPr/>
            </p14:nvContentPartPr>
            <p14:xfrm>
              <a:off x="1382040" y="599400"/>
              <a:ext cx="5690880" cy="3657240"/>
            </p14:xfrm>
          </p:contentPart>
        </mc:Choice>
        <mc:Fallback xmlns="">
          <p:pic>
            <p:nvPicPr>
              <p:cNvPr id="4" name="Ink 3">
                <a:extLst>
                  <a:ext uri="{FF2B5EF4-FFF2-40B4-BE49-F238E27FC236}">
                    <a16:creationId xmlns:a16="http://schemas.microsoft.com/office/drawing/2014/main" id="{339320FA-EF47-5271-946B-6BDF09D78B56}"/>
                  </a:ext>
                </a:extLst>
              </p:cNvPr>
              <p:cNvPicPr/>
              <p:nvPr/>
            </p:nvPicPr>
            <p:blipFill>
              <a:blip r:embed="rId4"/>
              <a:stretch>
                <a:fillRect/>
              </a:stretch>
            </p:blipFill>
            <p:spPr>
              <a:xfrm>
                <a:off x="1372680" y="590040"/>
                <a:ext cx="5709600" cy="367596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5D67990B-57CC-EFE1-A2EE-7AF500A3FB21}"/>
                  </a:ext>
                </a:extLst>
              </p14:cNvPr>
              <p14:cNvContentPartPr/>
              <p14:nvPr/>
            </p14:nvContentPartPr>
            <p14:xfrm>
              <a:off x="1582200" y="716400"/>
              <a:ext cx="5753520" cy="4306680"/>
            </p14:xfrm>
          </p:contentPart>
        </mc:Choice>
        <mc:Fallback xmlns="">
          <p:pic>
            <p:nvPicPr>
              <p:cNvPr id="3" name="Ink 2">
                <a:extLst>
                  <a:ext uri="{FF2B5EF4-FFF2-40B4-BE49-F238E27FC236}">
                    <a16:creationId xmlns:a16="http://schemas.microsoft.com/office/drawing/2014/main" id="{5D67990B-57CC-EFE1-A2EE-7AF500A3FB21}"/>
                  </a:ext>
                </a:extLst>
              </p:cNvPr>
              <p:cNvPicPr/>
              <p:nvPr/>
            </p:nvPicPr>
            <p:blipFill>
              <a:blip r:embed="rId5"/>
              <a:stretch>
                <a:fillRect/>
              </a:stretch>
            </p:blipFill>
            <p:spPr>
              <a:xfrm>
                <a:off x="1572840" y="707040"/>
                <a:ext cx="5772240" cy="432540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2B3AFEE0-7F74-4C59-80BC-F4D9B2FDE55D}"/>
                  </a:ext>
                </a:extLst>
              </p14:cNvPr>
              <p14:cNvContentPartPr/>
              <p14:nvPr/>
            </p14:nvContentPartPr>
            <p14:xfrm>
              <a:off x="1107000" y="56160"/>
              <a:ext cx="7993440" cy="4999320"/>
            </p14:xfrm>
          </p:contentPart>
        </mc:Choice>
        <mc:Fallback xmlns="">
          <p:pic>
            <p:nvPicPr>
              <p:cNvPr id="4" name="Ink 3">
                <a:extLst>
                  <a:ext uri="{FF2B5EF4-FFF2-40B4-BE49-F238E27FC236}">
                    <a16:creationId xmlns:a16="http://schemas.microsoft.com/office/drawing/2014/main" id="{2B3AFEE0-7F74-4C59-80BC-F4D9B2FDE55D}"/>
                  </a:ext>
                </a:extLst>
              </p:cNvPr>
              <p:cNvPicPr/>
              <p:nvPr/>
            </p:nvPicPr>
            <p:blipFill>
              <a:blip r:embed="rId3"/>
              <a:stretch>
                <a:fillRect/>
              </a:stretch>
            </p:blipFill>
            <p:spPr>
              <a:xfrm>
                <a:off x="1097640" y="46800"/>
                <a:ext cx="8012160" cy="50180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7" imgW="529" imgH="530" progId="TCLayout.ActiveDocument.1">
                  <p:embed/>
                </p:oleObj>
              </mc:Choice>
              <mc:Fallback>
                <p:oleObj name="think-cell Slide" r:id="rId7"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8"/>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2"/>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5" imgW="529" imgH="530" progId="TCLayout.ActiveDocument.1">
                  <p:embed/>
                </p:oleObj>
              </mc:Choice>
              <mc:Fallback>
                <p:oleObj name="think-cell Slide" r:id="rId5"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2"/>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mc:AlternateContent xmlns:mc="http://schemas.openxmlformats.org/markup-compatibility/2006" xmlns:p14="http://schemas.microsoft.com/office/powerpoint/2010/main">
        <mc:Choice Requires="p14">
          <p:contentPart p14:bwMode="auto" r:id="rId12">
            <p14:nvContentPartPr>
              <p14:cNvPr id="4" name="Ink 3">
                <a:extLst>
                  <a:ext uri="{FF2B5EF4-FFF2-40B4-BE49-F238E27FC236}">
                    <a16:creationId xmlns:a16="http://schemas.microsoft.com/office/drawing/2014/main" id="{C42FD162-75EB-21FF-BC04-4833F8C1C449}"/>
                  </a:ext>
                </a:extLst>
              </p14:cNvPr>
              <p14:cNvContentPartPr/>
              <p14:nvPr/>
            </p14:nvContentPartPr>
            <p14:xfrm>
              <a:off x="720360" y="69840"/>
              <a:ext cx="8227800" cy="4667040"/>
            </p14:xfrm>
          </p:contentPart>
        </mc:Choice>
        <mc:Fallback xmlns="">
          <p:pic>
            <p:nvPicPr>
              <p:cNvPr id="4" name="Ink 3">
                <a:extLst>
                  <a:ext uri="{FF2B5EF4-FFF2-40B4-BE49-F238E27FC236}">
                    <a16:creationId xmlns:a16="http://schemas.microsoft.com/office/drawing/2014/main" id="{C42FD162-75EB-21FF-BC04-4833F8C1C449}"/>
                  </a:ext>
                </a:extLst>
              </p:cNvPr>
              <p:cNvPicPr/>
              <p:nvPr/>
            </p:nvPicPr>
            <p:blipFill>
              <a:blip r:embed="rId13"/>
              <a:stretch>
                <a:fillRect/>
              </a:stretch>
            </p:blipFill>
            <p:spPr>
              <a:xfrm>
                <a:off x="711000" y="60480"/>
                <a:ext cx="8246520" cy="4685760"/>
              </a:xfrm>
              <a:prstGeom prst="rect">
                <a:avLst/>
              </a:prstGeom>
            </p:spPr>
          </p:pic>
        </mc:Fallback>
      </mc:AlternateContent>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B2981A4D-318A-4158-1A61-B9805CA7D6AE}"/>
                  </a:ext>
                </a:extLst>
              </p14:cNvPr>
              <p14:cNvContentPartPr/>
              <p14:nvPr/>
            </p14:nvContentPartPr>
            <p14:xfrm>
              <a:off x="912240" y="1895040"/>
              <a:ext cx="7229520" cy="1183680"/>
            </p14:xfrm>
          </p:contentPart>
        </mc:Choice>
        <mc:Fallback xmlns="">
          <p:pic>
            <p:nvPicPr>
              <p:cNvPr id="3" name="Ink 2">
                <a:extLst>
                  <a:ext uri="{FF2B5EF4-FFF2-40B4-BE49-F238E27FC236}">
                    <a16:creationId xmlns:a16="http://schemas.microsoft.com/office/drawing/2014/main" id="{B2981A4D-318A-4158-1A61-B9805CA7D6AE}"/>
                  </a:ext>
                </a:extLst>
              </p:cNvPr>
              <p:cNvPicPr/>
              <p:nvPr/>
            </p:nvPicPr>
            <p:blipFill>
              <a:blip r:embed="rId3"/>
              <a:stretch>
                <a:fillRect/>
              </a:stretch>
            </p:blipFill>
            <p:spPr>
              <a:xfrm>
                <a:off x="902880" y="1885680"/>
                <a:ext cx="7248240" cy="120240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558B1B6F-7CD0-7436-2E37-D2A65E333EE3}"/>
                  </a:ext>
                </a:extLst>
              </p14:cNvPr>
              <p14:cNvContentPartPr/>
              <p14:nvPr/>
            </p14:nvContentPartPr>
            <p14:xfrm>
              <a:off x="484920" y="1212840"/>
              <a:ext cx="7643520" cy="3697560"/>
            </p14:xfrm>
          </p:contentPart>
        </mc:Choice>
        <mc:Fallback xmlns="">
          <p:pic>
            <p:nvPicPr>
              <p:cNvPr id="2" name="Ink 1">
                <a:extLst>
                  <a:ext uri="{FF2B5EF4-FFF2-40B4-BE49-F238E27FC236}">
                    <a16:creationId xmlns:a16="http://schemas.microsoft.com/office/drawing/2014/main" id="{558B1B6F-7CD0-7436-2E37-D2A65E333EE3}"/>
                  </a:ext>
                </a:extLst>
              </p:cNvPr>
              <p:cNvPicPr/>
              <p:nvPr/>
            </p:nvPicPr>
            <p:blipFill>
              <a:blip r:embed="rId5"/>
              <a:stretch>
                <a:fillRect/>
              </a:stretch>
            </p:blipFill>
            <p:spPr>
              <a:xfrm>
                <a:off x="475560" y="1203480"/>
                <a:ext cx="7662240" cy="371628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95A0BCBC-B92B-2955-46A8-2E7770AEBE41}"/>
                  </a:ext>
                </a:extLst>
              </p14:cNvPr>
              <p14:cNvContentPartPr/>
              <p14:nvPr/>
            </p14:nvContentPartPr>
            <p14:xfrm>
              <a:off x="342720" y="180360"/>
              <a:ext cx="5856840" cy="3510000"/>
            </p14:xfrm>
          </p:contentPart>
        </mc:Choice>
        <mc:Fallback xmlns="">
          <p:pic>
            <p:nvPicPr>
              <p:cNvPr id="2" name="Ink 1">
                <a:extLst>
                  <a:ext uri="{FF2B5EF4-FFF2-40B4-BE49-F238E27FC236}">
                    <a16:creationId xmlns:a16="http://schemas.microsoft.com/office/drawing/2014/main" id="{95A0BCBC-B92B-2955-46A8-2E7770AEBE41}"/>
                  </a:ext>
                </a:extLst>
              </p:cNvPr>
              <p:cNvPicPr/>
              <p:nvPr/>
            </p:nvPicPr>
            <p:blipFill>
              <a:blip r:embed="rId5"/>
              <a:stretch>
                <a:fillRect/>
              </a:stretch>
            </p:blipFill>
            <p:spPr>
              <a:xfrm>
                <a:off x="333360" y="171000"/>
                <a:ext cx="5875560" cy="352872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B67800E0-67DA-8088-F737-E273625171FD}"/>
                  </a:ext>
                </a:extLst>
              </p14:cNvPr>
              <p14:cNvContentPartPr/>
              <p14:nvPr/>
            </p14:nvContentPartPr>
            <p14:xfrm>
              <a:off x="1981440" y="983520"/>
              <a:ext cx="4118400" cy="2059200"/>
            </p14:xfrm>
          </p:contentPart>
        </mc:Choice>
        <mc:Fallback xmlns="">
          <p:pic>
            <p:nvPicPr>
              <p:cNvPr id="2" name="Ink 1">
                <a:extLst>
                  <a:ext uri="{FF2B5EF4-FFF2-40B4-BE49-F238E27FC236}">
                    <a16:creationId xmlns:a16="http://schemas.microsoft.com/office/drawing/2014/main" id="{B67800E0-67DA-8088-F737-E273625171FD}"/>
                  </a:ext>
                </a:extLst>
              </p:cNvPr>
              <p:cNvPicPr/>
              <p:nvPr/>
            </p:nvPicPr>
            <p:blipFill>
              <a:blip r:embed="rId3"/>
              <a:stretch>
                <a:fillRect/>
              </a:stretch>
            </p:blipFill>
            <p:spPr>
              <a:xfrm>
                <a:off x="1972080" y="974160"/>
                <a:ext cx="4137120" cy="2077920"/>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D2DC6C81-5FB2-AB8C-622F-321ED2EEFE25}"/>
                  </a:ext>
                </a:extLst>
              </p14:cNvPr>
              <p14:cNvContentPartPr/>
              <p14:nvPr/>
            </p14:nvContentPartPr>
            <p14:xfrm>
              <a:off x="648360" y="621360"/>
              <a:ext cx="3401640" cy="3296160"/>
            </p14:xfrm>
          </p:contentPart>
        </mc:Choice>
        <mc:Fallback xmlns="">
          <p:pic>
            <p:nvPicPr>
              <p:cNvPr id="2" name="Ink 1">
                <a:extLst>
                  <a:ext uri="{FF2B5EF4-FFF2-40B4-BE49-F238E27FC236}">
                    <a16:creationId xmlns:a16="http://schemas.microsoft.com/office/drawing/2014/main" id="{D2DC6C81-5FB2-AB8C-622F-321ED2EEFE25}"/>
                  </a:ext>
                </a:extLst>
              </p:cNvPr>
              <p:cNvPicPr/>
              <p:nvPr/>
            </p:nvPicPr>
            <p:blipFill>
              <a:blip r:embed="rId5"/>
              <a:stretch>
                <a:fillRect/>
              </a:stretch>
            </p:blipFill>
            <p:spPr>
              <a:xfrm>
                <a:off x="639000" y="612000"/>
                <a:ext cx="3420360" cy="331488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AFAEAF80-8BA3-BAB7-27CE-7F3DF63E8955}"/>
                  </a:ext>
                </a:extLst>
              </p14:cNvPr>
              <p14:cNvContentPartPr/>
              <p14:nvPr/>
            </p14:nvContentPartPr>
            <p14:xfrm>
              <a:off x="1891440" y="949680"/>
              <a:ext cx="4796280" cy="2305440"/>
            </p14:xfrm>
          </p:contentPart>
        </mc:Choice>
        <mc:Fallback xmlns="">
          <p:pic>
            <p:nvPicPr>
              <p:cNvPr id="2" name="Ink 1">
                <a:extLst>
                  <a:ext uri="{FF2B5EF4-FFF2-40B4-BE49-F238E27FC236}">
                    <a16:creationId xmlns:a16="http://schemas.microsoft.com/office/drawing/2014/main" id="{AFAEAF80-8BA3-BAB7-27CE-7F3DF63E8955}"/>
                  </a:ext>
                </a:extLst>
              </p:cNvPr>
              <p:cNvPicPr/>
              <p:nvPr/>
            </p:nvPicPr>
            <p:blipFill>
              <a:blip r:embed="rId3"/>
              <a:stretch>
                <a:fillRect/>
              </a:stretch>
            </p:blipFill>
            <p:spPr>
              <a:xfrm>
                <a:off x="1882080" y="940320"/>
                <a:ext cx="4815000" cy="232416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5BF50D22-A3A7-3E22-96F0-63A0E8D15ABA}"/>
                  </a:ext>
                </a:extLst>
              </p14:cNvPr>
              <p14:cNvContentPartPr/>
              <p14:nvPr/>
            </p14:nvContentPartPr>
            <p14:xfrm>
              <a:off x="578160" y="1119240"/>
              <a:ext cx="8184600" cy="2547720"/>
            </p14:xfrm>
          </p:contentPart>
        </mc:Choice>
        <mc:Fallback xmlns="">
          <p:pic>
            <p:nvPicPr>
              <p:cNvPr id="2" name="Ink 1">
                <a:extLst>
                  <a:ext uri="{FF2B5EF4-FFF2-40B4-BE49-F238E27FC236}">
                    <a16:creationId xmlns:a16="http://schemas.microsoft.com/office/drawing/2014/main" id="{5BF50D22-A3A7-3E22-96F0-63A0E8D15ABA}"/>
                  </a:ext>
                </a:extLst>
              </p:cNvPr>
              <p:cNvPicPr/>
              <p:nvPr/>
            </p:nvPicPr>
            <p:blipFill>
              <a:blip r:embed="rId3"/>
              <a:stretch>
                <a:fillRect/>
              </a:stretch>
            </p:blipFill>
            <p:spPr>
              <a:xfrm>
                <a:off x="568800" y="1109880"/>
                <a:ext cx="8203320" cy="25664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E1FEDBF9-D786-55CC-61E3-071D3CA6BA82}"/>
                  </a:ext>
                </a:extLst>
              </p14:cNvPr>
              <p14:cNvContentPartPr/>
              <p14:nvPr/>
            </p14:nvContentPartPr>
            <p14:xfrm>
              <a:off x="133200" y="92160"/>
              <a:ext cx="8386920" cy="4325400"/>
            </p14:xfrm>
          </p:contentPart>
        </mc:Choice>
        <mc:Fallback xmlns="">
          <p:pic>
            <p:nvPicPr>
              <p:cNvPr id="2" name="Ink 1">
                <a:extLst>
                  <a:ext uri="{FF2B5EF4-FFF2-40B4-BE49-F238E27FC236}">
                    <a16:creationId xmlns:a16="http://schemas.microsoft.com/office/drawing/2014/main" id="{E1FEDBF9-D786-55CC-61E3-071D3CA6BA82}"/>
                  </a:ext>
                </a:extLst>
              </p:cNvPr>
              <p:cNvPicPr/>
              <p:nvPr/>
            </p:nvPicPr>
            <p:blipFill>
              <a:blip r:embed="rId5"/>
              <a:stretch>
                <a:fillRect/>
              </a:stretch>
            </p:blipFill>
            <p:spPr>
              <a:xfrm>
                <a:off x="123840" y="82800"/>
                <a:ext cx="8405640" cy="4344120"/>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CD617DA2-01C4-E9E1-AD12-6524F163FA1F}"/>
                  </a:ext>
                </a:extLst>
              </p14:cNvPr>
              <p14:cNvContentPartPr/>
              <p14:nvPr/>
            </p14:nvContentPartPr>
            <p14:xfrm>
              <a:off x="162000" y="87840"/>
              <a:ext cx="8943120" cy="4947840"/>
            </p14:xfrm>
          </p:contentPart>
        </mc:Choice>
        <mc:Fallback xmlns="">
          <p:pic>
            <p:nvPicPr>
              <p:cNvPr id="4" name="Ink 3">
                <a:extLst>
                  <a:ext uri="{FF2B5EF4-FFF2-40B4-BE49-F238E27FC236}">
                    <a16:creationId xmlns:a16="http://schemas.microsoft.com/office/drawing/2014/main" id="{CD617DA2-01C4-E9E1-AD12-6524F163FA1F}"/>
                  </a:ext>
                </a:extLst>
              </p:cNvPr>
              <p:cNvPicPr/>
              <p:nvPr/>
            </p:nvPicPr>
            <p:blipFill>
              <a:blip r:embed="rId3"/>
              <a:stretch>
                <a:fillRect/>
              </a:stretch>
            </p:blipFill>
            <p:spPr>
              <a:xfrm>
                <a:off x="152640" y="78480"/>
                <a:ext cx="8961840" cy="496656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D242EBA4-8702-AF5D-AE22-5A1AF0EE9969}"/>
                  </a:ext>
                </a:extLst>
              </p14:cNvPr>
              <p14:cNvContentPartPr/>
              <p14:nvPr/>
            </p14:nvContentPartPr>
            <p14:xfrm>
              <a:off x="8999640" y="578520"/>
              <a:ext cx="136800" cy="68400"/>
            </p14:xfrm>
          </p:contentPart>
        </mc:Choice>
        <mc:Fallback xmlns="">
          <p:pic>
            <p:nvPicPr>
              <p:cNvPr id="5" name="Ink 4">
                <a:extLst>
                  <a:ext uri="{FF2B5EF4-FFF2-40B4-BE49-F238E27FC236}">
                    <a16:creationId xmlns:a16="http://schemas.microsoft.com/office/drawing/2014/main" id="{D242EBA4-8702-AF5D-AE22-5A1AF0EE9969}"/>
                  </a:ext>
                </a:extLst>
              </p:cNvPr>
              <p:cNvPicPr/>
              <p:nvPr/>
            </p:nvPicPr>
            <p:blipFill>
              <a:blip r:embed="rId5"/>
              <a:stretch>
                <a:fillRect/>
              </a:stretch>
            </p:blipFill>
            <p:spPr>
              <a:xfrm>
                <a:off x="8990280" y="569160"/>
                <a:ext cx="155520" cy="87120"/>
              </a:xfrm>
              <a:prstGeom prst="rect">
                <a:avLst/>
              </a:prstGeom>
            </p:spPr>
          </p:pic>
        </mc:Fallback>
      </mc:AlternateContent>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6C693837-1B0F-740B-EFD8-5321E23FA9FB}"/>
                  </a:ext>
                </a:extLst>
              </p14:cNvPr>
              <p14:cNvContentPartPr/>
              <p14:nvPr/>
            </p14:nvContentPartPr>
            <p14:xfrm>
              <a:off x="717480" y="665280"/>
              <a:ext cx="7931880" cy="4304520"/>
            </p14:xfrm>
          </p:contentPart>
        </mc:Choice>
        <mc:Fallback xmlns="">
          <p:pic>
            <p:nvPicPr>
              <p:cNvPr id="2" name="Ink 1">
                <a:extLst>
                  <a:ext uri="{FF2B5EF4-FFF2-40B4-BE49-F238E27FC236}">
                    <a16:creationId xmlns:a16="http://schemas.microsoft.com/office/drawing/2014/main" id="{6C693837-1B0F-740B-EFD8-5321E23FA9FB}"/>
                  </a:ext>
                </a:extLst>
              </p:cNvPr>
              <p:cNvPicPr/>
              <p:nvPr/>
            </p:nvPicPr>
            <p:blipFill>
              <a:blip r:embed="rId3"/>
              <a:stretch>
                <a:fillRect/>
              </a:stretch>
            </p:blipFill>
            <p:spPr>
              <a:xfrm>
                <a:off x="708120" y="655920"/>
                <a:ext cx="7950600" cy="432324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mc:AlternateContent xmlns:mc="http://schemas.openxmlformats.org/markup-compatibility/2006" xmlns:p14="http://schemas.microsoft.com/office/powerpoint/2010/main">
        <mc:Choice Requires="p14">
          <p:contentPart p14:bwMode="auto" r:id="rId77">
            <p14:nvContentPartPr>
              <p14:cNvPr id="2" name="Ink 1">
                <a:extLst>
                  <a:ext uri="{FF2B5EF4-FFF2-40B4-BE49-F238E27FC236}">
                    <a16:creationId xmlns:a16="http://schemas.microsoft.com/office/drawing/2014/main" id="{DC14C38D-9506-020B-D763-20CA212B7EBD}"/>
                  </a:ext>
                </a:extLst>
              </p14:cNvPr>
              <p14:cNvContentPartPr/>
              <p14:nvPr/>
            </p14:nvContentPartPr>
            <p14:xfrm>
              <a:off x="944640" y="1055520"/>
              <a:ext cx="5157000" cy="3043080"/>
            </p14:xfrm>
          </p:contentPart>
        </mc:Choice>
        <mc:Fallback xmlns="">
          <p:pic>
            <p:nvPicPr>
              <p:cNvPr id="2" name="Ink 1">
                <a:extLst>
                  <a:ext uri="{FF2B5EF4-FFF2-40B4-BE49-F238E27FC236}">
                    <a16:creationId xmlns:a16="http://schemas.microsoft.com/office/drawing/2014/main" id="{DC14C38D-9506-020B-D763-20CA212B7EBD}"/>
                  </a:ext>
                </a:extLst>
              </p:cNvPr>
              <p:cNvPicPr/>
              <p:nvPr/>
            </p:nvPicPr>
            <p:blipFill>
              <a:blip r:embed="rId78"/>
              <a:stretch>
                <a:fillRect/>
              </a:stretch>
            </p:blipFill>
            <p:spPr>
              <a:xfrm>
                <a:off x="935280" y="1046160"/>
                <a:ext cx="5175720" cy="306180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6AA566CB-4C06-8862-9107-CC39F4D1BC4D}"/>
                  </a:ext>
                </a:extLst>
              </p14:cNvPr>
              <p14:cNvContentPartPr/>
              <p14:nvPr/>
            </p14:nvContentPartPr>
            <p14:xfrm>
              <a:off x="584640" y="1575360"/>
              <a:ext cx="5150880" cy="1658520"/>
            </p14:xfrm>
          </p:contentPart>
        </mc:Choice>
        <mc:Fallback xmlns="">
          <p:pic>
            <p:nvPicPr>
              <p:cNvPr id="2" name="Ink 1">
                <a:extLst>
                  <a:ext uri="{FF2B5EF4-FFF2-40B4-BE49-F238E27FC236}">
                    <a16:creationId xmlns:a16="http://schemas.microsoft.com/office/drawing/2014/main" id="{6AA566CB-4C06-8862-9107-CC39F4D1BC4D}"/>
                  </a:ext>
                </a:extLst>
              </p:cNvPr>
              <p:cNvPicPr/>
              <p:nvPr/>
            </p:nvPicPr>
            <p:blipFill>
              <a:blip r:embed="rId3"/>
              <a:stretch>
                <a:fillRect/>
              </a:stretch>
            </p:blipFill>
            <p:spPr>
              <a:xfrm>
                <a:off x="575280" y="1566000"/>
                <a:ext cx="5169600" cy="16772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53F49EDD-B653-6609-2AD5-F14BBFEF25EC}"/>
                  </a:ext>
                </a:extLst>
              </p14:cNvPr>
              <p14:cNvContentPartPr/>
              <p14:nvPr/>
            </p14:nvContentPartPr>
            <p14:xfrm>
              <a:off x="617760" y="465120"/>
              <a:ext cx="8118360" cy="3853080"/>
            </p14:xfrm>
          </p:contentPart>
        </mc:Choice>
        <mc:Fallback xmlns="">
          <p:pic>
            <p:nvPicPr>
              <p:cNvPr id="2" name="Ink 1">
                <a:extLst>
                  <a:ext uri="{FF2B5EF4-FFF2-40B4-BE49-F238E27FC236}">
                    <a16:creationId xmlns:a16="http://schemas.microsoft.com/office/drawing/2014/main" id="{53F49EDD-B653-6609-2AD5-F14BBFEF25EC}"/>
                  </a:ext>
                </a:extLst>
              </p:cNvPr>
              <p:cNvPicPr/>
              <p:nvPr/>
            </p:nvPicPr>
            <p:blipFill>
              <a:blip r:embed="rId4"/>
              <a:stretch>
                <a:fillRect/>
              </a:stretch>
            </p:blipFill>
            <p:spPr>
              <a:xfrm>
                <a:off x="608400" y="455760"/>
                <a:ext cx="8137080" cy="3871800"/>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0200E0D6-26FA-BC95-E02D-1637BAED8C79}"/>
                  </a:ext>
                </a:extLst>
              </p14:cNvPr>
              <p14:cNvContentPartPr/>
              <p14:nvPr/>
            </p14:nvContentPartPr>
            <p14:xfrm>
              <a:off x="677880" y="497520"/>
              <a:ext cx="7882560" cy="3867480"/>
            </p14:xfrm>
          </p:contentPart>
        </mc:Choice>
        <mc:Fallback xmlns="">
          <p:pic>
            <p:nvPicPr>
              <p:cNvPr id="2" name="Ink 1">
                <a:extLst>
                  <a:ext uri="{FF2B5EF4-FFF2-40B4-BE49-F238E27FC236}">
                    <a16:creationId xmlns:a16="http://schemas.microsoft.com/office/drawing/2014/main" id="{0200E0D6-26FA-BC95-E02D-1637BAED8C79}"/>
                  </a:ext>
                </a:extLst>
              </p:cNvPr>
              <p:cNvPicPr/>
              <p:nvPr/>
            </p:nvPicPr>
            <p:blipFill>
              <a:blip r:embed="rId5"/>
              <a:stretch>
                <a:fillRect/>
              </a:stretch>
            </p:blipFill>
            <p:spPr>
              <a:xfrm>
                <a:off x="668520" y="488160"/>
                <a:ext cx="7901280" cy="3886200"/>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EBF1DE2E-6CC0-85F9-9C77-37F5754A7668}"/>
                  </a:ext>
                </a:extLst>
              </p14:cNvPr>
              <p14:cNvContentPartPr/>
              <p14:nvPr/>
            </p14:nvContentPartPr>
            <p14:xfrm>
              <a:off x="957600" y="2144880"/>
              <a:ext cx="4187880" cy="1723320"/>
            </p14:xfrm>
          </p:contentPart>
        </mc:Choice>
        <mc:Fallback xmlns="">
          <p:pic>
            <p:nvPicPr>
              <p:cNvPr id="2" name="Ink 1">
                <a:extLst>
                  <a:ext uri="{FF2B5EF4-FFF2-40B4-BE49-F238E27FC236}">
                    <a16:creationId xmlns:a16="http://schemas.microsoft.com/office/drawing/2014/main" id="{EBF1DE2E-6CC0-85F9-9C77-37F5754A7668}"/>
                  </a:ext>
                </a:extLst>
              </p:cNvPr>
              <p:cNvPicPr/>
              <p:nvPr/>
            </p:nvPicPr>
            <p:blipFill>
              <a:blip r:embed="rId4"/>
              <a:stretch>
                <a:fillRect/>
              </a:stretch>
            </p:blipFill>
            <p:spPr>
              <a:xfrm>
                <a:off x="948240" y="2135520"/>
                <a:ext cx="4206600" cy="1742040"/>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26F6E980-F5B8-F86E-0023-D9D32C773005}"/>
                  </a:ext>
                </a:extLst>
              </p14:cNvPr>
              <p14:cNvContentPartPr/>
              <p14:nvPr/>
            </p14:nvContentPartPr>
            <p14:xfrm>
              <a:off x="1417320" y="1703160"/>
              <a:ext cx="4533120" cy="2891160"/>
            </p14:xfrm>
          </p:contentPart>
        </mc:Choice>
        <mc:Fallback xmlns="">
          <p:pic>
            <p:nvPicPr>
              <p:cNvPr id="2" name="Ink 1">
                <a:extLst>
                  <a:ext uri="{FF2B5EF4-FFF2-40B4-BE49-F238E27FC236}">
                    <a16:creationId xmlns:a16="http://schemas.microsoft.com/office/drawing/2014/main" id="{26F6E980-F5B8-F86E-0023-D9D32C773005}"/>
                  </a:ext>
                </a:extLst>
              </p:cNvPr>
              <p:cNvPicPr/>
              <p:nvPr/>
            </p:nvPicPr>
            <p:blipFill>
              <a:blip r:embed="rId5"/>
              <a:stretch>
                <a:fillRect/>
              </a:stretch>
            </p:blipFill>
            <p:spPr>
              <a:xfrm>
                <a:off x="1407960" y="1693800"/>
                <a:ext cx="4551840" cy="2909880"/>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910AE4A4-256F-7BEF-C59A-1D2E150034A9}"/>
                  </a:ext>
                </a:extLst>
              </p14:cNvPr>
              <p14:cNvContentPartPr/>
              <p14:nvPr/>
            </p14:nvContentPartPr>
            <p14:xfrm>
              <a:off x="1013040" y="938160"/>
              <a:ext cx="4794480" cy="4068720"/>
            </p14:xfrm>
          </p:contentPart>
        </mc:Choice>
        <mc:Fallback xmlns="">
          <p:pic>
            <p:nvPicPr>
              <p:cNvPr id="2" name="Ink 1">
                <a:extLst>
                  <a:ext uri="{FF2B5EF4-FFF2-40B4-BE49-F238E27FC236}">
                    <a16:creationId xmlns:a16="http://schemas.microsoft.com/office/drawing/2014/main" id="{910AE4A4-256F-7BEF-C59A-1D2E150034A9}"/>
                  </a:ext>
                </a:extLst>
              </p:cNvPr>
              <p:cNvPicPr/>
              <p:nvPr/>
            </p:nvPicPr>
            <p:blipFill>
              <a:blip r:embed="rId6"/>
              <a:stretch>
                <a:fillRect/>
              </a:stretch>
            </p:blipFill>
            <p:spPr>
              <a:xfrm>
                <a:off x="1003680" y="928800"/>
                <a:ext cx="4813200" cy="408744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8F35890-92AE-A38D-21FD-70972DF2C359}"/>
                  </a:ext>
                </a:extLst>
              </p14:cNvPr>
              <p14:cNvContentPartPr/>
              <p14:nvPr/>
            </p14:nvContentPartPr>
            <p14:xfrm>
              <a:off x="246240" y="135000"/>
              <a:ext cx="8197200" cy="3526200"/>
            </p14:xfrm>
          </p:contentPart>
        </mc:Choice>
        <mc:Fallback xmlns="">
          <p:pic>
            <p:nvPicPr>
              <p:cNvPr id="2" name="Ink 1">
                <a:extLst>
                  <a:ext uri="{FF2B5EF4-FFF2-40B4-BE49-F238E27FC236}">
                    <a16:creationId xmlns:a16="http://schemas.microsoft.com/office/drawing/2014/main" id="{88F35890-92AE-A38D-21FD-70972DF2C359}"/>
                  </a:ext>
                </a:extLst>
              </p:cNvPr>
              <p:cNvPicPr/>
              <p:nvPr/>
            </p:nvPicPr>
            <p:blipFill>
              <a:blip r:embed="rId5"/>
              <a:stretch>
                <a:fillRect/>
              </a:stretch>
            </p:blipFill>
            <p:spPr>
              <a:xfrm>
                <a:off x="236880" y="125640"/>
                <a:ext cx="8215920" cy="354492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7E1A8283-AABF-25F5-0C02-8D124932AA46}"/>
                  </a:ext>
                </a:extLst>
              </p14:cNvPr>
              <p14:cNvContentPartPr/>
              <p14:nvPr/>
            </p14:nvContentPartPr>
            <p14:xfrm>
              <a:off x="997200" y="1027080"/>
              <a:ext cx="3361680" cy="636480"/>
            </p14:xfrm>
          </p:contentPart>
        </mc:Choice>
        <mc:Fallback xmlns="">
          <p:pic>
            <p:nvPicPr>
              <p:cNvPr id="4" name="Ink 3">
                <a:extLst>
                  <a:ext uri="{FF2B5EF4-FFF2-40B4-BE49-F238E27FC236}">
                    <a16:creationId xmlns:a16="http://schemas.microsoft.com/office/drawing/2014/main" id="{7E1A8283-AABF-25F5-0C02-8D124932AA46}"/>
                  </a:ext>
                </a:extLst>
              </p:cNvPr>
              <p:cNvPicPr/>
              <p:nvPr/>
            </p:nvPicPr>
            <p:blipFill>
              <a:blip r:embed="rId5"/>
              <a:stretch>
                <a:fillRect/>
              </a:stretch>
            </p:blipFill>
            <p:spPr>
              <a:xfrm>
                <a:off x="987840" y="1017720"/>
                <a:ext cx="3380400" cy="655200"/>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4932C6B8-5DED-570C-1CAC-D1E1EDF17C63}"/>
                  </a:ext>
                </a:extLst>
              </p14:cNvPr>
              <p14:cNvContentPartPr/>
              <p14:nvPr/>
            </p14:nvContentPartPr>
            <p14:xfrm>
              <a:off x="458280" y="623160"/>
              <a:ext cx="6297840" cy="1564560"/>
            </p14:xfrm>
          </p:contentPart>
        </mc:Choice>
        <mc:Fallback xmlns="">
          <p:pic>
            <p:nvPicPr>
              <p:cNvPr id="4" name="Ink 3">
                <a:extLst>
                  <a:ext uri="{FF2B5EF4-FFF2-40B4-BE49-F238E27FC236}">
                    <a16:creationId xmlns:a16="http://schemas.microsoft.com/office/drawing/2014/main" id="{4932C6B8-5DED-570C-1CAC-D1E1EDF17C63}"/>
                  </a:ext>
                </a:extLst>
              </p:cNvPr>
              <p:cNvPicPr/>
              <p:nvPr/>
            </p:nvPicPr>
            <p:blipFill>
              <a:blip r:embed="rId3"/>
              <a:stretch>
                <a:fillRect/>
              </a:stretch>
            </p:blipFill>
            <p:spPr>
              <a:xfrm>
                <a:off x="448920" y="613800"/>
                <a:ext cx="6316560" cy="15832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ED019695-1834-652F-CE3E-B6820ED8DC6C}"/>
                  </a:ext>
                </a:extLst>
              </p14:cNvPr>
              <p14:cNvContentPartPr/>
              <p14:nvPr/>
            </p14:nvContentPartPr>
            <p14:xfrm>
              <a:off x="617040" y="23760"/>
              <a:ext cx="8525160" cy="4716720"/>
            </p14:xfrm>
          </p:contentPart>
        </mc:Choice>
        <mc:Fallback xmlns="">
          <p:pic>
            <p:nvPicPr>
              <p:cNvPr id="5" name="Ink 4">
                <a:extLst>
                  <a:ext uri="{FF2B5EF4-FFF2-40B4-BE49-F238E27FC236}">
                    <a16:creationId xmlns:a16="http://schemas.microsoft.com/office/drawing/2014/main" id="{ED019695-1834-652F-CE3E-B6820ED8DC6C}"/>
                  </a:ext>
                </a:extLst>
              </p:cNvPr>
              <p:cNvPicPr/>
              <p:nvPr/>
            </p:nvPicPr>
            <p:blipFill>
              <a:blip r:embed="rId5"/>
              <a:stretch>
                <a:fillRect/>
              </a:stretch>
            </p:blipFill>
            <p:spPr>
              <a:xfrm>
                <a:off x="607680" y="14400"/>
                <a:ext cx="8543880" cy="4735440"/>
              </a:xfrm>
              <a:prstGeom prst="rect">
                <a:avLst/>
              </a:prstGeom>
            </p:spPr>
          </p:pic>
        </mc:Fallback>
      </mc:AlternateContent>
    </p:spTree>
    <p:extLst>
      <p:ext uri="{BB962C8B-B14F-4D97-AF65-F5344CB8AC3E}">
        <p14:creationId xmlns:p14="http://schemas.microsoft.com/office/powerpoint/2010/main" val="2979080396"/>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33BD1AF5-0DFB-E470-E6DC-9B0741EEDCFF}"/>
                  </a:ext>
                </a:extLst>
              </p14:cNvPr>
              <p14:cNvContentPartPr/>
              <p14:nvPr/>
            </p14:nvContentPartPr>
            <p14:xfrm>
              <a:off x="987120" y="1695240"/>
              <a:ext cx="7985160" cy="3009240"/>
            </p14:xfrm>
          </p:contentPart>
        </mc:Choice>
        <mc:Fallback xmlns="">
          <p:pic>
            <p:nvPicPr>
              <p:cNvPr id="2" name="Ink 1">
                <a:extLst>
                  <a:ext uri="{FF2B5EF4-FFF2-40B4-BE49-F238E27FC236}">
                    <a16:creationId xmlns:a16="http://schemas.microsoft.com/office/drawing/2014/main" id="{33BD1AF5-0DFB-E470-E6DC-9B0741EEDCFF}"/>
                  </a:ext>
                </a:extLst>
              </p:cNvPr>
              <p:cNvPicPr/>
              <p:nvPr/>
            </p:nvPicPr>
            <p:blipFill>
              <a:blip r:embed="rId6"/>
              <a:stretch>
                <a:fillRect/>
              </a:stretch>
            </p:blipFill>
            <p:spPr>
              <a:xfrm>
                <a:off x="977760" y="1685880"/>
                <a:ext cx="8003880" cy="3027960"/>
              </a:xfrm>
              <a:prstGeom prst="rect">
                <a:avLst/>
              </a:prstGeom>
            </p:spPr>
          </p:pic>
        </mc:Fallback>
      </mc:AlternateContent>
    </p:spTree>
    <p:extLst>
      <p:ext uri="{BB962C8B-B14F-4D97-AF65-F5344CB8AC3E}">
        <p14:creationId xmlns:p14="http://schemas.microsoft.com/office/powerpoint/2010/main" val="2216126519"/>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p:spTree>
    <p:extLst>
      <p:ext uri="{BB962C8B-B14F-4D97-AF65-F5344CB8AC3E}">
        <p14:creationId xmlns:p14="http://schemas.microsoft.com/office/powerpoint/2010/main" val="2987937793"/>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p:spTree>
    <p:extLst>
      <p:ext uri="{BB962C8B-B14F-4D97-AF65-F5344CB8AC3E}">
        <p14:creationId xmlns:p14="http://schemas.microsoft.com/office/powerpoint/2010/main" val="2486453715"/>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5" imgW="529" imgH="530" progId="TCLayout.ActiveDocument.1">
                  <p:embed/>
                </p:oleObj>
              </mc:Choice>
              <mc:Fallback>
                <p:oleObj name="think-cell Slide" r:id="rId5"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2"/>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p:spTree>
    <p:extLst>
      <p:ext uri="{BB962C8B-B14F-4D97-AF65-F5344CB8AC3E}">
        <p14:creationId xmlns:p14="http://schemas.microsoft.com/office/powerpoint/2010/main" val="2675433104"/>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6FFE7BD7-F161-D7EF-479D-F7FBA3C0BD37}"/>
                  </a:ext>
                </a:extLst>
              </p14:cNvPr>
              <p14:cNvContentPartPr/>
              <p14:nvPr/>
            </p14:nvContentPartPr>
            <p14:xfrm>
              <a:off x="333360" y="964080"/>
              <a:ext cx="8076960" cy="3785040"/>
            </p14:xfrm>
          </p:contentPart>
        </mc:Choice>
        <mc:Fallback xmlns="">
          <p:pic>
            <p:nvPicPr>
              <p:cNvPr id="4" name="Ink 3">
                <a:extLst>
                  <a:ext uri="{FF2B5EF4-FFF2-40B4-BE49-F238E27FC236}">
                    <a16:creationId xmlns:a16="http://schemas.microsoft.com/office/drawing/2014/main" id="{6FFE7BD7-F161-D7EF-479D-F7FBA3C0BD37}"/>
                  </a:ext>
                </a:extLst>
              </p:cNvPr>
              <p:cNvPicPr/>
              <p:nvPr/>
            </p:nvPicPr>
            <p:blipFill>
              <a:blip r:embed="rId7"/>
              <a:stretch>
                <a:fillRect/>
              </a:stretch>
            </p:blipFill>
            <p:spPr>
              <a:xfrm>
                <a:off x="324000" y="954720"/>
                <a:ext cx="8095680" cy="3803760"/>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C7A07043-5B21-25FC-A7AB-75B375DFD9C1}"/>
                  </a:ext>
                </a:extLst>
              </p14:cNvPr>
              <p14:cNvContentPartPr/>
              <p14:nvPr/>
            </p14:nvContentPartPr>
            <p14:xfrm>
              <a:off x="5803200" y="1595880"/>
              <a:ext cx="3121920" cy="2023200"/>
            </p14:xfrm>
          </p:contentPart>
        </mc:Choice>
        <mc:Fallback xmlns="">
          <p:pic>
            <p:nvPicPr>
              <p:cNvPr id="3" name="Ink 2">
                <a:extLst>
                  <a:ext uri="{FF2B5EF4-FFF2-40B4-BE49-F238E27FC236}">
                    <a16:creationId xmlns:a16="http://schemas.microsoft.com/office/drawing/2014/main" id="{C7A07043-5B21-25FC-A7AB-75B375DFD9C1}"/>
                  </a:ext>
                </a:extLst>
              </p:cNvPr>
              <p:cNvPicPr/>
              <p:nvPr/>
            </p:nvPicPr>
            <p:blipFill>
              <a:blip r:embed="rId6"/>
              <a:stretch>
                <a:fillRect/>
              </a:stretch>
            </p:blipFill>
            <p:spPr>
              <a:xfrm>
                <a:off x="5793840" y="1586520"/>
                <a:ext cx="3140640" cy="204192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CE93A8D-0423-CB17-A3CC-2FFE273AC278}"/>
                  </a:ext>
                </a:extLst>
              </p14:cNvPr>
              <p14:cNvContentPartPr/>
              <p14:nvPr/>
            </p14:nvContentPartPr>
            <p14:xfrm>
              <a:off x="1003680" y="984600"/>
              <a:ext cx="7762680" cy="4106520"/>
            </p14:xfrm>
          </p:contentPart>
        </mc:Choice>
        <mc:Fallback xmlns="">
          <p:pic>
            <p:nvPicPr>
              <p:cNvPr id="4" name="Ink 3">
                <a:extLst>
                  <a:ext uri="{FF2B5EF4-FFF2-40B4-BE49-F238E27FC236}">
                    <a16:creationId xmlns:a16="http://schemas.microsoft.com/office/drawing/2014/main" id="{3CE93A8D-0423-CB17-A3CC-2FFE273AC278}"/>
                  </a:ext>
                </a:extLst>
              </p:cNvPr>
              <p:cNvPicPr/>
              <p:nvPr/>
            </p:nvPicPr>
            <p:blipFill>
              <a:blip r:embed="rId4"/>
              <a:stretch>
                <a:fillRect/>
              </a:stretch>
            </p:blipFill>
            <p:spPr>
              <a:xfrm>
                <a:off x="994320" y="975240"/>
                <a:ext cx="7781400" cy="412524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CFBF1734-EE78-665B-D11E-A6A85E300A00}"/>
                  </a:ext>
                </a:extLst>
              </p14:cNvPr>
              <p14:cNvContentPartPr/>
              <p14:nvPr/>
            </p14:nvContentPartPr>
            <p14:xfrm>
              <a:off x="595080" y="709200"/>
              <a:ext cx="7108200" cy="3138480"/>
            </p14:xfrm>
          </p:contentPart>
        </mc:Choice>
        <mc:Fallback xmlns="">
          <p:pic>
            <p:nvPicPr>
              <p:cNvPr id="6" name="Ink 5">
                <a:extLst>
                  <a:ext uri="{FF2B5EF4-FFF2-40B4-BE49-F238E27FC236}">
                    <a16:creationId xmlns:a16="http://schemas.microsoft.com/office/drawing/2014/main" id="{CFBF1734-EE78-665B-D11E-A6A85E300A00}"/>
                  </a:ext>
                </a:extLst>
              </p:cNvPr>
              <p:cNvPicPr/>
              <p:nvPr/>
            </p:nvPicPr>
            <p:blipFill>
              <a:blip r:embed="rId4"/>
              <a:stretch>
                <a:fillRect/>
              </a:stretch>
            </p:blipFill>
            <p:spPr>
              <a:xfrm>
                <a:off x="585720" y="699840"/>
                <a:ext cx="7126920" cy="3157200"/>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CDDA44CF-380D-0461-EDFD-0F4AC1598EB8}"/>
                  </a:ext>
                </a:extLst>
              </p14:cNvPr>
              <p14:cNvContentPartPr/>
              <p14:nvPr/>
            </p14:nvContentPartPr>
            <p14:xfrm>
              <a:off x="226440" y="725040"/>
              <a:ext cx="6571440" cy="2109960"/>
            </p14:xfrm>
          </p:contentPart>
        </mc:Choice>
        <mc:Fallback xmlns="">
          <p:pic>
            <p:nvPicPr>
              <p:cNvPr id="4" name="Ink 3">
                <a:extLst>
                  <a:ext uri="{FF2B5EF4-FFF2-40B4-BE49-F238E27FC236}">
                    <a16:creationId xmlns:a16="http://schemas.microsoft.com/office/drawing/2014/main" id="{CDDA44CF-380D-0461-EDFD-0F4AC1598EB8}"/>
                  </a:ext>
                </a:extLst>
              </p:cNvPr>
              <p:cNvPicPr/>
              <p:nvPr/>
            </p:nvPicPr>
            <p:blipFill>
              <a:blip r:embed="rId5"/>
              <a:stretch>
                <a:fillRect/>
              </a:stretch>
            </p:blipFill>
            <p:spPr>
              <a:xfrm>
                <a:off x="217080" y="715680"/>
                <a:ext cx="6590160" cy="212868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4999D40B-7234-4753-40E3-FCEAA97C279E}"/>
                  </a:ext>
                </a:extLst>
              </p14:cNvPr>
              <p14:cNvContentPartPr/>
              <p14:nvPr/>
            </p14:nvContentPartPr>
            <p14:xfrm>
              <a:off x="3253680" y="99360"/>
              <a:ext cx="5890680" cy="4916160"/>
            </p14:xfrm>
          </p:contentPart>
        </mc:Choice>
        <mc:Fallback xmlns="">
          <p:pic>
            <p:nvPicPr>
              <p:cNvPr id="5" name="Ink 4">
                <a:extLst>
                  <a:ext uri="{FF2B5EF4-FFF2-40B4-BE49-F238E27FC236}">
                    <a16:creationId xmlns:a16="http://schemas.microsoft.com/office/drawing/2014/main" id="{4999D40B-7234-4753-40E3-FCEAA97C279E}"/>
                  </a:ext>
                </a:extLst>
              </p:cNvPr>
              <p:cNvPicPr/>
              <p:nvPr/>
            </p:nvPicPr>
            <p:blipFill>
              <a:blip r:embed="rId4"/>
              <a:stretch>
                <a:fillRect/>
              </a:stretch>
            </p:blipFill>
            <p:spPr>
              <a:xfrm>
                <a:off x="3244320" y="90000"/>
                <a:ext cx="5909400" cy="4934880"/>
              </a:xfrm>
              <a:prstGeom prst="rect">
                <a:avLst/>
              </a:prstGeom>
            </p:spPr>
          </p:pic>
        </mc:Fallback>
      </mc:AlternateContent>
    </p:spTree>
    <p:extLst>
      <p:ext uri="{BB962C8B-B14F-4D97-AF65-F5344CB8AC3E}">
        <p14:creationId xmlns:p14="http://schemas.microsoft.com/office/powerpoint/2010/main" val="3865591795"/>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4BC8954-5087-BD7A-D557-9501C5CDE4C5}"/>
                  </a:ext>
                </a:extLst>
              </p14:cNvPr>
              <p14:cNvContentPartPr/>
              <p14:nvPr/>
            </p14:nvContentPartPr>
            <p14:xfrm>
              <a:off x="561600" y="44280"/>
              <a:ext cx="6707880" cy="2169000"/>
            </p14:xfrm>
          </p:contentPart>
        </mc:Choice>
        <mc:Fallback xmlns="">
          <p:pic>
            <p:nvPicPr>
              <p:cNvPr id="3" name="Ink 2">
                <a:extLst>
                  <a:ext uri="{FF2B5EF4-FFF2-40B4-BE49-F238E27FC236}">
                    <a16:creationId xmlns:a16="http://schemas.microsoft.com/office/drawing/2014/main" id="{A4BC8954-5087-BD7A-D557-9501C5CDE4C5}"/>
                  </a:ext>
                </a:extLst>
              </p:cNvPr>
              <p:cNvPicPr/>
              <p:nvPr/>
            </p:nvPicPr>
            <p:blipFill>
              <a:blip r:embed="rId4"/>
              <a:stretch>
                <a:fillRect/>
              </a:stretch>
            </p:blipFill>
            <p:spPr>
              <a:xfrm>
                <a:off x="552240" y="34920"/>
                <a:ext cx="6726600" cy="218772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p:spTree>
    <p:extLst>
      <p:ext uri="{BB962C8B-B14F-4D97-AF65-F5344CB8AC3E}">
        <p14:creationId xmlns:p14="http://schemas.microsoft.com/office/powerpoint/2010/main" val="77054980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DA7EEE5C-C3F2-C10A-D4A6-81120D208201}"/>
                  </a:ext>
                </a:extLst>
              </p14:cNvPr>
              <p14:cNvContentPartPr/>
              <p14:nvPr/>
            </p14:nvContentPartPr>
            <p14:xfrm>
              <a:off x="3261240" y="955800"/>
              <a:ext cx="3109320" cy="3907800"/>
            </p14:xfrm>
          </p:contentPart>
        </mc:Choice>
        <mc:Fallback xmlns="">
          <p:pic>
            <p:nvPicPr>
              <p:cNvPr id="4" name="Ink 3">
                <a:extLst>
                  <a:ext uri="{FF2B5EF4-FFF2-40B4-BE49-F238E27FC236}">
                    <a16:creationId xmlns:a16="http://schemas.microsoft.com/office/drawing/2014/main" id="{DA7EEE5C-C3F2-C10A-D4A6-81120D208201}"/>
                  </a:ext>
                </a:extLst>
              </p:cNvPr>
              <p:cNvPicPr/>
              <p:nvPr/>
            </p:nvPicPr>
            <p:blipFill>
              <a:blip r:embed="rId5"/>
              <a:stretch>
                <a:fillRect/>
              </a:stretch>
            </p:blipFill>
            <p:spPr>
              <a:xfrm>
                <a:off x="3251880" y="946440"/>
                <a:ext cx="3128040" cy="392652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C363E838-D026-CD63-465B-D31896FA83CF}"/>
                  </a:ext>
                </a:extLst>
              </p14:cNvPr>
              <p14:cNvContentPartPr/>
              <p14:nvPr/>
            </p14:nvContentPartPr>
            <p14:xfrm>
              <a:off x="2983320" y="1898640"/>
              <a:ext cx="3964680" cy="710640"/>
            </p14:xfrm>
          </p:contentPart>
        </mc:Choice>
        <mc:Fallback xmlns="">
          <p:pic>
            <p:nvPicPr>
              <p:cNvPr id="4" name="Ink 3">
                <a:extLst>
                  <a:ext uri="{FF2B5EF4-FFF2-40B4-BE49-F238E27FC236}">
                    <a16:creationId xmlns:a16="http://schemas.microsoft.com/office/drawing/2014/main" id="{C363E838-D026-CD63-465B-D31896FA83CF}"/>
                  </a:ext>
                </a:extLst>
              </p:cNvPr>
              <p:cNvPicPr/>
              <p:nvPr/>
            </p:nvPicPr>
            <p:blipFill>
              <a:blip r:embed="rId3"/>
              <a:stretch>
                <a:fillRect/>
              </a:stretch>
            </p:blipFill>
            <p:spPr>
              <a:xfrm>
                <a:off x="2973960" y="1889280"/>
                <a:ext cx="3983400" cy="72936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CD8F4B7-B4D7-EE79-3551-9D50D8C81046}"/>
                  </a:ext>
                </a:extLst>
              </p14:cNvPr>
              <p14:cNvContentPartPr/>
              <p14:nvPr/>
            </p14:nvContentPartPr>
            <p14:xfrm>
              <a:off x="2485800" y="2252880"/>
              <a:ext cx="2863440" cy="990360"/>
            </p14:xfrm>
          </p:contentPart>
        </mc:Choice>
        <mc:Fallback xmlns="">
          <p:pic>
            <p:nvPicPr>
              <p:cNvPr id="4" name="Ink 3">
                <a:extLst>
                  <a:ext uri="{FF2B5EF4-FFF2-40B4-BE49-F238E27FC236}">
                    <a16:creationId xmlns:a16="http://schemas.microsoft.com/office/drawing/2014/main" id="{2CD8F4B7-B4D7-EE79-3551-9D50D8C81046}"/>
                  </a:ext>
                </a:extLst>
              </p:cNvPr>
              <p:cNvPicPr/>
              <p:nvPr/>
            </p:nvPicPr>
            <p:blipFill>
              <a:blip r:embed="rId4"/>
              <a:stretch>
                <a:fillRect/>
              </a:stretch>
            </p:blipFill>
            <p:spPr>
              <a:xfrm>
                <a:off x="2476440" y="2243520"/>
                <a:ext cx="2882160" cy="100908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343251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E14168D1-A7BF-9E4E-D037-7EE1017758B6}"/>
                  </a:ext>
                </a:extLst>
              </p14:cNvPr>
              <p14:cNvContentPartPr/>
              <p14:nvPr/>
            </p14:nvContentPartPr>
            <p14:xfrm>
              <a:off x="1603440" y="444240"/>
              <a:ext cx="1081440" cy="2282400"/>
            </p14:xfrm>
          </p:contentPart>
        </mc:Choice>
        <mc:Fallback xmlns="">
          <p:pic>
            <p:nvPicPr>
              <p:cNvPr id="4" name="Ink 3">
                <a:extLst>
                  <a:ext uri="{FF2B5EF4-FFF2-40B4-BE49-F238E27FC236}">
                    <a16:creationId xmlns:a16="http://schemas.microsoft.com/office/drawing/2014/main" id="{E14168D1-A7BF-9E4E-D037-7EE1017758B6}"/>
                  </a:ext>
                </a:extLst>
              </p:cNvPr>
              <p:cNvPicPr/>
              <p:nvPr/>
            </p:nvPicPr>
            <p:blipFill>
              <a:blip r:embed="rId3"/>
              <a:stretch>
                <a:fillRect/>
              </a:stretch>
            </p:blipFill>
            <p:spPr>
              <a:xfrm>
                <a:off x="1594080" y="434880"/>
                <a:ext cx="1100160" cy="2301120"/>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156DFED3-F3E8-45F9-1DE0-E983994C353F}"/>
                  </a:ext>
                </a:extLst>
              </p14:cNvPr>
              <p14:cNvContentPartPr/>
              <p14:nvPr/>
            </p14:nvContentPartPr>
            <p14:xfrm>
              <a:off x="219240" y="401760"/>
              <a:ext cx="4144680" cy="3058920"/>
            </p14:xfrm>
          </p:contentPart>
        </mc:Choice>
        <mc:Fallback xmlns="">
          <p:pic>
            <p:nvPicPr>
              <p:cNvPr id="4" name="Ink 3">
                <a:extLst>
                  <a:ext uri="{FF2B5EF4-FFF2-40B4-BE49-F238E27FC236}">
                    <a16:creationId xmlns:a16="http://schemas.microsoft.com/office/drawing/2014/main" id="{156DFED3-F3E8-45F9-1DE0-E983994C353F}"/>
                  </a:ext>
                </a:extLst>
              </p:cNvPr>
              <p:cNvPicPr/>
              <p:nvPr/>
            </p:nvPicPr>
            <p:blipFill>
              <a:blip r:embed="rId4"/>
              <a:stretch>
                <a:fillRect/>
              </a:stretch>
            </p:blipFill>
            <p:spPr>
              <a:xfrm>
                <a:off x="209880" y="392400"/>
                <a:ext cx="4163400" cy="3077640"/>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BC952631-F11E-C133-4E12-58450AC3A1BF}"/>
                  </a:ext>
                </a:extLst>
              </p14:cNvPr>
              <p14:cNvContentPartPr/>
              <p14:nvPr/>
            </p14:nvContentPartPr>
            <p14:xfrm>
              <a:off x="2752920" y="158400"/>
              <a:ext cx="5793840" cy="4809240"/>
            </p14:xfrm>
          </p:contentPart>
        </mc:Choice>
        <mc:Fallback xmlns="">
          <p:pic>
            <p:nvPicPr>
              <p:cNvPr id="4" name="Ink 3">
                <a:extLst>
                  <a:ext uri="{FF2B5EF4-FFF2-40B4-BE49-F238E27FC236}">
                    <a16:creationId xmlns:a16="http://schemas.microsoft.com/office/drawing/2014/main" id="{BC952631-F11E-C133-4E12-58450AC3A1BF}"/>
                  </a:ext>
                </a:extLst>
              </p:cNvPr>
              <p:cNvPicPr/>
              <p:nvPr/>
            </p:nvPicPr>
            <p:blipFill>
              <a:blip r:embed="rId5"/>
              <a:stretch>
                <a:fillRect/>
              </a:stretch>
            </p:blipFill>
            <p:spPr>
              <a:xfrm>
                <a:off x="2743560" y="149040"/>
                <a:ext cx="5812560" cy="482796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6C985854-EE0E-2291-C5B0-A89CA5728740}"/>
                  </a:ext>
                </a:extLst>
              </p14:cNvPr>
              <p14:cNvContentPartPr/>
              <p14:nvPr/>
            </p14:nvContentPartPr>
            <p14:xfrm>
              <a:off x="3789360" y="3332160"/>
              <a:ext cx="2262600" cy="440280"/>
            </p14:xfrm>
          </p:contentPart>
        </mc:Choice>
        <mc:Fallback xmlns="">
          <p:pic>
            <p:nvPicPr>
              <p:cNvPr id="6" name="Ink 5">
                <a:extLst>
                  <a:ext uri="{FF2B5EF4-FFF2-40B4-BE49-F238E27FC236}">
                    <a16:creationId xmlns:a16="http://schemas.microsoft.com/office/drawing/2014/main" id="{6C985854-EE0E-2291-C5B0-A89CA5728740}"/>
                  </a:ext>
                </a:extLst>
              </p:cNvPr>
              <p:cNvPicPr/>
              <p:nvPr/>
            </p:nvPicPr>
            <p:blipFill>
              <a:blip r:embed="rId3"/>
              <a:stretch>
                <a:fillRect/>
              </a:stretch>
            </p:blipFill>
            <p:spPr>
              <a:xfrm>
                <a:off x="3780000" y="3322800"/>
                <a:ext cx="2281320" cy="459000"/>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9C7F3EBC-CFFE-8CAA-8759-D1DABE8A15A6}"/>
                  </a:ext>
                </a:extLst>
              </p14:cNvPr>
              <p14:cNvContentPartPr/>
              <p14:nvPr/>
            </p14:nvContentPartPr>
            <p14:xfrm>
              <a:off x="1383840" y="643320"/>
              <a:ext cx="6079320" cy="3705120"/>
            </p14:xfrm>
          </p:contentPart>
        </mc:Choice>
        <mc:Fallback xmlns="">
          <p:pic>
            <p:nvPicPr>
              <p:cNvPr id="4" name="Ink 3">
                <a:extLst>
                  <a:ext uri="{FF2B5EF4-FFF2-40B4-BE49-F238E27FC236}">
                    <a16:creationId xmlns:a16="http://schemas.microsoft.com/office/drawing/2014/main" id="{9C7F3EBC-CFFE-8CAA-8759-D1DABE8A15A6}"/>
                  </a:ext>
                </a:extLst>
              </p:cNvPr>
              <p:cNvPicPr/>
              <p:nvPr/>
            </p:nvPicPr>
            <p:blipFill>
              <a:blip r:embed="rId6"/>
              <a:stretch>
                <a:fillRect/>
              </a:stretch>
            </p:blipFill>
            <p:spPr>
              <a:xfrm>
                <a:off x="1374480" y="633960"/>
                <a:ext cx="6098040" cy="3723840"/>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4A89A773-B420-44D7-4898-6D8587BD1E8C}"/>
                  </a:ext>
                </a:extLst>
              </p14:cNvPr>
              <p14:cNvContentPartPr/>
              <p14:nvPr/>
            </p14:nvContentPartPr>
            <p14:xfrm>
              <a:off x="1654560" y="1503000"/>
              <a:ext cx="6289560" cy="2997000"/>
            </p14:xfrm>
          </p:contentPart>
        </mc:Choice>
        <mc:Fallback xmlns="">
          <p:pic>
            <p:nvPicPr>
              <p:cNvPr id="4" name="Ink 3">
                <a:extLst>
                  <a:ext uri="{FF2B5EF4-FFF2-40B4-BE49-F238E27FC236}">
                    <a16:creationId xmlns:a16="http://schemas.microsoft.com/office/drawing/2014/main" id="{4A89A773-B420-44D7-4898-6D8587BD1E8C}"/>
                  </a:ext>
                </a:extLst>
              </p:cNvPr>
              <p:cNvPicPr/>
              <p:nvPr/>
            </p:nvPicPr>
            <p:blipFill>
              <a:blip r:embed="rId4"/>
              <a:stretch>
                <a:fillRect/>
              </a:stretch>
            </p:blipFill>
            <p:spPr>
              <a:xfrm>
                <a:off x="1645200" y="1493640"/>
                <a:ext cx="6308280" cy="301572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E98B3651-80DA-0B6F-A015-066B4D13CB3F}"/>
                  </a:ext>
                </a:extLst>
              </p14:cNvPr>
              <p14:cNvContentPartPr/>
              <p14:nvPr/>
            </p14:nvContentPartPr>
            <p14:xfrm>
              <a:off x="6852600" y="3107520"/>
              <a:ext cx="522720" cy="572760"/>
            </p14:xfrm>
          </p:contentPart>
        </mc:Choice>
        <mc:Fallback xmlns="">
          <p:pic>
            <p:nvPicPr>
              <p:cNvPr id="3" name="Ink 2">
                <a:extLst>
                  <a:ext uri="{FF2B5EF4-FFF2-40B4-BE49-F238E27FC236}">
                    <a16:creationId xmlns:a16="http://schemas.microsoft.com/office/drawing/2014/main" id="{E98B3651-80DA-0B6F-A015-066B4D13CB3F}"/>
                  </a:ext>
                </a:extLst>
              </p:cNvPr>
              <p:cNvPicPr/>
              <p:nvPr/>
            </p:nvPicPr>
            <p:blipFill>
              <a:blip r:embed="rId5"/>
              <a:stretch>
                <a:fillRect/>
              </a:stretch>
            </p:blipFill>
            <p:spPr>
              <a:xfrm>
                <a:off x="6843240" y="3098160"/>
                <a:ext cx="541440" cy="59148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611E4C0-44C1-82B4-70FD-DF00C61B584C}"/>
                  </a:ext>
                </a:extLst>
              </p14:cNvPr>
              <p14:cNvContentPartPr/>
              <p14:nvPr/>
            </p14:nvContentPartPr>
            <p14:xfrm>
              <a:off x="768240" y="925200"/>
              <a:ext cx="4149000" cy="1568880"/>
            </p14:xfrm>
          </p:contentPart>
        </mc:Choice>
        <mc:Fallback xmlns="">
          <p:pic>
            <p:nvPicPr>
              <p:cNvPr id="4" name="Ink 3">
                <a:extLst>
                  <a:ext uri="{FF2B5EF4-FFF2-40B4-BE49-F238E27FC236}">
                    <a16:creationId xmlns:a16="http://schemas.microsoft.com/office/drawing/2014/main" id="{3611E4C0-44C1-82B4-70FD-DF00C61B584C}"/>
                  </a:ext>
                </a:extLst>
              </p:cNvPr>
              <p:cNvPicPr/>
              <p:nvPr/>
            </p:nvPicPr>
            <p:blipFill>
              <a:blip r:embed="rId4"/>
              <a:stretch>
                <a:fillRect/>
              </a:stretch>
            </p:blipFill>
            <p:spPr>
              <a:xfrm>
                <a:off x="758880" y="915840"/>
                <a:ext cx="4167720" cy="158760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A9A6A670-5F1E-EAB7-752F-B82FF0D0D6FC}"/>
                  </a:ext>
                </a:extLst>
              </p14:cNvPr>
              <p14:cNvContentPartPr/>
              <p14:nvPr/>
            </p14:nvContentPartPr>
            <p14:xfrm>
              <a:off x="3287160" y="1519920"/>
              <a:ext cx="3719520" cy="1051560"/>
            </p14:xfrm>
          </p:contentPart>
        </mc:Choice>
        <mc:Fallback xmlns="">
          <p:pic>
            <p:nvPicPr>
              <p:cNvPr id="2" name="Ink 1">
                <a:extLst>
                  <a:ext uri="{FF2B5EF4-FFF2-40B4-BE49-F238E27FC236}">
                    <a16:creationId xmlns:a16="http://schemas.microsoft.com/office/drawing/2014/main" id="{A9A6A670-5F1E-EAB7-752F-B82FF0D0D6FC}"/>
                  </a:ext>
                </a:extLst>
              </p:cNvPr>
              <p:cNvPicPr/>
              <p:nvPr/>
            </p:nvPicPr>
            <p:blipFill>
              <a:blip r:embed="rId4"/>
              <a:stretch>
                <a:fillRect/>
              </a:stretch>
            </p:blipFill>
            <p:spPr>
              <a:xfrm>
                <a:off x="3277800" y="1510560"/>
                <a:ext cx="3738240" cy="107028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DBA86959-5CA9-6AEC-049C-76E212FBF0CD}"/>
                  </a:ext>
                </a:extLst>
              </p14:cNvPr>
              <p14:cNvContentPartPr/>
              <p14:nvPr/>
            </p14:nvContentPartPr>
            <p14:xfrm>
              <a:off x="330840" y="50400"/>
              <a:ext cx="8086680" cy="3194280"/>
            </p14:xfrm>
          </p:contentPart>
        </mc:Choice>
        <mc:Fallback xmlns="">
          <p:pic>
            <p:nvPicPr>
              <p:cNvPr id="5" name="Ink 4">
                <a:extLst>
                  <a:ext uri="{FF2B5EF4-FFF2-40B4-BE49-F238E27FC236}">
                    <a16:creationId xmlns:a16="http://schemas.microsoft.com/office/drawing/2014/main" id="{DBA86959-5CA9-6AEC-049C-76E212FBF0CD}"/>
                  </a:ext>
                </a:extLst>
              </p:cNvPr>
              <p:cNvPicPr/>
              <p:nvPr/>
            </p:nvPicPr>
            <p:blipFill>
              <a:blip r:embed="rId5"/>
              <a:stretch>
                <a:fillRect/>
              </a:stretch>
            </p:blipFill>
            <p:spPr>
              <a:xfrm>
                <a:off x="321480" y="41040"/>
                <a:ext cx="8105400" cy="3213000"/>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760BF569-B1BD-DF45-E439-61C840240085}"/>
                  </a:ext>
                </a:extLst>
              </p14:cNvPr>
              <p14:cNvContentPartPr/>
              <p14:nvPr/>
            </p14:nvContentPartPr>
            <p14:xfrm>
              <a:off x="1570680" y="1422000"/>
              <a:ext cx="5816880" cy="3475080"/>
            </p14:xfrm>
          </p:contentPart>
        </mc:Choice>
        <mc:Fallback xmlns="">
          <p:pic>
            <p:nvPicPr>
              <p:cNvPr id="3" name="Ink 2">
                <a:extLst>
                  <a:ext uri="{FF2B5EF4-FFF2-40B4-BE49-F238E27FC236}">
                    <a16:creationId xmlns:a16="http://schemas.microsoft.com/office/drawing/2014/main" id="{760BF569-B1BD-DF45-E439-61C840240085}"/>
                  </a:ext>
                </a:extLst>
              </p:cNvPr>
              <p:cNvPicPr/>
              <p:nvPr/>
            </p:nvPicPr>
            <p:blipFill>
              <a:blip r:embed="rId4"/>
              <a:stretch>
                <a:fillRect/>
              </a:stretch>
            </p:blipFill>
            <p:spPr>
              <a:xfrm>
                <a:off x="1561320" y="1412640"/>
                <a:ext cx="5835600" cy="349380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976FFDD-B028-181D-FE04-0C09DF270228}"/>
                  </a:ext>
                </a:extLst>
              </p14:cNvPr>
              <p14:cNvContentPartPr/>
              <p14:nvPr/>
            </p14:nvContentPartPr>
            <p14:xfrm>
              <a:off x="811440" y="682560"/>
              <a:ext cx="6646320" cy="4033080"/>
            </p14:xfrm>
          </p:contentPart>
        </mc:Choice>
        <mc:Fallback xmlns="">
          <p:pic>
            <p:nvPicPr>
              <p:cNvPr id="4" name="Ink 3">
                <a:extLst>
                  <a:ext uri="{FF2B5EF4-FFF2-40B4-BE49-F238E27FC236}">
                    <a16:creationId xmlns:a16="http://schemas.microsoft.com/office/drawing/2014/main" id="{3976FFDD-B028-181D-FE04-0C09DF270228}"/>
                  </a:ext>
                </a:extLst>
              </p:cNvPr>
              <p:cNvPicPr/>
              <p:nvPr/>
            </p:nvPicPr>
            <p:blipFill>
              <a:blip r:embed="rId4"/>
              <a:stretch>
                <a:fillRect/>
              </a:stretch>
            </p:blipFill>
            <p:spPr>
              <a:xfrm>
                <a:off x="802080" y="673200"/>
                <a:ext cx="6665040" cy="4051800"/>
              </a:xfrm>
              <a:prstGeom prst="rect">
                <a:avLst/>
              </a:prstGeom>
            </p:spPr>
          </p:pic>
        </mc:Fallback>
      </mc:AlternateContent>
    </p:spTree>
    <p:extLst>
      <p:ext uri="{BB962C8B-B14F-4D97-AF65-F5344CB8AC3E}">
        <p14:creationId xmlns:p14="http://schemas.microsoft.com/office/powerpoint/2010/main" val="508532574"/>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828277D-1DB3-C611-D714-F956DBE5C542}"/>
                  </a:ext>
                </a:extLst>
              </p14:cNvPr>
              <p14:cNvContentPartPr/>
              <p14:nvPr/>
            </p14:nvContentPartPr>
            <p14:xfrm>
              <a:off x="1462320" y="1449360"/>
              <a:ext cx="6948000" cy="2908080"/>
            </p14:xfrm>
          </p:contentPart>
        </mc:Choice>
        <mc:Fallback xmlns="">
          <p:pic>
            <p:nvPicPr>
              <p:cNvPr id="3" name="Ink 2">
                <a:extLst>
                  <a:ext uri="{FF2B5EF4-FFF2-40B4-BE49-F238E27FC236}">
                    <a16:creationId xmlns:a16="http://schemas.microsoft.com/office/drawing/2014/main" id="{3828277D-1DB3-C611-D714-F956DBE5C542}"/>
                  </a:ext>
                </a:extLst>
              </p:cNvPr>
              <p:cNvPicPr/>
              <p:nvPr/>
            </p:nvPicPr>
            <p:blipFill>
              <a:blip r:embed="rId4"/>
              <a:stretch>
                <a:fillRect/>
              </a:stretch>
            </p:blipFill>
            <p:spPr>
              <a:xfrm>
                <a:off x="1452960" y="1440000"/>
                <a:ext cx="6966720" cy="2926800"/>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p:spTree>
    <p:extLst>
      <p:ext uri="{BB962C8B-B14F-4D97-AF65-F5344CB8AC3E}">
        <p14:creationId xmlns:p14="http://schemas.microsoft.com/office/powerpoint/2010/main" val="2062386995"/>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p:spTree>
    <p:extLst>
      <p:ext uri="{BB962C8B-B14F-4D97-AF65-F5344CB8AC3E}">
        <p14:creationId xmlns:p14="http://schemas.microsoft.com/office/powerpoint/2010/main" val="3884285239"/>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EC5E961F-A8FF-856B-89F3-9537B9EC3710}"/>
                  </a:ext>
                </a:extLst>
              </p14:cNvPr>
              <p14:cNvContentPartPr/>
              <p14:nvPr/>
            </p14:nvContentPartPr>
            <p14:xfrm>
              <a:off x="846000" y="603720"/>
              <a:ext cx="7983360" cy="4284720"/>
            </p14:xfrm>
          </p:contentPart>
        </mc:Choice>
        <mc:Fallback xmlns="">
          <p:pic>
            <p:nvPicPr>
              <p:cNvPr id="4" name="Ink 3">
                <a:extLst>
                  <a:ext uri="{FF2B5EF4-FFF2-40B4-BE49-F238E27FC236}">
                    <a16:creationId xmlns:a16="http://schemas.microsoft.com/office/drawing/2014/main" id="{EC5E961F-A8FF-856B-89F3-9537B9EC3710}"/>
                  </a:ext>
                </a:extLst>
              </p:cNvPr>
              <p:cNvPicPr/>
              <p:nvPr/>
            </p:nvPicPr>
            <p:blipFill>
              <a:blip r:embed="rId7"/>
              <a:stretch>
                <a:fillRect/>
              </a:stretch>
            </p:blipFill>
            <p:spPr>
              <a:xfrm>
                <a:off x="836640" y="594360"/>
                <a:ext cx="8002080" cy="4303440"/>
              </a:xfrm>
              <a:prstGeom prst="rect">
                <a:avLst/>
              </a:prstGeom>
            </p:spPr>
          </p:pic>
        </mc:Fallback>
      </mc:AlternateContent>
    </p:spTree>
    <p:extLst>
      <p:ext uri="{BB962C8B-B14F-4D97-AF65-F5344CB8AC3E}">
        <p14:creationId xmlns:p14="http://schemas.microsoft.com/office/powerpoint/2010/main" val="1560366396"/>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59C076B-19FB-329F-4C6E-4F2C36A2F0AE}"/>
                  </a:ext>
                </a:extLst>
              </p14:cNvPr>
              <p14:cNvContentPartPr/>
              <p14:nvPr/>
            </p14:nvContentPartPr>
            <p14:xfrm>
              <a:off x="353160" y="469440"/>
              <a:ext cx="8604360" cy="3834720"/>
            </p14:xfrm>
          </p:contentPart>
        </mc:Choice>
        <mc:Fallback xmlns="">
          <p:pic>
            <p:nvPicPr>
              <p:cNvPr id="2" name="Ink 1">
                <a:extLst>
                  <a:ext uri="{FF2B5EF4-FFF2-40B4-BE49-F238E27FC236}">
                    <a16:creationId xmlns:a16="http://schemas.microsoft.com/office/drawing/2014/main" id="{759C076B-19FB-329F-4C6E-4F2C36A2F0AE}"/>
                  </a:ext>
                </a:extLst>
              </p:cNvPr>
              <p:cNvPicPr/>
              <p:nvPr/>
            </p:nvPicPr>
            <p:blipFill>
              <a:blip r:embed="rId4"/>
              <a:stretch>
                <a:fillRect/>
              </a:stretch>
            </p:blipFill>
            <p:spPr>
              <a:xfrm>
                <a:off x="343800" y="460080"/>
                <a:ext cx="8623080" cy="3853440"/>
              </a:xfrm>
              <a:prstGeom prst="rect">
                <a:avLst/>
              </a:prstGeom>
            </p:spPr>
          </p:pic>
        </mc:Fallback>
      </mc:AlternateContent>
    </p:spTree>
    <p:extLst>
      <p:ext uri="{BB962C8B-B14F-4D97-AF65-F5344CB8AC3E}">
        <p14:creationId xmlns:p14="http://schemas.microsoft.com/office/powerpoint/2010/main" val="2153491599"/>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825623888"/>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3A0D971A-C8B4-3484-213A-A649A15C5E90}"/>
                  </a:ext>
                </a:extLst>
              </p14:cNvPr>
              <p14:cNvContentPartPr/>
              <p14:nvPr/>
            </p14:nvContentPartPr>
            <p14:xfrm>
              <a:off x="4241880" y="794520"/>
              <a:ext cx="561240" cy="48240"/>
            </p14:xfrm>
          </p:contentPart>
        </mc:Choice>
        <mc:Fallback xmlns="">
          <p:pic>
            <p:nvPicPr>
              <p:cNvPr id="4" name="Ink 3">
                <a:extLst>
                  <a:ext uri="{FF2B5EF4-FFF2-40B4-BE49-F238E27FC236}">
                    <a16:creationId xmlns:a16="http://schemas.microsoft.com/office/drawing/2014/main" id="{3A0D971A-C8B4-3484-213A-A649A15C5E90}"/>
                  </a:ext>
                </a:extLst>
              </p:cNvPr>
              <p:cNvPicPr/>
              <p:nvPr/>
            </p:nvPicPr>
            <p:blipFill>
              <a:blip r:embed="rId3"/>
              <a:stretch>
                <a:fillRect/>
              </a:stretch>
            </p:blipFill>
            <p:spPr>
              <a:xfrm>
                <a:off x="4232520" y="785160"/>
                <a:ext cx="579960" cy="66960"/>
              </a:xfrm>
              <a:prstGeom prst="rect">
                <a:avLst/>
              </a:prstGeom>
            </p:spPr>
          </p:pic>
        </mc:Fallback>
      </mc:AlternateContent>
    </p:spTree>
    <p:extLst>
      <p:ext uri="{BB962C8B-B14F-4D97-AF65-F5344CB8AC3E}">
        <p14:creationId xmlns:p14="http://schemas.microsoft.com/office/powerpoint/2010/main" val="3643765442"/>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extLst>
              <p:ext uri="{D42A27DB-BD31-4B8C-83A1-F6EECF244321}">
                <p14:modId xmlns:p14="http://schemas.microsoft.com/office/powerpoint/2010/main" val="2877825890"/>
              </p:ext>
            </p:extLst>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AA3752EB-C32B-08D6-E659-F2AE1C1C7936}"/>
                  </a:ext>
                </a:extLst>
              </p14:cNvPr>
              <p14:cNvContentPartPr/>
              <p14:nvPr/>
            </p14:nvContentPartPr>
            <p14:xfrm>
              <a:off x="186840" y="928080"/>
              <a:ext cx="8584200" cy="3921120"/>
            </p14:xfrm>
          </p:contentPart>
        </mc:Choice>
        <mc:Fallback xmlns="">
          <p:pic>
            <p:nvPicPr>
              <p:cNvPr id="3" name="Ink 2">
                <a:extLst>
                  <a:ext uri="{FF2B5EF4-FFF2-40B4-BE49-F238E27FC236}">
                    <a16:creationId xmlns:a16="http://schemas.microsoft.com/office/drawing/2014/main" id="{AA3752EB-C32B-08D6-E659-F2AE1C1C7936}"/>
                  </a:ext>
                </a:extLst>
              </p:cNvPr>
              <p:cNvPicPr/>
              <p:nvPr/>
            </p:nvPicPr>
            <p:blipFill>
              <a:blip r:embed="rId3"/>
              <a:stretch>
                <a:fillRect/>
              </a:stretch>
            </p:blipFill>
            <p:spPr>
              <a:xfrm>
                <a:off x="177480" y="918720"/>
                <a:ext cx="8602920" cy="3939840"/>
              </a:xfrm>
              <a:prstGeom prst="rect">
                <a:avLst/>
              </a:prstGeom>
            </p:spPr>
          </p:pic>
        </mc:Fallback>
      </mc:AlternateContent>
    </p:spTree>
    <p:extLst>
      <p:ext uri="{BB962C8B-B14F-4D97-AF65-F5344CB8AC3E}">
        <p14:creationId xmlns:p14="http://schemas.microsoft.com/office/powerpoint/2010/main" val="3689912247"/>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p:spTree>
    <p:extLst>
      <p:ext uri="{BB962C8B-B14F-4D97-AF65-F5344CB8AC3E}">
        <p14:creationId xmlns:p14="http://schemas.microsoft.com/office/powerpoint/2010/main" val="3141678141"/>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the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curve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p:spTree>
    <p:extLst>
      <p:ext uri="{BB962C8B-B14F-4D97-AF65-F5344CB8AC3E}">
        <p14:creationId xmlns:p14="http://schemas.microsoft.com/office/powerpoint/2010/main" val="41590588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p:spTree>
    <p:extLst>
      <p:ext uri="{BB962C8B-B14F-4D97-AF65-F5344CB8AC3E}">
        <p14:creationId xmlns:p14="http://schemas.microsoft.com/office/powerpoint/2010/main" val="2272793103"/>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1AFB5900-BEC0-78B2-C69C-67FF47B6DA4C}"/>
                  </a:ext>
                </a:extLst>
              </p14:cNvPr>
              <p14:cNvContentPartPr/>
              <p14:nvPr/>
            </p14:nvContentPartPr>
            <p14:xfrm>
              <a:off x="535680" y="300600"/>
              <a:ext cx="7707240" cy="4405320"/>
            </p14:xfrm>
          </p:contentPart>
        </mc:Choice>
        <mc:Fallback xmlns="">
          <p:pic>
            <p:nvPicPr>
              <p:cNvPr id="4" name="Ink 3">
                <a:extLst>
                  <a:ext uri="{FF2B5EF4-FFF2-40B4-BE49-F238E27FC236}">
                    <a16:creationId xmlns:a16="http://schemas.microsoft.com/office/drawing/2014/main" id="{1AFB5900-BEC0-78B2-C69C-67FF47B6DA4C}"/>
                  </a:ext>
                </a:extLst>
              </p:cNvPr>
              <p:cNvPicPr/>
              <p:nvPr/>
            </p:nvPicPr>
            <p:blipFill>
              <a:blip r:embed="rId6"/>
              <a:stretch>
                <a:fillRect/>
              </a:stretch>
            </p:blipFill>
            <p:spPr>
              <a:xfrm>
                <a:off x="526320" y="291240"/>
                <a:ext cx="7725960" cy="4424040"/>
              </a:xfrm>
              <a:prstGeom prst="rect">
                <a:avLst/>
              </a:prstGeom>
            </p:spPr>
          </p:pic>
        </mc:Fallback>
      </mc:AlternateContent>
    </p:spTree>
    <p:extLst>
      <p:ext uri="{BB962C8B-B14F-4D97-AF65-F5344CB8AC3E}">
        <p14:creationId xmlns:p14="http://schemas.microsoft.com/office/powerpoint/2010/main" val="1076367964"/>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46D90BCD-0B84-7338-6AFE-5C442B130694}"/>
                  </a:ext>
                </a:extLst>
              </p14:cNvPr>
              <p14:cNvContentPartPr/>
              <p14:nvPr/>
            </p14:nvContentPartPr>
            <p14:xfrm>
              <a:off x="690840" y="997920"/>
              <a:ext cx="4920120" cy="3529440"/>
            </p14:xfrm>
          </p:contentPart>
        </mc:Choice>
        <mc:Fallback xmlns="">
          <p:pic>
            <p:nvPicPr>
              <p:cNvPr id="3" name="Ink 2">
                <a:extLst>
                  <a:ext uri="{FF2B5EF4-FFF2-40B4-BE49-F238E27FC236}">
                    <a16:creationId xmlns:a16="http://schemas.microsoft.com/office/drawing/2014/main" id="{46D90BCD-0B84-7338-6AFE-5C442B130694}"/>
                  </a:ext>
                </a:extLst>
              </p:cNvPr>
              <p:cNvPicPr/>
              <p:nvPr/>
            </p:nvPicPr>
            <p:blipFill>
              <a:blip r:embed="rId7"/>
              <a:stretch>
                <a:fillRect/>
              </a:stretch>
            </p:blipFill>
            <p:spPr>
              <a:xfrm>
                <a:off x="681480" y="988560"/>
                <a:ext cx="4938840" cy="3548160"/>
              </a:xfrm>
              <a:prstGeom prst="rect">
                <a:avLst/>
              </a:prstGeom>
            </p:spPr>
          </p:pic>
        </mc:Fallback>
      </mc:AlternateContent>
    </p:spTree>
    <p:extLst>
      <p:ext uri="{BB962C8B-B14F-4D97-AF65-F5344CB8AC3E}">
        <p14:creationId xmlns:p14="http://schemas.microsoft.com/office/powerpoint/2010/main" val="209970773"/>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918099E-5965-C530-A24F-B3894183511B}"/>
                  </a:ext>
                </a:extLst>
              </p14:cNvPr>
              <p14:cNvContentPartPr/>
              <p14:nvPr/>
            </p14:nvContentPartPr>
            <p14:xfrm>
              <a:off x="354240" y="1860120"/>
              <a:ext cx="3395880" cy="2140560"/>
            </p14:xfrm>
          </p:contentPart>
        </mc:Choice>
        <mc:Fallback xmlns="">
          <p:pic>
            <p:nvPicPr>
              <p:cNvPr id="4" name="Ink 3">
                <a:extLst>
                  <a:ext uri="{FF2B5EF4-FFF2-40B4-BE49-F238E27FC236}">
                    <a16:creationId xmlns:a16="http://schemas.microsoft.com/office/drawing/2014/main" id="{2918099E-5965-C530-A24F-B3894183511B}"/>
                  </a:ext>
                </a:extLst>
              </p:cNvPr>
              <p:cNvPicPr/>
              <p:nvPr/>
            </p:nvPicPr>
            <p:blipFill>
              <a:blip r:embed="rId4"/>
              <a:stretch>
                <a:fillRect/>
              </a:stretch>
            </p:blipFill>
            <p:spPr>
              <a:xfrm>
                <a:off x="344880" y="1850760"/>
                <a:ext cx="3414600" cy="2159280"/>
              </a:xfrm>
              <a:prstGeom prst="rect">
                <a:avLst/>
              </a:prstGeom>
            </p:spPr>
          </p:pic>
        </mc:Fallback>
      </mc:AlternateContent>
    </p:spTree>
    <p:extLst>
      <p:ext uri="{BB962C8B-B14F-4D97-AF65-F5344CB8AC3E}">
        <p14:creationId xmlns:p14="http://schemas.microsoft.com/office/powerpoint/2010/main" val="2761370973"/>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16007A07-1F96-0F07-5157-2B67BFCC0411}"/>
                  </a:ext>
                </a:extLst>
              </p14:cNvPr>
              <p14:cNvContentPartPr/>
              <p14:nvPr/>
            </p14:nvContentPartPr>
            <p14:xfrm>
              <a:off x="39960" y="973440"/>
              <a:ext cx="8737920" cy="3939480"/>
            </p14:xfrm>
          </p:contentPart>
        </mc:Choice>
        <mc:Fallback xmlns="">
          <p:pic>
            <p:nvPicPr>
              <p:cNvPr id="4" name="Ink 3">
                <a:extLst>
                  <a:ext uri="{FF2B5EF4-FFF2-40B4-BE49-F238E27FC236}">
                    <a16:creationId xmlns:a16="http://schemas.microsoft.com/office/drawing/2014/main" id="{16007A07-1F96-0F07-5157-2B67BFCC0411}"/>
                  </a:ext>
                </a:extLst>
              </p:cNvPr>
              <p:cNvPicPr/>
              <p:nvPr/>
            </p:nvPicPr>
            <p:blipFill>
              <a:blip r:embed="rId6"/>
              <a:stretch>
                <a:fillRect/>
              </a:stretch>
            </p:blipFill>
            <p:spPr>
              <a:xfrm>
                <a:off x="30600" y="964080"/>
                <a:ext cx="8756640" cy="3958200"/>
              </a:xfrm>
              <a:prstGeom prst="rect">
                <a:avLst/>
              </a:prstGeom>
            </p:spPr>
          </p:pic>
        </mc:Fallback>
      </mc:AlternateContent>
    </p:spTree>
    <p:extLst>
      <p:ext uri="{BB962C8B-B14F-4D97-AF65-F5344CB8AC3E}">
        <p14:creationId xmlns:p14="http://schemas.microsoft.com/office/powerpoint/2010/main" val="2608275495"/>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63B044D5-CFB8-47B4-22C7-08E8F791F43E}"/>
                  </a:ext>
                </a:extLst>
              </p14:cNvPr>
              <p14:cNvContentPartPr/>
              <p14:nvPr/>
            </p14:nvContentPartPr>
            <p14:xfrm>
              <a:off x="2170440" y="1257840"/>
              <a:ext cx="3720240" cy="3080160"/>
            </p14:xfrm>
          </p:contentPart>
        </mc:Choice>
        <mc:Fallback xmlns="">
          <p:pic>
            <p:nvPicPr>
              <p:cNvPr id="4" name="Ink 3">
                <a:extLst>
                  <a:ext uri="{FF2B5EF4-FFF2-40B4-BE49-F238E27FC236}">
                    <a16:creationId xmlns:a16="http://schemas.microsoft.com/office/drawing/2014/main" id="{63B044D5-CFB8-47B4-22C7-08E8F791F43E}"/>
                  </a:ext>
                </a:extLst>
              </p:cNvPr>
              <p:cNvPicPr/>
              <p:nvPr/>
            </p:nvPicPr>
            <p:blipFill>
              <a:blip r:embed="rId4"/>
              <a:stretch>
                <a:fillRect/>
              </a:stretch>
            </p:blipFill>
            <p:spPr>
              <a:xfrm>
                <a:off x="2161080" y="1248480"/>
                <a:ext cx="3738960" cy="3098880"/>
              </a:xfrm>
              <a:prstGeom prst="rect">
                <a:avLst/>
              </a:prstGeom>
            </p:spPr>
          </p:pic>
        </mc:Fallback>
      </mc:AlternateContent>
    </p:spTree>
    <p:extLst>
      <p:ext uri="{BB962C8B-B14F-4D97-AF65-F5344CB8AC3E}">
        <p14:creationId xmlns:p14="http://schemas.microsoft.com/office/powerpoint/2010/main" val="1274034444"/>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BFFEB02F-7A00-EB0B-8AE8-4617BF6505C0}"/>
                  </a:ext>
                </a:extLst>
              </p14:cNvPr>
              <p14:cNvContentPartPr/>
              <p14:nvPr/>
            </p14:nvContentPartPr>
            <p14:xfrm>
              <a:off x="2650680" y="2911680"/>
              <a:ext cx="1944720" cy="75960"/>
            </p14:xfrm>
          </p:contentPart>
        </mc:Choice>
        <mc:Fallback>
          <p:pic>
            <p:nvPicPr>
              <p:cNvPr id="4" name="Ink 3">
                <a:extLst>
                  <a:ext uri="{FF2B5EF4-FFF2-40B4-BE49-F238E27FC236}">
                    <a16:creationId xmlns:a16="http://schemas.microsoft.com/office/drawing/2014/main" id="{BFFEB02F-7A00-EB0B-8AE8-4617BF6505C0}"/>
                  </a:ext>
                </a:extLst>
              </p:cNvPr>
              <p:cNvPicPr/>
              <p:nvPr/>
            </p:nvPicPr>
            <p:blipFill>
              <a:blip r:embed="rId6"/>
              <a:stretch>
                <a:fillRect/>
              </a:stretch>
            </p:blipFill>
            <p:spPr>
              <a:xfrm>
                <a:off x="2641320" y="2902320"/>
                <a:ext cx="1963440" cy="94680"/>
              </a:xfrm>
              <a:prstGeom prst="rect">
                <a:avLst/>
              </a:prstGeom>
            </p:spPr>
          </p:pic>
        </mc:Fallback>
      </mc:AlternateContent>
    </p:spTree>
    <p:extLst>
      <p:ext uri="{BB962C8B-B14F-4D97-AF65-F5344CB8AC3E}">
        <p14:creationId xmlns:p14="http://schemas.microsoft.com/office/powerpoint/2010/main" val="3654578520"/>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865</TotalTime>
  <Words>7733</Words>
  <Application>Microsoft Office PowerPoint</Application>
  <PresentationFormat>On-screen Show (16:9)</PresentationFormat>
  <Paragraphs>858</Paragraphs>
  <Slides>139</Slides>
  <Notes>7</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39</vt:i4>
      </vt:variant>
    </vt:vector>
  </HeadingPairs>
  <TitlesOfParts>
    <vt:vector size="157" baseType="lpstr">
      <vt:lpstr>Arial</vt:lpstr>
      <vt:lpstr>Arial Black</vt:lpstr>
      <vt:lpstr>Calibri</vt:lpstr>
      <vt:lpstr>champ</vt:lpstr>
      <vt:lpstr>Courier New</vt:lpstr>
      <vt:lpstr>Inter</vt:lpstr>
      <vt:lpstr>Lato</vt:lpstr>
      <vt:lpstr>Museo For Dell 300</vt:lpstr>
      <vt:lpstr>museo sans for dell</vt:lpstr>
      <vt:lpstr>museo sans for dell</vt:lpstr>
      <vt:lpstr>Open Sans</vt:lpstr>
      <vt:lpstr>pt sans</vt:lpstr>
      <vt:lpstr>Raleway</vt:lpstr>
      <vt:lpstr>times new roman</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Correlation</vt:lpstr>
      <vt:lpstr>Worksheet</vt:lpstr>
      <vt:lpstr>Confounding Variable</vt:lpstr>
      <vt:lpstr>Confounding variable – another example</vt:lpstr>
      <vt:lpstr>What is hypothesis ? </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Coefficient</vt:lpstr>
      <vt:lpstr>Correlation Coefficient – Example continued…</vt:lpstr>
      <vt:lpstr>Correlation Coefficient – Example continued…</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Arun Ravi</cp:lastModifiedBy>
  <cp:revision>550</cp:revision>
  <dcterms:created xsi:type="dcterms:W3CDTF">2016-10-16T11:20:54Z</dcterms:created>
  <dcterms:modified xsi:type="dcterms:W3CDTF">2023-05-12T16:3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